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9" r:id="rId3"/>
    <p:sldId id="275" r:id="rId4"/>
    <p:sldId id="276" r:id="rId5"/>
    <p:sldId id="277" r:id="rId6"/>
    <p:sldId id="278" r:id="rId7"/>
    <p:sldId id="279" r:id="rId8"/>
    <p:sldId id="280" r:id="rId9"/>
    <p:sldId id="281" r:id="rId10"/>
    <p:sldId id="261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q" initials="y" lastIdx="1" clrIdx="0">
    <p:extLst>
      <p:ext uri="{19B8F6BF-5375-455C-9EA6-DF929625EA0E}">
        <p15:presenceInfo xmlns:p15="http://schemas.microsoft.com/office/powerpoint/2012/main" userId="yq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19787D"/>
    <a:srgbClr val="3BD7BD"/>
    <a:srgbClr val="46B2FC"/>
    <a:srgbClr val="A8EEE2"/>
    <a:srgbClr val="C3F3EB"/>
    <a:srgbClr val="F5BB17"/>
    <a:srgbClr val="F9DB59"/>
    <a:srgbClr val="EEA67A"/>
    <a:srgbClr val="0178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6182" autoAdjust="0"/>
  </p:normalViewPr>
  <p:slideViewPr>
    <p:cSldViewPr snapToGrid="0">
      <p:cViewPr varScale="1">
        <p:scale>
          <a:sx n="103" d="100"/>
          <a:sy n="103" d="100"/>
        </p:scale>
        <p:origin x="144" y="3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/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5" y="4191307"/>
            <a:ext cx="5454512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130300"/>
            <a:ext cx="5454512" cy="3025834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27115"/>
            <a:ext cx="54545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23386"/>
            <a:ext cx="54545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508" name="任意多边形: 形状 507">
            <a:extLst>
              <a:ext uri="{FF2B5EF4-FFF2-40B4-BE49-F238E27FC236}">
                <a16:creationId xmlns:a16="http://schemas.microsoft.com/office/drawing/2014/main" id="{A779BD46-68F6-4D8D-93F8-CF94906C9C6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06848" y="174489"/>
            <a:ext cx="5899150" cy="4169030"/>
          </a:xfrm>
          <a:custGeom>
            <a:avLst/>
            <a:gdLst>
              <a:gd name="connsiteX0" fmla="*/ 4950105 w 5899150"/>
              <a:gd name="connsiteY0" fmla="*/ 2048130 h 4169030"/>
              <a:gd name="connsiteX1" fmla="*/ 4950105 w 5899150"/>
              <a:gd name="connsiteY1" fmla="*/ 3740405 h 4169030"/>
              <a:gd name="connsiteX2" fmla="*/ 4950105 w 5899150"/>
              <a:gd name="connsiteY2" fmla="*/ 2048130 h 4169030"/>
              <a:gd name="connsiteX3" fmla="*/ 2024528 w 5899150"/>
              <a:gd name="connsiteY3" fmla="*/ 1949705 h 4169030"/>
              <a:gd name="connsiteX4" fmla="*/ 2024528 w 5899150"/>
              <a:gd name="connsiteY4" fmla="*/ 3000581 h 4169030"/>
              <a:gd name="connsiteX5" fmla="*/ 2000342 w 5899150"/>
              <a:gd name="connsiteY5" fmla="*/ 3592768 h 4169030"/>
              <a:gd name="connsiteX6" fmla="*/ 1979612 w 5899150"/>
              <a:gd name="connsiteY6" fmla="*/ 3123811 h 4169030"/>
              <a:gd name="connsiteX7" fmla="*/ 2000342 w 5899150"/>
              <a:gd name="connsiteY7" fmla="*/ 2528200 h 4169030"/>
              <a:gd name="connsiteX8" fmla="*/ 2024528 w 5899150"/>
              <a:gd name="connsiteY8" fmla="*/ 1949705 h 4169030"/>
              <a:gd name="connsiteX9" fmla="*/ 157535 w 5899150"/>
              <a:gd name="connsiteY9" fmla="*/ 1541717 h 4169030"/>
              <a:gd name="connsiteX10" fmla="*/ 184429 w 5899150"/>
              <a:gd name="connsiteY10" fmla="*/ 1716447 h 4169030"/>
              <a:gd name="connsiteX11" fmla="*/ 154174 w 5899150"/>
              <a:gd name="connsiteY11" fmla="*/ 2884742 h 4169030"/>
              <a:gd name="connsiteX12" fmla="*/ 154174 w 5899150"/>
              <a:gd name="connsiteY12" fmla="*/ 2353699 h 4169030"/>
              <a:gd name="connsiteX13" fmla="*/ 154174 w 5899150"/>
              <a:gd name="connsiteY13" fmla="*/ 1884325 h 4169030"/>
              <a:gd name="connsiteX14" fmla="*/ 157535 w 5899150"/>
              <a:gd name="connsiteY14" fmla="*/ 1541717 h 4169030"/>
              <a:gd name="connsiteX15" fmla="*/ 99236 w 5899150"/>
              <a:gd name="connsiteY15" fmla="*/ 1144845 h 4169030"/>
              <a:gd name="connsiteX16" fmla="*/ 112924 w 5899150"/>
              <a:gd name="connsiteY16" fmla="*/ 1805849 h 4169030"/>
              <a:gd name="connsiteX17" fmla="*/ 106080 w 5899150"/>
              <a:gd name="connsiteY17" fmla="*/ 3405277 h 4169030"/>
              <a:gd name="connsiteX18" fmla="*/ 153987 w 5899150"/>
              <a:gd name="connsiteY18" fmla="*/ 2984014 h 4169030"/>
              <a:gd name="connsiteX19" fmla="*/ 153987 w 5899150"/>
              <a:gd name="connsiteY19" fmla="*/ 4169030 h 4169030"/>
              <a:gd name="connsiteX20" fmla="*/ 0 w 5899150"/>
              <a:gd name="connsiteY20" fmla="*/ 4169030 h 4169030"/>
              <a:gd name="connsiteX21" fmla="*/ 0 w 5899150"/>
              <a:gd name="connsiteY21" fmla="*/ 1312665 h 4169030"/>
              <a:gd name="connsiteX22" fmla="*/ 5899150 w 5899150"/>
              <a:gd name="connsiteY22" fmla="*/ 914655 h 4169030"/>
              <a:gd name="connsiteX23" fmla="*/ 5899150 w 5899150"/>
              <a:gd name="connsiteY23" fmla="*/ 1041655 h 4169030"/>
              <a:gd name="connsiteX24" fmla="*/ 5899150 w 5899150"/>
              <a:gd name="connsiteY24" fmla="*/ 3846767 h 4169030"/>
              <a:gd name="connsiteX25" fmla="*/ 5867400 w 5899150"/>
              <a:gd name="connsiteY25" fmla="*/ 3846767 h 4169030"/>
              <a:gd name="connsiteX26" fmla="*/ 5867400 w 5899150"/>
              <a:gd name="connsiteY26" fmla="*/ 1048005 h 4169030"/>
              <a:gd name="connsiteX27" fmla="*/ 5651500 w 5899150"/>
              <a:gd name="connsiteY27" fmla="*/ 636843 h 4169030"/>
              <a:gd name="connsiteX28" fmla="*/ 5778189 w 5899150"/>
              <a:gd name="connsiteY28" fmla="*/ 914329 h 4169030"/>
              <a:gd name="connsiteX29" fmla="*/ 5805581 w 5899150"/>
              <a:gd name="connsiteY29" fmla="*/ 1479577 h 4169030"/>
              <a:gd name="connsiteX30" fmla="*/ 5778189 w 5899150"/>
              <a:gd name="connsiteY30" fmla="*/ 1948904 h 4169030"/>
              <a:gd name="connsiteX31" fmla="*/ 5812429 w 5899150"/>
              <a:gd name="connsiteY31" fmla="*/ 2548410 h 4169030"/>
              <a:gd name="connsiteX32" fmla="*/ 5812429 w 5899150"/>
              <a:gd name="connsiteY32" fmla="*/ 3846768 h 4169030"/>
              <a:gd name="connsiteX33" fmla="*/ 5651500 w 5899150"/>
              <a:gd name="connsiteY33" fmla="*/ 3846768 h 4169030"/>
              <a:gd name="connsiteX34" fmla="*/ 5651500 w 5899150"/>
              <a:gd name="connsiteY34" fmla="*/ 636843 h 4169030"/>
              <a:gd name="connsiteX35" fmla="*/ 3798887 w 5899150"/>
              <a:gd name="connsiteY35" fmla="*/ 0 h 4169030"/>
              <a:gd name="connsiteX36" fmla="*/ 3887787 w 5899150"/>
              <a:gd name="connsiteY36" fmla="*/ 0 h 4169030"/>
              <a:gd name="connsiteX37" fmla="*/ 3887787 w 5899150"/>
              <a:gd name="connsiteY37" fmla="*/ 1541995 h 4169030"/>
              <a:gd name="connsiteX38" fmla="*/ 3892017 w 5899150"/>
              <a:gd name="connsiteY38" fmla="*/ 1539449 h 4169030"/>
              <a:gd name="connsiteX39" fmla="*/ 3911699 w 5899150"/>
              <a:gd name="connsiteY39" fmla="*/ 1534298 h 4169030"/>
              <a:gd name="connsiteX40" fmla="*/ 4010860 w 5899150"/>
              <a:gd name="connsiteY40" fmla="*/ 1603357 h 4169030"/>
              <a:gd name="connsiteX41" fmla="*/ 4017962 w 5899150"/>
              <a:gd name="connsiteY41" fmla="*/ 1605637 h 4169030"/>
              <a:gd name="connsiteX42" fmla="*/ 4017962 w 5899150"/>
              <a:gd name="connsiteY42" fmla="*/ 0 h 4169030"/>
              <a:gd name="connsiteX43" fmla="*/ 4179887 w 5899150"/>
              <a:gd name="connsiteY43" fmla="*/ 0 h 4169030"/>
              <a:gd name="connsiteX44" fmla="*/ 4179887 w 5899150"/>
              <a:gd name="connsiteY44" fmla="*/ 1881563 h 4169030"/>
              <a:gd name="connsiteX45" fmla="*/ 4188820 w 5899150"/>
              <a:gd name="connsiteY45" fmla="*/ 1882372 h 4169030"/>
              <a:gd name="connsiteX46" fmla="*/ 4268788 w 5899150"/>
              <a:gd name="connsiteY46" fmla="*/ 1870396 h 4169030"/>
              <a:gd name="connsiteX47" fmla="*/ 4298950 w 5899150"/>
              <a:gd name="connsiteY47" fmla="*/ 1847301 h 4169030"/>
              <a:gd name="connsiteX48" fmla="*/ 4298950 w 5899150"/>
              <a:gd name="connsiteY48" fmla="*/ 0 h 4169030"/>
              <a:gd name="connsiteX49" fmla="*/ 4384675 w 5899150"/>
              <a:gd name="connsiteY49" fmla="*/ 0 h 4169030"/>
              <a:gd name="connsiteX50" fmla="*/ 4384675 w 5899150"/>
              <a:gd name="connsiteY50" fmla="*/ 2129601 h 4169030"/>
              <a:gd name="connsiteX51" fmla="*/ 4386873 w 5899150"/>
              <a:gd name="connsiteY51" fmla="*/ 2131428 h 4169030"/>
              <a:gd name="connsiteX52" fmla="*/ 4437734 w 5899150"/>
              <a:gd name="connsiteY52" fmla="*/ 2184922 h 4169030"/>
              <a:gd name="connsiteX53" fmla="*/ 4487862 w 5899150"/>
              <a:gd name="connsiteY53" fmla="*/ 2256236 h 4169030"/>
              <a:gd name="connsiteX54" fmla="*/ 4487862 w 5899150"/>
              <a:gd name="connsiteY54" fmla="*/ 0 h 4169030"/>
              <a:gd name="connsiteX55" fmla="*/ 4627562 w 5899150"/>
              <a:gd name="connsiteY55" fmla="*/ 0 h 4169030"/>
              <a:gd name="connsiteX56" fmla="*/ 4627562 w 5899150"/>
              <a:gd name="connsiteY56" fmla="*/ 2367529 h 4169030"/>
              <a:gd name="connsiteX57" fmla="*/ 4660412 w 5899150"/>
              <a:gd name="connsiteY57" fmla="*/ 2382977 h 4169030"/>
              <a:gd name="connsiteX58" fmla="*/ 4709990 w 5899150"/>
              <a:gd name="connsiteY58" fmla="*/ 2415299 h 4169030"/>
              <a:gd name="connsiteX59" fmla="*/ 4750700 w 5899150"/>
              <a:gd name="connsiteY59" fmla="*/ 2462736 h 4169030"/>
              <a:gd name="connsiteX60" fmla="*/ 4775200 w 5899150"/>
              <a:gd name="connsiteY60" fmla="*/ 2499388 h 4169030"/>
              <a:gd name="connsiteX61" fmla="*/ 4775200 w 5899150"/>
              <a:gd name="connsiteY61" fmla="*/ 0 h 4169030"/>
              <a:gd name="connsiteX62" fmla="*/ 4902200 w 5899150"/>
              <a:gd name="connsiteY62" fmla="*/ 0 h 4169030"/>
              <a:gd name="connsiteX63" fmla="*/ 4902200 w 5899150"/>
              <a:gd name="connsiteY63" fmla="*/ 3994405 h 4169030"/>
              <a:gd name="connsiteX64" fmla="*/ 4775200 w 5899150"/>
              <a:gd name="connsiteY64" fmla="*/ 3994405 h 4169030"/>
              <a:gd name="connsiteX65" fmla="*/ 4775200 w 5899150"/>
              <a:gd name="connsiteY65" fmla="*/ 2685763 h 4169030"/>
              <a:gd name="connsiteX66" fmla="*/ 4774956 w 5899150"/>
              <a:gd name="connsiteY66" fmla="*/ 2686305 h 4169030"/>
              <a:gd name="connsiteX67" fmla="*/ 4658462 w 5899150"/>
              <a:gd name="connsiteY67" fmla="*/ 2441061 h 4169030"/>
              <a:gd name="connsiteX68" fmla="*/ 4627562 w 5899150"/>
              <a:gd name="connsiteY68" fmla="*/ 2418260 h 4169030"/>
              <a:gd name="connsiteX69" fmla="*/ 4627562 w 5899150"/>
              <a:gd name="connsiteY69" fmla="*/ 4107118 h 4169030"/>
              <a:gd name="connsiteX70" fmla="*/ 4487862 w 5899150"/>
              <a:gd name="connsiteY70" fmla="*/ 4107118 h 4169030"/>
              <a:gd name="connsiteX71" fmla="*/ 4487862 w 5899150"/>
              <a:gd name="connsiteY71" fmla="*/ 2285838 h 4169030"/>
              <a:gd name="connsiteX72" fmla="*/ 4452266 w 5899150"/>
              <a:gd name="connsiteY72" fmla="*/ 2240774 h 4169030"/>
              <a:gd name="connsiteX73" fmla="*/ 4389705 w 5899150"/>
              <a:gd name="connsiteY73" fmla="*/ 2156138 h 4169030"/>
              <a:gd name="connsiteX74" fmla="*/ 4384675 w 5899150"/>
              <a:gd name="connsiteY74" fmla="*/ 2150695 h 4169030"/>
              <a:gd name="connsiteX75" fmla="*/ 4384675 w 5899150"/>
              <a:gd name="connsiteY75" fmla="*/ 3846768 h 4169030"/>
              <a:gd name="connsiteX76" fmla="*/ 4298950 w 5899150"/>
              <a:gd name="connsiteY76" fmla="*/ 3846768 h 4169030"/>
              <a:gd name="connsiteX77" fmla="*/ 4298950 w 5899150"/>
              <a:gd name="connsiteY77" fmla="*/ 1858615 h 4169030"/>
              <a:gd name="connsiteX78" fmla="*/ 4280403 w 5899150"/>
              <a:gd name="connsiteY78" fmla="*/ 1873164 h 4169030"/>
              <a:gd name="connsiteX79" fmla="*/ 4265362 w 5899150"/>
              <a:gd name="connsiteY79" fmla="*/ 1887429 h 4169030"/>
              <a:gd name="connsiteX80" fmla="*/ 4195992 w 5899150"/>
              <a:gd name="connsiteY80" fmla="*/ 1895094 h 4169030"/>
              <a:gd name="connsiteX81" fmla="*/ 4179887 w 5899150"/>
              <a:gd name="connsiteY81" fmla="*/ 1901618 h 4169030"/>
              <a:gd name="connsiteX82" fmla="*/ 4179887 w 5899150"/>
              <a:gd name="connsiteY82" fmla="*/ 4024568 h 4169030"/>
              <a:gd name="connsiteX83" fmla="*/ 4017962 w 5899150"/>
              <a:gd name="connsiteY83" fmla="*/ 4024568 h 4169030"/>
              <a:gd name="connsiteX84" fmla="*/ 4017962 w 5899150"/>
              <a:gd name="connsiteY84" fmla="*/ 1619253 h 4169030"/>
              <a:gd name="connsiteX85" fmla="*/ 4009630 w 5899150"/>
              <a:gd name="connsiteY85" fmla="*/ 1614733 h 4169030"/>
              <a:gd name="connsiteX86" fmla="*/ 3894584 w 5899150"/>
              <a:gd name="connsiteY86" fmla="*/ 1551469 h 4169030"/>
              <a:gd name="connsiteX87" fmla="*/ 3887787 w 5899150"/>
              <a:gd name="connsiteY87" fmla="*/ 1554608 h 4169030"/>
              <a:gd name="connsiteX88" fmla="*/ 3887787 w 5899150"/>
              <a:gd name="connsiteY88" fmla="*/ 4069018 h 4169030"/>
              <a:gd name="connsiteX89" fmla="*/ 3798887 w 5899150"/>
              <a:gd name="connsiteY89" fmla="*/ 4069018 h 4169030"/>
              <a:gd name="connsiteX90" fmla="*/ 3798887 w 5899150"/>
              <a:gd name="connsiteY90" fmla="*/ 2296407 h 4169030"/>
              <a:gd name="connsiteX91" fmla="*/ 3771415 w 5899150"/>
              <a:gd name="connsiteY91" fmla="*/ 2277758 h 4169030"/>
              <a:gd name="connsiteX92" fmla="*/ 3730624 w 5899150"/>
              <a:gd name="connsiteY92" fmla="*/ 2267659 h 4169030"/>
              <a:gd name="connsiteX93" fmla="*/ 3575843 w 5899150"/>
              <a:gd name="connsiteY93" fmla="*/ 2189418 h 4169030"/>
              <a:gd name="connsiteX94" fmla="*/ 3503612 w 5899150"/>
              <a:gd name="connsiteY94" fmla="*/ 2223436 h 4169030"/>
              <a:gd name="connsiteX95" fmla="*/ 3593041 w 5899150"/>
              <a:gd name="connsiteY95" fmla="*/ 2172409 h 4169030"/>
              <a:gd name="connsiteX96" fmla="*/ 3723745 w 5899150"/>
              <a:gd name="connsiteY96" fmla="*/ 2250650 h 4169030"/>
              <a:gd name="connsiteX97" fmla="*/ 3790387 w 5899150"/>
              <a:gd name="connsiteY97" fmla="*/ 2267659 h 4169030"/>
              <a:gd name="connsiteX98" fmla="*/ 3798887 w 5899150"/>
              <a:gd name="connsiteY98" fmla="*/ 2270909 h 4169030"/>
              <a:gd name="connsiteX99" fmla="*/ 2706687 w 5899150"/>
              <a:gd name="connsiteY99" fmla="*/ 0 h 4169030"/>
              <a:gd name="connsiteX100" fmla="*/ 2849562 w 5899150"/>
              <a:gd name="connsiteY100" fmla="*/ 0 h 4169030"/>
              <a:gd name="connsiteX101" fmla="*/ 2849562 w 5899150"/>
              <a:gd name="connsiteY101" fmla="*/ 2624099 h 4169030"/>
              <a:gd name="connsiteX102" fmla="*/ 2865098 w 5899150"/>
              <a:gd name="connsiteY102" fmla="*/ 2623913 h 4169030"/>
              <a:gd name="connsiteX103" fmla="*/ 2946590 w 5899150"/>
              <a:gd name="connsiteY103" fmla="*/ 2610370 h 4169030"/>
              <a:gd name="connsiteX104" fmla="*/ 3008312 w 5899150"/>
              <a:gd name="connsiteY104" fmla="*/ 2565655 h 4169030"/>
              <a:gd name="connsiteX105" fmla="*/ 3008312 w 5899150"/>
              <a:gd name="connsiteY105" fmla="*/ 2572534 h 4169030"/>
              <a:gd name="connsiteX106" fmla="*/ 2943161 w 5899150"/>
              <a:gd name="connsiteY106" fmla="*/ 2627568 h 4169030"/>
              <a:gd name="connsiteX107" fmla="*/ 2870831 w 5899150"/>
              <a:gd name="connsiteY107" fmla="*/ 2636758 h 4169030"/>
              <a:gd name="connsiteX108" fmla="*/ 2849562 w 5899150"/>
              <a:gd name="connsiteY108" fmla="*/ 2643950 h 4169030"/>
              <a:gd name="connsiteX109" fmla="*/ 2849562 w 5899150"/>
              <a:gd name="connsiteY109" fmla="*/ 4024568 h 4169030"/>
              <a:gd name="connsiteX110" fmla="*/ 2706687 w 5899150"/>
              <a:gd name="connsiteY110" fmla="*/ 4024568 h 4169030"/>
              <a:gd name="connsiteX111" fmla="*/ 2363787 w 5899150"/>
              <a:gd name="connsiteY111" fmla="*/ 0 h 4169030"/>
              <a:gd name="connsiteX112" fmla="*/ 2597149 w 5899150"/>
              <a:gd name="connsiteY112" fmla="*/ 0 h 4169030"/>
              <a:gd name="connsiteX113" fmla="*/ 2597149 w 5899150"/>
              <a:gd name="connsiteY113" fmla="*/ 4024568 h 4169030"/>
              <a:gd name="connsiteX114" fmla="*/ 2363787 w 5899150"/>
              <a:gd name="connsiteY114" fmla="*/ 4024568 h 4169030"/>
              <a:gd name="connsiteX115" fmla="*/ 1065212 w 5899150"/>
              <a:gd name="connsiteY115" fmla="*/ 0 h 4169030"/>
              <a:gd name="connsiteX116" fmla="*/ 1103312 w 5899150"/>
              <a:gd name="connsiteY116" fmla="*/ 0 h 4169030"/>
              <a:gd name="connsiteX117" fmla="*/ 1103312 w 5899150"/>
              <a:gd name="connsiteY117" fmla="*/ 2351515 h 4169030"/>
              <a:gd name="connsiteX118" fmla="*/ 1129517 w 5899150"/>
              <a:gd name="connsiteY118" fmla="*/ 2333902 h 4169030"/>
              <a:gd name="connsiteX119" fmla="*/ 1188596 w 5899150"/>
              <a:gd name="connsiteY119" fmla="*/ 2309000 h 4169030"/>
              <a:gd name="connsiteX120" fmla="*/ 1332441 w 5899150"/>
              <a:gd name="connsiteY120" fmla="*/ 2398304 h 4169030"/>
              <a:gd name="connsiteX121" fmla="*/ 1366155 w 5899150"/>
              <a:gd name="connsiteY121" fmla="*/ 2402759 h 4169030"/>
              <a:gd name="connsiteX122" fmla="*/ 1373187 w 5899150"/>
              <a:gd name="connsiteY122" fmla="*/ 2405026 h 4169030"/>
              <a:gd name="connsiteX123" fmla="*/ 1373187 w 5899150"/>
              <a:gd name="connsiteY123" fmla="*/ 1625601 h 4169030"/>
              <a:gd name="connsiteX124" fmla="*/ 1340907 w 5899150"/>
              <a:gd name="connsiteY124" fmla="*/ 1641100 h 4169030"/>
              <a:gd name="connsiteX125" fmla="*/ 1270000 w 5899150"/>
              <a:gd name="connsiteY125" fmla="*/ 1675677 h 4169030"/>
              <a:gd name="connsiteX126" fmla="*/ 1338602 w 5899150"/>
              <a:gd name="connsiteY126" fmla="*/ 1627441 h 4169030"/>
              <a:gd name="connsiteX127" fmla="*/ 1373187 w 5899150"/>
              <a:gd name="connsiteY127" fmla="*/ 1607193 h 4169030"/>
              <a:gd name="connsiteX128" fmla="*/ 1373187 w 5899150"/>
              <a:gd name="connsiteY128" fmla="*/ 0 h 4169030"/>
              <a:gd name="connsiteX129" fmla="*/ 1514474 w 5899150"/>
              <a:gd name="connsiteY129" fmla="*/ 0 h 4169030"/>
              <a:gd name="connsiteX130" fmla="*/ 1514474 w 5899150"/>
              <a:gd name="connsiteY130" fmla="*/ 1648865 h 4169030"/>
              <a:gd name="connsiteX131" fmla="*/ 1531976 w 5899150"/>
              <a:gd name="connsiteY131" fmla="*/ 1662017 h 4169030"/>
              <a:gd name="connsiteX132" fmla="*/ 1654174 w 5899150"/>
              <a:gd name="connsiteY132" fmla="*/ 1726902 h 4169030"/>
              <a:gd name="connsiteX133" fmla="*/ 1770799 w 5899150"/>
              <a:gd name="connsiteY133" fmla="*/ 1754648 h 4169030"/>
              <a:gd name="connsiteX134" fmla="*/ 1801812 w 5899150"/>
              <a:gd name="connsiteY134" fmla="*/ 1766756 h 4169030"/>
              <a:gd name="connsiteX135" fmla="*/ 1801812 w 5899150"/>
              <a:gd name="connsiteY135" fmla="*/ 582868 h 4169030"/>
              <a:gd name="connsiteX136" fmla="*/ 1952350 w 5899150"/>
              <a:gd name="connsiteY136" fmla="*/ 1535089 h 4169030"/>
              <a:gd name="connsiteX137" fmla="*/ 1952350 w 5899150"/>
              <a:gd name="connsiteY137" fmla="*/ 2894914 h 4169030"/>
              <a:gd name="connsiteX138" fmla="*/ 1952350 w 5899150"/>
              <a:gd name="connsiteY138" fmla="*/ 3391576 h 4169030"/>
              <a:gd name="connsiteX139" fmla="*/ 2000249 w 5899150"/>
              <a:gd name="connsiteY139" fmla="*/ 4124580 h 4169030"/>
              <a:gd name="connsiteX140" fmla="*/ 1801812 w 5899150"/>
              <a:gd name="connsiteY140" fmla="*/ 4124580 h 4169030"/>
              <a:gd name="connsiteX141" fmla="*/ 1801812 w 5899150"/>
              <a:gd name="connsiteY141" fmla="*/ 1819703 h 4169030"/>
              <a:gd name="connsiteX142" fmla="*/ 1794810 w 5899150"/>
              <a:gd name="connsiteY142" fmla="*/ 1812275 h 4169030"/>
              <a:gd name="connsiteX143" fmla="*/ 1671326 w 5899150"/>
              <a:gd name="connsiteY143" fmla="*/ 1754221 h 4169030"/>
              <a:gd name="connsiteX144" fmla="*/ 1527689 w 5899150"/>
              <a:gd name="connsiteY144" fmla="*/ 1670127 h 4169030"/>
              <a:gd name="connsiteX145" fmla="*/ 1514474 w 5899150"/>
              <a:gd name="connsiteY145" fmla="*/ 1659196 h 4169030"/>
              <a:gd name="connsiteX146" fmla="*/ 1514474 w 5899150"/>
              <a:gd name="connsiteY146" fmla="*/ 4124580 h 4169030"/>
              <a:gd name="connsiteX147" fmla="*/ 1373187 w 5899150"/>
              <a:gd name="connsiteY147" fmla="*/ 4124580 h 4169030"/>
              <a:gd name="connsiteX148" fmla="*/ 1373187 w 5899150"/>
              <a:gd name="connsiteY148" fmla="*/ 2423717 h 4169030"/>
              <a:gd name="connsiteX149" fmla="*/ 1342716 w 5899150"/>
              <a:gd name="connsiteY149" fmla="*/ 2415478 h 4169030"/>
              <a:gd name="connsiteX150" fmla="*/ 1168047 w 5899150"/>
              <a:gd name="connsiteY150" fmla="*/ 2326174 h 4169030"/>
              <a:gd name="connsiteX151" fmla="*/ 1106399 w 5899150"/>
              <a:gd name="connsiteY151" fmla="*/ 2354081 h 4169030"/>
              <a:gd name="connsiteX152" fmla="*/ 1103312 w 5899150"/>
              <a:gd name="connsiteY152" fmla="*/ 2355565 h 4169030"/>
              <a:gd name="connsiteX153" fmla="*/ 1103312 w 5899150"/>
              <a:gd name="connsiteY153" fmla="*/ 4165855 h 4169030"/>
              <a:gd name="connsiteX154" fmla="*/ 1065212 w 5899150"/>
              <a:gd name="connsiteY154" fmla="*/ 4165855 h 4169030"/>
              <a:gd name="connsiteX155" fmla="*/ 887412 w 5899150"/>
              <a:gd name="connsiteY155" fmla="*/ 0 h 4169030"/>
              <a:gd name="connsiteX156" fmla="*/ 969962 w 5899150"/>
              <a:gd name="connsiteY156" fmla="*/ 0 h 4169030"/>
              <a:gd name="connsiteX157" fmla="*/ 969962 w 5899150"/>
              <a:gd name="connsiteY157" fmla="*/ 4165855 h 4169030"/>
              <a:gd name="connsiteX158" fmla="*/ 887412 w 5899150"/>
              <a:gd name="connsiteY158" fmla="*/ 4165855 h 4169030"/>
              <a:gd name="connsiteX159" fmla="*/ 630237 w 5899150"/>
              <a:gd name="connsiteY159" fmla="*/ 0 h 4169030"/>
              <a:gd name="connsiteX160" fmla="*/ 774699 w 5899150"/>
              <a:gd name="connsiteY160" fmla="*/ 0 h 4169030"/>
              <a:gd name="connsiteX161" fmla="*/ 774699 w 5899150"/>
              <a:gd name="connsiteY161" fmla="*/ 4124580 h 4169030"/>
              <a:gd name="connsiteX162" fmla="*/ 630237 w 5899150"/>
              <a:gd name="connsiteY162" fmla="*/ 4124580 h 4169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</a:cxnLst>
            <a:rect l="l" t="t" r="r" b="b"/>
            <a:pathLst>
              <a:path w="5899150" h="4169030">
                <a:moveTo>
                  <a:pt x="4950105" y="2048130"/>
                </a:moveTo>
                <a:cubicBezTo>
                  <a:pt x="5005387" y="2329034"/>
                  <a:pt x="4950105" y="3740405"/>
                  <a:pt x="4950105" y="3740405"/>
                </a:cubicBezTo>
                <a:cubicBezTo>
                  <a:pt x="4946650" y="3689020"/>
                  <a:pt x="4950105" y="2048130"/>
                  <a:pt x="4950105" y="2048130"/>
                </a:cubicBezTo>
                <a:close/>
                <a:moveTo>
                  <a:pt x="2024528" y="1949705"/>
                </a:moveTo>
                <a:cubicBezTo>
                  <a:pt x="2024528" y="1949705"/>
                  <a:pt x="2038349" y="2938966"/>
                  <a:pt x="2024528" y="3000581"/>
                </a:cubicBezTo>
                <a:cubicBezTo>
                  <a:pt x="2014163" y="3062196"/>
                  <a:pt x="2000342" y="3592768"/>
                  <a:pt x="2000342" y="3592768"/>
                </a:cubicBezTo>
                <a:cubicBezTo>
                  <a:pt x="2000342" y="3592768"/>
                  <a:pt x="1979612" y="3205964"/>
                  <a:pt x="1979612" y="3123811"/>
                </a:cubicBezTo>
                <a:cubicBezTo>
                  <a:pt x="1979612" y="3041657"/>
                  <a:pt x="1996887" y="2627469"/>
                  <a:pt x="2000342" y="2528200"/>
                </a:cubicBezTo>
                <a:cubicBezTo>
                  <a:pt x="2007253" y="2428932"/>
                  <a:pt x="2024528" y="1949705"/>
                  <a:pt x="2024528" y="1949705"/>
                </a:cubicBezTo>
                <a:close/>
                <a:moveTo>
                  <a:pt x="157535" y="1541717"/>
                </a:moveTo>
                <a:cubicBezTo>
                  <a:pt x="157535" y="1541717"/>
                  <a:pt x="207962" y="1630795"/>
                  <a:pt x="184429" y="1716447"/>
                </a:cubicBezTo>
                <a:cubicBezTo>
                  <a:pt x="157535" y="1802099"/>
                  <a:pt x="184429" y="2521577"/>
                  <a:pt x="154174" y="2884742"/>
                </a:cubicBezTo>
                <a:cubicBezTo>
                  <a:pt x="154174" y="2884742"/>
                  <a:pt x="157535" y="2425647"/>
                  <a:pt x="154174" y="2353699"/>
                </a:cubicBezTo>
                <a:cubicBezTo>
                  <a:pt x="150812" y="2281751"/>
                  <a:pt x="150812" y="1966552"/>
                  <a:pt x="154174" y="1884325"/>
                </a:cubicBezTo>
                <a:cubicBezTo>
                  <a:pt x="157535" y="1802099"/>
                  <a:pt x="157535" y="1541717"/>
                  <a:pt x="157535" y="1541717"/>
                </a:cubicBezTo>
                <a:close/>
                <a:moveTo>
                  <a:pt x="99236" y="1144845"/>
                </a:moveTo>
                <a:cubicBezTo>
                  <a:pt x="99236" y="1144845"/>
                  <a:pt x="133455" y="1706528"/>
                  <a:pt x="112924" y="1805849"/>
                </a:cubicBezTo>
                <a:cubicBezTo>
                  <a:pt x="92392" y="1905170"/>
                  <a:pt x="106080" y="3364178"/>
                  <a:pt x="106080" y="3405277"/>
                </a:cubicBezTo>
                <a:cubicBezTo>
                  <a:pt x="106080" y="3446376"/>
                  <a:pt x="153987" y="2984014"/>
                  <a:pt x="153987" y="2984014"/>
                </a:cubicBezTo>
                <a:cubicBezTo>
                  <a:pt x="153987" y="2984014"/>
                  <a:pt x="153987" y="2984014"/>
                  <a:pt x="153987" y="4169030"/>
                </a:cubicBezTo>
                <a:cubicBezTo>
                  <a:pt x="153987" y="4169030"/>
                  <a:pt x="153987" y="4169030"/>
                  <a:pt x="0" y="4169030"/>
                </a:cubicBezTo>
                <a:cubicBezTo>
                  <a:pt x="0" y="4169030"/>
                  <a:pt x="0" y="4169030"/>
                  <a:pt x="0" y="1312665"/>
                </a:cubicBezTo>
                <a:close/>
                <a:moveTo>
                  <a:pt x="5899150" y="914655"/>
                </a:moveTo>
                <a:lnTo>
                  <a:pt x="5899150" y="1041655"/>
                </a:lnTo>
                <a:lnTo>
                  <a:pt x="5899150" y="3846767"/>
                </a:lnTo>
                <a:lnTo>
                  <a:pt x="5867400" y="3846767"/>
                </a:lnTo>
                <a:lnTo>
                  <a:pt x="5867400" y="1048005"/>
                </a:lnTo>
                <a:close/>
                <a:moveTo>
                  <a:pt x="5651500" y="636843"/>
                </a:moveTo>
                <a:cubicBezTo>
                  <a:pt x="5651500" y="636843"/>
                  <a:pt x="5781613" y="736190"/>
                  <a:pt x="5778189" y="914329"/>
                </a:cubicBezTo>
                <a:cubicBezTo>
                  <a:pt x="5774765" y="1092468"/>
                  <a:pt x="5788461" y="1373379"/>
                  <a:pt x="5805581" y="1479577"/>
                </a:cubicBezTo>
                <a:cubicBezTo>
                  <a:pt x="5826125" y="1582349"/>
                  <a:pt x="5785037" y="1777617"/>
                  <a:pt x="5778189" y="1948904"/>
                </a:cubicBezTo>
                <a:cubicBezTo>
                  <a:pt x="5771341" y="2116765"/>
                  <a:pt x="5798733" y="2370271"/>
                  <a:pt x="5812429" y="2548410"/>
                </a:cubicBezTo>
                <a:cubicBezTo>
                  <a:pt x="5826125" y="2726549"/>
                  <a:pt x="5812429" y="3846768"/>
                  <a:pt x="5812429" y="3846768"/>
                </a:cubicBezTo>
                <a:lnTo>
                  <a:pt x="5651500" y="3846768"/>
                </a:lnTo>
                <a:cubicBezTo>
                  <a:pt x="5651500" y="636843"/>
                  <a:pt x="5651500" y="636843"/>
                  <a:pt x="5651500" y="636843"/>
                </a:cubicBezTo>
                <a:close/>
                <a:moveTo>
                  <a:pt x="3798887" y="0"/>
                </a:moveTo>
                <a:lnTo>
                  <a:pt x="3887787" y="0"/>
                </a:lnTo>
                <a:lnTo>
                  <a:pt x="3887787" y="1541995"/>
                </a:lnTo>
                <a:lnTo>
                  <a:pt x="3892017" y="1539449"/>
                </a:lnTo>
                <a:cubicBezTo>
                  <a:pt x="3901002" y="1534942"/>
                  <a:pt x="3908276" y="1532581"/>
                  <a:pt x="3911699" y="1534298"/>
                </a:cubicBezTo>
                <a:cubicBezTo>
                  <a:pt x="3924535" y="1539449"/>
                  <a:pt x="3973955" y="1583235"/>
                  <a:pt x="4010860" y="1603357"/>
                </a:cubicBezTo>
                <a:lnTo>
                  <a:pt x="4017962" y="1605637"/>
                </a:lnTo>
                <a:lnTo>
                  <a:pt x="4017962" y="0"/>
                </a:lnTo>
                <a:lnTo>
                  <a:pt x="4179887" y="0"/>
                </a:lnTo>
                <a:lnTo>
                  <a:pt x="4179887" y="1881563"/>
                </a:lnTo>
                <a:lnTo>
                  <a:pt x="4188820" y="1882372"/>
                </a:lnTo>
                <a:cubicBezTo>
                  <a:pt x="4213549" y="1885087"/>
                  <a:pt x="4250803" y="1888281"/>
                  <a:pt x="4268788" y="1870396"/>
                </a:cubicBezTo>
                <a:lnTo>
                  <a:pt x="4298950" y="1847301"/>
                </a:lnTo>
                <a:lnTo>
                  <a:pt x="4298950" y="0"/>
                </a:lnTo>
                <a:lnTo>
                  <a:pt x="4384675" y="0"/>
                </a:lnTo>
                <a:lnTo>
                  <a:pt x="4384675" y="2129601"/>
                </a:lnTo>
                <a:lnTo>
                  <a:pt x="4386873" y="2131428"/>
                </a:lnTo>
                <a:cubicBezTo>
                  <a:pt x="4402260" y="2145579"/>
                  <a:pt x="4419783" y="2163374"/>
                  <a:pt x="4437734" y="2184922"/>
                </a:cubicBezTo>
                <a:lnTo>
                  <a:pt x="4487862" y="2256236"/>
                </a:lnTo>
                <a:lnTo>
                  <a:pt x="4487862" y="0"/>
                </a:lnTo>
                <a:lnTo>
                  <a:pt x="4627562" y="0"/>
                </a:lnTo>
                <a:lnTo>
                  <a:pt x="4627562" y="2367529"/>
                </a:lnTo>
                <a:lnTo>
                  <a:pt x="4660412" y="2382977"/>
                </a:lnTo>
                <a:cubicBezTo>
                  <a:pt x="4679217" y="2392358"/>
                  <a:pt x="4696313" y="2402435"/>
                  <a:pt x="4709990" y="2415299"/>
                </a:cubicBezTo>
                <a:cubicBezTo>
                  <a:pt x="4723667" y="2428163"/>
                  <a:pt x="4737558" y="2444887"/>
                  <a:pt x="4750700" y="2462736"/>
                </a:cubicBezTo>
                <a:lnTo>
                  <a:pt x="4775200" y="2499388"/>
                </a:lnTo>
                <a:lnTo>
                  <a:pt x="4775200" y="0"/>
                </a:lnTo>
                <a:lnTo>
                  <a:pt x="4902200" y="0"/>
                </a:lnTo>
                <a:lnTo>
                  <a:pt x="4902200" y="3994405"/>
                </a:lnTo>
                <a:lnTo>
                  <a:pt x="4775200" y="3994405"/>
                </a:lnTo>
                <a:lnTo>
                  <a:pt x="4775200" y="2685763"/>
                </a:lnTo>
                <a:lnTo>
                  <a:pt x="4774956" y="2686305"/>
                </a:lnTo>
                <a:cubicBezTo>
                  <a:pt x="4774956" y="2686305"/>
                  <a:pt x="4751395" y="2528718"/>
                  <a:pt x="4658462" y="2441061"/>
                </a:cubicBezTo>
                <a:lnTo>
                  <a:pt x="4627562" y="2418260"/>
                </a:lnTo>
                <a:lnTo>
                  <a:pt x="4627562" y="4107118"/>
                </a:lnTo>
                <a:lnTo>
                  <a:pt x="4487862" y="4107118"/>
                </a:lnTo>
                <a:lnTo>
                  <a:pt x="4487862" y="2285838"/>
                </a:lnTo>
                <a:lnTo>
                  <a:pt x="4452266" y="2240774"/>
                </a:lnTo>
                <a:cubicBezTo>
                  <a:pt x="4429827" y="2209686"/>
                  <a:pt x="4409205" y="2179991"/>
                  <a:pt x="4389705" y="2156138"/>
                </a:cubicBezTo>
                <a:lnTo>
                  <a:pt x="4384675" y="2150695"/>
                </a:lnTo>
                <a:lnTo>
                  <a:pt x="4384675" y="3846768"/>
                </a:lnTo>
                <a:lnTo>
                  <a:pt x="4298950" y="3846768"/>
                </a:lnTo>
                <a:lnTo>
                  <a:pt x="4298950" y="1858615"/>
                </a:lnTo>
                <a:lnTo>
                  <a:pt x="4280403" y="1873164"/>
                </a:lnTo>
                <a:cubicBezTo>
                  <a:pt x="4273498" y="1878913"/>
                  <a:pt x="4267931" y="1884022"/>
                  <a:pt x="4265362" y="1887429"/>
                </a:cubicBezTo>
                <a:cubicBezTo>
                  <a:pt x="4257654" y="1897648"/>
                  <a:pt x="4222970" y="1890623"/>
                  <a:pt x="4195992" y="1895094"/>
                </a:cubicBezTo>
                <a:lnTo>
                  <a:pt x="4179887" y="1901618"/>
                </a:lnTo>
                <a:lnTo>
                  <a:pt x="4179887" y="4024568"/>
                </a:lnTo>
                <a:lnTo>
                  <a:pt x="4017962" y="4024568"/>
                </a:lnTo>
                <a:lnTo>
                  <a:pt x="4017962" y="1619253"/>
                </a:lnTo>
                <a:lnTo>
                  <a:pt x="4009630" y="1614733"/>
                </a:lnTo>
                <a:cubicBezTo>
                  <a:pt x="3968393" y="1586884"/>
                  <a:pt x="3930525" y="1533439"/>
                  <a:pt x="3894584" y="1551469"/>
                </a:cubicBezTo>
                <a:lnTo>
                  <a:pt x="3887787" y="1554608"/>
                </a:lnTo>
                <a:lnTo>
                  <a:pt x="3887787" y="4069018"/>
                </a:lnTo>
                <a:lnTo>
                  <a:pt x="3798887" y="4069018"/>
                </a:lnTo>
                <a:lnTo>
                  <a:pt x="3798887" y="2296407"/>
                </a:lnTo>
                <a:lnTo>
                  <a:pt x="3771415" y="2277758"/>
                </a:lnTo>
                <a:cubicBezTo>
                  <a:pt x="3759001" y="2271699"/>
                  <a:pt x="3745242" y="2267659"/>
                  <a:pt x="3730624" y="2267659"/>
                </a:cubicBezTo>
                <a:cubicBezTo>
                  <a:pt x="3675591" y="2267659"/>
                  <a:pt x="3623997" y="2165605"/>
                  <a:pt x="3575843" y="2189418"/>
                </a:cubicBezTo>
                <a:cubicBezTo>
                  <a:pt x="3527689" y="2209828"/>
                  <a:pt x="3503612" y="2223436"/>
                  <a:pt x="3503612" y="2223436"/>
                </a:cubicBezTo>
                <a:cubicBezTo>
                  <a:pt x="3503612" y="2223436"/>
                  <a:pt x="3575843" y="2165605"/>
                  <a:pt x="3593041" y="2172409"/>
                </a:cubicBezTo>
                <a:cubicBezTo>
                  <a:pt x="3610239" y="2179212"/>
                  <a:pt x="3692789" y="2254052"/>
                  <a:pt x="3723745" y="2250650"/>
                </a:cubicBezTo>
                <a:cubicBezTo>
                  <a:pt x="3739223" y="2250650"/>
                  <a:pt x="3766740" y="2259155"/>
                  <a:pt x="3790387" y="2267659"/>
                </a:cubicBezTo>
                <a:lnTo>
                  <a:pt x="3798887" y="2270909"/>
                </a:lnTo>
                <a:close/>
                <a:moveTo>
                  <a:pt x="2706687" y="0"/>
                </a:moveTo>
                <a:lnTo>
                  <a:pt x="2849562" y="0"/>
                </a:lnTo>
                <a:lnTo>
                  <a:pt x="2849562" y="2624099"/>
                </a:lnTo>
                <a:lnTo>
                  <a:pt x="2865098" y="2623913"/>
                </a:lnTo>
                <a:cubicBezTo>
                  <a:pt x="2889369" y="2625203"/>
                  <a:pt x="2928588" y="2628428"/>
                  <a:pt x="2946590" y="2610370"/>
                </a:cubicBezTo>
                <a:cubicBezTo>
                  <a:pt x="2970593" y="2589732"/>
                  <a:pt x="3008312" y="2565655"/>
                  <a:pt x="3008312" y="2565655"/>
                </a:cubicBezTo>
                <a:cubicBezTo>
                  <a:pt x="3008312" y="2572534"/>
                  <a:pt x="3008312" y="2572534"/>
                  <a:pt x="3008312" y="2572534"/>
                </a:cubicBezTo>
                <a:cubicBezTo>
                  <a:pt x="3008312" y="2572534"/>
                  <a:pt x="2953448" y="2613809"/>
                  <a:pt x="2943161" y="2627568"/>
                </a:cubicBezTo>
                <a:cubicBezTo>
                  <a:pt x="2935446" y="2637886"/>
                  <a:pt x="2898798" y="2632727"/>
                  <a:pt x="2870831" y="2636758"/>
                </a:cubicBezTo>
                <a:lnTo>
                  <a:pt x="2849562" y="2643950"/>
                </a:lnTo>
                <a:lnTo>
                  <a:pt x="2849562" y="4024568"/>
                </a:lnTo>
                <a:lnTo>
                  <a:pt x="2706687" y="4024568"/>
                </a:lnTo>
                <a:close/>
                <a:moveTo>
                  <a:pt x="2363787" y="0"/>
                </a:moveTo>
                <a:lnTo>
                  <a:pt x="2597149" y="0"/>
                </a:lnTo>
                <a:lnTo>
                  <a:pt x="2597149" y="4024568"/>
                </a:lnTo>
                <a:lnTo>
                  <a:pt x="2363787" y="4024568"/>
                </a:lnTo>
                <a:close/>
                <a:moveTo>
                  <a:pt x="1065212" y="0"/>
                </a:moveTo>
                <a:lnTo>
                  <a:pt x="1103312" y="0"/>
                </a:lnTo>
                <a:lnTo>
                  <a:pt x="1103312" y="2351515"/>
                </a:lnTo>
                <a:lnTo>
                  <a:pt x="1129517" y="2333902"/>
                </a:lnTo>
                <a:cubicBezTo>
                  <a:pt x="1152635" y="2319304"/>
                  <a:pt x="1178322" y="2305565"/>
                  <a:pt x="1188596" y="2309000"/>
                </a:cubicBezTo>
                <a:cubicBezTo>
                  <a:pt x="1205721" y="2315869"/>
                  <a:pt x="1298192" y="2401739"/>
                  <a:pt x="1332441" y="2398304"/>
                </a:cubicBezTo>
                <a:cubicBezTo>
                  <a:pt x="1341003" y="2397445"/>
                  <a:pt x="1352990" y="2399377"/>
                  <a:pt x="1366155" y="2402759"/>
                </a:cubicBezTo>
                <a:lnTo>
                  <a:pt x="1373187" y="2405026"/>
                </a:lnTo>
                <a:lnTo>
                  <a:pt x="1373187" y="1625601"/>
                </a:lnTo>
                <a:lnTo>
                  <a:pt x="1340907" y="1641100"/>
                </a:lnTo>
                <a:cubicBezTo>
                  <a:pt x="1293153" y="1664152"/>
                  <a:pt x="1270000" y="1675677"/>
                  <a:pt x="1270000" y="1675677"/>
                </a:cubicBezTo>
                <a:cubicBezTo>
                  <a:pt x="1270000" y="1675677"/>
                  <a:pt x="1302586" y="1650918"/>
                  <a:pt x="1338602" y="1627441"/>
                </a:cubicBezTo>
                <a:lnTo>
                  <a:pt x="1373187" y="1607193"/>
                </a:lnTo>
                <a:lnTo>
                  <a:pt x="1373187" y="0"/>
                </a:lnTo>
                <a:lnTo>
                  <a:pt x="1514474" y="0"/>
                </a:lnTo>
                <a:lnTo>
                  <a:pt x="1514474" y="1648865"/>
                </a:lnTo>
                <a:lnTo>
                  <a:pt x="1531976" y="1662017"/>
                </a:lnTo>
                <a:cubicBezTo>
                  <a:pt x="1578711" y="1696167"/>
                  <a:pt x="1628448" y="1728609"/>
                  <a:pt x="1654174" y="1726902"/>
                </a:cubicBezTo>
                <a:cubicBezTo>
                  <a:pt x="1681616" y="1725194"/>
                  <a:pt x="1729637" y="1739708"/>
                  <a:pt x="1770799" y="1754648"/>
                </a:cubicBezTo>
                <a:lnTo>
                  <a:pt x="1801812" y="1766756"/>
                </a:lnTo>
                <a:lnTo>
                  <a:pt x="1801812" y="582868"/>
                </a:lnTo>
                <a:cubicBezTo>
                  <a:pt x="1801812" y="582868"/>
                  <a:pt x="1938665" y="969922"/>
                  <a:pt x="1952350" y="1535089"/>
                </a:cubicBezTo>
                <a:cubicBezTo>
                  <a:pt x="1966035" y="2100255"/>
                  <a:pt x="1969457" y="2614043"/>
                  <a:pt x="1952350" y="2894914"/>
                </a:cubicBezTo>
                <a:cubicBezTo>
                  <a:pt x="1935244" y="3175785"/>
                  <a:pt x="1952350" y="3391576"/>
                  <a:pt x="1952350" y="3391576"/>
                </a:cubicBezTo>
                <a:cubicBezTo>
                  <a:pt x="2000249" y="4124580"/>
                  <a:pt x="2000249" y="4124580"/>
                  <a:pt x="2000249" y="4124580"/>
                </a:cubicBezTo>
                <a:cubicBezTo>
                  <a:pt x="1801812" y="4124580"/>
                  <a:pt x="1801812" y="4124580"/>
                  <a:pt x="1801812" y="4124580"/>
                </a:cubicBezTo>
                <a:lnTo>
                  <a:pt x="1801812" y="1819703"/>
                </a:lnTo>
                <a:lnTo>
                  <a:pt x="1794810" y="1812275"/>
                </a:lnTo>
                <a:cubicBezTo>
                  <a:pt x="1763081" y="1783249"/>
                  <a:pt x="1719347" y="1754221"/>
                  <a:pt x="1671326" y="1754221"/>
                </a:cubicBezTo>
                <a:cubicBezTo>
                  <a:pt x="1621588" y="1754221"/>
                  <a:pt x="1573566" y="1709827"/>
                  <a:pt x="1527689" y="1670127"/>
                </a:cubicBezTo>
                <a:lnTo>
                  <a:pt x="1514474" y="1659196"/>
                </a:lnTo>
                <a:lnTo>
                  <a:pt x="1514474" y="4124580"/>
                </a:lnTo>
                <a:lnTo>
                  <a:pt x="1373187" y="4124580"/>
                </a:lnTo>
                <a:lnTo>
                  <a:pt x="1373187" y="2423717"/>
                </a:lnTo>
                <a:lnTo>
                  <a:pt x="1342716" y="2415478"/>
                </a:lnTo>
                <a:cubicBezTo>
                  <a:pt x="1277643" y="2415478"/>
                  <a:pt x="1219420" y="2302130"/>
                  <a:pt x="1168047" y="2326174"/>
                </a:cubicBezTo>
                <a:cubicBezTo>
                  <a:pt x="1140648" y="2338195"/>
                  <a:pt x="1120099" y="2347641"/>
                  <a:pt x="1106399" y="2354081"/>
                </a:cubicBezTo>
                <a:lnTo>
                  <a:pt x="1103312" y="2355565"/>
                </a:lnTo>
                <a:lnTo>
                  <a:pt x="1103312" y="4165855"/>
                </a:lnTo>
                <a:lnTo>
                  <a:pt x="1065212" y="4165855"/>
                </a:lnTo>
                <a:close/>
                <a:moveTo>
                  <a:pt x="887412" y="0"/>
                </a:moveTo>
                <a:lnTo>
                  <a:pt x="969962" y="0"/>
                </a:lnTo>
                <a:lnTo>
                  <a:pt x="969962" y="4165855"/>
                </a:lnTo>
                <a:lnTo>
                  <a:pt x="887412" y="4165855"/>
                </a:lnTo>
                <a:close/>
                <a:moveTo>
                  <a:pt x="630237" y="0"/>
                </a:moveTo>
                <a:lnTo>
                  <a:pt x="774699" y="0"/>
                </a:lnTo>
                <a:lnTo>
                  <a:pt x="774699" y="4124580"/>
                </a:lnTo>
                <a:lnTo>
                  <a:pt x="630237" y="41245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07" name="任意多边形: 形状 506">
            <a:extLst>
              <a:ext uri="{FF2B5EF4-FFF2-40B4-BE49-F238E27FC236}">
                <a16:creationId xmlns:a16="http://schemas.microsoft.com/office/drawing/2014/main" id="{B8311E3E-0D79-4A14-84F0-E7F69F9F1EB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30585" y="174489"/>
            <a:ext cx="6558590" cy="4169030"/>
          </a:xfrm>
          <a:custGeom>
            <a:avLst/>
            <a:gdLst>
              <a:gd name="connsiteX0" fmla="*/ 6227763 w 6558590"/>
              <a:gd name="connsiteY0" fmla="*/ 1049761 h 4169030"/>
              <a:gd name="connsiteX1" fmla="*/ 6223594 w 6558590"/>
              <a:gd name="connsiteY1" fmla="*/ 1055033 h 4169030"/>
              <a:gd name="connsiteX2" fmla="*/ 5950451 w 6558590"/>
              <a:gd name="connsiteY2" fmla="*/ 1356784 h 4169030"/>
              <a:gd name="connsiteX3" fmla="*/ 5805396 w 6558590"/>
              <a:gd name="connsiteY3" fmla="*/ 1693902 h 4169030"/>
              <a:gd name="connsiteX4" fmla="*/ 5800725 w 6558590"/>
              <a:gd name="connsiteY4" fmla="*/ 1707222 h 4169030"/>
              <a:gd name="connsiteX5" fmla="*/ 5800725 w 6558590"/>
              <a:gd name="connsiteY5" fmla="*/ 2192694 h 4169030"/>
              <a:gd name="connsiteX6" fmla="*/ 5823025 w 6558590"/>
              <a:gd name="connsiteY6" fmla="*/ 2154828 h 4169030"/>
              <a:gd name="connsiteX7" fmla="*/ 5923598 w 6558590"/>
              <a:gd name="connsiteY7" fmla="*/ 2062303 h 4169030"/>
              <a:gd name="connsiteX8" fmla="*/ 6217885 w 6558590"/>
              <a:gd name="connsiteY8" fmla="*/ 1777873 h 4169030"/>
              <a:gd name="connsiteX9" fmla="*/ 6227763 w 6558590"/>
              <a:gd name="connsiteY9" fmla="*/ 1765285 h 4169030"/>
              <a:gd name="connsiteX10" fmla="*/ 5351463 w 6558590"/>
              <a:gd name="connsiteY10" fmla="*/ 0 h 4169030"/>
              <a:gd name="connsiteX11" fmla="*/ 5800725 w 6558590"/>
              <a:gd name="connsiteY11" fmla="*/ 0 h 4169030"/>
              <a:gd name="connsiteX12" fmla="*/ 5800725 w 6558590"/>
              <a:gd name="connsiteY12" fmla="*/ 1401330 h 4169030"/>
              <a:gd name="connsiteX13" fmla="*/ 5801342 w 6558590"/>
              <a:gd name="connsiteY13" fmla="*/ 1400286 h 4169030"/>
              <a:gd name="connsiteX14" fmla="*/ 5926472 w 6558590"/>
              <a:gd name="connsiteY14" fmla="*/ 1264234 h 4169030"/>
              <a:gd name="connsiteX15" fmla="*/ 6213584 w 6558590"/>
              <a:gd name="connsiteY15" fmla="*/ 936455 h 4169030"/>
              <a:gd name="connsiteX16" fmla="*/ 6227763 w 6558590"/>
              <a:gd name="connsiteY16" fmla="*/ 915195 h 4169030"/>
              <a:gd name="connsiteX17" fmla="*/ 6227763 w 6558590"/>
              <a:gd name="connsiteY17" fmla="*/ 0 h 4169030"/>
              <a:gd name="connsiteX18" fmla="*/ 6558590 w 6558590"/>
              <a:gd name="connsiteY18" fmla="*/ 0 h 4169030"/>
              <a:gd name="connsiteX19" fmla="*/ 6558590 w 6558590"/>
              <a:gd name="connsiteY19" fmla="*/ 3846768 h 4169030"/>
              <a:gd name="connsiteX20" fmla="*/ 6227763 w 6558590"/>
              <a:gd name="connsiteY20" fmla="*/ 3846768 h 4169030"/>
              <a:gd name="connsiteX21" fmla="*/ 6227763 w 6558590"/>
              <a:gd name="connsiteY21" fmla="*/ 1792988 h 4169030"/>
              <a:gd name="connsiteX22" fmla="*/ 6214911 w 6558590"/>
              <a:gd name="connsiteY22" fmla="*/ 1806734 h 4169030"/>
              <a:gd name="connsiteX23" fmla="*/ 5961239 w 6558590"/>
              <a:gd name="connsiteY23" fmla="*/ 2089718 h 4169030"/>
              <a:gd name="connsiteX24" fmla="*/ 5813240 w 6558590"/>
              <a:gd name="connsiteY24" fmla="*/ 2260633 h 4169030"/>
              <a:gd name="connsiteX25" fmla="*/ 5800725 w 6558590"/>
              <a:gd name="connsiteY25" fmla="*/ 2288129 h 4169030"/>
              <a:gd name="connsiteX26" fmla="*/ 5800725 w 6558590"/>
              <a:gd name="connsiteY26" fmla="*/ 3994405 h 4169030"/>
              <a:gd name="connsiteX27" fmla="*/ 5351463 w 6558590"/>
              <a:gd name="connsiteY27" fmla="*/ 3994405 h 4169030"/>
              <a:gd name="connsiteX28" fmla="*/ 2378075 w 6558590"/>
              <a:gd name="connsiteY28" fmla="*/ 0 h 4169030"/>
              <a:gd name="connsiteX29" fmla="*/ 2827337 w 6558590"/>
              <a:gd name="connsiteY29" fmla="*/ 0 h 4169030"/>
              <a:gd name="connsiteX30" fmla="*/ 2827337 w 6558590"/>
              <a:gd name="connsiteY30" fmla="*/ 1552865 h 4169030"/>
              <a:gd name="connsiteX31" fmla="*/ 2859702 w 6558590"/>
              <a:gd name="connsiteY31" fmla="*/ 1538624 h 4169030"/>
              <a:gd name="connsiteX32" fmla="*/ 2977112 w 6558590"/>
              <a:gd name="connsiteY32" fmla="*/ 1503868 h 4169030"/>
              <a:gd name="connsiteX33" fmla="*/ 3559542 w 6558590"/>
              <a:gd name="connsiteY33" fmla="*/ 911827 h 4169030"/>
              <a:gd name="connsiteX34" fmla="*/ 3912427 w 6558590"/>
              <a:gd name="connsiteY34" fmla="*/ 511429 h 4169030"/>
              <a:gd name="connsiteX35" fmla="*/ 3987800 w 6558590"/>
              <a:gd name="connsiteY35" fmla="*/ 531962 h 4169030"/>
              <a:gd name="connsiteX36" fmla="*/ 3682880 w 6558590"/>
              <a:gd name="connsiteY36" fmla="*/ 956315 h 4169030"/>
              <a:gd name="connsiteX37" fmla="*/ 3059337 w 6558590"/>
              <a:gd name="connsiteY37" fmla="*/ 1633911 h 4169030"/>
              <a:gd name="connsiteX38" fmla="*/ 2884394 w 6558590"/>
              <a:gd name="connsiteY38" fmla="*/ 1686956 h 4169030"/>
              <a:gd name="connsiteX39" fmla="*/ 2827337 w 6558590"/>
              <a:gd name="connsiteY39" fmla="*/ 1730610 h 4169030"/>
              <a:gd name="connsiteX40" fmla="*/ 2827337 w 6558590"/>
              <a:gd name="connsiteY40" fmla="*/ 2247465 h 4169030"/>
              <a:gd name="connsiteX41" fmla="*/ 2827893 w 6558590"/>
              <a:gd name="connsiteY41" fmla="*/ 2247099 h 4169030"/>
              <a:gd name="connsiteX42" fmla="*/ 2912764 w 6558590"/>
              <a:gd name="connsiteY42" fmla="*/ 2223122 h 4169030"/>
              <a:gd name="connsiteX43" fmla="*/ 3135377 w 6558590"/>
              <a:gd name="connsiteY43" fmla="*/ 1904574 h 4169030"/>
              <a:gd name="connsiteX44" fmla="*/ 3395662 w 6558590"/>
              <a:gd name="connsiteY44" fmla="*/ 1822368 h 4169030"/>
              <a:gd name="connsiteX45" fmla="*/ 3395662 w 6558590"/>
              <a:gd name="connsiteY45" fmla="*/ 1839495 h 4169030"/>
              <a:gd name="connsiteX46" fmla="*/ 3183324 w 6558590"/>
              <a:gd name="connsiteY46" fmla="*/ 1904574 h 4169030"/>
              <a:gd name="connsiteX47" fmla="*/ 2933313 w 6558590"/>
              <a:gd name="connsiteY47" fmla="*/ 2267650 h 4169030"/>
              <a:gd name="connsiteX48" fmla="*/ 2844803 w 6558590"/>
              <a:gd name="connsiteY48" fmla="*/ 2309824 h 4169030"/>
              <a:gd name="connsiteX49" fmla="*/ 2827337 w 6558590"/>
              <a:gd name="connsiteY49" fmla="*/ 2330942 h 4169030"/>
              <a:gd name="connsiteX50" fmla="*/ 2827337 w 6558590"/>
              <a:gd name="connsiteY50" fmla="*/ 4124580 h 4169030"/>
              <a:gd name="connsiteX51" fmla="*/ 2378075 w 6558590"/>
              <a:gd name="connsiteY51" fmla="*/ 4124580 h 4169030"/>
              <a:gd name="connsiteX52" fmla="*/ 576263 w 6558590"/>
              <a:gd name="connsiteY52" fmla="*/ 0 h 4169030"/>
              <a:gd name="connsiteX53" fmla="*/ 1025525 w 6558590"/>
              <a:gd name="connsiteY53" fmla="*/ 0 h 4169030"/>
              <a:gd name="connsiteX54" fmla="*/ 1025525 w 6558590"/>
              <a:gd name="connsiteY54" fmla="*/ 1963810 h 4169030"/>
              <a:gd name="connsiteX55" fmla="*/ 1033493 w 6558590"/>
              <a:gd name="connsiteY55" fmla="*/ 1956488 h 4169030"/>
              <a:gd name="connsiteX56" fmla="*/ 1080003 w 6558590"/>
              <a:gd name="connsiteY56" fmla="*/ 1925083 h 4169030"/>
              <a:gd name="connsiteX57" fmla="*/ 1292137 w 6558590"/>
              <a:gd name="connsiteY57" fmla="*/ 1904539 h 4169030"/>
              <a:gd name="connsiteX58" fmla="*/ 1425575 w 6558590"/>
              <a:gd name="connsiteY58" fmla="*/ 1805242 h 4169030"/>
              <a:gd name="connsiteX59" fmla="*/ 1425575 w 6558590"/>
              <a:gd name="connsiteY59" fmla="*/ 1822362 h 4169030"/>
              <a:gd name="connsiteX60" fmla="*/ 1285294 w 6558590"/>
              <a:gd name="connsiteY60" fmla="*/ 1938779 h 4169030"/>
              <a:gd name="connsiteX61" fmla="*/ 1083425 w 6558590"/>
              <a:gd name="connsiteY61" fmla="*/ 1973019 h 4169030"/>
              <a:gd name="connsiteX62" fmla="*/ 1033974 w 6558590"/>
              <a:gd name="connsiteY62" fmla="*/ 2018708 h 4169030"/>
              <a:gd name="connsiteX63" fmla="*/ 1025525 w 6558590"/>
              <a:gd name="connsiteY63" fmla="*/ 2027401 h 4169030"/>
              <a:gd name="connsiteX64" fmla="*/ 1025525 w 6558590"/>
              <a:gd name="connsiteY64" fmla="*/ 2721894 h 4169030"/>
              <a:gd name="connsiteX65" fmla="*/ 1025896 w 6558590"/>
              <a:gd name="connsiteY65" fmla="*/ 2721786 h 4169030"/>
              <a:gd name="connsiteX66" fmla="*/ 1230174 w 6558590"/>
              <a:gd name="connsiteY66" fmla="*/ 2699408 h 4169030"/>
              <a:gd name="connsiteX67" fmla="*/ 1514705 w 6558590"/>
              <a:gd name="connsiteY67" fmla="*/ 2630695 h 4169030"/>
              <a:gd name="connsiteX68" fmla="*/ 1662112 w 6558590"/>
              <a:gd name="connsiteY68" fmla="*/ 2695972 h 4169030"/>
              <a:gd name="connsiteX69" fmla="*/ 1504421 w 6558590"/>
              <a:gd name="connsiteY69" fmla="*/ 2647873 h 4169030"/>
              <a:gd name="connsiteX70" fmla="*/ 1192466 w 6558590"/>
              <a:gd name="connsiteY70" fmla="*/ 2733764 h 4169030"/>
              <a:gd name="connsiteX71" fmla="*/ 1058342 w 6558590"/>
              <a:gd name="connsiteY71" fmla="*/ 2753519 h 4169030"/>
              <a:gd name="connsiteX72" fmla="*/ 1025525 w 6558590"/>
              <a:gd name="connsiteY72" fmla="*/ 2775112 h 4169030"/>
              <a:gd name="connsiteX73" fmla="*/ 1025525 w 6558590"/>
              <a:gd name="connsiteY73" fmla="*/ 4169030 h 4169030"/>
              <a:gd name="connsiteX74" fmla="*/ 576263 w 6558590"/>
              <a:gd name="connsiteY74" fmla="*/ 4169030 h 4169030"/>
              <a:gd name="connsiteX75" fmla="*/ 576263 w 6558590"/>
              <a:gd name="connsiteY75" fmla="*/ 2360988 h 4169030"/>
              <a:gd name="connsiteX76" fmla="*/ 554788 w 6558590"/>
              <a:gd name="connsiteY76" fmla="*/ 2331548 h 4169030"/>
              <a:gd name="connsiteX77" fmla="*/ 435010 w 6558590"/>
              <a:gd name="connsiteY77" fmla="*/ 2257484 h 4169030"/>
              <a:gd name="connsiteX78" fmla="*/ 143861 w 6558590"/>
              <a:gd name="connsiteY78" fmla="*/ 2219783 h 4169030"/>
              <a:gd name="connsiteX79" fmla="*/ 0 w 6558590"/>
              <a:gd name="connsiteY79" fmla="*/ 1979867 h 4169030"/>
              <a:gd name="connsiteX80" fmla="*/ 232919 w 6558590"/>
              <a:gd name="connsiteY80" fmla="*/ 2212929 h 4169030"/>
              <a:gd name="connsiteX81" fmla="*/ 558535 w 6558590"/>
              <a:gd name="connsiteY81" fmla="*/ 2285225 h 4169030"/>
              <a:gd name="connsiteX82" fmla="*/ 576263 w 6558590"/>
              <a:gd name="connsiteY82" fmla="*/ 2298756 h 4169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6558590" h="4169030">
                <a:moveTo>
                  <a:pt x="6227763" y="1049761"/>
                </a:moveTo>
                <a:lnTo>
                  <a:pt x="6223594" y="1055033"/>
                </a:lnTo>
                <a:cubicBezTo>
                  <a:pt x="6139291" y="1155617"/>
                  <a:pt x="5996698" y="1297655"/>
                  <a:pt x="5950451" y="1356784"/>
                </a:cubicBezTo>
                <a:cubicBezTo>
                  <a:pt x="5911912" y="1406057"/>
                  <a:pt x="5847949" y="1574500"/>
                  <a:pt x="5805396" y="1693902"/>
                </a:cubicBezTo>
                <a:lnTo>
                  <a:pt x="5800725" y="1707222"/>
                </a:lnTo>
                <a:lnTo>
                  <a:pt x="5800725" y="2192694"/>
                </a:lnTo>
                <a:lnTo>
                  <a:pt x="5823025" y="2154828"/>
                </a:lnTo>
                <a:cubicBezTo>
                  <a:pt x="5852700" y="2109048"/>
                  <a:pt x="5887668" y="2070013"/>
                  <a:pt x="5923598" y="2062303"/>
                </a:cubicBezTo>
                <a:cubicBezTo>
                  <a:pt x="6019412" y="2041742"/>
                  <a:pt x="6142602" y="1880679"/>
                  <a:pt x="6217885" y="1777873"/>
                </a:cubicBezTo>
                <a:lnTo>
                  <a:pt x="6227763" y="1765285"/>
                </a:lnTo>
                <a:close/>
                <a:moveTo>
                  <a:pt x="5351463" y="0"/>
                </a:moveTo>
                <a:lnTo>
                  <a:pt x="5800725" y="0"/>
                </a:lnTo>
                <a:lnTo>
                  <a:pt x="5800725" y="1401330"/>
                </a:lnTo>
                <a:lnTo>
                  <a:pt x="5801342" y="1400286"/>
                </a:lnTo>
                <a:cubicBezTo>
                  <a:pt x="5840884" y="1337824"/>
                  <a:pt x="5885364" y="1282229"/>
                  <a:pt x="5926472" y="1264234"/>
                </a:cubicBezTo>
                <a:cubicBezTo>
                  <a:pt x="6008688" y="1228242"/>
                  <a:pt x="6148711" y="1032217"/>
                  <a:pt x="6213584" y="936455"/>
                </a:cubicBezTo>
                <a:lnTo>
                  <a:pt x="6227763" y="915195"/>
                </a:lnTo>
                <a:lnTo>
                  <a:pt x="6227763" y="0"/>
                </a:lnTo>
                <a:lnTo>
                  <a:pt x="6558590" y="0"/>
                </a:lnTo>
                <a:lnTo>
                  <a:pt x="6558590" y="3846768"/>
                </a:lnTo>
                <a:lnTo>
                  <a:pt x="6227763" y="3846768"/>
                </a:lnTo>
                <a:lnTo>
                  <a:pt x="6227763" y="1792988"/>
                </a:lnTo>
                <a:lnTo>
                  <a:pt x="6214911" y="1806734"/>
                </a:lnTo>
                <a:cubicBezTo>
                  <a:pt x="6131802" y="1905524"/>
                  <a:pt x="6042510" y="2051166"/>
                  <a:pt x="5961239" y="2089718"/>
                </a:cubicBezTo>
                <a:cubicBezTo>
                  <a:pt x="5896222" y="2118846"/>
                  <a:pt x="5846604" y="2193381"/>
                  <a:pt x="5813240" y="2260633"/>
                </a:cubicBezTo>
                <a:lnTo>
                  <a:pt x="5800725" y="2288129"/>
                </a:lnTo>
                <a:lnTo>
                  <a:pt x="5800725" y="3994405"/>
                </a:lnTo>
                <a:lnTo>
                  <a:pt x="5351463" y="3994405"/>
                </a:lnTo>
                <a:close/>
                <a:moveTo>
                  <a:pt x="2378075" y="0"/>
                </a:moveTo>
                <a:lnTo>
                  <a:pt x="2827337" y="0"/>
                </a:lnTo>
                <a:lnTo>
                  <a:pt x="2827337" y="1552865"/>
                </a:lnTo>
                <a:lnTo>
                  <a:pt x="2859702" y="1538624"/>
                </a:lnTo>
                <a:cubicBezTo>
                  <a:pt x="2894458" y="1525898"/>
                  <a:pt x="2933430" y="1514134"/>
                  <a:pt x="2977112" y="1503868"/>
                </a:cubicBezTo>
                <a:cubicBezTo>
                  <a:pt x="3326570" y="1425157"/>
                  <a:pt x="3357404" y="942627"/>
                  <a:pt x="3559542" y="911827"/>
                </a:cubicBezTo>
                <a:cubicBezTo>
                  <a:pt x="3761680" y="877605"/>
                  <a:pt x="3912427" y="511429"/>
                  <a:pt x="3912427" y="511429"/>
                </a:cubicBezTo>
                <a:cubicBezTo>
                  <a:pt x="3912427" y="511429"/>
                  <a:pt x="3912427" y="511429"/>
                  <a:pt x="3987800" y="531962"/>
                </a:cubicBezTo>
                <a:cubicBezTo>
                  <a:pt x="3987800" y="531962"/>
                  <a:pt x="3888444" y="850227"/>
                  <a:pt x="3682880" y="956315"/>
                </a:cubicBezTo>
                <a:cubicBezTo>
                  <a:pt x="3477317" y="1062404"/>
                  <a:pt x="3347126" y="1613378"/>
                  <a:pt x="3059337" y="1633911"/>
                </a:cubicBezTo>
                <a:cubicBezTo>
                  <a:pt x="2987390" y="1639045"/>
                  <a:pt x="2930003" y="1659364"/>
                  <a:pt x="2884394" y="1686956"/>
                </a:cubicBezTo>
                <a:lnTo>
                  <a:pt x="2827337" y="1730610"/>
                </a:lnTo>
                <a:lnTo>
                  <a:pt x="2827337" y="2247465"/>
                </a:lnTo>
                <a:lnTo>
                  <a:pt x="2827893" y="2247099"/>
                </a:lnTo>
                <a:cubicBezTo>
                  <a:pt x="2851974" y="2235539"/>
                  <a:pt x="2880229" y="2226547"/>
                  <a:pt x="2912764" y="2223122"/>
                </a:cubicBezTo>
                <a:cubicBezTo>
                  <a:pt x="3042907" y="2209421"/>
                  <a:pt x="3036057" y="2007332"/>
                  <a:pt x="3135377" y="1904574"/>
                </a:cubicBezTo>
                <a:cubicBezTo>
                  <a:pt x="3231271" y="1805242"/>
                  <a:pt x="3395662" y="1822368"/>
                  <a:pt x="3395662" y="1822368"/>
                </a:cubicBezTo>
                <a:cubicBezTo>
                  <a:pt x="3395662" y="1822368"/>
                  <a:pt x="3395662" y="1822368"/>
                  <a:pt x="3395662" y="1839495"/>
                </a:cubicBezTo>
                <a:cubicBezTo>
                  <a:pt x="3395662" y="1839495"/>
                  <a:pt x="3275794" y="1849770"/>
                  <a:pt x="3183324" y="1904574"/>
                </a:cubicBezTo>
                <a:cubicBezTo>
                  <a:pt x="3090854" y="1962803"/>
                  <a:pt x="3080580" y="2257375"/>
                  <a:pt x="2933313" y="2267650"/>
                </a:cubicBezTo>
                <a:cubicBezTo>
                  <a:pt x="2897353" y="2271076"/>
                  <a:pt x="2868242" y="2287346"/>
                  <a:pt x="2844803" y="2309824"/>
                </a:cubicBezTo>
                <a:lnTo>
                  <a:pt x="2827337" y="2330942"/>
                </a:lnTo>
                <a:lnTo>
                  <a:pt x="2827337" y="4124580"/>
                </a:lnTo>
                <a:lnTo>
                  <a:pt x="2378075" y="4124580"/>
                </a:lnTo>
                <a:close/>
                <a:moveTo>
                  <a:pt x="576263" y="0"/>
                </a:moveTo>
                <a:lnTo>
                  <a:pt x="1025525" y="0"/>
                </a:lnTo>
                <a:lnTo>
                  <a:pt x="1025525" y="1963810"/>
                </a:lnTo>
                <a:lnTo>
                  <a:pt x="1033493" y="1956488"/>
                </a:lnTo>
                <a:cubicBezTo>
                  <a:pt x="1054342" y="1938351"/>
                  <a:pt x="1071450" y="1925939"/>
                  <a:pt x="1080003" y="1925083"/>
                </a:cubicBezTo>
                <a:cubicBezTo>
                  <a:pt x="1114218" y="1925083"/>
                  <a:pt x="1240814" y="1952475"/>
                  <a:pt x="1292137" y="1904539"/>
                </a:cubicBezTo>
                <a:cubicBezTo>
                  <a:pt x="1343459" y="1853178"/>
                  <a:pt x="1425575" y="1805242"/>
                  <a:pt x="1425575" y="1805242"/>
                </a:cubicBezTo>
                <a:cubicBezTo>
                  <a:pt x="1425575" y="1822362"/>
                  <a:pt x="1425575" y="1822362"/>
                  <a:pt x="1425575" y="1822362"/>
                </a:cubicBezTo>
                <a:cubicBezTo>
                  <a:pt x="1425575" y="1822362"/>
                  <a:pt x="1305823" y="1907963"/>
                  <a:pt x="1285294" y="1938779"/>
                </a:cubicBezTo>
                <a:cubicBezTo>
                  <a:pt x="1261343" y="1966171"/>
                  <a:pt x="1134747" y="1935355"/>
                  <a:pt x="1083425" y="1973019"/>
                </a:cubicBezTo>
                <a:cubicBezTo>
                  <a:pt x="1070594" y="1983291"/>
                  <a:pt x="1053059" y="1999769"/>
                  <a:pt x="1033974" y="2018708"/>
                </a:cubicBezTo>
                <a:lnTo>
                  <a:pt x="1025525" y="2027401"/>
                </a:lnTo>
                <a:lnTo>
                  <a:pt x="1025525" y="2721894"/>
                </a:lnTo>
                <a:lnTo>
                  <a:pt x="1025896" y="2721786"/>
                </a:lnTo>
                <a:cubicBezTo>
                  <a:pt x="1095997" y="2702360"/>
                  <a:pt x="1195894" y="2680082"/>
                  <a:pt x="1230174" y="2699408"/>
                </a:cubicBezTo>
                <a:cubicBezTo>
                  <a:pt x="1285024" y="2726893"/>
                  <a:pt x="1483852" y="2589467"/>
                  <a:pt x="1514705" y="2630695"/>
                </a:cubicBezTo>
                <a:cubicBezTo>
                  <a:pt x="1528417" y="2647873"/>
                  <a:pt x="1662112" y="2695972"/>
                  <a:pt x="1662112" y="2695972"/>
                </a:cubicBezTo>
                <a:cubicBezTo>
                  <a:pt x="1662112" y="2695972"/>
                  <a:pt x="1535273" y="2689101"/>
                  <a:pt x="1504421" y="2647873"/>
                </a:cubicBezTo>
                <a:cubicBezTo>
                  <a:pt x="1476996" y="2606645"/>
                  <a:pt x="1247315" y="2795606"/>
                  <a:pt x="1192466" y="2733764"/>
                </a:cubicBezTo>
                <a:cubicBezTo>
                  <a:pt x="1166755" y="2702843"/>
                  <a:pt x="1109335" y="2724316"/>
                  <a:pt x="1058342" y="2753519"/>
                </a:cubicBezTo>
                <a:lnTo>
                  <a:pt x="1025525" y="2775112"/>
                </a:lnTo>
                <a:lnTo>
                  <a:pt x="1025525" y="4169030"/>
                </a:lnTo>
                <a:lnTo>
                  <a:pt x="576263" y="4169030"/>
                </a:lnTo>
                <a:lnTo>
                  <a:pt x="576263" y="2360988"/>
                </a:lnTo>
                <a:lnTo>
                  <a:pt x="554788" y="2331548"/>
                </a:lnTo>
                <a:cubicBezTo>
                  <a:pt x="521071" y="2293472"/>
                  <a:pt x="481252" y="2265196"/>
                  <a:pt x="435010" y="2257484"/>
                </a:cubicBezTo>
                <a:cubicBezTo>
                  <a:pt x="325401" y="2240348"/>
                  <a:pt x="178114" y="2243775"/>
                  <a:pt x="143861" y="2219783"/>
                </a:cubicBezTo>
                <a:cubicBezTo>
                  <a:pt x="113034" y="2195792"/>
                  <a:pt x="0" y="1979867"/>
                  <a:pt x="0" y="1979867"/>
                </a:cubicBezTo>
                <a:cubicBezTo>
                  <a:pt x="0" y="1979867"/>
                  <a:pt x="140436" y="2212929"/>
                  <a:pt x="232919" y="2212929"/>
                </a:cubicBezTo>
                <a:cubicBezTo>
                  <a:pt x="304850" y="2212929"/>
                  <a:pt x="465410" y="2230280"/>
                  <a:pt x="558535" y="2285225"/>
                </a:cubicBezTo>
                <a:lnTo>
                  <a:pt x="576263" y="229875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00" name="任意多边形: 形状 499">
            <a:extLst>
              <a:ext uri="{FF2B5EF4-FFF2-40B4-BE49-F238E27FC236}">
                <a16:creationId xmlns:a16="http://schemas.microsoft.com/office/drawing/2014/main" id="{B41CC6D9-10C5-4183-8075-526B224BB280}"/>
              </a:ext>
            </a:extLst>
          </p:cNvPr>
          <p:cNvSpPr>
            <a:spLocks/>
          </p:cNvSpPr>
          <p:nvPr userDrawn="1"/>
        </p:nvSpPr>
        <p:spPr bwMode="auto">
          <a:xfrm>
            <a:off x="5260208" y="-11250"/>
            <a:ext cx="6931793" cy="2743892"/>
          </a:xfrm>
          <a:custGeom>
            <a:avLst/>
            <a:gdLst>
              <a:gd name="connsiteX0" fmla="*/ 6266352 w 6931793"/>
              <a:gd name="connsiteY0" fmla="*/ 2627570 h 2743892"/>
              <a:gd name="connsiteX1" fmla="*/ 6389369 w 6931793"/>
              <a:gd name="connsiteY1" fmla="*/ 2682467 h 2743892"/>
              <a:gd name="connsiteX2" fmla="*/ 6467964 w 6931793"/>
              <a:gd name="connsiteY2" fmla="*/ 2696191 h 2743892"/>
              <a:gd name="connsiteX3" fmla="*/ 6266352 w 6931793"/>
              <a:gd name="connsiteY3" fmla="*/ 2627570 h 2743892"/>
              <a:gd name="connsiteX4" fmla="*/ 3477848 w 6931793"/>
              <a:gd name="connsiteY4" fmla="*/ 2538670 h 2743892"/>
              <a:gd name="connsiteX5" fmla="*/ 3378690 w 6931793"/>
              <a:gd name="connsiteY5" fmla="*/ 2727583 h 2743892"/>
              <a:gd name="connsiteX6" fmla="*/ 3450494 w 6931793"/>
              <a:gd name="connsiteY6" fmla="*/ 2614235 h 2743892"/>
              <a:gd name="connsiteX7" fmla="*/ 3477848 w 6931793"/>
              <a:gd name="connsiteY7" fmla="*/ 2538670 h 2743892"/>
              <a:gd name="connsiteX8" fmla="*/ 1541952 w 6931793"/>
              <a:gd name="connsiteY8" fmla="*/ 2460882 h 2743892"/>
              <a:gd name="connsiteX9" fmla="*/ 1661698 w 6931793"/>
              <a:gd name="connsiteY9" fmla="*/ 2515369 h 2743892"/>
              <a:gd name="connsiteX10" fmla="*/ 1740389 w 6931793"/>
              <a:gd name="connsiteY10" fmla="*/ 2528991 h 2743892"/>
              <a:gd name="connsiteX11" fmla="*/ 1541952 w 6931793"/>
              <a:gd name="connsiteY11" fmla="*/ 2460882 h 2743892"/>
              <a:gd name="connsiteX12" fmla="*/ 2606752 w 6931793"/>
              <a:gd name="connsiteY12" fmla="*/ 2326566 h 2743892"/>
              <a:gd name="connsiteX13" fmla="*/ 2673181 w 6931793"/>
              <a:gd name="connsiteY13" fmla="*/ 2464058 h 2743892"/>
              <a:gd name="connsiteX14" fmla="*/ 2635275 w 6931793"/>
              <a:gd name="connsiteY14" fmla="*/ 2374788 h 2743892"/>
              <a:gd name="connsiteX15" fmla="*/ 2600815 w 6931793"/>
              <a:gd name="connsiteY15" fmla="*/ 2326720 h 2743892"/>
              <a:gd name="connsiteX16" fmla="*/ 2606752 w 6931793"/>
              <a:gd name="connsiteY16" fmla="*/ 2326566 h 2743892"/>
              <a:gd name="connsiteX17" fmla="*/ 4824902 w 6931793"/>
              <a:gd name="connsiteY17" fmla="*/ 2014795 h 2743892"/>
              <a:gd name="connsiteX18" fmla="*/ 4618527 w 6931793"/>
              <a:gd name="connsiteY18" fmla="*/ 2176270 h 2743892"/>
              <a:gd name="connsiteX19" fmla="*/ 4756110 w 6931793"/>
              <a:gd name="connsiteY19" fmla="*/ 2086943 h 2743892"/>
              <a:gd name="connsiteX20" fmla="*/ 4824902 w 6931793"/>
              <a:gd name="connsiteY20" fmla="*/ 2014795 h 2743892"/>
              <a:gd name="connsiteX21" fmla="*/ 6304819 w 6931793"/>
              <a:gd name="connsiteY21" fmla="*/ 1908432 h 2743892"/>
              <a:gd name="connsiteX22" fmla="*/ 6233015 w 6931793"/>
              <a:gd name="connsiteY22" fmla="*/ 1960198 h 2743892"/>
              <a:gd name="connsiteX23" fmla="*/ 6280884 w 6931793"/>
              <a:gd name="connsiteY23" fmla="*/ 1932589 h 2743892"/>
              <a:gd name="connsiteX24" fmla="*/ 6304819 w 6931793"/>
              <a:gd name="connsiteY24" fmla="*/ 1908432 h 2743892"/>
              <a:gd name="connsiteX25" fmla="*/ 128197 w 6931793"/>
              <a:gd name="connsiteY25" fmla="*/ 0 h 2743892"/>
              <a:gd name="connsiteX26" fmla="*/ 6931793 w 6931793"/>
              <a:gd name="connsiteY26" fmla="*/ 0 h 2743892"/>
              <a:gd name="connsiteX27" fmla="*/ 6931793 w 6931793"/>
              <a:gd name="connsiteY27" fmla="*/ 1156072 h 2743892"/>
              <a:gd name="connsiteX28" fmla="*/ 6899328 w 6931793"/>
              <a:gd name="connsiteY28" fmla="*/ 1227596 h 2743892"/>
              <a:gd name="connsiteX29" fmla="*/ 6585258 w 6931793"/>
              <a:gd name="connsiteY29" fmla="*/ 1408721 h 2743892"/>
              <a:gd name="connsiteX30" fmla="*/ 6324924 w 6931793"/>
              <a:gd name="connsiteY30" fmla="*/ 1377891 h 2743892"/>
              <a:gd name="connsiteX31" fmla="*/ 6304372 w 6931793"/>
              <a:gd name="connsiteY31" fmla="*/ 1545743 h 2743892"/>
              <a:gd name="connsiteX32" fmla="*/ 5495968 w 6931793"/>
              <a:gd name="connsiteY32" fmla="*/ 1494360 h 2743892"/>
              <a:gd name="connsiteX33" fmla="*/ 4975300 w 6931793"/>
              <a:gd name="connsiteY33" fmla="*/ 1367615 h 2743892"/>
              <a:gd name="connsiteX34" fmla="*/ 4454634 w 6931793"/>
              <a:gd name="connsiteY34" fmla="*/ 1610828 h 2743892"/>
              <a:gd name="connsiteX35" fmla="*/ 4122366 w 6931793"/>
              <a:gd name="connsiteY35" fmla="*/ 1045613 h 2743892"/>
              <a:gd name="connsiteX36" fmla="*/ 3680484 w 6931793"/>
              <a:gd name="connsiteY36" fmla="*/ 1405296 h 2743892"/>
              <a:gd name="connsiteX37" fmla="*/ 2909760 w 6931793"/>
              <a:gd name="connsiteY37" fmla="*/ 1576573 h 2743892"/>
              <a:gd name="connsiteX38" fmla="*/ 2265777 w 6931793"/>
              <a:gd name="connsiteY38" fmla="*/ 1867745 h 2743892"/>
              <a:gd name="connsiteX39" fmla="*/ 1936935 w 6931793"/>
              <a:gd name="connsiteY39" fmla="*/ 1305955 h 2743892"/>
              <a:gd name="connsiteX40" fmla="*/ 1741685 w 6931793"/>
              <a:gd name="connsiteY40" fmla="*/ 1326508 h 2743892"/>
              <a:gd name="connsiteX41" fmla="*/ 1714281 w 6931793"/>
              <a:gd name="connsiteY41" fmla="*/ 1364189 h 2743892"/>
              <a:gd name="connsiteX42" fmla="*/ 1238144 w 6931793"/>
              <a:gd name="connsiteY42" fmla="*/ 1521764 h 2743892"/>
              <a:gd name="connsiteX43" fmla="*/ 946982 w 6931793"/>
              <a:gd name="connsiteY43" fmla="*/ 1552594 h 2743892"/>
              <a:gd name="connsiteX44" fmla="*/ 696925 w 6931793"/>
              <a:gd name="connsiteY44" fmla="*/ 1189486 h 2743892"/>
              <a:gd name="connsiteX45" fmla="*/ 142003 w 6931793"/>
              <a:gd name="connsiteY45" fmla="*/ 1103848 h 2743892"/>
              <a:gd name="connsiteX46" fmla="*/ 118025 w 6931793"/>
              <a:gd name="connsiteY46" fmla="*/ 737314 h 2743892"/>
              <a:gd name="connsiteX47" fmla="*/ 296148 w 6931793"/>
              <a:gd name="connsiteY47" fmla="*/ 360504 h 2743892"/>
              <a:gd name="connsiteX48" fmla="*/ 106237 w 6931793"/>
              <a:gd name="connsiteY48" fmla="*/ 20171 h 2743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931793" h="2743892">
                <a:moveTo>
                  <a:pt x="6266352" y="2627570"/>
                </a:moveTo>
                <a:cubicBezTo>
                  <a:pt x="6266352" y="2627570"/>
                  <a:pt x="6365449" y="2631001"/>
                  <a:pt x="6389369" y="2682467"/>
                </a:cubicBezTo>
                <a:cubicBezTo>
                  <a:pt x="6413290" y="2730502"/>
                  <a:pt x="6467964" y="2696191"/>
                  <a:pt x="6467964" y="2696191"/>
                </a:cubicBezTo>
                <a:cubicBezTo>
                  <a:pt x="6467964" y="2696191"/>
                  <a:pt x="6338112" y="2840295"/>
                  <a:pt x="6266352" y="2627570"/>
                </a:cubicBezTo>
                <a:close/>
                <a:moveTo>
                  <a:pt x="3477848" y="2538670"/>
                </a:moveTo>
                <a:cubicBezTo>
                  <a:pt x="3477848" y="2538670"/>
                  <a:pt x="3600940" y="2689801"/>
                  <a:pt x="3378690" y="2727583"/>
                </a:cubicBezTo>
                <a:cubicBezTo>
                  <a:pt x="3378690" y="2727583"/>
                  <a:pt x="3399206" y="2631409"/>
                  <a:pt x="3450494" y="2614235"/>
                </a:cubicBezTo>
                <a:cubicBezTo>
                  <a:pt x="3501783" y="2597061"/>
                  <a:pt x="3477848" y="2538670"/>
                  <a:pt x="3477848" y="2538670"/>
                </a:cubicBezTo>
                <a:close/>
                <a:moveTo>
                  <a:pt x="1541952" y="2460882"/>
                </a:moveTo>
                <a:cubicBezTo>
                  <a:pt x="1541952" y="2460882"/>
                  <a:pt x="1637749" y="2467693"/>
                  <a:pt x="1661698" y="2515369"/>
                </a:cubicBezTo>
                <a:cubicBezTo>
                  <a:pt x="1689069" y="2563046"/>
                  <a:pt x="1740389" y="2528991"/>
                  <a:pt x="1740389" y="2528991"/>
                </a:cubicBezTo>
                <a:cubicBezTo>
                  <a:pt x="1740389" y="2528991"/>
                  <a:pt x="1610378" y="2672020"/>
                  <a:pt x="1541952" y="2460882"/>
                </a:cubicBezTo>
                <a:close/>
                <a:moveTo>
                  <a:pt x="2606752" y="2326566"/>
                </a:moveTo>
                <a:cubicBezTo>
                  <a:pt x="2632853" y="2326613"/>
                  <a:pt x="2733487" y="2334875"/>
                  <a:pt x="2673181" y="2464058"/>
                </a:cubicBezTo>
                <a:cubicBezTo>
                  <a:pt x="2673181" y="2464058"/>
                  <a:pt x="2624937" y="2412556"/>
                  <a:pt x="2635275" y="2374788"/>
                </a:cubicBezTo>
                <a:cubicBezTo>
                  <a:pt x="2645613" y="2337021"/>
                  <a:pt x="2600815" y="2326720"/>
                  <a:pt x="2600815" y="2326720"/>
                </a:cubicBezTo>
                <a:cubicBezTo>
                  <a:pt x="2600815" y="2326720"/>
                  <a:pt x="2603023" y="2326559"/>
                  <a:pt x="2606752" y="2326566"/>
                </a:cubicBezTo>
                <a:close/>
                <a:moveTo>
                  <a:pt x="4824902" y="2014795"/>
                </a:moveTo>
                <a:cubicBezTo>
                  <a:pt x="4824902" y="2014795"/>
                  <a:pt x="4886814" y="2244983"/>
                  <a:pt x="4618527" y="2176270"/>
                </a:cubicBezTo>
                <a:cubicBezTo>
                  <a:pt x="4618527" y="2176270"/>
                  <a:pt x="4687319" y="2080072"/>
                  <a:pt x="4756110" y="2086943"/>
                </a:cubicBezTo>
                <a:cubicBezTo>
                  <a:pt x="4821462" y="2090379"/>
                  <a:pt x="4824902" y="2014795"/>
                  <a:pt x="4824902" y="2014795"/>
                </a:cubicBezTo>
                <a:close/>
                <a:moveTo>
                  <a:pt x="6304819" y="1908432"/>
                </a:moveTo>
                <a:cubicBezTo>
                  <a:pt x="6304819" y="1908432"/>
                  <a:pt x="6321915" y="1987807"/>
                  <a:pt x="6233015" y="1960198"/>
                </a:cubicBezTo>
                <a:cubicBezTo>
                  <a:pt x="6233015" y="1960198"/>
                  <a:pt x="6260369" y="1929138"/>
                  <a:pt x="6280884" y="1932589"/>
                </a:cubicBezTo>
                <a:cubicBezTo>
                  <a:pt x="6304819" y="1936041"/>
                  <a:pt x="6304819" y="1908432"/>
                  <a:pt x="6304819" y="1908432"/>
                </a:cubicBezTo>
                <a:close/>
                <a:moveTo>
                  <a:pt x="128197" y="0"/>
                </a:moveTo>
                <a:lnTo>
                  <a:pt x="6931793" y="0"/>
                </a:lnTo>
                <a:lnTo>
                  <a:pt x="6931793" y="1156072"/>
                </a:lnTo>
                <a:lnTo>
                  <a:pt x="6899328" y="1227596"/>
                </a:lnTo>
                <a:cubicBezTo>
                  <a:pt x="6860149" y="1324582"/>
                  <a:pt x="6811337" y="1421567"/>
                  <a:pt x="6585258" y="1408721"/>
                </a:cubicBezTo>
                <a:cubicBezTo>
                  <a:pt x="6506472" y="1405296"/>
                  <a:pt x="6413986" y="1395019"/>
                  <a:pt x="6324924" y="1377891"/>
                </a:cubicBezTo>
                <a:cubicBezTo>
                  <a:pt x="6352328" y="1425849"/>
                  <a:pt x="6355753" y="1480658"/>
                  <a:pt x="6304372" y="1545743"/>
                </a:cubicBezTo>
                <a:cubicBezTo>
                  <a:pt x="6109121" y="1792383"/>
                  <a:pt x="5585029" y="1744425"/>
                  <a:pt x="5495968" y="1494360"/>
                </a:cubicBezTo>
                <a:cubicBezTo>
                  <a:pt x="5430884" y="1305955"/>
                  <a:pt x="5208230" y="1395019"/>
                  <a:pt x="4975300" y="1367615"/>
                </a:cubicBezTo>
                <a:cubicBezTo>
                  <a:pt x="4797178" y="1487509"/>
                  <a:pt x="4999278" y="1675914"/>
                  <a:pt x="4454634" y="1610828"/>
                </a:cubicBezTo>
                <a:cubicBezTo>
                  <a:pt x="3820927" y="1532041"/>
                  <a:pt x="4478612" y="1066167"/>
                  <a:pt x="4122366" y="1045613"/>
                </a:cubicBezTo>
                <a:cubicBezTo>
                  <a:pt x="3800374" y="1028486"/>
                  <a:pt x="3968221" y="1353913"/>
                  <a:pt x="3680484" y="1405296"/>
                </a:cubicBezTo>
                <a:cubicBezTo>
                  <a:pt x="3587997" y="1645084"/>
                  <a:pt x="3272857" y="1477232"/>
                  <a:pt x="2909760" y="1576573"/>
                </a:cubicBezTo>
                <a:cubicBezTo>
                  <a:pt x="2526110" y="1679339"/>
                  <a:pt x="2899483" y="1946532"/>
                  <a:pt x="2265777" y="1867745"/>
                </a:cubicBezTo>
                <a:cubicBezTo>
                  <a:pt x="1635496" y="1792383"/>
                  <a:pt x="2293180" y="1326508"/>
                  <a:pt x="1936935" y="1305955"/>
                </a:cubicBezTo>
                <a:cubicBezTo>
                  <a:pt x="1865000" y="1302529"/>
                  <a:pt x="1799917" y="1309380"/>
                  <a:pt x="1741685" y="1326508"/>
                </a:cubicBezTo>
                <a:cubicBezTo>
                  <a:pt x="1734834" y="1340210"/>
                  <a:pt x="1724557" y="1350487"/>
                  <a:pt x="1714281" y="1364189"/>
                </a:cubicBezTo>
                <a:cubicBezTo>
                  <a:pt x="1611518" y="1497785"/>
                  <a:pt x="1412842" y="1542317"/>
                  <a:pt x="1238144" y="1521764"/>
                </a:cubicBezTo>
                <a:cubicBezTo>
                  <a:pt x="1152508" y="1542317"/>
                  <a:pt x="1056596" y="1556020"/>
                  <a:pt x="946982" y="1552594"/>
                </a:cubicBezTo>
                <a:cubicBezTo>
                  <a:pt x="563333" y="1528615"/>
                  <a:pt x="494824" y="1309380"/>
                  <a:pt x="696925" y="1189486"/>
                </a:cubicBezTo>
                <a:cubicBezTo>
                  <a:pt x="542780" y="1186061"/>
                  <a:pt x="326977" y="1227167"/>
                  <a:pt x="142003" y="1103848"/>
                </a:cubicBezTo>
                <a:cubicBezTo>
                  <a:pt x="-162861" y="898315"/>
                  <a:pt x="118025" y="737314"/>
                  <a:pt x="118025" y="737314"/>
                </a:cubicBezTo>
                <a:cubicBezTo>
                  <a:pt x="-128606" y="374207"/>
                  <a:pt x="296148" y="360504"/>
                  <a:pt x="296148" y="360504"/>
                </a:cubicBezTo>
                <a:cubicBezTo>
                  <a:pt x="90622" y="198647"/>
                  <a:pt x="61881" y="91225"/>
                  <a:pt x="106237" y="2017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A41F2941-5CA4-4528-9331-693FF2F694C8}"/>
              </a:ext>
            </a:extLst>
          </p:cNvPr>
          <p:cNvGrpSpPr/>
          <p:nvPr userDrawn="1"/>
        </p:nvGrpSpPr>
        <p:grpSpPr>
          <a:xfrm>
            <a:off x="4285646" y="3216857"/>
            <a:ext cx="7906354" cy="2732345"/>
            <a:chOff x="4285646" y="3216857"/>
            <a:chExt cx="7906354" cy="2732345"/>
          </a:xfrm>
        </p:grpSpPr>
        <p:sp>
          <p:nvSpPr>
            <p:cNvPr id="514" name="任意多边形: 形状 513">
              <a:extLst>
                <a:ext uri="{FF2B5EF4-FFF2-40B4-BE49-F238E27FC236}">
                  <a16:creationId xmlns:a16="http://schemas.microsoft.com/office/drawing/2014/main" id="{57FA1F8F-1725-4718-B6C7-8A9AB0D16BA8}"/>
                </a:ext>
              </a:extLst>
            </p:cNvPr>
            <p:cNvSpPr/>
            <p:nvPr userDrawn="1"/>
          </p:nvSpPr>
          <p:spPr>
            <a:xfrm>
              <a:off x="4285646" y="4578410"/>
              <a:ext cx="7906354" cy="1370792"/>
            </a:xfrm>
            <a:custGeom>
              <a:avLst/>
              <a:gdLst>
                <a:gd name="connsiteX0" fmla="*/ 5883467 w 7906354"/>
                <a:gd name="connsiteY0" fmla="*/ 2019 h 1370792"/>
                <a:gd name="connsiteX1" fmla="*/ 7627016 w 7906354"/>
                <a:gd name="connsiteY1" fmla="*/ 44628 h 1370792"/>
                <a:gd name="connsiteX2" fmla="*/ 7906354 w 7906354"/>
                <a:gd name="connsiteY2" fmla="*/ 62273 h 1370792"/>
                <a:gd name="connsiteX3" fmla="*/ 7906354 w 7906354"/>
                <a:gd name="connsiteY3" fmla="*/ 1189343 h 1370792"/>
                <a:gd name="connsiteX4" fmla="*/ 7844504 w 7906354"/>
                <a:gd name="connsiteY4" fmla="*/ 1208648 h 1370792"/>
                <a:gd name="connsiteX5" fmla="*/ 6160692 w 7906354"/>
                <a:gd name="connsiteY5" fmla="*/ 1200861 h 1370792"/>
                <a:gd name="connsiteX6" fmla="*/ 4310820 w 7906354"/>
                <a:gd name="connsiteY6" fmla="*/ 1104321 h 1370792"/>
                <a:gd name="connsiteX7" fmla="*/ 3025990 w 7906354"/>
                <a:gd name="connsiteY7" fmla="*/ 1256230 h 1370792"/>
                <a:gd name="connsiteX8" fmla="*/ 1336544 w 7906354"/>
                <a:gd name="connsiteY8" fmla="*/ 1104321 h 1370792"/>
                <a:gd name="connsiteX9" fmla="*/ 190845 w 7906354"/>
                <a:gd name="connsiteY9" fmla="*/ 712484 h 1370792"/>
                <a:gd name="connsiteX10" fmla="*/ 58812 w 7906354"/>
                <a:gd name="connsiteY10" fmla="*/ 295090 h 1370792"/>
                <a:gd name="connsiteX11" fmla="*/ 1377715 w 7906354"/>
                <a:gd name="connsiteY11" fmla="*/ 62259 h 1370792"/>
                <a:gd name="connsiteX12" fmla="*/ 5883467 w 7906354"/>
                <a:gd name="connsiteY12" fmla="*/ 2019 h 13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6354" h="1370792">
                  <a:moveTo>
                    <a:pt x="5883467" y="2019"/>
                  </a:moveTo>
                  <a:cubicBezTo>
                    <a:pt x="6515304" y="6574"/>
                    <a:pt x="7120725" y="19282"/>
                    <a:pt x="7627016" y="44628"/>
                  </a:cubicBezTo>
                  <a:lnTo>
                    <a:pt x="7906354" y="62273"/>
                  </a:lnTo>
                  <a:lnTo>
                    <a:pt x="7906354" y="1189343"/>
                  </a:lnTo>
                  <a:lnTo>
                    <a:pt x="7844504" y="1208648"/>
                  </a:lnTo>
                  <a:cubicBezTo>
                    <a:pt x="7458123" y="1303080"/>
                    <a:pt x="6500357" y="1274331"/>
                    <a:pt x="6160692" y="1200861"/>
                  </a:cubicBezTo>
                  <a:cubicBezTo>
                    <a:pt x="5707808" y="1102902"/>
                    <a:pt x="4884380" y="1277525"/>
                    <a:pt x="4310820" y="1104321"/>
                  </a:cubicBezTo>
                  <a:cubicBezTo>
                    <a:pt x="3737261" y="931118"/>
                    <a:pt x="3064322" y="1040435"/>
                    <a:pt x="3025990" y="1256230"/>
                  </a:cubicBezTo>
                  <a:cubicBezTo>
                    <a:pt x="2987658" y="1472024"/>
                    <a:pt x="839648" y="1361288"/>
                    <a:pt x="1336544" y="1104321"/>
                  </a:cubicBezTo>
                  <a:cubicBezTo>
                    <a:pt x="1833440" y="848775"/>
                    <a:pt x="643730" y="837417"/>
                    <a:pt x="190845" y="712484"/>
                  </a:cubicBezTo>
                  <a:cubicBezTo>
                    <a:pt x="-262040" y="587550"/>
                    <a:pt x="260410" y="525083"/>
                    <a:pt x="58812" y="295090"/>
                  </a:cubicBezTo>
                  <a:cubicBezTo>
                    <a:pt x="-142785" y="65099"/>
                    <a:pt x="1377715" y="62259"/>
                    <a:pt x="1377715" y="62259"/>
                  </a:cubicBezTo>
                  <a:cubicBezTo>
                    <a:pt x="1377715" y="62259"/>
                    <a:pt x="3777345" y="-13163"/>
                    <a:pt x="5883467" y="2019"/>
                  </a:cubicBezTo>
                  <a:close/>
                </a:path>
              </a:pathLst>
            </a:custGeom>
            <a:solidFill>
              <a:srgbClr val="A8EEE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>
              <a:extLst>
                <a:ext uri="{FF2B5EF4-FFF2-40B4-BE49-F238E27FC236}">
                  <a16:creationId xmlns:a16="http://schemas.microsoft.com/office/drawing/2014/main" id="{A641F3ED-AF63-4FC0-BB36-335CDC0BA99B}"/>
                </a:ext>
              </a:extLst>
            </p:cNvPr>
            <p:cNvSpPr/>
            <p:nvPr userDrawn="1"/>
          </p:nvSpPr>
          <p:spPr>
            <a:xfrm>
              <a:off x="10142062" y="5490533"/>
              <a:ext cx="227152" cy="326531"/>
            </a:xfrm>
            <a:custGeom>
              <a:avLst/>
              <a:gdLst>
                <a:gd name="connsiteX0" fmla="*/ 154747 w 227152"/>
                <a:gd name="connsiteY0" fmla="*/ 319433 h 326531"/>
                <a:gd name="connsiteX1" fmla="*/ 0 w 227152"/>
                <a:gd name="connsiteY1" fmla="*/ 0 h 326531"/>
                <a:gd name="connsiteX2" fmla="*/ 194499 w 227152"/>
                <a:gd name="connsiteY2" fmla="*/ 292459 h 326531"/>
                <a:gd name="connsiteX3" fmla="*/ 159007 w 227152"/>
                <a:gd name="connsiteY3" fmla="*/ 92281 h 326531"/>
                <a:gd name="connsiteX4" fmla="*/ 237090 w 227152"/>
                <a:gd name="connsiteY4" fmla="*/ 288200 h 326531"/>
                <a:gd name="connsiteX5" fmla="*/ 154747 w 227152"/>
                <a:gd name="connsiteY5" fmla="*/ 319433 h 32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152" h="326531">
                  <a:moveTo>
                    <a:pt x="154747" y="319433"/>
                  </a:moveTo>
                  <a:cubicBezTo>
                    <a:pt x="154747" y="319433"/>
                    <a:pt x="110737" y="123514"/>
                    <a:pt x="0" y="0"/>
                  </a:cubicBezTo>
                  <a:cubicBezTo>
                    <a:pt x="0" y="0"/>
                    <a:pt x="143390" y="117835"/>
                    <a:pt x="194499" y="292459"/>
                  </a:cubicBezTo>
                  <a:cubicBezTo>
                    <a:pt x="194499" y="292459"/>
                    <a:pt x="208696" y="188820"/>
                    <a:pt x="159007" y="92281"/>
                  </a:cubicBezTo>
                  <a:cubicBezTo>
                    <a:pt x="159007" y="92281"/>
                    <a:pt x="239930" y="193080"/>
                    <a:pt x="237090" y="288200"/>
                  </a:cubicBezTo>
                  <a:cubicBezTo>
                    <a:pt x="235671" y="381900"/>
                    <a:pt x="154747" y="319433"/>
                    <a:pt x="154747" y="319433"/>
                  </a:cubicBezTo>
                  <a:close/>
                </a:path>
              </a:pathLst>
            </a:custGeom>
            <a:solidFill>
              <a:srgbClr val="D5F7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>
              <a:extLst>
                <a:ext uri="{FF2B5EF4-FFF2-40B4-BE49-F238E27FC236}">
                  <a16:creationId xmlns:a16="http://schemas.microsoft.com/office/drawing/2014/main" id="{DAACBFFC-411C-4E05-B14E-A5C60F219788}"/>
                </a:ext>
              </a:extLst>
            </p:cNvPr>
            <p:cNvSpPr/>
            <p:nvPr userDrawn="1"/>
          </p:nvSpPr>
          <p:spPr>
            <a:xfrm>
              <a:off x="5149429" y="3378554"/>
              <a:ext cx="908609" cy="1519081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>
              <a:extLst>
                <a:ext uri="{FF2B5EF4-FFF2-40B4-BE49-F238E27FC236}">
                  <a16:creationId xmlns:a16="http://schemas.microsoft.com/office/drawing/2014/main" id="{7C114838-BB52-4FFF-B430-9377EE274EB6}"/>
                </a:ext>
              </a:extLst>
            </p:cNvPr>
            <p:cNvSpPr/>
            <p:nvPr userDrawn="1"/>
          </p:nvSpPr>
          <p:spPr>
            <a:xfrm>
              <a:off x="6421482" y="3829356"/>
              <a:ext cx="283940" cy="283940"/>
            </a:xfrm>
            <a:custGeom>
              <a:avLst/>
              <a:gdLst>
                <a:gd name="connsiteX0" fmla="*/ 14197 w 283940"/>
                <a:gd name="connsiteY0" fmla="*/ 295961 h 283940"/>
                <a:gd name="connsiteX1" fmla="*/ 93700 w 283940"/>
                <a:gd name="connsiteY1" fmla="*/ 195163 h 283940"/>
                <a:gd name="connsiteX2" fmla="*/ 203017 w 283940"/>
                <a:gd name="connsiteY2" fmla="*/ 36156 h 283940"/>
                <a:gd name="connsiteX3" fmla="*/ 295298 w 283940"/>
                <a:gd name="connsiteY3" fmla="*/ 6342 h 283940"/>
                <a:gd name="connsiteX4" fmla="*/ 295298 w 283940"/>
                <a:gd name="connsiteY4" fmla="*/ 663 h 283940"/>
                <a:gd name="connsiteX5" fmla="*/ 181722 w 283940"/>
                <a:gd name="connsiteY5" fmla="*/ 36156 h 283940"/>
                <a:gd name="connsiteX6" fmla="*/ 85182 w 283940"/>
                <a:gd name="connsiteY6" fmla="*/ 173867 h 283940"/>
                <a:gd name="connsiteX7" fmla="*/ 0 w 283940"/>
                <a:gd name="connsiteY7" fmla="*/ 224976 h 283940"/>
                <a:gd name="connsiteX8" fmla="*/ 14197 w 283940"/>
                <a:gd name="connsiteY8" fmla="*/ 295961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940" h="283940">
                  <a:moveTo>
                    <a:pt x="14197" y="295961"/>
                  </a:moveTo>
                  <a:cubicBezTo>
                    <a:pt x="14197" y="295961"/>
                    <a:pt x="29814" y="200841"/>
                    <a:pt x="93700" y="195163"/>
                  </a:cubicBezTo>
                  <a:cubicBezTo>
                    <a:pt x="156167" y="189484"/>
                    <a:pt x="161846" y="61711"/>
                    <a:pt x="203017" y="36156"/>
                  </a:cubicBezTo>
                  <a:cubicBezTo>
                    <a:pt x="242769" y="10601"/>
                    <a:pt x="295298" y="6342"/>
                    <a:pt x="295298" y="6342"/>
                  </a:cubicBezTo>
                  <a:lnTo>
                    <a:pt x="295298" y="663"/>
                  </a:lnTo>
                  <a:cubicBezTo>
                    <a:pt x="295298" y="663"/>
                    <a:pt x="224313" y="-7855"/>
                    <a:pt x="181722" y="36156"/>
                  </a:cubicBezTo>
                  <a:cubicBezTo>
                    <a:pt x="139131" y="80167"/>
                    <a:pt x="141970" y="168188"/>
                    <a:pt x="85182" y="173867"/>
                  </a:cubicBezTo>
                  <a:cubicBezTo>
                    <a:pt x="28394" y="180966"/>
                    <a:pt x="0" y="224976"/>
                    <a:pt x="0" y="224976"/>
                  </a:cubicBezTo>
                  <a:lnTo>
                    <a:pt x="14197" y="295961"/>
                  </a:lnTo>
                  <a:close/>
                </a:path>
              </a:pathLst>
            </a:custGeom>
            <a:solidFill>
              <a:srgbClr val="F0E1D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>
              <a:extLst>
                <a:ext uri="{FF2B5EF4-FFF2-40B4-BE49-F238E27FC236}">
                  <a16:creationId xmlns:a16="http://schemas.microsoft.com/office/drawing/2014/main" id="{6FC19F7E-1B87-4E9A-BB55-A5931875E910}"/>
                </a:ext>
              </a:extLst>
            </p:cNvPr>
            <p:cNvSpPr/>
            <p:nvPr userDrawn="1"/>
          </p:nvSpPr>
          <p:spPr>
            <a:xfrm>
              <a:off x="10028314" y="3789710"/>
              <a:ext cx="1178353" cy="809230"/>
            </a:xfrm>
            <a:custGeom>
              <a:avLst/>
              <a:gdLst>
                <a:gd name="connsiteX0" fmla="*/ 114207 w 1178352"/>
                <a:gd name="connsiteY0" fmla="*/ 609610 h 809230"/>
                <a:gd name="connsiteX1" fmla="*/ 114207 w 1178352"/>
                <a:gd name="connsiteY1" fmla="*/ 287338 h 809230"/>
                <a:gd name="connsiteX2" fmla="*/ 398148 w 1178352"/>
                <a:gd name="connsiteY2" fmla="*/ 3397 h 809230"/>
                <a:gd name="connsiteX3" fmla="*/ 594066 w 1178352"/>
                <a:gd name="connsiteY3" fmla="*/ 239068 h 809230"/>
                <a:gd name="connsiteX4" fmla="*/ 808441 w 1178352"/>
                <a:gd name="connsiteY4" fmla="*/ 415111 h 809230"/>
                <a:gd name="connsiteX5" fmla="*/ 1002941 w 1178352"/>
                <a:gd name="connsiteY5" fmla="*/ 608190 h 809230"/>
                <a:gd name="connsiteX6" fmla="*/ 1152009 w 1178352"/>
                <a:gd name="connsiteY6" fmla="*/ 777135 h 809230"/>
                <a:gd name="connsiteX7" fmla="*/ 233462 w 1178352"/>
                <a:gd name="connsiteY7" fmla="*/ 801270 h 809230"/>
                <a:gd name="connsiteX8" fmla="*/ 114207 w 1178352"/>
                <a:gd name="connsiteY8" fmla="*/ 609610 h 8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8352" h="809230">
                  <a:moveTo>
                    <a:pt x="114207" y="609610"/>
                  </a:moveTo>
                  <a:cubicBezTo>
                    <a:pt x="114207" y="609610"/>
                    <a:pt x="-142759" y="373939"/>
                    <a:pt x="114207" y="287338"/>
                  </a:cubicBezTo>
                  <a:cubicBezTo>
                    <a:pt x="371173" y="200736"/>
                    <a:pt x="280313" y="-30676"/>
                    <a:pt x="398148" y="3397"/>
                  </a:cubicBezTo>
                  <a:cubicBezTo>
                    <a:pt x="515983" y="38890"/>
                    <a:pt x="446417" y="229130"/>
                    <a:pt x="594066" y="239068"/>
                  </a:cubicBezTo>
                  <a:cubicBezTo>
                    <a:pt x="741716" y="249006"/>
                    <a:pt x="805602" y="237648"/>
                    <a:pt x="808441" y="415111"/>
                  </a:cubicBezTo>
                  <a:cubicBezTo>
                    <a:pt x="811281" y="592574"/>
                    <a:pt x="849613" y="525848"/>
                    <a:pt x="1002941" y="608190"/>
                  </a:cubicBezTo>
                  <a:cubicBezTo>
                    <a:pt x="1156268" y="690533"/>
                    <a:pt x="1232932" y="721766"/>
                    <a:pt x="1152009" y="777135"/>
                  </a:cubicBezTo>
                  <a:cubicBezTo>
                    <a:pt x="1072506" y="831084"/>
                    <a:pt x="233462" y="801270"/>
                    <a:pt x="233462" y="801270"/>
                  </a:cubicBezTo>
                  <a:lnTo>
                    <a:pt x="114207" y="609610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>
              <a:extLst>
                <a:ext uri="{FF2B5EF4-FFF2-40B4-BE49-F238E27FC236}">
                  <a16:creationId xmlns:a16="http://schemas.microsoft.com/office/drawing/2014/main" id="{1D28C2A9-F46F-4F67-B12F-4ECE44BFD041}"/>
                </a:ext>
              </a:extLst>
            </p:cNvPr>
            <p:cNvSpPr/>
            <p:nvPr userDrawn="1"/>
          </p:nvSpPr>
          <p:spPr>
            <a:xfrm>
              <a:off x="5760542" y="4315090"/>
              <a:ext cx="1135762" cy="425911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>
              <a:extLst>
                <a:ext uri="{FF2B5EF4-FFF2-40B4-BE49-F238E27FC236}">
                  <a16:creationId xmlns:a16="http://schemas.microsoft.com/office/drawing/2014/main" id="{DB534980-D077-49A7-9CC5-51ED146703FF}"/>
                </a:ext>
              </a:extLst>
            </p:cNvPr>
            <p:cNvSpPr/>
            <p:nvPr userDrawn="1"/>
          </p:nvSpPr>
          <p:spPr>
            <a:xfrm>
              <a:off x="7270464" y="3382813"/>
              <a:ext cx="1334520" cy="1476490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>
              <a:extLst>
                <a:ext uri="{FF2B5EF4-FFF2-40B4-BE49-F238E27FC236}">
                  <a16:creationId xmlns:a16="http://schemas.microsoft.com/office/drawing/2014/main" id="{F9423F85-7230-4DAF-9606-8C97BFFBE334}"/>
                </a:ext>
              </a:extLst>
            </p:cNvPr>
            <p:cNvSpPr/>
            <p:nvPr userDrawn="1"/>
          </p:nvSpPr>
          <p:spPr>
            <a:xfrm>
              <a:off x="7614031" y="3382813"/>
              <a:ext cx="525290" cy="1476490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>
              <a:extLst>
                <a:ext uri="{FF2B5EF4-FFF2-40B4-BE49-F238E27FC236}">
                  <a16:creationId xmlns:a16="http://schemas.microsoft.com/office/drawing/2014/main" id="{0FAB4AA9-37C5-4565-9B0D-E9E8DA5F8B35}"/>
                </a:ext>
              </a:extLst>
            </p:cNvPr>
            <p:cNvSpPr/>
            <p:nvPr userDrawn="1"/>
          </p:nvSpPr>
          <p:spPr>
            <a:xfrm>
              <a:off x="5390778" y="3378554"/>
              <a:ext cx="2541267" cy="1476490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>
              <a:extLst>
                <a:ext uri="{FF2B5EF4-FFF2-40B4-BE49-F238E27FC236}">
                  <a16:creationId xmlns:a16="http://schemas.microsoft.com/office/drawing/2014/main" id="{84149901-F4B6-42DB-B6D2-D4D4BDEA911C}"/>
                </a:ext>
              </a:extLst>
            </p:cNvPr>
            <p:cNvSpPr/>
            <p:nvPr userDrawn="1"/>
          </p:nvSpPr>
          <p:spPr>
            <a:xfrm>
              <a:off x="7070286" y="3378554"/>
              <a:ext cx="866018" cy="1519081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>
              <a:extLst>
                <a:ext uri="{FF2B5EF4-FFF2-40B4-BE49-F238E27FC236}">
                  <a16:creationId xmlns:a16="http://schemas.microsoft.com/office/drawing/2014/main" id="{2642751A-D154-4F56-8424-B440BFD33C2C}"/>
                </a:ext>
              </a:extLst>
            </p:cNvPr>
            <p:cNvSpPr/>
            <p:nvPr userDrawn="1"/>
          </p:nvSpPr>
          <p:spPr>
            <a:xfrm>
              <a:off x="7936304" y="3378554"/>
              <a:ext cx="993791" cy="1490687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1" name="任意多边形: 形状 510">
              <a:extLst>
                <a:ext uri="{FF2B5EF4-FFF2-40B4-BE49-F238E27FC236}">
                  <a16:creationId xmlns:a16="http://schemas.microsoft.com/office/drawing/2014/main" id="{340B7BC1-AB27-46A0-8CE6-1BD5DCB0C873}"/>
                </a:ext>
              </a:extLst>
            </p:cNvPr>
            <p:cNvSpPr/>
            <p:nvPr userDrawn="1"/>
          </p:nvSpPr>
          <p:spPr>
            <a:xfrm>
              <a:off x="10409425" y="3294596"/>
              <a:ext cx="1782575" cy="1573226"/>
            </a:xfrm>
            <a:custGeom>
              <a:avLst/>
              <a:gdLst>
                <a:gd name="connsiteX0" fmla="*/ 412072 w 1782575"/>
                <a:gd name="connsiteY0" fmla="*/ 150 h 1573226"/>
                <a:gd name="connsiteX1" fmla="*/ 1720443 w 1782575"/>
                <a:gd name="connsiteY1" fmla="*/ 600871 h 1573226"/>
                <a:gd name="connsiteX2" fmla="*/ 1782575 w 1782575"/>
                <a:gd name="connsiteY2" fmla="*/ 682726 h 1573226"/>
                <a:gd name="connsiteX3" fmla="*/ 1782575 w 1782575"/>
                <a:gd name="connsiteY3" fmla="*/ 1573226 h 1573226"/>
                <a:gd name="connsiteX4" fmla="*/ 938423 w 1782575"/>
                <a:gd name="connsiteY4" fmla="*/ 1573226 h 1573226"/>
                <a:gd name="connsiteX5" fmla="*/ 0 w 1782575"/>
                <a:gd name="connsiteY5" fmla="*/ 38528 h 1573226"/>
                <a:gd name="connsiteX6" fmla="*/ 412072 w 1782575"/>
                <a:gd name="connsiteY6" fmla="*/ 150 h 157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2575" h="1573226">
                  <a:moveTo>
                    <a:pt x="412072" y="150"/>
                  </a:moveTo>
                  <a:cubicBezTo>
                    <a:pt x="778544" y="4556"/>
                    <a:pt x="1317269" y="108532"/>
                    <a:pt x="1720443" y="600871"/>
                  </a:cubicBezTo>
                  <a:lnTo>
                    <a:pt x="1782575" y="682726"/>
                  </a:lnTo>
                  <a:lnTo>
                    <a:pt x="1782575" y="1573226"/>
                  </a:lnTo>
                  <a:lnTo>
                    <a:pt x="938423" y="1573226"/>
                  </a:lnTo>
                  <a:lnTo>
                    <a:pt x="0" y="38528"/>
                  </a:lnTo>
                  <a:cubicBezTo>
                    <a:pt x="0" y="38528"/>
                    <a:pt x="167758" y="-2788"/>
                    <a:pt x="412072" y="150"/>
                  </a:cubicBezTo>
                  <a:close/>
                </a:path>
              </a:pathLst>
            </a:custGeom>
            <a:solidFill>
              <a:srgbClr val="F9DB5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>
              <a:extLst>
                <a:ext uri="{FF2B5EF4-FFF2-40B4-BE49-F238E27FC236}">
                  <a16:creationId xmlns:a16="http://schemas.microsoft.com/office/drawing/2014/main" id="{EE01689F-8AE1-4479-A103-53EE7E30A3CE}"/>
                </a:ext>
              </a:extLst>
            </p:cNvPr>
            <p:cNvSpPr/>
            <p:nvPr userDrawn="1"/>
          </p:nvSpPr>
          <p:spPr>
            <a:xfrm>
              <a:off x="9239590" y="3333124"/>
              <a:ext cx="2101159" cy="1533278"/>
            </a:xfrm>
            <a:custGeom>
              <a:avLst/>
              <a:gdLst>
                <a:gd name="connsiteX0" fmla="*/ 1169834 w 2101158"/>
                <a:gd name="connsiteY0" fmla="*/ 0 h 1533278"/>
                <a:gd name="connsiteX1" fmla="*/ 0 w 2101158"/>
                <a:gd name="connsiteY1" fmla="*/ 1534698 h 1533278"/>
                <a:gd name="connsiteX2" fmla="*/ 1169834 w 2101158"/>
                <a:gd name="connsiteY2" fmla="*/ 1534698 h 1533278"/>
                <a:gd name="connsiteX3" fmla="*/ 2108258 w 2101158"/>
                <a:gd name="connsiteY3" fmla="*/ 1534698 h 1533278"/>
                <a:gd name="connsiteX4" fmla="*/ 1169834 w 2101158"/>
                <a:gd name="connsiteY4" fmla="*/ 0 h 153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158" h="1533278">
                  <a:moveTo>
                    <a:pt x="1169834" y="0"/>
                  </a:moveTo>
                  <a:cubicBezTo>
                    <a:pt x="315174" y="354926"/>
                    <a:pt x="0" y="1534698"/>
                    <a:pt x="0" y="1534698"/>
                  </a:cubicBezTo>
                  <a:lnTo>
                    <a:pt x="1169834" y="1534698"/>
                  </a:lnTo>
                  <a:lnTo>
                    <a:pt x="2108258" y="1534698"/>
                  </a:lnTo>
                  <a:cubicBezTo>
                    <a:pt x="2108258" y="1534698"/>
                    <a:pt x="1973386" y="577819"/>
                    <a:pt x="1169834" y="0"/>
                  </a:cubicBezTo>
                  <a:close/>
                </a:path>
              </a:pathLst>
            </a:custGeom>
            <a:solidFill>
              <a:srgbClr val="F5BB1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>
              <a:extLst>
                <a:ext uri="{FF2B5EF4-FFF2-40B4-BE49-F238E27FC236}">
                  <a16:creationId xmlns:a16="http://schemas.microsoft.com/office/drawing/2014/main" id="{625125C8-824C-426B-8E9F-DC818B07E9FF}"/>
                </a:ext>
              </a:extLst>
            </p:cNvPr>
            <p:cNvSpPr/>
            <p:nvPr userDrawn="1"/>
          </p:nvSpPr>
          <p:spPr>
            <a:xfrm>
              <a:off x="9560443" y="3829388"/>
              <a:ext cx="1320323" cy="1036383"/>
            </a:xfrm>
            <a:custGeom>
              <a:avLst/>
              <a:gdLst>
                <a:gd name="connsiteX0" fmla="*/ 0 w 1320322"/>
                <a:gd name="connsiteY0" fmla="*/ 1038433 h 1036382"/>
                <a:gd name="connsiteX1" fmla="*/ 1327421 w 1320322"/>
                <a:gd name="connsiteY1" fmla="*/ 1038433 h 1036382"/>
                <a:gd name="connsiteX2" fmla="*/ 787935 w 1320322"/>
                <a:gd name="connsiteY2" fmla="*/ 631 h 1036382"/>
                <a:gd name="connsiteX3" fmla="*/ 742504 w 1320322"/>
                <a:gd name="connsiteY3" fmla="*/ 631 h 1036382"/>
                <a:gd name="connsiteX4" fmla="*/ 0 w 1320322"/>
                <a:gd name="connsiteY4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22" h="1036382">
                  <a:moveTo>
                    <a:pt x="0" y="1038433"/>
                  </a:moveTo>
                  <a:lnTo>
                    <a:pt x="1327421" y="1038433"/>
                  </a:lnTo>
                  <a:cubicBezTo>
                    <a:pt x="1327421" y="1038433"/>
                    <a:pt x="1327421" y="223524"/>
                    <a:pt x="787935" y="631"/>
                  </a:cubicBezTo>
                  <a:cubicBezTo>
                    <a:pt x="787935" y="631"/>
                    <a:pt x="770898" y="-789"/>
                    <a:pt x="742504" y="631"/>
                  </a:cubicBezTo>
                  <a:cubicBezTo>
                    <a:pt x="596275" y="7730"/>
                    <a:pt x="137711" y="108528"/>
                    <a:pt x="0" y="1038433"/>
                  </a:cubicBezTo>
                  <a:close/>
                </a:path>
              </a:pathLst>
            </a:custGeom>
            <a:solidFill>
              <a:srgbClr val="CC5C3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>
              <a:extLst>
                <a:ext uri="{FF2B5EF4-FFF2-40B4-BE49-F238E27FC236}">
                  <a16:creationId xmlns:a16="http://schemas.microsoft.com/office/drawing/2014/main" id="{00E891B0-D4C3-4AF7-B71E-7B95D3560DB6}"/>
                </a:ext>
              </a:extLst>
            </p:cNvPr>
            <p:cNvSpPr/>
            <p:nvPr userDrawn="1"/>
          </p:nvSpPr>
          <p:spPr>
            <a:xfrm>
              <a:off x="9087682" y="3238004"/>
              <a:ext cx="2370902" cy="1618460"/>
            </a:xfrm>
            <a:custGeom>
              <a:avLst/>
              <a:gdLst>
                <a:gd name="connsiteX0" fmla="*/ 5679 w 2370902"/>
                <a:gd name="connsiteY0" fmla="*/ 1629818 h 1618460"/>
                <a:gd name="connsiteX1" fmla="*/ 762380 w 2370902"/>
                <a:gd name="connsiteY1" fmla="*/ 346407 h 1618460"/>
                <a:gd name="connsiteX2" fmla="*/ 1320323 w 2370902"/>
                <a:gd name="connsiteY2" fmla="*/ 7099 h 1618460"/>
                <a:gd name="connsiteX3" fmla="*/ 2209056 w 2370902"/>
                <a:gd name="connsiteY3" fmla="*/ 1037802 h 1618460"/>
                <a:gd name="connsiteX4" fmla="*/ 2373742 w 2370902"/>
                <a:gd name="connsiteY4" fmla="*/ 1629818 h 1618460"/>
                <a:gd name="connsiteX5" fmla="*/ 2379420 w 2370902"/>
                <a:gd name="connsiteY5" fmla="*/ 1629818 h 1618460"/>
                <a:gd name="connsiteX6" fmla="*/ 2213315 w 2370902"/>
                <a:gd name="connsiteY6" fmla="*/ 1036383 h 1618460"/>
                <a:gd name="connsiteX7" fmla="*/ 1895302 w 2370902"/>
                <a:gd name="connsiteY7" fmla="*/ 503994 h 1618460"/>
                <a:gd name="connsiteX8" fmla="*/ 1323162 w 2370902"/>
                <a:gd name="connsiteY8" fmla="*/ 1420 h 1618460"/>
                <a:gd name="connsiteX9" fmla="*/ 1321742 w 2370902"/>
                <a:gd name="connsiteY9" fmla="*/ 0 h 1618460"/>
                <a:gd name="connsiteX10" fmla="*/ 1320323 w 2370902"/>
                <a:gd name="connsiteY10" fmla="*/ 0 h 1618460"/>
                <a:gd name="connsiteX11" fmla="*/ 758121 w 2370902"/>
                <a:gd name="connsiteY11" fmla="*/ 340729 h 1618460"/>
                <a:gd name="connsiteX12" fmla="*/ 316593 w 2370902"/>
                <a:gd name="connsiteY12" fmla="*/ 840464 h 1618460"/>
                <a:gd name="connsiteX13" fmla="*/ 0 w 2370902"/>
                <a:gd name="connsiteY13" fmla="*/ 1626979 h 1618460"/>
                <a:gd name="connsiteX14" fmla="*/ 5679 w 2370902"/>
                <a:gd name="connsiteY14" fmla="*/ 1629818 h 161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70902" h="1618460">
                  <a:moveTo>
                    <a:pt x="5679" y="1629818"/>
                  </a:moveTo>
                  <a:cubicBezTo>
                    <a:pt x="140550" y="979594"/>
                    <a:pt x="491217" y="572140"/>
                    <a:pt x="762380" y="346407"/>
                  </a:cubicBezTo>
                  <a:cubicBezTo>
                    <a:pt x="1044900" y="110737"/>
                    <a:pt x="1300447" y="15617"/>
                    <a:pt x="1320323" y="7099"/>
                  </a:cubicBezTo>
                  <a:cubicBezTo>
                    <a:pt x="1818638" y="309495"/>
                    <a:pt x="2078444" y="733986"/>
                    <a:pt x="2209056" y="1037802"/>
                  </a:cubicBezTo>
                  <a:cubicBezTo>
                    <a:pt x="2351026" y="1367173"/>
                    <a:pt x="2373742" y="1626979"/>
                    <a:pt x="2373742" y="1629818"/>
                  </a:cubicBezTo>
                  <a:lnTo>
                    <a:pt x="2379420" y="1629818"/>
                  </a:lnTo>
                  <a:cubicBezTo>
                    <a:pt x="2379420" y="1626979"/>
                    <a:pt x="2355286" y="1365753"/>
                    <a:pt x="2213315" y="1036383"/>
                  </a:cubicBezTo>
                  <a:cubicBezTo>
                    <a:pt x="2129553" y="843303"/>
                    <a:pt x="2023075" y="664421"/>
                    <a:pt x="1895302" y="503994"/>
                  </a:cubicBezTo>
                  <a:cubicBezTo>
                    <a:pt x="1737715" y="303816"/>
                    <a:pt x="1544636" y="134872"/>
                    <a:pt x="1323162" y="1420"/>
                  </a:cubicBezTo>
                  <a:lnTo>
                    <a:pt x="1321742" y="0"/>
                  </a:lnTo>
                  <a:lnTo>
                    <a:pt x="1320323" y="0"/>
                  </a:lnTo>
                  <a:cubicBezTo>
                    <a:pt x="1317483" y="1420"/>
                    <a:pt x="1051999" y="93700"/>
                    <a:pt x="758121" y="340729"/>
                  </a:cubicBezTo>
                  <a:cubicBezTo>
                    <a:pt x="584917" y="485538"/>
                    <a:pt x="437268" y="653063"/>
                    <a:pt x="316593" y="840464"/>
                  </a:cubicBezTo>
                  <a:cubicBezTo>
                    <a:pt x="166105" y="1074714"/>
                    <a:pt x="59627" y="1340199"/>
                    <a:pt x="0" y="1626979"/>
                  </a:cubicBezTo>
                  <a:lnTo>
                    <a:pt x="5679" y="1629818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2" name="任意多边形: 形状 511">
              <a:extLst>
                <a:ext uri="{FF2B5EF4-FFF2-40B4-BE49-F238E27FC236}">
                  <a16:creationId xmlns:a16="http://schemas.microsoft.com/office/drawing/2014/main" id="{2E3667D9-BDC5-4286-ACC5-05F8C6E1A81E}"/>
                </a:ext>
              </a:extLst>
            </p:cNvPr>
            <p:cNvSpPr/>
            <p:nvPr userDrawn="1"/>
          </p:nvSpPr>
          <p:spPr>
            <a:xfrm>
              <a:off x="10406585" y="3216857"/>
              <a:ext cx="1785415" cy="573525"/>
            </a:xfrm>
            <a:custGeom>
              <a:avLst/>
              <a:gdLst>
                <a:gd name="connsiteX0" fmla="*/ 312512 w 1785415"/>
                <a:gd name="connsiteY0" fmla="*/ 29 h 573525"/>
                <a:gd name="connsiteX1" fmla="*/ 1013667 w 1785415"/>
                <a:gd name="connsiteY1" fmla="*/ 97811 h 573525"/>
                <a:gd name="connsiteX2" fmla="*/ 1624183 w 1785415"/>
                <a:gd name="connsiteY2" fmla="*/ 413451 h 573525"/>
                <a:gd name="connsiteX3" fmla="*/ 1785415 w 1785415"/>
                <a:gd name="connsiteY3" fmla="*/ 561757 h 573525"/>
                <a:gd name="connsiteX4" fmla="*/ 1785415 w 1785415"/>
                <a:gd name="connsiteY4" fmla="*/ 573525 h 573525"/>
                <a:gd name="connsiteX5" fmla="*/ 1765755 w 1785415"/>
                <a:gd name="connsiteY5" fmla="*/ 551938 h 573525"/>
                <a:gd name="connsiteX6" fmla="*/ 1012247 w 1785415"/>
                <a:gd name="connsiteY6" fmla="*/ 103490 h 573525"/>
                <a:gd name="connsiteX7" fmla="*/ 1420 w 1785415"/>
                <a:gd name="connsiteY7" fmla="*/ 28246 h 573525"/>
                <a:gd name="connsiteX8" fmla="*/ 0 w 1785415"/>
                <a:gd name="connsiteY8" fmla="*/ 22567 h 573525"/>
                <a:gd name="connsiteX9" fmla="*/ 312512 w 1785415"/>
                <a:gd name="connsiteY9" fmla="*/ 29 h 5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5415" h="573525">
                  <a:moveTo>
                    <a:pt x="312512" y="29"/>
                  </a:moveTo>
                  <a:cubicBezTo>
                    <a:pt x="499735" y="-859"/>
                    <a:pt x="751732" y="18308"/>
                    <a:pt x="1013667" y="97811"/>
                  </a:cubicBezTo>
                  <a:cubicBezTo>
                    <a:pt x="1244724" y="168086"/>
                    <a:pt x="1449427" y="273499"/>
                    <a:pt x="1624183" y="413451"/>
                  </a:cubicBezTo>
                  <a:lnTo>
                    <a:pt x="1785415" y="561757"/>
                  </a:lnTo>
                  <a:lnTo>
                    <a:pt x="1785415" y="573525"/>
                  </a:lnTo>
                  <a:lnTo>
                    <a:pt x="1765755" y="551938"/>
                  </a:lnTo>
                  <a:cubicBezTo>
                    <a:pt x="1527955" y="310057"/>
                    <a:pt x="1253597" y="176605"/>
                    <a:pt x="1012247" y="103490"/>
                  </a:cubicBezTo>
                  <a:cubicBezTo>
                    <a:pt x="489797" y="-55517"/>
                    <a:pt x="5679" y="26826"/>
                    <a:pt x="1420" y="28246"/>
                  </a:cubicBezTo>
                  <a:lnTo>
                    <a:pt x="0" y="22567"/>
                  </a:lnTo>
                  <a:cubicBezTo>
                    <a:pt x="2840" y="21857"/>
                    <a:pt x="125289" y="916"/>
                    <a:pt x="312512" y="29"/>
                  </a:cubicBez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>
              <a:extLst>
                <a:ext uri="{FF2B5EF4-FFF2-40B4-BE49-F238E27FC236}">
                  <a16:creationId xmlns:a16="http://schemas.microsoft.com/office/drawing/2014/main" id="{A28A4F28-C40C-4920-B1E3-D221081AF86E}"/>
                </a:ext>
              </a:extLst>
            </p:cNvPr>
            <p:cNvSpPr/>
            <p:nvPr userDrawn="1"/>
          </p:nvSpPr>
          <p:spPr>
            <a:xfrm>
              <a:off x="10135422" y="3829388"/>
              <a:ext cx="212955" cy="1036383"/>
            </a:xfrm>
            <a:custGeom>
              <a:avLst/>
              <a:gdLst>
                <a:gd name="connsiteX0" fmla="*/ 0 w 212955"/>
                <a:gd name="connsiteY0" fmla="*/ 1038433 h 1036382"/>
                <a:gd name="connsiteX1" fmla="*/ 144810 w 212955"/>
                <a:gd name="connsiteY1" fmla="*/ 1038433 h 1036382"/>
                <a:gd name="connsiteX2" fmla="*/ 214375 w 212955"/>
                <a:gd name="connsiteY2" fmla="*/ 631 h 1036382"/>
                <a:gd name="connsiteX3" fmla="*/ 168944 w 212955"/>
                <a:gd name="connsiteY3" fmla="*/ 631 h 1036382"/>
                <a:gd name="connsiteX4" fmla="*/ 168944 w 212955"/>
                <a:gd name="connsiteY4" fmla="*/ 631 h 1036382"/>
                <a:gd name="connsiteX5" fmla="*/ 0 w 212955"/>
                <a:gd name="connsiteY5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1036382">
                  <a:moveTo>
                    <a:pt x="0" y="1038433"/>
                  </a:moveTo>
                  <a:lnTo>
                    <a:pt x="144810" y="1038433"/>
                  </a:lnTo>
                  <a:lnTo>
                    <a:pt x="214375" y="631"/>
                  </a:lnTo>
                  <a:cubicBezTo>
                    <a:pt x="214375" y="631"/>
                    <a:pt x="197339" y="-789"/>
                    <a:pt x="168944" y="631"/>
                  </a:cubicBezTo>
                  <a:cubicBezTo>
                    <a:pt x="168944" y="631"/>
                    <a:pt x="168944" y="631"/>
                    <a:pt x="168944" y="631"/>
                  </a:cubicBezTo>
                  <a:cubicBezTo>
                    <a:pt x="161846" y="11989"/>
                    <a:pt x="29814" y="849613"/>
                    <a:pt x="0" y="1038433"/>
                  </a:cubicBezTo>
                  <a:close/>
                </a:path>
              </a:pathLst>
            </a:custGeom>
            <a:solidFill>
              <a:srgbClr val="A6433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>
              <a:extLst>
                <a:ext uri="{FF2B5EF4-FFF2-40B4-BE49-F238E27FC236}">
                  <a16:creationId xmlns:a16="http://schemas.microsoft.com/office/drawing/2014/main" id="{EC9F0C81-DD86-4441-A55C-04994A2CF112}"/>
                </a:ext>
              </a:extLst>
            </p:cNvPr>
            <p:cNvSpPr/>
            <p:nvPr userDrawn="1"/>
          </p:nvSpPr>
          <p:spPr>
            <a:xfrm>
              <a:off x="7065222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>
              <a:extLst>
                <a:ext uri="{FF2B5EF4-FFF2-40B4-BE49-F238E27FC236}">
                  <a16:creationId xmlns:a16="http://schemas.microsoft.com/office/drawing/2014/main" id="{C69D5B6A-E0F6-4CFE-8D9F-B6A5B5D885FE}"/>
                </a:ext>
              </a:extLst>
            </p:cNvPr>
            <p:cNvSpPr/>
            <p:nvPr userDrawn="1"/>
          </p:nvSpPr>
          <p:spPr>
            <a:xfrm>
              <a:off x="8916162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>
              <a:extLst>
                <a:ext uri="{FF2B5EF4-FFF2-40B4-BE49-F238E27FC236}">
                  <a16:creationId xmlns:a16="http://schemas.microsoft.com/office/drawing/2014/main" id="{4DF759C0-7E56-4118-B57D-B1A88F06E092}"/>
                </a:ext>
              </a:extLst>
            </p:cNvPr>
            <p:cNvSpPr/>
            <p:nvPr userDrawn="1"/>
          </p:nvSpPr>
          <p:spPr>
            <a:xfrm>
              <a:off x="9077375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>
              <a:extLst>
                <a:ext uri="{FF2B5EF4-FFF2-40B4-BE49-F238E27FC236}">
                  <a16:creationId xmlns:a16="http://schemas.microsoft.com/office/drawing/2014/main" id="{D2184CC0-139E-4D70-8C50-3BC7A6D8FE31}"/>
                </a:ext>
              </a:extLst>
            </p:cNvPr>
            <p:cNvSpPr/>
            <p:nvPr userDrawn="1"/>
          </p:nvSpPr>
          <p:spPr>
            <a:xfrm>
              <a:off x="5146402" y="47476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>
              <a:extLst>
                <a:ext uri="{FF2B5EF4-FFF2-40B4-BE49-F238E27FC236}">
                  <a16:creationId xmlns:a16="http://schemas.microsoft.com/office/drawing/2014/main" id="{C02446E9-8C0E-47BE-912E-D8F3A47986F7}"/>
                </a:ext>
              </a:extLst>
            </p:cNvPr>
            <p:cNvSpPr/>
            <p:nvPr userDrawn="1"/>
          </p:nvSpPr>
          <p:spPr>
            <a:xfrm>
              <a:off x="7482713" y="4742888"/>
              <a:ext cx="99379" cy="141970"/>
            </a:xfrm>
            <a:custGeom>
              <a:avLst/>
              <a:gdLst>
                <a:gd name="connsiteX0" fmla="*/ 3545 w 99379"/>
                <a:gd name="connsiteY0" fmla="*/ 123514 h 141970"/>
                <a:gd name="connsiteX1" fmla="*/ 23421 w 99379"/>
                <a:gd name="connsiteY1" fmla="*/ 0 h 141970"/>
                <a:gd name="connsiteX2" fmla="*/ 23421 w 99379"/>
                <a:gd name="connsiteY2" fmla="*/ 97959 h 141970"/>
                <a:gd name="connsiteX3" fmla="*/ 48976 w 99379"/>
                <a:gd name="connsiteY3" fmla="*/ 62467 h 141970"/>
                <a:gd name="connsiteX4" fmla="*/ 39038 w 99379"/>
                <a:gd name="connsiteY4" fmla="*/ 124934 h 141970"/>
                <a:gd name="connsiteX5" fmla="*/ 97246 w 99379"/>
                <a:gd name="connsiteY5" fmla="*/ 7099 h 141970"/>
                <a:gd name="connsiteX6" fmla="*/ 50395 w 99379"/>
                <a:gd name="connsiteY6" fmla="*/ 144810 h 141970"/>
                <a:gd name="connsiteX7" fmla="*/ 3545 w 99379"/>
                <a:gd name="connsiteY7" fmla="*/ 123514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379" h="141970">
                  <a:moveTo>
                    <a:pt x="3545" y="123514"/>
                  </a:moveTo>
                  <a:cubicBezTo>
                    <a:pt x="3545" y="123514"/>
                    <a:pt x="-12071" y="66726"/>
                    <a:pt x="23421" y="0"/>
                  </a:cubicBezTo>
                  <a:cubicBezTo>
                    <a:pt x="23421" y="0"/>
                    <a:pt x="4965" y="59627"/>
                    <a:pt x="23421" y="97959"/>
                  </a:cubicBezTo>
                  <a:cubicBezTo>
                    <a:pt x="23421" y="97959"/>
                    <a:pt x="36198" y="105058"/>
                    <a:pt x="48976" y="62467"/>
                  </a:cubicBezTo>
                  <a:cubicBezTo>
                    <a:pt x="48976" y="62467"/>
                    <a:pt x="50395" y="105058"/>
                    <a:pt x="39038" y="124934"/>
                  </a:cubicBezTo>
                  <a:cubicBezTo>
                    <a:pt x="27680" y="144810"/>
                    <a:pt x="95826" y="100799"/>
                    <a:pt x="97246" y="7099"/>
                  </a:cubicBezTo>
                  <a:cubicBezTo>
                    <a:pt x="97246" y="7099"/>
                    <a:pt x="115702" y="117835"/>
                    <a:pt x="50395" y="144810"/>
                  </a:cubicBezTo>
                  <a:cubicBezTo>
                    <a:pt x="-19170" y="171784"/>
                    <a:pt x="3545" y="123514"/>
                    <a:pt x="3545" y="123514"/>
                  </a:cubicBezTo>
                  <a:close/>
                </a:path>
              </a:pathLst>
            </a:custGeom>
            <a:solidFill>
              <a:schemeClr val="bg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>
              <a:extLst>
                <a:ext uri="{FF2B5EF4-FFF2-40B4-BE49-F238E27FC236}">
                  <a16:creationId xmlns:a16="http://schemas.microsoft.com/office/drawing/2014/main" id="{C09B5D9F-0941-4B7A-9D81-A28CA959D40B}"/>
                </a:ext>
              </a:extLst>
            </p:cNvPr>
            <p:cNvSpPr/>
            <p:nvPr userDrawn="1"/>
          </p:nvSpPr>
          <p:spPr>
            <a:xfrm>
              <a:off x="6571970" y="5542180"/>
              <a:ext cx="42591" cy="56788"/>
            </a:xfrm>
            <a:custGeom>
              <a:avLst/>
              <a:gdLst>
                <a:gd name="connsiteX0" fmla="*/ 0 w 42591"/>
                <a:gd name="connsiteY0" fmla="*/ 52529 h 56788"/>
                <a:gd name="connsiteX1" fmla="*/ 0 w 42591"/>
                <a:gd name="connsiteY1" fmla="*/ 4259 h 56788"/>
                <a:gd name="connsiteX2" fmla="*/ 48270 w 42591"/>
                <a:gd name="connsiteY2" fmla="*/ 0 h 56788"/>
                <a:gd name="connsiteX3" fmla="*/ 55368 w 42591"/>
                <a:gd name="connsiteY3" fmla="*/ 55368 h 56788"/>
                <a:gd name="connsiteX4" fmla="*/ 0 w 42591"/>
                <a:gd name="connsiteY4" fmla="*/ 52529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56788">
                  <a:moveTo>
                    <a:pt x="0" y="52529"/>
                  </a:moveTo>
                  <a:cubicBezTo>
                    <a:pt x="0" y="52529"/>
                    <a:pt x="0" y="9938"/>
                    <a:pt x="0" y="4259"/>
                  </a:cubicBezTo>
                  <a:cubicBezTo>
                    <a:pt x="0" y="0"/>
                    <a:pt x="48270" y="0"/>
                    <a:pt x="48270" y="0"/>
                  </a:cubicBezTo>
                  <a:cubicBezTo>
                    <a:pt x="48270" y="0"/>
                    <a:pt x="51109" y="46850"/>
                    <a:pt x="55368" y="55368"/>
                  </a:cubicBezTo>
                  <a:cubicBezTo>
                    <a:pt x="56788" y="65306"/>
                    <a:pt x="0" y="52529"/>
                    <a:pt x="0" y="5252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>
              <a:extLst>
                <a:ext uri="{FF2B5EF4-FFF2-40B4-BE49-F238E27FC236}">
                  <a16:creationId xmlns:a16="http://schemas.microsoft.com/office/drawing/2014/main" id="{51F585B3-B968-4BA1-B295-CEB53083453A}"/>
                </a:ext>
              </a:extLst>
            </p:cNvPr>
            <p:cNvSpPr/>
            <p:nvPr userDrawn="1"/>
          </p:nvSpPr>
          <p:spPr>
            <a:xfrm>
              <a:off x="6483750" y="5580137"/>
              <a:ext cx="156167" cy="127773"/>
            </a:xfrm>
            <a:custGeom>
              <a:avLst/>
              <a:gdLst>
                <a:gd name="connsiteX0" fmla="*/ 122293 w 156167"/>
                <a:gd name="connsiteY0" fmla="*/ 11733 h 127773"/>
                <a:gd name="connsiteX1" fmla="*/ 89640 w 156167"/>
                <a:gd name="connsiteY1" fmla="*/ 3215 h 127773"/>
                <a:gd name="connsiteX2" fmla="*/ 75443 w 156167"/>
                <a:gd name="connsiteY2" fmla="*/ 15992 h 127773"/>
                <a:gd name="connsiteX3" fmla="*/ 34271 w 156167"/>
                <a:gd name="connsiteY3" fmla="*/ 74200 h 127773"/>
                <a:gd name="connsiteX4" fmla="*/ 199 w 156167"/>
                <a:gd name="connsiteY4" fmla="*/ 111112 h 127773"/>
                <a:gd name="connsiteX5" fmla="*/ 86800 w 156167"/>
                <a:gd name="connsiteY5" fmla="*/ 133827 h 127773"/>
                <a:gd name="connsiteX6" fmla="*/ 162045 w 156167"/>
                <a:gd name="connsiteY6" fmla="*/ 75620 h 127773"/>
                <a:gd name="connsiteX7" fmla="*/ 137910 w 156167"/>
                <a:gd name="connsiteY7" fmla="*/ 375 h 127773"/>
                <a:gd name="connsiteX8" fmla="*/ 122293 w 156167"/>
                <a:gd name="connsiteY8" fmla="*/ 1173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167" h="127773">
                  <a:moveTo>
                    <a:pt x="122293" y="11733"/>
                  </a:moveTo>
                  <a:cubicBezTo>
                    <a:pt x="122293" y="11733"/>
                    <a:pt x="102417" y="3215"/>
                    <a:pt x="89640" y="3215"/>
                  </a:cubicBezTo>
                  <a:cubicBezTo>
                    <a:pt x="76863" y="3215"/>
                    <a:pt x="78282" y="11733"/>
                    <a:pt x="75443" y="15992"/>
                  </a:cubicBezTo>
                  <a:cubicBezTo>
                    <a:pt x="72603" y="20251"/>
                    <a:pt x="41370" y="67101"/>
                    <a:pt x="34271" y="74200"/>
                  </a:cubicBezTo>
                  <a:cubicBezTo>
                    <a:pt x="25753" y="82718"/>
                    <a:pt x="-2641" y="91236"/>
                    <a:pt x="199" y="111112"/>
                  </a:cubicBezTo>
                  <a:cubicBezTo>
                    <a:pt x="4458" y="132408"/>
                    <a:pt x="41370" y="139506"/>
                    <a:pt x="86800" y="133827"/>
                  </a:cubicBezTo>
                  <a:cubicBezTo>
                    <a:pt x="132231" y="128149"/>
                    <a:pt x="154946" y="85558"/>
                    <a:pt x="162045" y="75620"/>
                  </a:cubicBezTo>
                  <a:cubicBezTo>
                    <a:pt x="169143" y="65682"/>
                    <a:pt x="145008" y="4635"/>
                    <a:pt x="137910" y="375"/>
                  </a:cubicBezTo>
                  <a:cubicBezTo>
                    <a:pt x="130811" y="-2464"/>
                    <a:pt x="122293" y="11733"/>
                    <a:pt x="122293" y="11733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>
              <a:extLst>
                <a:ext uri="{FF2B5EF4-FFF2-40B4-BE49-F238E27FC236}">
                  <a16:creationId xmlns:a16="http://schemas.microsoft.com/office/drawing/2014/main" id="{7EA47A70-8146-42B5-A319-F4E0478786C9}"/>
                </a:ext>
              </a:extLst>
            </p:cNvPr>
            <p:cNvSpPr/>
            <p:nvPr userDrawn="1"/>
          </p:nvSpPr>
          <p:spPr>
            <a:xfrm>
              <a:off x="6174454" y="5547859"/>
              <a:ext cx="56788" cy="56788"/>
            </a:xfrm>
            <a:custGeom>
              <a:avLst/>
              <a:gdLst>
                <a:gd name="connsiteX0" fmla="*/ 0 w 56788"/>
                <a:gd name="connsiteY0" fmla="*/ 39752 h 56788"/>
                <a:gd name="connsiteX1" fmla="*/ 11358 w 56788"/>
                <a:gd name="connsiteY1" fmla="*/ 0 h 56788"/>
                <a:gd name="connsiteX2" fmla="*/ 62467 w 56788"/>
                <a:gd name="connsiteY2" fmla="*/ 7099 h 56788"/>
                <a:gd name="connsiteX3" fmla="*/ 53949 w 56788"/>
                <a:gd name="connsiteY3" fmla="*/ 68146 h 56788"/>
                <a:gd name="connsiteX4" fmla="*/ 0 w 56788"/>
                <a:gd name="connsiteY4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0" y="39752"/>
                  </a:moveTo>
                  <a:lnTo>
                    <a:pt x="11358" y="0"/>
                  </a:lnTo>
                  <a:lnTo>
                    <a:pt x="62467" y="7099"/>
                  </a:lnTo>
                  <a:cubicBezTo>
                    <a:pt x="62467" y="7099"/>
                    <a:pt x="51109" y="61047"/>
                    <a:pt x="53949" y="68146"/>
                  </a:cubicBezTo>
                  <a:cubicBezTo>
                    <a:pt x="55368" y="73824"/>
                    <a:pt x="0" y="39752"/>
                    <a:pt x="0" y="3975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>
              <a:extLst>
                <a:ext uri="{FF2B5EF4-FFF2-40B4-BE49-F238E27FC236}">
                  <a16:creationId xmlns:a16="http://schemas.microsoft.com/office/drawing/2014/main" id="{199A6AF9-8FCF-456A-9524-553BB79A30C8}"/>
                </a:ext>
              </a:extLst>
            </p:cNvPr>
            <p:cNvSpPr/>
            <p:nvPr userDrawn="1"/>
          </p:nvSpPr>
          <p:spPr>
            <a:xfrm>
              <a:off x="6296548" y="3990446"/>
              <a:ext cx="156167" cy="653063"/>
            </a:xfrm>
            <a:custGeom>
              <a:avLst/>
              <a:gdLst>
                <a:gd name="connsiteX0" fmla="*/ 28394 w 156167"/>
                <a:gd name="connsiteY0" fmla="*/ 0 h 653062"/>
                <a:gd name="connsiteX1" fmla="*/ 15617 w 156167"/>
                <a:gd name="connsiteY1" fmla="*/ 288200 h 653062"/>
                <a:gd name="connsiteX2" fmla="*/ 0 w 156167"/>
                <a:gd name="connsiteY2" fmla="*/ 661581 h 653062"/>
                <a:gd name="connsiteX3" fmla="*/ 161846 w 156167"/>
                <a:gd name="connsiteY3" fmla="*/ 424491 h 653062"/>
                <a:gd name="connsiteX4" fmla="*/ 28394 w 156167"/>
                <a:gd name="connsiteY4" fmla="*/ 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167" h="653062">
                  <a:moveTo>
                    <a:pt x="28394" y="0"/>
                  </a:moveTo>
                  <a:cubicBezTo>
                    <a:pt x="28394" y="0"/>
                    <a:pt x="-1420" y="144810"/>
                    <a:pt x="15617" y="288200"/>
                  </a:cubicBezTo>
                  <a:cubicBezTo>
                    <a:pt x="32653" y="431589"/>
                    <a:pt x="0" y="661581"/>
                    <a:pt x="0" y="661581"/>
                  </a:cubicBezTo>
                  <a:lnTo>
                    <a:pt x="161846" y="424491"/>
                  </a:lnTo>
                  <a:lnTo>
                    <a:pt x="28394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>
              <a:extLst>
                <a:ext uri="{FF2B5EF4-FFF2-40B4-BE49-F238E27FC236}">
                  <a16:creationId xmlns:a16="http://schemas.microsoft.com/office/drawing/2014/main" id="{FA33CCE8-E597-4E80-A6E6-A5EBDF03951F}"/>
                </a:ext>
              </a:extLst>
            </p:cNvPr>
            <p:cNvSpPr/>
            <p:nvPr userDrawn="1"/>
          </p:nvSpPr>
          <p:spPr>
            <a:xfrm>
              <a:off x="6160257" y="4422685"/>
              <a:ext cx="511093" cy="1135762"/>
            </a:xfrm>
            <a:custGeom>
              <a:avLst/>
              <a:gdLst>
                <a:gd name="connsiteX0" fmla="*/ 187401 w 511092"/>
                <a:gd name="connsiteY0" fmla="*/ 132802 h 1135761"/>
                <a:gd name="connsiteX1" fmla="*/ 139131 w 511092"/>
                <a:gd name="connsiteY1" fmla="*/ 361374 h 1135761"/>
                <a:gd name="connsiteX2" fmla="*/ 102219 w 511092"/>
                <a:gd name="connsiteY2" fmla="*/ 666610 h 1135761"/>
                <a:gd name="connsiteX3" fmla="*/ 62467 w 511092"/>
                <a:gd name="connsiteY3" fmla="*/ 859689 h 1135761"/>
                <a:gd name="connsiteX4" fmla="*/ 0 w 511092"/>
                <a:gd name="connsiteY4" fmla="*/ 1140790 h 1135761"/>
                <a:gd name="connsiteX5" fmla="*/ 86602 w 511092"/>
                <a:gd name="connsiteY5" fmla="*/ 1142210 h 1135761"/>
                <a:gd name="connsiteX6" fmla="*/ 176043 w 511092"/>
                <a:gd name="connsiteY6" fmla="*/ 825617 h 1135761"/>
                <a:gd name="connsiteX7" fmla="*/ 238510 w 511092"/>
                <a:gd name="connsiteY7" fmla="*/ 589946 h 1135761"/>
                <a:gd name="connsiteX8" fmla="*/ 342148 w 511092"/>
                <a:gd name="connsiteY8" fmla="*/ 318783 h 1135761"/>
                <a:gd name="connsiteX9" fmla="*/ 347827 w 511092"/>
                <a:gd name="connsiteY9" fmla="*/ 364213 h 1135761"/>
                <a:gd name="connsiteX10" fmla="*/ 379060 w 511092"/>
                <a:gd name="connsiteY10" fmla="*/ 659511 h 1135761"/>
                <a:gd name="connsiteX11" fmla="*/ 384739 w 511092"/>
                <a:gd name="connsiteY11" fmla="*/ 845492 h 1135761"/>
                <a:gd name="connsiteX12" fmla="*/ 397517 w 511092"/>
                <a:gd name="connsiteY12" fmla="*/ 1135111 h 1135761"/>
                <a:gd name="connsiteX13" fmla="*/ 478440 w 511092"/>
                <a:gd name="connsiteY13" fmla="*/ 1126593 h 1135761"/>
                <a:gd name="connsiteX14" fmla="*/ 484118 w 511092"/>
                <a:gd name="connsiteY14" fmla="*/ 808580 h 1135761"/>
                <a:gd name="connsiteX15" fmla="*/ 488377 w 511092"/>
                <a:gd name="connsiteY15" fmla="*/ 633957 h 1135761"/>
                <a:gd name="connsiteX16" fmla="*/ 481279 w 511092"/>
                <a:gd name="connsiteY16" fmla="*/ 158356 h 1135761"/>
                <a:gd name="connsiteX17" fmla="*/ 187401 w 511092"/>
                <a:gd name="connsiteY17" fmla="*/ 132802 h 11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092" h="1135761">
                  <a:moveTo>
                    <a:pt x="187401" y="132802"/>
                  </a:moveTo>
                  <a:cubicBezTo>
                    <a:pt x="187401" y="132802"/>
                    <a:pt x="147649" y="314524"/>
                    <a:pt x="139131" y="361374"/>
                  </a:cubicBezTo>
                  <a:cubicBezTo>
                    <a:pt x="130613" y="406804"/>
                    <a:pt x="105058" y="629698"/>
                    <a:pt x="102219" y="666610"/>
                  </a:cubicBezTo>
                  <a:cubicBezTo>
                    <a:pt x="99379" y="704942"/>
                    <a:pt x="61047" y="846912"/>
                    <a:pt x="62467" y="859689"/>
                  </a:cubicBezTo>
                  <a:cubicBezTo>
                    <a:pt x="63887" y="873886"/>
                    <a:pt x="0" y="1140790"/>
                    <a:pt x="0" y="1140790"/>
                  </a:cubicBezTo>
                  <a:cubicBezTo>
                    <a:pt x="0" y="1140790"/>
                    <a:pt x="68146" y="1149308"/>
                    <a:pt x="86602" y="1142210"/>
                  </a:cubicBezTo>
                  <a:cubicBezTo>
                    <a:pt x="99379" y="1137951"/>
                    <a:pt x="176043" y="892342"/>
                    <a:pt x="176043" y="825617"/>
                  </a:cubicBezTo>
                  <a:cubicBezTo>
                    <a:pt x="176043" y="731916"/>
                    <a:pt x="231411" y="611241"/>
                    <a:pt x="238510" y="589946"/>
                  </a:cubicBezTo>
                  <a:cubicBezTo>
                    <a:pt x="316594" y="381250"/>
                    <a:pt x="330791" y="331560"/>
                    <a:pt x="342148" y="318783"/>
                  </a:cubicBezTo>
                  <a:cubicBezTo>
                    <a:pt x="342148" y="318783"/>
                    <a:pt x="343568" y="335819"/>
                    <a:pt x="347827" y="364213"/>
                  </a:cubicBezTo>
                  <a:cubicBezTo>
                    <a:pt x="352086" y="396866"/>
                    <a:pt x="370542" y="629698"/>
                    <a:pt x="379060" y="659511"/>
                  </a:cubicBezTo>
                  <a:cubicBezTo>
                    <a:pt x="387579" y="690745"/>
                    <a:pt x="380480" y="792963"/>
                    <a:pt x="384739" y="845492"/>
                  </a:cubicBezTo>
                  <a:cubicBezTo>
                    <a:pt x="388998" y="898021"/>
                    <a:pt x="397517" y="1135111"/>
                    <a:pt x="397517" y="1135111"/>
                  </a:cubicBezTo>
                  <a:cubicBezTo>
                    <a:pt x="397517" y="1135111"/>
                    <a:pt x="459983" y="1136531"/>
                    <a:pt x="478440" y="1126593"/>
                  </a:cubicBezTo>
                  <a:cubicBezTo>
                    <a:pt x="484118" y="1123754"/>
                    <a:pt x="484118" y="871047"/>
                    <a:pt x="484118" y="808580"/>
                  </a:cubicBezTo>
                  <a:cubicBezTo>
                    <a:pt x="485538" y="746113"/>
                    <a:pt x="485538" y="660931"/>
                    <a:pt x="488377" y="633957"/>
                  </a:cubicBezTo>
                  <a:cubicBezTo>
                    <a:pt x="505414" y="376991"/>
                    <a:pt x="546585" y="340078"/>
                    <a:pt x="481279" y="158356"/>
                  </a:cubicBezTo>
                  <a:cubicBezTo>
                    <a:pt x="359185" y="-182372"/>
                    <a:pt x="187401" y="132802"/>
                    <a:pt x="187401" y="132802"/>
                  </a:cubicBezTo>
                  <a:close/>
                </a:path>
              </a:pathLst>
            </a:custGeom>
            <a:solidFill>
              <a:schemeClr val="tx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>
              <a:extLst>
                <a:ext uri="{FF2B5EF4-FFF2-40B4-BE49-F238E27FC236}">
                  <a16:creationId xmlns:a16="http://schemas.microsoft.com/office/drawing/2014/main" id="{FEEE20FC-AB59-4A21-890F-09731CE65116}"/>
                </a:ext>
              </a:extLst>
            </p:cNvPr>
            <p:cNvSpPr/>
            <p:nvPr userDrawn="1"/>
          </p:nvSpPr>
          <p:spPr>
            <a:xfrm>
              <a:off x="6282268" y="3940978"/>
              <a:ext cx="369123" cy="653063"/>
            </a:xfrm>
            <a:custGeom>
              <a:avLst/>
              <a:gdLst>
                <a:gd name="connsiteX0" fmla="*/ 34156 w 369122"/>
                <a:gd name="connsiteY0" fmla="*/ 82120 h 653062"/>
                <a:gd name="connsiteX1" fmla="*/ 1503 w 369122"/>
                <a:gd name="connsiteY1" fmla="*/ 287977 h 653062"/>
                <a:gd name="connsiteX2" fmla="*/ 62550 w 369122"/>
                <a:gd name="connsiteY2" fmla="*/ 360382 h 653062"/>
                <a:gd name="connsiteX3" fmla="*/ 95204 w 369122"/>
                <a:gd name="connsiteY3" fmla="*/ 481057 h 653062"/>
                <a:gd name="connsiteX4" fmla="*/ 65390 w 369122"/>
                <a:gd name="connsiteY4" fmla="*/ 614509 h 653062"/>
                <a:gd name="connsiteX5" fmla="*/ 373465 w 369122"/>
                <a:gd name="connsiteY5" fmla="*/ 581856 h 653062"/>
                <a:gd name="connsiteX6" fmla="*/ 316677 w 369122"/>
                <a:gd name="connsiteY6" fmla="*/ 404393 h 653062"/>
                <a:gd name="connsiteX7" fmla="*/ 316677 w 369122"/>
                <a:gd name="connsiteY7" fmla="*/ 248226 h 653062"/>
                <a:gd name="connsiteX8" fmla="*/ 325195 w 369122"/>
                <a:gd name="connsiteY8" fmla="*/ 69343 h 653062"/>
                <a:gd name="connsiteX9" fmla="*/ 176127 w 369122"/>
                <a:gd name="connsiteY9" fmla="*/ 1197 h 653062"/>
                <a:gd name="connsiteX10" fmla="*/ 34156 w 369122"/>
                <a:gd name="connsiteY10" fmla="*/ 8212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122" h="653062">
                  <a:moveTo>
                    <a:pt x="34156" y="82120"/>
                  </a:moveTo>
                  <a:cubicBezTo>
                    <a:pt x="34156" y="82120"/>
                    <a:pt x="-8435" y="253904"/>
                    <a:pt x="1503" y="287977"/>
                  </a:cubicBezTo>
                  <a:cubicBezTo>
                    <a:pt x="11441" y="322050"/>
                    <a:pt x="61131" y="356123"/>
                    <a:pt x="62550" y="360382"/>
                  </a:cubicBezTo>
                  <a:cubicBezTo>
                    <a:pt x="63970" y="364641"/>
                    <a:pt x="95204" y="464020"/>
                    <a:pt x="95204" y="481057"/>
                  </a:cubicBezTo>
                  <a:cubicBezTo>
                    <a:pt x="93784" y="498093"/>
                    <a:pt x="65390" y="614509"/>
                    <a:pt x="65390" y="614509"/>
                  </a:cubicBezTo>
                  <a:cubicBezTo>
                    <a:pt x="65390" y="614509"/>
                    <a:pt x="214458" y="722406"/>
                    <a:pt x="373465" y="581856"/>
                  </a:cubicBezTo>
                  <a:cubicBezTo>
                    <a:pt x="373465" y="581856"/>
                    <a:pt x="318097" y="420009"/>
                    <a:pt x="316677" y="404393"/>
                  </a:cubicBezTo>
                  <a:cubicBezTo>
                    <a:pt x="315257" y="387356"/>
                    <a:pt x="310998" y="263842"/>
                    <a:pt x="316677" y="248226"/>
                  </a:cubicBezTo>
                  <a:cubicBezTo>
                    <a:pt x="322356" y="232609"/>
                    <a:pt x="332294" y="83540"/>
                    <a:pt x="325195" y="69343"/>
                  </a:cubicBezTo>
                  <a:cubicBezTo>
                    <a:pt x="318097" y="55146"/>
                    <a:pt x="237174" y="13975"/>
                    <a:pt x="176127" y="1197"/>
                  </a:cubicBezTo>
                  <a:cubicBezTo>
                    <a:pt x="115079" y="-11580"/>
                    <a:pt x="34156" y="82120"/>
                    <a:pt x="34156" y="82120"/>
                  </a:cubicBezTo>
                  <a:close/>
                </a:path>
              </a:pathLst>
            </a:custGeom>
            <a:solidFill>
              <a:srgbClr val="FFF8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>
              <a:extLst>
                <a:ext uri="{FF2B5EF4-FFF2-40B4-BE49-F238E27FC236}">
                  <a16:creationId xmlns:a16="http://schemas.microsoft.com/office/drawing/2014/main" id="{A19A72A4-512C-4AC3-A710-30793735B514}"/>
                </a:ext>
              </a:extLst>
            </p:cNvPr>
            <p:cNvSpPr/>
            <p:nvPr userDrawn="1"/>
          </p:nvSpPr>
          <p:spPr>
            <a:xfrm>
              <a:off x="6462383" y="3945015"/>
              <a:ext cx="269743" cy="837624"/>
            </a:xfrm>
            <a:custGeom>
              <a:avLst/>
              <a:gdLst>
                <a:gd name="connsiteX0" fmla="*/ 245879 w 269743"/>
                <a:gd name="connsiteY0" fmla="*/ 848982 h 837624"/>
                <a:gd name="connsiteX1" fmla="*/ 176313 w 269743"/>
                <a:gd name="connsiteY1" fmla="*/ 667260 h 837624"/>
                <a:gd name="connsiteX2" fmla="*/ 149339 w 269743"/>
                <a:gd name="connsiteY2" fmla="*/ 609052 h 837624"/>
                <a:gd name="connsiteX3" fmla="*/ 128043 w 269743"/>
                <a:gd name="connsiteY3" fmla="*/ 563622 h 837624"/>
                <a:gd name="connsiteX4" fmla="*/ 17307 w 269743"/>
                <a:gd name="connsiteY4" fmla="*/ 303816 h 837624"/>
                <a:gd name="connsiteX5" fmla="*/ 18726 w 269743"/>
                <a:gd name="connsiteY5" fmla="*/ 0 h 837624"/>
                <a:gd name="connsiteX6" fmla="*/ 18726 w 269743"/>
                <a:gd name="connsiteY6" fmla="*/ 0 h 837624"/>
                <a:gd name="connsiteX7" fmla="*/ 143660 w 269743"/>
                <a:gd name="connsiteY7" fmla="*/ 53949 h 837624"/>
                <a:gd name="connsiteX8" fmla="*/ 143660 w 269743"/>
                <a:gd name="connsiteY8" fmla="*/ 53949 h 837624"/>
                <a:gd name="connsiteX9" fmla="*/ 145080 w 269743"/>
                <a:gd name="connsiteY9" fmla="*/ 56788 h 837624"/>
                <a:gd name="connsiteX10" fmla="*/ 180572 w 269743"/>
                <a:gd name="connsiteY10" fmla="*/ 140551 h 837624"/>
                <a:gd name="connsiteX11" fmla="*/ 143660 w 269743"/>
                <a:gd name="connsiteY11" fmla="*/ 191660 h 837624"/>
                <a:gd name="connsiteX12" fmla="*/ 132303 w 269743"/>
                <a:gd name="connsiteY12" fmla="*/ 238510 h 837624"/>
                <a:gd name="connsiteX13" fmla="*/ 133722 w 269743"/>
                <a:gd name="connsiteY13" fmla="*/ 259805 h 837624"/>
                <a:gd name="connsiteX14" fmla="*/ 135142 w 269743"/>
                <a:gd name="connsiteY14" fmla="*/ 266904 h 837624"/>
                <a:gd name="connsiteX15" fmla="*/ 176313 w 269743"/>
                <a:gd name="connsiteY15" fmla="*/ 396097 h 837624"/>
                <a:gd name="connsiteX16" fmla="*/ 179153 w 269743"/>
                <a:gd name="connsiteY16" fmla="*/ 414553 h 837624"/>
                <a:gd name="connsiteX17" fmla="*/ 179153 w 269743"/>
                <a:gd name="connsiteY17" fmla="*/ 414553 h 837624"/>
                <a:gd name="connsiteX18" fmla="*/ 179153 w 269743"/>
                <a:gd name="connsiteY18" fmla="*/ 414553 h 837624"/>
                <a:gd name="connsiteX19" fmla="*/ 193350 w 269743"/>
                <a:gd name="connsiteY19" fmla="*/ 458564 h 837624"/>
                <a:gd name="connsiteX20" fmla="*/ 196189 w 269743"/>
                <a:gd name="connsiteY20" fmla="*/ 464243 h 837624"/>
                <a:gd name="connsiteX21" fmla="*/ 196189 w 269743"/>
                <a:gd name="connsiteY21" fmla="*/ 464243 h 837624"/>
                <a:gd name="connsiteX22" fmla="*/ 234521 w 269743"/>
                <a:gd name="connsiteY22" fmla="*/ 549425 h 837624"/>
                <a:gd name="connsiteX23" fmla="*/ 282791 w 269743"/>
                <a:gd name="connsiteY23" fmla="*/ 685716 h 837624"/>
                <a:gd name="connsiteX24" fmla="*/ 245879 w 269743"/>
                <a:gd name="connsiteY24" fmla="*/ 848982 h 83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9743" h="837624">
                  <a:moveTo>
                    <a:pt x="245879" y="848982"/>
                  </a:moveTo>
                  <a:cubicBezTo>
                    <a:pt x="244459" y="819168"/>
                    <a:pt x="214645" y="749603"/>
                    <a:pt x="176313" y="667260"/>
                  </a:cubicBezTo>
                  <a:cubicBezTo>
                    <a:pt x="167795" y="648804"/>
                    <a:pt x="157857" y="628928"/>
                    <a:pt x="149339" y="609052"/>
                  </a:cubicBezTo>
                  <a:cubicBezTo>
                    <a:pt x="142241" y="593435"/>
                    <a:pt x="135142" y="579238"/>
                    <a:pt x="128043" y="563622"/>
                  </a:cubicBezTo>
                  <a:cubicBezTo>
                    <a:pt x="81193" y="464243"/>
                    <a:pt x="34343" y="364863"/>
                    <a:pt x="17307" y="303816"/>
                  </a:cubicBezTo>
                  <a:cubicBezTo>
                    <a:pt x="-22445" y="167525"/>
                    <a:pt x="18726" y="0"/>
                    <a:pt x="18726" y="0"/>
                  </a:cubicBezTo>
                  <a:cubicBezTo>
                    <a:pt x="18726" y="0"/>
                    <a:pt x="18726" y="0"/>
                    <a:pt x="18726" y="0"/>
                  </a:cubicBezTo>
                  <a:cubicBezTo>
                    <a:pt x="64157" y="8518"/>
                    <a:pt x="128043" y="34073"/>
                    <a:pt x="143660" y="53949"/>
                  </a:cubicBezTo>
                  <a:cubicBezTo>
                    <a:pt x="143660" y="53949"/>
                    <a:pt x="143660" y="53949"/>
                    <a:pt x="143660" y="53949"/>
                  </a:cubicBezTo>
                  <a:cubicBezTo>
                    <a:pt x="143660" y="55368"/>
                    <a:pt x="145080" y="55368"/>
                    <a:pt x="145080" y="56788"/>
                  </a:cubicBezTo>
                  <a:cubicBezTo>
                    <a:pt x="150759" y="66726"/>
                    <a:pt x="164956" y="109317"/>
                    <a:pt x="180572" y="140551"/>
                  </a:cubicBezTo>
                  <a:cubicBezTo>
                    <a:pt x="180572" y="140551"/>
                    <a:pt x="159277" y="156167"/>
                    <a:pt x="143660" y="191660"/>
                  </a:cubicBezTo>
                  <a:cubicBezTo>
                    <a:pt x="137981" y="205857"/>
                    <a:pt x="132303" y="222893"/>
                    <a:pt x="132303" y="238510"/>
                  </a:cubicBezTo>
                  <a:cubicBezTo>
                    <a:pt x="132303" y="245608"/>
                    <a:pt x="132303" y="252707"/>
                    <a:pt x="133722" y="259805"/>
                  </a:cubicBezTo>
                  <a:cubicBezTo>
                    <a:pt x="133722" y="262645"/>
                    <a:pt x="135142" y="264065"/>
                    <a:pt x="135142" y="266904"/>
                  </a:cubicBezTo>
                  <a:cubicBezTo>
                    <a:pt x="155018" y="327951"/>
                    <a:pt x="176313" y="396097"/>
                    <a:pt x="176313" y="396097"/>
                  </a:cubicBezTo>
                  <a:cubicBezTo>
                    <a:pt x="176313" y="401776"/>
                    <a:pt x="177733" y="408874"/>
                    <a:pt x="179153" y="414553"/>
                  </a:cubicBezTo>
                  <a:cubicBezTo>
                    <a:pt x="179153" y="414553"/>
                    <a:pt x="179153" y="414553"/>
                    <a:pt x="179153" y="414553"/>
                  </a:cubicBezTo>
                  <a:lnTo>
                    <a:pt x="179153" y="414553"/>
                  </a:lnTo>
                  <a:cubicBezTo>
                    <a:pt x="181992" y="428750"/>
                    <a:pt x="187671" y="442947"/>
                    <a:pt x="193350" y="458564"/>
                  </a:cubicBezTo>
                  <a:cubicBezTo>
                    <a:pt x="194769" y="459983"/>
                    <a:pt x="194769" y="462823"/>
                    <a:pt x="196189" y="464243"/>
                  </a:cubicBezTo>
                  <a:cubicBezTo>
                    <a:pt x="196189" y="464243"/>
                    <a:pt x="196189" y="464243"/>
                    <a:pt x="196189" y="464243"/>
                  </a:cubicBezTo>
                  <a:cubicBezTo>
                    <a:pt x="207547" y="491217"/>
                    <a:pt x="221744" y="519611"/>
                    <a:pt x="234521" y="549425"/>
                  </a:cubicBezTo>
                  <a:cubicBezTo>
                    <a:pt x="257236" y="597695"/>
                    <a:pt x="278532" y="645965"/>
                    <a:pt x="282791" y="685716"/>
                  </a:cubicBezTo>
                  <a:cubicBezTo>
                    <a:pt x="289889" y="777997"/>
                    <a:pt x="245879" y="848982"/>
                    <a:pt x="245879" y="848982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>
              <a:extLst>
                <a:ext uri="{FF2B5EF4-FFF2-40B4-BE49-F238E27FC236}">
                  <a16:creationId xmlns:a16="http://schemas.microsoft.com/office/drawing/2014/main" id="{0D51F4BD-2908-4DB5-9C98-5FA267F2995A}"/>
                </a:ext>
              </a:extLst>
            </p:cNvPr>
            <p:cNvSpPr/>
            <p:nvPr userDrawn="1"/>
          </p:nvSpPr>
          <p:spPr>
            <a:xfrm>
              <a:off x="6563452" y="4166310"/>
              <a:ext cx="85182" cy="241349"/>
            </a:xfrm>
            <a:custGeom>
              <a:avLst/>
              <a:gdLst>
                <a:gd name="connsiteX0" fmla="*/ 93700 w 85182"/>
                <a:gd name="connsiteY0" fmla="*/ 245788 h 241349"/>
                <a:gd name="connsiteX1" fmla="*/ 0 w 85182"/>
                <a:gd name="connsiteY1" fmla="*/ 179 h 241349"/>
                <a:gd name="connsiteX2" fmla="*/ 29814 w 85182"/>
                <a:gd name="connsiteY2" fmla="*/ 18635 h 241349"/>
                <a:gd name="connsiteX3" fmla="*/ 76664 w 85182"/>
                <a:gd name="connsiteY3" fmla="*/ 196098 h 241349"/>
                <a:gd name="connsiteX4" fmla="*/ 76664 w 85182"/>
                <a:gd name="connsiteY4" fmla="*/ 196098 h 241349"/>
                <a:gd name="connsiteX5" fmla="*/ 76664 w 85182"/>
                <a:gd name="connsiteY5" fmla="*/ 196098 h 241349"/>
                <a:gd name="connsiteX6" fmla="*/ 90861 w 85182"/>
                <a:gd name="connsiteY6" fmla="*/ 240109 h 241349"/>
                <a:gd name="connsiteX7" fmla="*/ 93700 w 85182"/>
                <a:gd name="connsiteY7" fmla="*/ 245788 h 241349"/>
                <a:gd name="connsiteX8" fmla="*/ 93700 w 85182"/>
                <a:gd name="connsiteY8" fmla="*/ 24578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241349">
                  <a:moveTo>
                    <a:pt x="93700" y="245788"/>
                  </a:moveTo>
                  <a:cubicBezTo>
                    <a:pt x="53949" y="203196"/>
                    <a:pt x="0" y="179"/>
                    <a:pt x="0" y="179"/>
                  </a:cubicBezTo>
                  <a:cubicBezTo>
                    <a:pt x="11358" y="-1241"/>
                    <a:pt x="21296" y="5858"/>
                    <a:pt x="29814" y="18635"/>
                  </a:cubicBezTo>
                  <a:cubicBezTo>
                    <a:pt x="62467" y="65485"/>
                    <a:pt x="76664" y="190419"/>
                    <a:pt x="76664" y="196098"/>
                  </a:cubicBezTo>
                  <a:cubicBezTo>
                    <a:pt x="76664" y="196098"/>
                    <a:pt x="76664" y="196098"/>
                    <a:pt x="76664" y="196098"/>
                  </a:cubicBezTo>
                  <a:lnTo>
                    <a:pt x="76664" y="196098"/>
                  </a:lnTo>
                  <a:cubicBezTo>
                    <a:pt x="79503" y="210295"/>
                    <a:pt x="85182" y="224492"/>
                    <a:pt x="90861" y="240109"/>
                  </a:cubicBezTo>
                  <a:cubicBezTo>
                    <a:pt x="90861" y="241528"/>
                    <a:pt x="92281" y="242948"/>
                    <a:pt x="93700" y="245788"/>
                  </a:cubicBezTo>
                  <a:cubicBezTo>
                    <a:pt x="93700" y="245788"/>
                    <a:pt x="93700" y="245788"/>
                    <a:pt x="93700" y="245788"/>
                  </a:cubicBez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>
              <a:extLst>
                <a:ext uri="{FF2B5EF4-FFF2-40B4-BE49-F238E27FC236}">
                  <a16:creationId xmlns:a16="http://schemas.microsoft.com/office/drawing/2014/main" id="{1683A0F0-DF3B-4864-97FE-B6C40C2B0189}"/>
                </a:ext>
              </a:extLst>
            </p:cNvPr>
            <p:cNvSpPr/>
            <p:nvPr userDrawn="1"/>
          </p:nvSpPr>
          <p:spPr>
            <a:xfrm>
              <a:off x="6840294" y="4406906"/>
              <a:ext cx="99379" cy="127773"/>
            </a:xfrm>
            <a:custGeom>
              <a:avLst/>
              <a:gdLst>
                <a:gd name="connsiteX0" fmla="*/ 18456 w 99379"/>
                <a:gd name="connsiteY0" fmla="*/ 46363 h 127773"/>
                <a:gd name="connsiteX1" fmla="*/ 51109 w 99379"/>
                <a:gd name="connsiteY1" fmla="*/ 43524 h 127773"/>
                <a:gd name="connsiteX2" fmla="*/ 75244 w 99379"/>
                <a:gd name="connsiteY2" fmla="*/ 15130 h 127773"/>
                <a:gd name="connsiteX3" fmla="*/ 92281 w 99379"/>
                <a:gd name="connsiteY3" fmla="*/ 2352 h 127773"/>
                <a:gd name="connsiteX4" fmla="*/ 75244 w 99379"/>
                <a:gd name="connsiteY4" fmla="*/ 54881 h 127773"/>
                <a:gd name="connsiteX5" fmla="*/ 106478 w 99379"/>
                <a:gd name="connsiteY5" fmla="*/ 73337 h 127773"/>
                <a:gd name="connsiteX6" fmla="*/ 72405 w 99379"/>
                <a:gd name="connsiteY6" fmla="*/ 127286 h 127773"/>
                <a:gd name="connsiteX7" fmla="*/ 31234 w 99379"/>
                <a:gd name="connsiteY7" fmla="*/ 94633 h 127773"/>
                <a:gd name="connsiteX8" fmla="*/ 0 w 99379"/>
                <a:gd name="connsiteY8" fmla="*/ 81856 h 127773"/>
                <a:gd name="connsiteX9" fmla="*/ 18456 w 99379"/>
                <a:gd name="connsiteY9" fmla="*/ 4636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79" h="127773">
                  <a:moveTo>
                    <a:pt x="18456" y="46363"/>
                  </a:moveTo>
                  <a:cubicBezTo>
                    <a:pt x="18456" y="46363"/>
                    <a:pt x="41171" y="54881"/>
                    <a:pt x="51109" y="43524"/>
                  </a:cubicBezTo>
                  <a:cubicBezTo>
                    <a:pt x="59628" y="35005"/>
                    <a:pt x="73825" y="19389"/>
                    <a:pt x="75244" y="15130"/>
                  </a:cubicBezTo>
                  <a:cubicBezTo>
                    <a:pt x="76664" y="10870"/>
                    <a:pt x="89441" y="-6166"/>
                    <a:pt x="92281" y="2352"/>
                  </a:cubicBezTo>
                  <a:cubicBezTo>
                    <a:pt x="95120" y="10870"/>
                    <a:pt x="80923" y="49202"/>
                    <a:pt x="75244" y="54881"/>
                  </a:cubicBezTo>
                  <a:cubicBezTo>
                    <a:pt x="69566" y="59140"/>
                    <a:pt x="102219" y="67659"/>
                    <a:pt x="106478" y="73337"/>
                  </a:cubicBezTo>
                  <a:cubicBezTo>
                    <a:pt x="110737" y="79016"/>
                    <a:pt x="93700" y="135804"/>
                    <a:pt x="72405" y="127286"/>
                  </a:cubicBezTo>
                  <a:cubicBezTo>
                    <a:pt x="51109" y="118768"/>
                    <a:pt x="34073" y="96053"/>
                    <a:pt x="31234" y="94633"/>
                  </a:cubicBezTo>
                  <a:cubicBezTo>
                    <a:pt x="25555" y="91794"/>
                    <a:pt x="0" y="81856"/>
                    <a:pt x="0" y="81856"/>
                  </a:cubicBezTo>
                  <a:lnTo>
                    <a:pt x="18456" y="46363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>
              <a:extLst>
                <a:ext uri="{FF2B5EF4-FFF2-40B4-BE49-F238E27FC236}">
                  <a16:creationId xmlns:a16="http://schemas.microsoft.com/office/drawing/2014/main" id="{9E104D57-632A-4F56-904D-A195701076CF}"/>
                </a:ext>
              </a:extLst>
            </p:cNvPr>
            <p:cNvSpPr/>
            <p:nvPr userDrawn="1"/>
          </p:nvSpPr>
          <p:spPr>
            <a:xfrm>
              <a:off x="6914119" y="4477403"/>
              <a:ext cx="99379" cy="85182"/>
            </a:xfrm>
            <a:custGeom>
              <a:avLst/>
              <a:gdLst>
                <a:gd name="connsiteX0" fmla="*/ 26974 w 99379"/>
                <a:gd name="connsiteY0" fmla="*/ 0 h 85182"/>
                <a:gd name="connsiteX1" fmla="*/ 95120 w 99379"/>
                <a:gd name="connsiteY1" fmla="*/ 35493 h 85182"/>
                <a:gd name="connsiteX2" fmla="*/ 89441 w 99379"/>
                <a:gd name="connsiteY2" fmla="*/ 42591 h 85182"/>
                <a:gd name="connsiteX3" fmla="*/ 25554 w 99379"/>
                <a:gd name="connsiteY3" fmla="*/ 15617 h 85182"/>
                <a:gd name="connsiteX4" fmla="*/ 100799 w 99379"/>
                <a:gd name="connsiteY4" fmla="*/ 68146 h 85182"/>
                <a:gd name="connsiteX5" fmla="*/ 96540 w 99379"/>
                <a:gd name="connsiteY5" fmla="*/ 76664 h 85182"/>
                <a:gd name="connsiteX6" fmla="*/ 19876 w 99379"/>
                <a:gd name="connsiteY6" fmla="*/ 32653 h 85182"/>
                <a:gd name="connsiteX7" fmla="*/ 88021 w 99379"/>
                <a:gd name="connsiteY7" fmla="*/ 82343 h 85182"/>
                <a:gd name="connsiteX8" fmla="*/ 79503 w 99379"/>
                <a:gd name="connsiteY8" fmla="*/ 89441 h 85182"/>
                <a:gd name="connsiteX9" fmla="*/ 9938 w 99379"/>
                <a:gd name="connsiteY9" fmla="*/ 48270 h 85182"/>
                <a:gd name="connsiteX10" fmla="*/ 55368 w 99379"/>
                <a:gd name="connsiteY10" fmla="*/ 89441 h 85182"/>
                <a:gd name="connsiteX11" fmla="*/ 41171 w 99379"/>
                <a:gd name="connsiteY11" fmla="*/ 89441 h 85182"/>
                <a:gd name="connsiteX12" fmla="*/ 0 w 99379"/>
                <a:gd name="connsiteY12" fmla="*/ 59627 h 85182"/>
                <a:gd name="connsiteX13" fmla="*/ 26974 w 99379"/>
                <a:gd name="connsiteY1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379" h="85182">
                  <a:moveTo>
                    <a:pt x="26974" y="0"/>
                  </a:moveTo>
                  <a:cubicBezTo>
                    <a:pt x="26974" y="0"/>
                    <a:pt x="92281" y="29814"/>
                    <a:pt x="95120" y="35493"/>
                  </a:cubicBezTo>
                  <a:cubicBezTo>
                    <a:pt x="97959" y="41171"/>
                    <a:pt x="96540" y="45430"/>
                    <a:pt x="89441" y="42591"/>
                  </a:cubicBezTo>
                  <a:cubicBezTo>
                    <a:pt x="83762" y="39752"/>
                    <a:pt x="25554" y="15617"/>
                    <a:pt x="25554" y="15617"/>
                  </a:cubicBezTo>
                  <a:cubicBezTo>
                    <a:pt x="25554" y="15617"/>
                    <a:pt x="96540" y="63887"/>
                    <a:pt x="100799" y="68146"/>
                  </a:cubicBezTo>
                  <a:cubicBezTo>
                    <a:pt x="102219" y="70985"/>
                    <a:pt x="99379" y="78084"/>
                    <a:pt x="96540" y="76664"/>
                  </a:cubicBezTo>
                  <a:cubicBezTo>
                    <a:pt x="93700" y="75244"/>
                    <a:pt x="19876" y="32653"/>
                    <a:pt x="19876" y="32653"/>
                  </a:cubicBezTo>
                  <a:cubicBezTo>
                    <a:pt x="19876" y="32653"/>
                    <a:pt x="86602" y="78084"/>
                    <a:pt x="88021" y="82343"/>
                  </a:cubicBezTo>
                  <a:cubicBezTo>
                    <a:pt x="89441" y="86602"/>
                    <a:pt x="85182" y="92281"/>
                    <a:pt x="79503" y="89441"/>
                  </a:cubicBezTo>
                  <a:cubicBezTo>
                    <a:pt x="73824" y="86602"/>
                    <a:pt x="9938" y="48270"/>
                    <a:pt x="9938" y="48270"/>
                  </a:cubicBezTo>
                  <a:cubicBezTo>
                    <a:pt x="9938" y="48270"/>
                    <a:pt x="55368" y="83762"/>
                    <a:pt x="55368" y="89441"/>
                  </a:cubicBezTo>
                  <a:cubicBezTo>
                    <a:pt x="55368" y="93700"/>
                    <a:pt x="52529" y="97959"/>
                    <a:pt x="41171" y="89441"/>
                  </a:cubicBezTo>
                  <a:cubicBezTo>
                    <a:pt x="29814" y="79503"/>
                    <a:pt x="0" y="59627"/>
                    <a:pt x="0" y="59627"/>
                  </a:cubicBezTo>
                  <a:lnTo>
                    <a:pt x="26974" y="0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>
              <a:extLst>
                <a:ext uri="{FF2B5EF4-FFF2-40B4-BE49-F238E27FC236}">
                  <a16:creationId xmlns:a16="http://schemas.microsoft.com/office/drawing/2014/main" id="{66452032-0EF7-438A-9AAD-343B1A8F6A86}"/>
                </a:ext>
              </a:extLst>
            </p:cNvPr>
            <p:cNvSpPr/>
            <p:nvPr userDrawn="1"/>
          </p:nvSpPr>
          <p:spPr>
            <a:xfrm>
              <a:off x="6527959" y="3979973"/>
              <a:ext cx="340728" cy="511093"/>
            </a:xfrm>
            <a:custGeom>
              <a:avLst/>
              <a:gdLst>
                <a:gd name="connsiteX0" fmla="*/ 134872 w 340728"/>
                <a:gd name="connsiteY0" fmla="*/ 179417 h 511092"/>
                <a:gd name="connsiteX1" fmla="*/ 178883 w 340728"/>
                <a:gd name="connsiteY1" fmla="*/ 344102 h 511092"/>
                <a:gd name="connsiteX2" fmla="*/ 207277 w 340728"/>
                <a:gd name="connsiteY2" fmla="*/ 369657 h 511092"/>
                <a:gd name="connsiteX3" fmla="*/ 349247 w 340728"/>
                <a:gd name="connsiteY3" fmla="*/ 473295 h 511092"/>
                <a:gd name="connsiteX4" fmla="*/ 320853 w 340728"/>
                <a:gd name="connsiteY4" fmla="*/ 524404 h 511092"/>
                <a:gd name="connsiteX5" fmla="*/ 217214 w 340728"/>
                <a:gd name="connsiteY5" fmla="*/ 464777 h 511092"/>
                <a:gd name="connsiteX6" fmla="*/ 120675 w 340728"/>
                <a:gd name="connsiteY6" fmla="*/ 396631 h 511092"/>
                <a:gd name="connsiteX7" fmla="*/ 29814 w 340728"/>
                <a:gd name="connsiteY7" fmla="*/ 168059 h 511092"/>
                <a:gd name="connsiteX8" fmla="*/ 14197 w 340728"/>
                <a:gd name="connsiteY8" fmla="*/ 99914 h 511092"/>
                <a:gd name="connsiteX9" fmla="*/ 0 w 340728"/>
                <a:gd name="connsiteY9" fmla="*/ 18991 h 511092"/>
                <a:gd name="connsiteX10" fmla="*/ 0 w 340728"/>
                <a:gd name="connsiteY10" fmla="*/ 14731 h 511092"/>
                <a:gd name="connsiteX11" fmla="*/ 0 w 340728"/>
                <a:gd name="connsiteY11" fmla="*/ 14731 h 511092"/>
                <a:gd name="connsiteX12" fmla="*/ 73825 w 340728"/>
                <a:gd name="connsiteY12" fmla="*/ 16151 h 511092"/>
                <a:gd name="connsiteX13" fmla="*/ 134872 w 340728"/>
                <a:gd name="connsiteY13" fmla="*/ 17941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0728" h="511092">
                  <a:moveTo>
                    <a:pt x="134872" y="179417"/>
                  </a:moveTo>
                  <a:cubicBezTo>
                    <a:pt x="147649" y="241884"/>
                    <a:pt x="173204" y="332745"/>
                    <a:pt x="178883" y="344102"/>
                  </a:cubicBezTo>
                  <a:cubicBezTo>
                    <a:pt x="181722" y="349781"/>
                    <a:pt x="193080" y="358299"/>
                    <a:pt x="207277" y="369657"/>
                  </a:cubicBezTo>
                  <a:cubicBezTo>
                    <a:pt x="228572" y="388113"/>
                    <a:pt x="349247" y="473295"/>
                    <a:pt x="349247" y="473295"/>
                  </a:cubicBezTo>
                  <a:cubicBezTo>
                    <a:pt x="349247" y="494591"/>
                    <a:pt x="320853" y="524404"/>
                    <a:pt x="320853" y="524404"/>
                  </a:cubicBezTo>
                  <a:cubicBezTo>
                    <a:pt x="300977" y="511627"/>
                    <a:pt x="261225" y="488912"/>
                    <a:pt x="217214" y="464777"/>
                  </a:cubicBezTo>
                  <a:cubicBezTo>
                    <a:pt x="167525" y="437803"/>
                    <a:pt x="130613" y="410828"/>
                    <a:pt x="120675" y="396631"/>
                  </a:cubicBezTo>
                  <a:cubicBezTo>
                    <a:pt x="103638" y="369657"/>
                    <a:pt x="41171" y="207811"/>
                    <a:pt x="29814" y="168059"/>
                  </a:cubicBezTo>
                  <a:cubicBezTo>
                    <a:pt x="25555" y="152443"/>
                    <a:pt x="19876" y="125468"/>
                    <a:pt x="14197" y="99914"/>
                  </a:cubicBezTo>
                  <a:cubicBezTo>
                    <a:pt x="8518" y="65841"/>
                    <a:pt x="2840" y="30348"/>
                    <a:pt x="0" y="18991"/>
                  </a:cubicBezTo>
                  <a:cubicBezTo>
                    <a:pt x="0" y="16151"/>
                    <a:pt x="0" y="16151"/>
                    <a:pt x="0" y="14731"/>
                  </a:cubicBezTo>
                  <a:cubicBezTo>
                    <a:pt x="0" y="14731"/>
                    <a:pt x="0" y="14731"/>
                    <a:pt x="0" y="14731"/>
                  </a:cubicBezTo>
                  <a:cubicBezTo>
                    <a:pt x="0" y="14731"/>
                    <a:pt x="25555" y="-19341"/>
                    <a:pt x="73825" y="16151"/>
                  </a:cubicBezTo>
                  <a:cubicBezTo>
                    <a:pt x="73825" y="16151"/>
                    <a:pt x="107897" y="50224"/>
                    <a:pt x="134872" y="179417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>
              <a:extLst>
                <a:ext uri="{FF2B5EF4-FFF2-40B4-BE49-F238E27FC236}">
                  <a16:creationId xmlns:a16="http://schemas.microsoft.com/office/drawing/2014/main" id="{26E708A0-2D9B-4D26-9275-F9DCCDF74DF6}"/>
                </a:ext>
              </a:extLst>
            </p:cNvPr>
            <p:cNvSpPr/>
            <p:nvPr userDrawn="1"/>
          </p:nvSpPr>
          <p:spPr>
            <a:xfrm>
              <a:off x="6689806" y="5229846"/>
              <a:ext cx="127773" cy="113576"/>
            </a:xfrm>
            <a:custGeom>
              <a:avLst/>
              <a:gdLst>
                <a:gd name="connsiteX0" fmla="*/ 68146 w 127773"/>
                <a:gd name="connsiteY0" fmla="*/ 124934 h 113576"/>
                <a:gd name="connsiteX1" fmla="*/ 0 w 127773"/>
                <a:gd name="connsiteY1" fmla="*/ 62467 h 113576"/>
                <a:gd name="connsiteX2" fmla="*/ 68146 w 127773"/>
                <a:gd name="connsiteY2" fmla="*/ 0 h 113576"/>
                <a:gd name="connsiteX3" fmla="*/ 136291 w 127773"/>
                <a:gd name="connsiteY3" fmla="*/ 62467 h 113576"/>
                <a:gd name="connsiteX4" fmla="*/ 68146 w 127773"/>
                <a:gd name="connsiteY4" fmla="*/ 124934 h 113576"/>
                <a:gd name="connsiteX5" fmla="*/ 68146 w 127773"/>
                <a:gd name="connsiteY5" fmla="*/ 14197 h 113576"/>
                <a:gd name="connsiteX6" fmla="*/ 15617 w 127773"/>
                <a:gd name="connsiteY6" fmla="*/ 62467 h 113576"/>
                <a:gd name="connsiteX7" fmla="*/ 68146 w 127773"/>
                <a:gd name="connsiteY7" fmla="*/ 110737 h 113576"/>
                <a:gd name="connsiteX8" fmla="*/ 120675 w 127773"/>
                <a:gd name="connsiteY8" fmla="*/ 62467 h 113576"/>
                <a:gd name="connsiteX9" fmla="*/ 68146 w 127773"/>
                <a:gd name="connsiteY9" fmla="*/ 14197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773" h="113576">
                  <a:moveTo>
                    <a:pt x="68146" y="124934"/>
                  </a:moveTo>
                  <a:cubicBezTo>
                    <a:pt x="31233" y="124934"/>
                    <a:pt x="0" y="96540"/>
                    <a:pt x="0" y="62467"/>
                  </a:cubicBezTo>
                  <a:cubicBezTo>
                    <a:pt x="0" y="28394"/>
                    <a:pt x="29814" y="0"/>
                    <a:pt x="68146" y="0"/>
                  </a:cubicBezTo>
                  <a:cubicBezTo>
                    <a:pt x="105058" y="0"/>
                    <a:pt x="136291" y="28394"/>
                    <a:pt x="136291" y="62467"/>
                  </a:cubicBezTo>
                  <a:cubicBezTo>
                    <a:pt x="136291" y="97959"/>
                    <a:pt x="105058" y="124934"/>
                    <a:pt x="68146" y="124934"/>
                  </a:cubicBezTo>
                  <a:close/>
                  <a:moveTo>
                    <a:pt x="68146" y="14197"/>
                  </a:moveTo>
                  <a:cubicBezTo>
                    <a:pt x="39752" y="14197"/>
                    <a:pt x="15617" y="35493"/>
                    <a:pt x="15617" y="62467"/>
                  </a:cubicBezTo>
                  <a:cubicBezTo>
                    <a:pt x="15617" y="89441"/>
                    <a:pt x="39752" y="110737"/>
                    <a:pt x="68146" y="110737"/>
                  </a:cubicBezTo>
                  <a:cubicBezTo>
                    <a:pt x="96540" y="110737"/>
                    <a:pt x="120675" y="89441"/>
                    <a:pt x="120675" y="62467"/>
                  </a:cubicBezTo>
                  <a:cubicBezTo>
                    <a:pt x="120675" y="35493"/>
                    <a:pt x="96540" y="14197"/>
                    <a:pt x="68146" y="14197"/>
                  </a:cubicBezTo>
                  <a:close/>
                </a:path>
              </a:pathLst>
            </a:custGeom>
            <a:solidFill>
              <a:srgbClr val="E8586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>
              <a:extLst>
                <a:ext uri="{FF2B5EF4-FFF2-40B4-BE49-F238E27FC236}">
                  <a16:creationId xmlns:a16="http://schemas.microsoft.com/office/drawing/2014/main" id="{99CB4295-FCD6-438E-96D6-1DD530F6E819}"/>
                </a:ext>
              </a:extLst>
            </p:cNvPr>
            <p:cNvSpPr/>
            <p:nvPr userDrawn="1"/>
          </p:nvSpPr>
          <p:spPr>
            <a:xfrm>
              <a:off x="6587587" y="5513786"/>
              <a:ext cx="326531" cy="156167"/>
            </a:xfrm>
            <a:custGeom>
              <a:avLst/>
              <a:gdLst>
                <a:gd name="connsiteX0" fmla="*/ 0 w 326531"/>
                <a:gd name="connsiteY0" fmla="*/ 0 h 156167"/>
                <a:gd name="connsiteX1" fmla="*/ 339309 w 326531"/>
                <a:gd name="connsiteY1" fmla="*/ 0 h 156167"/>
                <a:gd name="connsiteX2" fmla="*/ 339309 w 326531"/>
                <a:gd name="connsiteY2" fmla="*/ 168945 h 156167"/>
                <a:gd name="connsiteX3" fmla="*/ 0 w 326531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31" h="156167">
                  <a:moveTo>
                    <a:pt x="0" y="0"/>
                  </a:moveTo>
                  <a:lnTo>
                    <a:pt x="339309" y="0"/>
                  </a:lnTo>
                  <a:lnTo>
                    <a:pt x="33930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AD425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>
              <a:extLst>
                <a:ext uri="{FF2B5EF4-FFF2-40B4-BE49-F238E27FC236}">
                  <a16:creationId xmlns:a16="http://schemas.microsoft.com/office/drawing/2014/main" id="{49341469-EFE4-4AE9-9595-1FB06351FD54}"/>
                </a:ext>
              </a:extLst>
            </p:cNvPr>
            <p:cNvSpPr/>
            <p:nvPr userDrawn="1"/>
          </p:nvSpPr>
          <p:spPr>
            <a:xfrm>
              <a:off x="6602573" y="5263912"/>
              <a:ext cx="312334" cy="440108"/>
            </a:xfrm>
            <a:custGeom>
              <a:avLst/>
              <a:gdLst>
                <a:gd name="connsiteX0" fmla="*/ 631 w 312334"/>
                <a:gd name="connsiteY0" fmla="*/ 451472 h 440107"/>
                <a:gd name="connsiteX1" fmla="*/ 631 w 312334"/>
                <a:gd name="connsiteY1" fmla="*/ 208702 h 440107"/>
                <a:gd name="connsiteX2" fmla="*/ 156798 w 312334"/>
                <a:gd name="connsiteY2" fmla="*/ 6 h 440107"/>
                <a:gd name="connsiteX3" fmla="*/ 312965 w 312334"/>
                <a:gd name="connsiteY3" fmla="*/ 208702 h 440107"/>
                <a:gd name="connsiteX4" fmla="*/ 312965 w 312334"/>
                <a:gd name="connsiteY4" fmla="*/ 451472 h 440107"/>
                <a:gd name="connsiteX5" fmla="*/ 631 w 312334"/>
                <a:gd name="connsiteY5" fmla="*/ 45147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34" h="440107">
                  <a:moveTo>
                    <a:pt x="631" y="451472"/>
                  </a:moveTo>
                  <a:cubicBezTo>
                    <a:pt x="631" y="451472"/>
                    <a:pt x="-789" y="413140"/>
                    <a:pt x="631" y="208702"/>
                  </a:cubicBezTo>
                  <a:cubicBezTo>
                    <a:pt x="2051" y="-4253"/>
                    <a:pt x="156798" y="6"/>
                    <a:pt x="156798" y="6"/>
                  </a:cubicBezTo>
                  <a:cubicBezTo>
                    <a:pt x="156798" y="6"/>
                    <a:pt x="311546" y="-2833"/>
                    <a:pt x="312965" y="208702"/>
                  </a:cubicBezTo>
                  <a:cubicBezTo>
                    <a:pt x="314385" y="413140"/>
                    <a:pt x="312965" y="451472"/>
                    <a:pt x="312965" y="451472"/>
                  </a:cubicBezTo>
                  <a:lnTo>
                    <a:pt x="631" y="451472"/>
                  </a:lnTo>
                  <a:close/>
                </a:path>
              </a:pathLst>
            </a:custGeom>
            <a:solidFill>
              <a:srgbClr val="F55D7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>
              <a:extLst>
                <a:ext uri="{FF2B5EF4-FFF2-40B4-BE49-F238E27FC236}">
                  <a16:creationId xmlns:a16="http://schemas.microsoft.com/office/drawing/2014/main" id="{6D789371-6A22-45FD-A258-BC3C07C1E7F2}"/>
                </a:ext>
              </a:extLst>
            </p:cNvPr>
            <p:cNvSpPr/>
            <p:nvPr userDrawn="1"/>
          </p:nvSpPr>
          <p:spPr>
            <a:xfrm>
              <a:off x="6638696" y="5513786"/>
              <a:ext cx="241349" cy="156167"/>
            </a:xfrm>
            <a:custGeom>
              <a:avLst/>
              <a:gdLst>
                <a:gd name="connsiteX0" fmla="*/ 0 w 241349"/>
                <a:gd name="connsiteY0" fmla="*/ 0 h 156167"/>
                <a:gd name="connsiteX1" fmla="*/ 241349 w 241349"/>
                <a:gd name="connsiteY1" fmla="*/ 0 h 156167"/>
                <a:gd name="connsiteX2" fmla="*/ 241349 w 241349"/>
                <a:gd name="connsiteY2" fmla="*/ 168945 h 156167"/>
                <a:gd name="connsiteX3" fmla="*/ 0 w 241349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156167">
                  <a:moveTo>
                    <a:pt x="0" y="0"/>
                  </a:moveTo>
                  <a:lnTo>
                    <a:pt x="241349" y="0"/>
                  </a:lnTo>
                  <a:lnTo>
                    <a:pt x="24134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FF61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>
              <a:extLst>
                <a:ext uri="{FF2B5EF4-FFF2-40B4-BE49-F238E27FC236}">
                  <a16:creationId xmlns:a16="http://schemas.microsoft.com/office/drawing/2014/main" id="{E46BA61B-8F02-4D97-BF7F-CF7DCC77A212}"/>
                </a:ext>
              </a:extLst>
            </p:cNvPr>
            <p:cNvSpPr/>
            <p:nvPr userDrawn="1"/>
          </p:nvSpPr>
          <p:spPr>
            <a:xfrm>
              <a:off x="6638696" y="5513786"/>
              <a:ext cx="241349" cy="42591"/>
            </a:xfrm>
            <a:custGeom>
              <a:avLst/>
              <a:gdLst>
                <a:gd name="connsiteX0" fmla="*/ 0 w 241349"/>
                <a:gd name="connsiteY0" fmla="*/ 0 h 42591"/>
                <a:gd name="connsiteX1" fmla="*/ 241349 w 241349"/>
                <a:gd name="connsiteY1" fmla="*/ 0 h 42591"/>
                <a:gd name="connsiteX2" fmla="*/ 241349 w 241349"/>
                <a:gd name="connsiteY2" fmla="*/ 46850 h 42591"/>
                <a:gd name="connsiteX3" fmla="*/ 0 w 241349"/>
                <a:gd name="connsiteY3" fmla="*/ 4685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42591">
                  <a:moveTo>
                    <a:pt x="0" y="0"/>
                  </a:moveTo>
                  <a:lnTo>
                    <a:pt x="241349" y="0"/>
                  </a:lnTo>
                  <a:lnTo>
                    <a:pt x="241349" y="46850"/>
                  </a:lnTo>
                  <a:lnTo>
                    <a:pt x="0" y="46850"/>
                  </a:lnTo>
                  <a:close/>
                </a:path>
              </a:pathLst>
            </a:custGeom>
            <a:solidFill>
              <a:srgbClr val="C24A5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>
              <a:extLst>
                <a:ext uri="{FF2B5EF4-FFF2-40B4-BE49-F238E27FC236}">
                  <a16:creationId xmlns:a16="http://schemas.microsoft.com/office/drawing/2014/main" id="{D4EE91BC-99ED-4E2F-9918-7D65238211DF}"/>
                </a:ext>
              </a:extLst>
            </p:cNvPr>
            <p:cNvSpPr/>
            <p:nvPr userDrawn="1"/>
          </p:nvSpPr>
          <p:spPr>
            <a:xfrm>
              <a:off x="6046540" y="5583922"/>
              <a:ext cx="212955" cy="127773"/>
            </a:xfrm>
            <a:custGeom>
              <a:avLst/>
              <a:gdLst>
                <a:gd name="connsiteX0" fmla="*/ 169084 w 212955"/>
                <a:gd name="connsiteY0" fmla="*/ 17886 h 127773"/>
                <a:gd name="connsiteX1" fmla="*/ 143530 w 212955"/>
                <a:gd name="connsiteY1" fmla="*/ 849 h 127773"/>
                <a:gd name="connsiteX2" fmla="*/ 123654 w 212955"/>
                <a:gd name="connsiteY2" fmla="*/ 3689 h 127773"/>
                <a:gd name="connsiteX3" fmla="*/ 103778 w 212955"/>
                <a:gd name="connsiteY3" fmla="*/ 29243 h 127773"/>
                <a:gd name="connsiteX4" fmla="*/ 48410 w 212955"/>
                <a:gd name="connsiteY4" fmla="*/ 76093 h 127773"/>
                <a:gd name="connsiteX5" fmla="*/ 140 w 212955"/>
                <a:gd name="connsiteY5" fmla="*/ 100228 h 127773"/>
                <a:gd name="connsiteX6" fmla="*/ 96680 w 212955"/>
                <a:gd name="connsiteY6" fmla="*/ 130042 h 127773"/>
                <a:gd name="connsiteX7" fmla="*/ 183282 w 212955"/>
                <a:gd name="connsiteY7" fmla="*/ 103068 h 127773"/>
                <a:gd name="connsiteX8" fmla="*/ 213095 w 212955"/>
                <a:gd name="connsiteY8" fmla="*/ 59057 h 127773"/>
                <a:gd name="connsiteX9" fmla="*/ 186121 w 212955"/>
                <a:gd name="connsiteY9" fmla="*/ 12207 h 127773"/>
                <a:gd name="connsiteX10" fmla="*/ 169084 w 212955"/>
                <a:gd name="connsiteY10" fmla="*/ 1788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955" h="127773">
                  <a:moveTo>
                    <a:pt x="169084" y="17886"/>
                  </a:moveTo>
                  <a:cubicBezTo>
                    <a:pt x="169084" y="17886"/>
                    <a:pt x="152048" y="2269"/>
                    <a:pt x="143530" y="849"/>
                  </a:cubicBezTo>
                  <a:cubicBezTo>
                    <a:pt x="135012" y="-571"/>
                    <a:pt x="126493" y="-571"/>
                    <a:pt x="123654" y="3689"/>
                  </a:cubicBezTo>
                  <a:cubicBezTo>
                    <a:pt x="119395" y="7948"/>
                    <a:pt x="109457" y="23564"/>
                    <a:pt x="103778" y="29243"/>
                  </a:cubicBezTo>
                  <a:cubicBezTo>
                    <a:pt x="98099" y="34922"/>
                    <a:pt x="56928" y="73254"/>
                    <a:pt x="48410" y="76093"/>
                  </a:cubicBezTo>
                  <a:cubicBezTo>
                    <a:pt x="38472" y="78933"/>
                    <a:pt x="-2699" y="76093"/>
                    <a:pt x="140" y="100228"/>
                  </a:cubicBezTo>
                  <a:cubicBezTo>
                    <a:pt x="2979" y="124363"/>
                    <a:pt x="35633" y="134301"/>
                    <a:pt x="96680" y="130042"/>
                  </a:cubicBezTo>
                  <a:cubicBezTo>
                    <a:pt x="156307" y="124363"/>
                    <a:pt x="149209" y="110166"/>
                    <a:pt x="183282" y="103068"/>
                  </a:cubicBezTo>
                  <a:cubicBezTo>
                    <a:pt x="217354" y="95969"/>
                    <a:pt x="218774" y="78933"/>
                    <a:pt x="213095" y="59057"/>
                  </a:cubicBezTo>
                  <a:cubicBezTo>
                    <a:pt x="207417" y="39181"/>
                    <a:pt x="183282" y="17886"/>
                    <a:pt x="186121" y="12207"/>
                  </a:cubicBezTo>
                  <a:cubicBezTo>
                    <a:pt x="186121" y="6528"/>
                    <a:pt x="169084" y="17886"/>
                    <a:pt x="169084" y="17886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>
              <a:extLst>
                <a:ext uri="{FF2B5EF4-FFF2-40B4-BE49-F238E27FC236}">
                  <a16:creationId xmlns:a16="http://schemas.microsoft.com/office/drawing/2014/main" id="{F6FA11B2-A12A-45F6-B3CA-FF28BB419B04}"/>
                </a:ext>
              </a:extLst>
            </p:cNvPr>
            <p:cNvSpPr/>
            <p:nvPr userDrawn="1"/>
          </p:nvSpPr>
          <p:spPr>
            <a:xfrm>
              <a:off x="6165935" y="3781749"/>
              <a:ext cx="127773" cy="141970"/>
            </a:xfrm>
            <a:custGeom>
              <a:avLst/>
              <a:gdLst>
                <a:gd name="connsiteX0" fmla="*/ 58208 w 127773"/>
                <a:gd name="connsiteY0" fmla="*/ 149069 h 141970"/>
                <a:gd name="connsiteX1" fmla="*/ 136291 w 127773"/>
                <a:gd name="connsiteY1" fmla="*/ 32653 h 141970"/>
                <a:gd name="connsiteX2" fmla="*/ 66726 w 127773"/>
                <a:gd name="connsiteY2" fmla="*/ 0 h 141970"/>
                <a:gd name="connsiteX3" fmla="*/ 0 w 127773"/>
                <a:gd name="connsiteY3" fmla="*/ 116416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773" h="141970">
                  <a:moveTo>
                    <a:pt x="58208" y="149069"/>
                  </a:moveTo>
                  <a:lnTo>
                    <a:pt x="136291" y="32653"/>
                  </a:lnTo>
                  <a:lnTo>
                    <a:pt x="66726" y="0"/>
                  </a:lnTo>
                  <a:lnTo>
                    <a:pt x="0" y="116416"/>
                  </a:lnTo>
                  <a:close/>
                </a:path>
              </a:pathLst>
            </a:custGeom>
            <a:solidFill>
              <a:srgbClr val="5157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>
              <a:extLst>
                <a:ext uri="{FF2B5EF4-FFF2-40B4-BE49-F238E27FC236}">
                  <a16:creationId xmlns:a16="http://schemas.microsoft.com/office/drawing/2014/main" id="{A34F92B2-F97E-4C87-ABBB-4284577C959D}"/>
                </a:ext>
              </a:extLst>
            </p:cNvPr>
            <p:cNvSpPr/>
            <p:nvPr userDrawn="1"/>
          </p:nvSpPr>
          <p:spPr>
            <a:xfrm>
              <a:off x="6173034" y="3791687"/>
              <a:ext cx="113576" cy="127773"/>
            </a:xfrm>
            <a:custGeom>
              <a:avLst/>
              <a:gdLst>
                <a:gd name="connsiteX0" fmla="*/ 51109 w 113576"/>
                <a:gd name="connsiteY0" fmla="*/ 129193 h 127773"/>
                <a:gd name="connsiteX1" fmla="*/ 119255 w 113576"/>
                <a:gd name="connsiteY1" fmla="*/ 28394 h 127773"/>
                <a:gd name="connsiteX2" fmla="*/ 58208 w 113576"/>
                <a:gd name="connsiteY2" fmla="*/ 0 h 127773"/>
                <a:gd name="connsiteX3" fmla="*/ 0 w 113576"/>
                <a:gd name="connsiteY3" fmla="*/ 100799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51109" y="129193"/>
                  </a:moveTo>
                  <a:lnTo>
                    <a:pt x="119255" y="28394"/>
                  </a:lnTo>
                  <a:lnTo>
                    <a:pt x="58208" y="0"/>
                  </a:lnTo>
                  <a:lnTo>
                    <a:pt x="0" y="100799"/>
                  </a:lnTo>
                  <a:close/>
                </a:path>
              </a:pathLst>
            </a:custGeom>
            <a:solidFill>
              <a:srgbClr val="D5CAE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>
              <a:extLst>
                <a:ext uri="{FF2B5EF4-FFF2-40B4-BE49-F238E27FC236}">
                  <a16:creationId xmlns:a16="http://schemas.microsoft.com/office/drawing/2014/main" id="{8A974BEB-5B0D-4CD7-B116-6EF5F6E3D0BF}"/>
                </a:ext>
              </a:extLst>
            </p:cNvPr>
            <p:cNvSpPr/>
            <p:nvPr userDrawn="1"/>
          </p:nvSpPr>
          <p:spPr>
            <a:xfrm>
              <a:off x="6166784" y="3902424"/>
              <a:ext cx="56788" cy="56788"/>
            </a:xfrm>
            <a:custGeom>
              <a:avLst/>
              <a:gdLst>
                <a:gd name="connsiteX0" fmla="*/ 571 w 56788"/>
                <a:gd name="connsiteY0" fmla="*/ 44011 h 56788"/>
                <a:gd name="connsiteX1" fmla="*/ 6250 w 56788"/>
                <a:gd name="connsiteY1" fmla="*/ 21296 h 56788"/>
                <a:gd name="connsiteX2" fmla="*/ 3411 w 56788"/>
                <a:gd name="connsiteY2" fmla="*/ 0 h 56788"/>
                <a:gd name="connsiteX3" fmla="*/ 68717 w 56788"/>
                <a:gd name="connsiteY3" fmla="*/ 35493 h 56788"/>
                <a:gd name="connsiteX4" fmla="*/ 41742 w 56788"/>
                <a:gd name="connsiteY4" fmla="*/ 68146 h 56788"/>
                <a:gd name="connsiteX5" fmla="*/ 571 w 56788"/>
                <a:gd name="connsiteY5" fmla="*/ 44011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571" y="44011"/>
                  </a:moveTo>
                  <a:cubicBezTo>
                    <a:pt x="571" y="44011"/>
                    <a:pt x="14768" y="36912"/>
                    <a:pt x="6250" y="21296"/>
                  </a:cubicBezTo>
                  <a:cubicBezTo>
                    <a:pt x="-2268" y="5679"/>
                    <a:pt x="3411" y="0"/>
                    <a:pt x="3411" y="0"/>
                  </a:cubicBezTo>
                  <a:lnTo>
                    <a:pt x="68717" y="35493"/>
                  </a:lnTo>
                  <a:cubicBezTo>
                    <a:pt x="68717" y="35493"/>
                    <a:pt x="48841" y="65306"/>
                    <a:pt x="41742" y="68146"/>
                  </a:cubicBezTo>
                  <a:cubicBezTo>
                    <a:pt x="33224" y="69565"/>
                    <a:pt x="-5108" y="55368"/>
                    <a:pt x="571" y="44011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>
              <a:extLst>
                <a:ext uri="{FF2B5EF4-FFF2-40B4-BE49-F238E27FC236}">
                  <a16:creationId xmlns:a16="http://schemas.microsoft.com/office/drawing/2014/main" id="{0281BA27-3826-4BE3-A550-41DD2F17B59C}"/>
                </a:ext>
              </a:extLst>
            </p:cNvPr>
            <p:cNvSpPr/>
            <p:nvPr userDrawn="1"/>
          </p:nvSpPr>
          <p:spPr>
            <a:xfrm>
              <a:off x="6208127" y="3871649"/>
              <a:ext cx="70985" cy="56788"/>
            </a:xfrm>
            <a:custGeom>
              <a:avLst/>
              <a:gdLst>
                <a:gd name="connsiteX0" fmla="*/ 27374 w 70985"/>
                <a:gd name="connsiteY0" fmla="*/ 64848 h 56788"/>
                <a:gd name="connsiteX1" fmla="*/ 57187 w 70985"/>
                <a:gd name="connsiteY1" fmla="*/ 33614 h 56788"/>
                <a:gd name="connsiteX2" fmla="*/ 74224 w 70985"/>
                <a:gd name="connsiteY2" fmla="*/ 3801 h 56788"/>
                <a:gd name="connsiteX3" fmla="*/ 50089 w 70985"/>
                <a:gd name="connsiteY3" fmla="*/ 12319 h 56788"/>
                <a:gd name="connsiteX4" fmla="*/ 35892 w 70985"/>
                <a:gd name="connsiteY4" fmla="*/ 29355 h 56788"/>
                <a:gd name="connsiteX5" fmla="*/ 399 w 70985"/>
                <a:gd name="connsiteY5" fmla="*/ 50651 h 56788"/>
                <a:gd name="connsiteX6" fmla="*/ 27374 w 70985"/>
                <a:gd name="connsiteY6" fmla="*/ 6484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56788">
                  <a:moveTo>
                    <a:pt x="27374" y="64848"/>
                  </a:moveTo>
                  <a:cubicBezTo>
                    <a:pt x="27374" y="64848"/>
                    <a:pt x="54348" y="37873"/>
                    <a:pt x="57187" y="33614"/>
                  </a:cubicBezTo>
                  <a:cubicBezTo>
                    <a:pt x="60027" y="29355"/>
                    <a:pt x="69965" y="13738"/>
                    <a:pt x="74224" y="3801"/>
                  </a:cubicBezTo>
                  <a:cubicBezTo>
                    <a:pt x="78483" y="-4718"/>
                    <a:pt x="55768" y="2381"/>
                    <a:pt x="50089" y="12319"/>
                  </a:cubicBezTo>
                  <a:cubicBezTo>
                    <a:pt x="45830" y="22257"/>
                    <a:pt x="40151" y="26516"/>
                    <a:pt x="35892" y="29355"/>
                  </a:cubicBezTo>
                  <a:cubicBezTo>
                    <a:pt x="31633" y="32195"/>
                    <a:pt x="3239" y="40713"/>
                    <a:pt x="399" y="50651"/>
                  </a:cubicBezTo>
                  <a:cubicBezTo>
                    <a:pt x="-3860" y="59169"/>
                    <a:pt x="27374" y="64848"/>
                    <a:pt x="27374" y="64848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>
              <a:extLst>
                <a:ext uri="{FF2B5EF4-FFF2-40B4-BE49-F238E27FC236}">
                  <a16:creationId xmlns:a16="http://schemas.microsoft.com/office/drawing/2014/main" id="{E325E561-EE53-46BA-A6CD-C278D69FDF91}"/>
                </a:ext>
              </a:extLst>
            </p:cNvPr>
            <p:cNvSpPr/>
            <p:nvPr userDrawn="1"/>
          </p:nvSpPr>
          <p:spPr>
            <a:xfrm>
              <a:off x="6172424" y="3870337"/>
              <a:ext cx="14197" cy="14197"/>
            </a:xfrm>
            <a:custGeom>
              <a:avLst/>
              <a:gdLst>
                <a:gd name="connsiteX0" fmla="*/ 4870 w 0"/>
                <a:gd name="connsiteY0" fmla="*/ 17890 h 14197"/>
                <a:gd name="connsiteX1" fmla="*/ 11968 w 0"/>
                <a:gd name="connsiteY1" fmla="*/ 15050 h 14197"/>
                <a:gd name="connsiteX2" fmla="*/ 3450 w 0"/>
                <a:gd name="connsiteY2" fmla="*/ 853 h 14197"/>
                <a:gd name="connsiteX3" fmla="*/ 4870 w 0"/>
                <a:gd name="connsiteY3" fmla="*/ 17890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4870" y="17890"/>
                  </a:moveTo>
                  <a:cubicBezTo>
                    <a:pt x="4870" y="17890"/>
                    <a:pt x="10548" y="22149"/>
                    <a:pt x="11968" y="15050"/>
                  </a:cubicBezTo>
                  <a:cubicBezTo>
                    <a:pt x="13388" y="9372"/>
                    <a:pt x="10548" y="-3406"/>
                    <a:pt x="3450" y="853"/>
                  </a:cubicBezTo>
                  <a:cubicBezTo>
                    <a:pt x="-5068" y="6532"/>
                    <a:pt x="4870" y="17890"/>
                    <a:pt x="4870" y="17890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>
              <a:extLst>
                <a:ext uri="{FF2B5EF4-FFF2-40B4-BE49-F238E27FC236}">
                  <a16:creationId xmlns:a16="http://schemas.microsoft.com/office/drawing/2014/main" id="{9F629155-EC09-44C3-9BBC-A8911823EFDC}"/>
                </a:ext>
              </a:extLst>
            </p:cNvPr>
            <p:cNvSpPr/>
            <p:nvPr userDrawn="1"/>
          </p:nvSpPr>
          <p:spPr>
            <a:xfrm>
              <a:off x="6181705" y="3852418"/>
              <a:ext cx="14197" cy="14197"/>
            </a:xfrm>
            <a:custGeom>
              <a:avLst/>
              <a:gdLst>
                <a:gd name="connsiteX0" fmla="*/ 1267 w 0"/>
                <a:gd name="connsiteY0" fmla="*/ 15933 h 14197"/>
                <a:gd name="connsiteX1" fmla="*/ 8366 w 0"/>
                <a:gd name="connsiteY1" fmla="*/ 20193 h 14197"/>
                <a:gd name="connsiteX2" fmla="*/ 4107 w 0"/>
                <a:gd name="connsiteY2" fmla="*/ 317 h 14197"/>
                <a:gd name="connsiteX3" fmla="*/ 1267 w 0"/>
                <a:gd name="connsiteY3" fmla="*/ 15933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933"/>
                  </a:moveTo>
                  <a:cubicBezTo>
                    <a:pt x="1267" y="15933"/>
                    <a:pt x="5526" y="24452"/>
                    <a:pt x="8366" y="20193"/>
                  </a:cubicBezTo>
                  <a:cubicBezTo>
                    <a:pt x="12625" y="14514"/>
                    <a:pt x="12625" y="-2523"/>
                    <a:pt x="4107" y="317"/>
                  </a:cubicBezTo>
                  <a:cubicBezTo>
                    <a:pt x="-2992" y="3156"/>
                    <a:pt x="1267" y="15933"/>
                    <a:pt x="1267" y="15933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>
              <a:extLst>
                <a:ext uri="{FF2B5EF4-FFF2-40B4-BE49-F238E27FC236}">
                  <a16:creationId xmlns:a16="http://schemas.microsoft.com/office/drawing/2014/main" id="{C6BF561F-347F-483A-BB44-3863C8EA5547}"/>
                </a:ext>
              </a:extLst>
            </p:cNvPr>
            <p:cNvSpPr/>
            <p:nvPr userDrawn="1"/>
          </p:nvSpPr>
          <p:spPr>
            <a:xfrm>
              <a:off x="6191643" y="3835438"/>
              <a:ext cx="14197" cy="14197"/>
            </a:xfrm>
            <a:custGeom>
              <a:avLst/>
              <a:gdLst>
                <a:gd name="connsiteX0" fmla="*/ 1267 w 0"/>
                <a:gd name="connsiteY0" fmla="*/ 15876 h 14197"/>
                <a:gd name="connsiteX1" fmla="*/ 8366 w 0"/>
                <a:gd name="connsiteY1" fmla="*/ 22975 h 14197"/>
                <a:gd name="connsiteX2" fmla="*/ 4107 w 0"/>
                <a:gd name="connsiteY2" fmla="*/ 260 h 14197"/>
                <a:gd name="connsiteX3" fmla="*/ 1267 w 0"/>
                <a:gd name="connsiteY3" fmla="*/ 1587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876"/>
                  </a:moveTo>
                  <a:cubicBezTo>
                    <a:pt x="1267" y="15876"/>
                    <a:pt x="4107" y="27234"/>
                    <a:pt x="8366" y="22975"/>
                  </a:cubicBezTo>
                  <a:cubicBezTo>
                    <a:pt x="12625" y="18716"/>
                    <a:pt x="12625" y="-2580"/>
                    <a:pt x="4107" y="260"/>
                  </a:cubicBezTo>
                  <a:cubicBezTo>
                    <a:pt x="-2992" y="3099"/>
                    <a:pt x="1267" y="15876"/>
                    <a:pt x="1267" y="15876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>
              <a:extLst>
                <a:ext uri="{FF2B5EF4-FFF2-40B4-BE49-F238E27FC236}">
                  <a16:creationId xmlns:a16="http://schemas.microsoft.com/office/drawing/2014/main" id="{15515A12-3288-41F5-A7D5-AC3EA0795D13}"/>
                </a:ext>
              </a:extLst>
            </p:cNvPr>
            <p:cNvSpPr/>
            <p:nvPr userDrawn="1"/>
          </p:nvSpPr>
          <p:spPr>
            <a:xfrm>
              <a:off x="6073512" y="3945708"/>
              <a:ext cx="269743" cy="298137"/>
            </a:xfrm>
            <a:custGeom>
              <a:avLst/>
              <a:gdLst>
                <a:gd name="connsiteX0" fmla="*/ 278405 w 269743"/>
                <a:gd name="connsiteY0" fmla="*/ 19183 h 298137"/>
                <a:gd name="connsiteX1" fmla="*/ 265627 w 269743"/>
                <a:gd name="connsiteY1" fmla="*/ 64614 h 298137"/>
                <a:gd name="connsiteX2" fmla="*/ 230135 w 269743"/>
                <a:gd name="connsiteY2" fmla="*/ 193807 h 298137"/>
                <a:gd name="connsiteX3" fmla="*/ 201741 w 269743"/>
                <a:gd name="connsiteY3" fmla="*/ 216522 h 298137"/>
                <a:gd name="connsiteX4" fmla="*/ 73968 w 269743"/>
                <a:gd name="connsiteY4" fmla="*/ 304544 h 298137"/>
                <a:gd name="connsiteX5" fmla="*/ 143 w 269743"/>
                <a:gd name="connsiteY5" fmla="*/ 270471 h 298137"/>
                <a:gd name="connsiteX6" fmla="*/ 88165 w 269743"/>
                <a:gd name="connsiteY6" fmla="*/ 2147 h 298137"/>
                <a:gd name="connsiteX7" fmla="*/ 146372 w 269743"/>
                <a:gd name="connsiteY7" fmla="*/ 7826 h 298137"/>
                <a:gd name="connsiteX8" fmla="*/ 99522 w 269743"/>
                <a:gd name="connsiteY8" fmla="*/ 190967 h 298137"/>
                <a:gd name="connsiteX9" fmla="*/ 159150 w 269743"/>
                <a:gd name="connsiteY9" fmla="*/ 129920 h 298137"/>
                <a:gd name="connsiteX10" fmla="*/ 230135 w 269743"/>
                <a:gd name="connsiteY10" fmla="*/ 57515 h 298137"/>
                <a:gd name="connsiteX11" fmla="*/ 271306 w 269743"/>
                <a:gd name="connsiteY11" fmla="*/ 22023 h 298137"/>
                <a:gd name="connsiteX12" fmla="*/ 278405 w 269743"/>
                <a:gd name="connsiteY12" fmla="*/ 19183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9743" h="298137">
                  <a:moveTo>
                    <a:pt x="278405" y="19183"/>
                  </a:moveTo>
                  <a:lnTo>
                    <a:pt x="265627" y="64614"/>
                  </a:lnTo>
                  <a:lnTo>
                    <a:pt x="230135" y="193807"/>
                  </a:lnTo>
                  <a:cubicBezTo>
                    <a:pt x="230135" y="193807"/>
                    <a:pt x="218777" y="203745"/>
                    <a:pt x="201741" y="216522"/>
                  </a:cubicBezTo>
                  <a:cubicBezTo>
                    <a:pt x="164828" y="246336"/>
                    <a:pt x="83905" y="300284"/>
                    <a:pt x="73968" y="304544"/>
                  </a:cubicBezTo>
                  <a:cubicBezTo>
                    <a:pt x="62610" y="308803"/>
                    <a:pt x="4402" y="310222"/>
                    <a:pt x="143" y="270471"/>
                  </a:cubicBezTo>
                  <a:cubicBezTo>
                    <a:pt x="-4116" y="230719"/>
                    <a:pt x="88165" y="2147"/>
                    <a:pt x="88165" y="2147"/>
                  </a:cubicBezTo>
                  <a:cubicBezTo>
                    <a:pt x="116559" y="-4952"/>
                    <a:pt x="146372" y="7826"/>
                    <a:pt x="146372" y="7826"/>
                  </a:cubicBezTo>
                  <a:lnTo>
                    <a:pt x="99522" y="190967"/>
                  </a:lnTo>
                  <a:cubicBezTo>
                    <a:pt x="99522" y="190967"/>
                    <a:pt x="132175" y="169672"/>
                    <a:pt x="159150" y="129920"/>
                  </a:cubicBezTo>
                  <a:cubicBezTo>
                    <a:pt x="173347" y="110044"/>
                    <a:pt x="203160" y="80231"/>
                    <a:pt x="230135" y="57515"/>
                  </a:cubicBezTo>
                  <a:cubicBezTo>
                    <a:pt x="248591" y="41899"/>
                    <a:pt x="264208" y="29121"/>
                    <a:pt x="271306" y="22023"/>
                  </a:cubicBezTo>
                  <a:cubicBezTo>
                    <a:pt x="276985" y="20603"/>
                    <a:pt x="278405" y="19183"/>
                    <a:pt x="278405" y="19183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>
              <a:extLst>
                <a:ext uri="{FF2B5EF4-FFF2-40B4-BE49-F238E27FC236}">
                  <a16:creationId xmlns:a16="http://schemas.microsoft.com/office/drawing/2014/main" id="{F009ECA0-25F7-4381-9BB2-7D06BF976CB0}"/>
                </a:ext>
              </a:extLst>
            </p:cNvPr>
            <p:cNvSpPr/>
            <p:nvPr userDrawn="1"/>
          </p:nvSpPr>
          <p:spPr>
            <a:xfrm>
              <a:off x="6193003" y="3688049"/>
              <a:ext cx="170364" cy="354926"/>
            </a:xfrm>
            <a:custGeom>
              <a:avLst/>
              <a:gdLst>
                <a:gd name="connsiteX0" fmla="*/ 55275 w 170364"/>
                <a:gd name="connsiteY0" fmla="*/ 0 h 354925"/>
                <a:gd name="connsiteX1" fmla="*/ 1327 w 170364"/>
                <a:gd name="connsiteY1" fmla="*/ 100799 h 354925"/>
                <a:gd name="connsiteX2" fmla="*/ 92188 w 170364"/>
                <a:gd name="connsiteY2" fmla="*/ 275422 h 354925"/>
                <a:gd name="connsiteX3" fmla="*/ 72312 w 170364"/>
                <a:gd name="connsiteY3" fmla="*/ 354926 h 354925"/>
                <a:gd name="connsiteX4" fmla="*/ 173111 w 170364"/>
                <a:gd name="connsiteY4" fmla="*/ 265484 h 354925"/>
                <a:gd name="connsiteX5" fmla="*/ 55275 w 170364"/>
                <a:gd name="connsiteY5" fmla="*/ 0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64" h="354925">
                  <a:moveTo>
                    <a:pt x="55275" y="0"/>
                  </a:moveTo>
                  <a:cubicBezTo>
                    <a:pt x="55275" y="0"/>
                    <a:pt x="-10031" y="41171"/>
                    <a:pt x="1327" y="100799"/>
                  </a:cubicBezTo>
                  <a:cubicBezTo>
                    <a:pt x="19783" y="191660"/>
                    <a:pt x="86509" y="217214"/>
                    <a:pt x="92188" y="275422"/>
                  </a:cubicBezTo>
                  <a:cubicBezTo>
                    <a:pt x="97866" y="333630"/>
                    <a:pt x="72312" y="354926"/>
                    <a:pt x="72312" y="354926"/>
                  </a:cubicBezTo>
                  <a:lnTo>
                    <a:pt x="173111" y="265484"/>
                  </a:lnTo>
                  <a:lnTo>
                    <a:pt x="55275" y="0"/>
                  </a:ln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>
              <a:extLst>
                <a:ext uri="{FF2B5EF4-FFF2-40B4-BE49-F238E27FC236}">
                  <a16:creationId xmlns:a16="http://schemas.microsoft.com/office/drawing/2014/main" id="{675F583F-1CED-469B-9FF5-7FFF147421F5}"/>
                </a:ext>
              </a:extLst>
            </p:cNvPr>
            <p:cNvSpPr/>
            <p:nvPr userDrawn="1"/>
          </p:nvSpPr>
          <p:spPr>
            <a:xfrm>
              <a:off x="6334880" y="3847013"/>
              <a:ext cx="113576" cy="255546"/>
            </a:xfrm>
            <a:custGeom>
              <a:avLst/>
              <a:gdLst>
                <a:gd name="connsiteX0" fmla="*/ 119255 w 113576"/>
                <a:gd name="connsiteY0" fmla="*/ 90904 h 255546"/>
                <a:gd name="connsiteX1" fmla="*/ 41171 w 113576"/>
                <a:gd name="connsiteY1" fmla="*/ 261268 h 255546"/>
                <a:gd name="connsiteX2" fmla="*/ 11358 w 113576"/>
                <a:gd name="connsiteY2" fmla="*/ 146272 h 255546"/>
                <a:gd name="connsiteX3" fmla="*/ 14197 w 113576"/>
                <a:gd name="connsiteY3" fmla="*/ 126396 h 255546"/>
                <a:gd name="connsiteX4" fmla="*/ 2839 w 113576"/>
                <a:gd name="connsiteY4" fmla="*/ 83805 h 255546"/>
                <a:gd name="connsiteX5" fmla="*/ 0 w 113576"/>
                <a:gd name="connsiteY5" fmla="*/ 76707 h 255546"/>
                <a:gd name="connsiteX6" fmla="*/ 75244 w 113576"/>
                <a:gd name="connsiteY6" fmla="*/ 18499 h 255546"/>
                <a:gd name="connsiteX7" fmla="*/ 119255 w 113576"/>
                <a:gd name="connsiteY7" fmla="*/ 9090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" h="255546">
                  <a:moveTo>
                    <a:pt x="119255" y="90904"/>
                  </a:moveTo>
                  <a:cubicBezTo>
                    <a:pt x="110737" y="183184"/>
                    <a:pt x="61047" y="251330"/>
                    <a:pt x="41171" y="261268"/>
                  </a:cubicBezTo>
                  <a:cubicBezTo>
                    <a:pt x="21296" y="271206"/>
                    <a:pt x="0" y="164728"/>
                    <a:pt x="11358" y="146272"/>
                  </a:cubicBezTo>
                  <a:cubicBezTo>
                    <a:pt x="14197" y="140593"/>
                    <a:pt x="14197" y="133495"/>
                    <a:pt x="14197" y="126396"/>
                  </a:cubicBezTo>
                  <a:cubicBezTo>
                    <a:pt x="12777" y="110780"/>
                    <a:pt x="5679" y="93743"/>
                    <a:pt x="2839" y="83805"/>
                  </a:cubicBezTo>
                  <a:cubicBezTo>
                    <a:pt x="1420" y="79546"/>
                    <a:pt x="0" y="76707"/>
                    <a:pt x="0" y="76707"/>
                  </a:cubicBezTo>
                  <a:cubicBezTo>
                    <a:pt x="0" y="76707"/>
                    <a:pt x="62467" y="-45388"/>
                    <a:pt x="75244" y="18499"/>
                  </a:cubicBezTo>
                  <a:cubicBezTo>
                    <a:pt x="88021" y="82385"/>
                    <a:pt x="119255" y="90904"/>
                    <a:pt x="119255" y="90904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>
              <a:extLst>
                <a:ext uri="{FF2B5EF4-FFF2-40B4-BE49-F238E27FC236}">
                  <a16:creationId xmlns:a16="http://schemas.microsoft.com/office/drawing/2014/main" id="{3C7B76B7-283B-4557-9552-ABCF9D023AE6}"/>
                </a:ext>
              </a:extLst>
            </p:cNvPr>
            <p:cNvSpPr/>
            <p:nvPr userDrawn="1"/>
          </p:nvSpPr>
          <p:spPr>
            <a:xfrm>
              <a:off x="6336300" y="3903844"/>
              <a:ext cx="56788" cy="56788"/>
            </a:xfrm>
            <a:custGeom>
              <a:avLst/>
              <a:gdLst>
                <a:gd name="connsiteX0" fmla="*/ 56788 w 56788"/>
                <a:gd name="connsiteY0" fmla="*/ 0 h 56788"/>
                <a:gd name="connsiteX1" fmla="*/ 11358 w 56788"/>
                <a:gd name="connsiteY1" fmla="*/ 68146 h 56788"/>
                <a:gd name="connsiteX2" fmla="*/ 0 w 56788"/>
                <a:gd name="connsiteY2" fmla="*/ 25555 h 56788"/>
                <a:gd name="connsiteX3" fmla="*/ 56788 w 56788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788" h="56788">
                  <a:moveTo>
                    <a:pt x="56788" y="0"/>
                  </a:moveTo>
                  <a:cubicBezTo>
                    <a:pt x="56788" y="1420"/>
                    <a:pt x="41171" y="49690"/>
                    <a:pt x="11358" y="68146"/>
                  </a:cubicBezTo>
                  <a:cubicBezTo>
                    <a:pt x="9938" y="52529"/>
                    <a:pt x="2840" y="35493"/>
                    <a:pt x="0" y="25555"/>
                  </a:cubicBezTo>
                  <a:lnTo>
                    <a:pt x="56788" y="0"/>
                  </a:lnTo>
                  <a:close/>
                </a:path>
              </a:pathLst>
            </a:custGeom>
            <a:solidFill>
              <a:srgbClr val="C48A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>
              <a:extLst>
                <a:ext uri="{FF2B5EF4-FFF2-40B4-BE49-F238E27FC236}">
                  <a16:creationId xmlns:a16="http://schemas.microsoft.com/office/drawing/2014/main" id="{7EFAD33B-A2F2-4D1B-82D2-8006F7E88F86}"/>
                </a:ext>
              </a:extLst>
            </p:cNvPr>
            <p:cNvSpPr/>
            <p:nvPr userDrawn="1"/>
          </p:nvSpPr>
          <p:spPr>
            <a:xfrm>
              <a:off x="6218465" y="3692308"/>
              <a:ext cx="184561" cy="255546"/>
            </a:xfrm>
            <a:custGeom>
              <a:avLst/>
              <a:gdLst>
                <a:gd name="connsiteX0" fmla="*/ 0 w 184561"/>
                <a:gd name="connsiteY0" fmla="*/ 26974 h 255546"/>
                <a:gd name="connsiteX1" fmla="*/ 44011 w 184561"/>
                <a:gd name="connsiteY1" fmla="*/ 205857 h 255546"/>
                <a:gd name="connsiteX2" fmla="*/ 168944 w 184561"/>
                <a:gd name="connsiteY2" fmla="*/ 221474 h 255546"/>
                <a:gd name="connsiteX3" fmla="*/ 149069 w 184561"/>
                <a:gd name="connsiteY3" fmla="*/ 0 h 255546"/>
                <a:gd name="connsiteX4" fmla="*/ 0 w 184561"/>
                <a:gd name="connsiteY4" fmla="*/ 2697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61" h="255546">
                  <a:moveTo>
                    <a:pt x="0" y="26974"/>
                  </a:moveTo>
                  <a:cubicBezTo>
                    <a:pt x="0" y="26974"/>
                    <a:pt x="7099" y="150488"/>
                    <a:pt x="44011" y="205857"/>
                  </a:cubicBezTo>
                  <a:cubicBezTo>
                    <a:pt x="103638" y="293878"/>
                    <a:pt x="130613" y="264065"/>
                    <a:pt x="168944" y="221474"/>
                  </a:cubicBezTo>
                  <a:cubicBezTo>
                    <a:pt x="222893" y="159007"/>
                    <a:pt x="149069" y="0"/>
                    <a:pt x="149069" y="0"/>
                  </a:cubicBezTo>
                  <a:lnTo>
                    <a:pt x="0" y="26974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>
              <a:extLst>
                <a:ext uri="{FF2B5EF4-FFF2-40B4-BE49-F238E27FC236}">
                  <a16:creationId xmlns:a16="http://schemas.microsoft.com/office/drawing/2014/main" id="{49C35534-B912-472D-A750-BEA28994BC78}"/>
                </a:ext>
              </a:extLst>
            </p:cNvPr>
            <p:cNvSpPr/>
            <p:nvPr userDrawn="1"/>
          </p:nvSpPr>
          <p:spPr>
            <a:xfrm>
              <a:off x="6199907" y="3665899"/>
              <a:ext cx="212955" cy="227152"/>
            </a:xfrm>
            <a:custGeom>
              <a:avLst/>
              <a:gdLst>
                <a:gd name="connsiteX0" fmla="*/ 15718 w 212955"/>
                <a:gd name="connsiteY0" fmla="*/ 152763 h 227152"/>
                <a:gd name="connsiteX1" fmla="*/ 110839 w 212955"/>
                <a:gd name="connsiteY1" fmla="*/ 128628 h 227152"/>
                <a:gd name="connsiteX2" fmla="*/ 203119 w 212955"/>
                <a:gd name="connsiteY2" fmla="*/ 228007 h 227152"/>
                <a:gd name="connsiteX3" fmla="*/ 193181 w 212955"/>
                <a:gd name="connsiteY3" fmla="*/ 53384 h 227152"/>
                <a:gd name="connsiteX4" fmla="*/ 54051 w 212955"/>
                <a:gd name="connsiteY4" fmla="*/ 13632 h 227152"/>
                <a:gd name="connsiteX5" fmla="*/ 15718 w 212955"/>
                <a:gd name="connsiteY5" fmla="*/ 152763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227152">
                  <a:moveTo>
                    <a:pt x="15718" y="152763"/>
                  </a:moveTo>
                  <a:cubicBezTo>
                    <a:pt x="15718" y="152763"/>
                    <a:pt x="55470" y="162701"/>
                    <a:pt x="110839" y="128628"/>
                  </a:cubicBezTo>
                  <a:cubicBezTo>
                    <a:pt x="166207" y="94555"/>
                    <a:pt x="188922" y="223748"/>
                    <a:pt x="203119" y="228007"/>
                  </a:cubicBezTo>
                  <a:cubicBezTo>
                    <a:pt x="215896" y="230846"/>
                    <a:pt x="224415" y="87456"/>
                    <a:pt x="193181" y="53384"/>
                  </a:cubicBezTo>
                  <a:cubicBezTo>
                    <a:pt x="163368" y="19311"/>
                    <a:pt x="107999" y="-21861"/>
                    <a:pt x="54051" y="13632"/>
                  </a:cubicBezTo>
                  <a:cubicBezTo>
                    <a:pt x="-4157" y="49124"/>
                    <a:pt x="-12676" y="100234"/>
                    <a:pt x="15718" y="152763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>
              <a:extLst>
                <a:ext uri="{FF2B5EF4-FFF2-40B4-BE49-F238E27FC236}">
                  <a16:creationId xmlns:a16="http://schemas.microsoft.com/office/drawing/2014/main" id="{1303ED06-7305-4608-B16C-08F1B7FD63E3}"/>
                </a:ext>
              </a:extLst>
            </p:cNvPr>
            <p:cNvSpPr/>
            <p:nvPr userDrawn="1"/>
          </p:nvSpPr>
          <p:spPr>
            <a:xfrm>
              <a:off x="6230750" y="3660956"/>
              <a:ext cx="298137" cy="298137"/>
            </a:xfrm>
            <a:custGeom>
              <a:avLst/>
              <a:gdLst>
                <a:gd name="connsiteX0" fmla="*/ 492 w 298137"/>
                <a:gd name="connsiteY0" fmla="*/ 37031 h 298137"/>
                <a:gd name="connsiteX1" fmla="*/ 81415 w 298137"/>
                <a:gd name="connsiteY1" fmla="*/ 118 h 298137"/>
                <a:gd name="connsiteX2" fmla="*/ 209188 w 298137"/>
                <a:gd name="connsiteY2" fmla="*/ 140669 h 298137"/>
                <a:gd name="connsiteX3" fmla="*/ 301468 w 298137"/>
                <a:gd name="connsiteY3" fmla="*/ 296836 h 298137"/>
                <a:gd name="connsiteX4" fmla="*/ 179374 w 298137"/>
                <a:gd name="connsiteY4" fmla="*/ 248566 h 298137"/>
                <a:gd name="connsiteX5" fmla="*/ 135363 w 298137"/>
                <a:gd name="connsiteY5" fmla="*/ 163384 h 298137"/>
                <a:gd name="connsiteX6" fmla="*/ 33145 w 298137"/>
                <a:gd name="connsiteY6" fmla="*/ 61166 h 298137"/>
                <a:gd name="connsiteX7" fmla="*/ 492 w 298137"/>
                <a:gd name="connsiteY7" fmla="*/ 37031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137" h="298137">
                  <a:moveTo>
                    <a:pt x="492" y="37031"/>
                  </a:moveTo>
                  <a:cubicBezTo>
                    <a:pt x="492" y="37031"/>
                    <a:pt x="20367" y="2958"/>
                    <a:pt x="81415" y="118"/>
                  </a:cubicBezTo>
                  <a:cubicBezTo>
                    <a:pt x="128265" y="-2721"/>
                    <a:pt x="200670" y="45549"/>
                    <a:pt x="209188" y="140669"/>
                  </a:cubicBezTo>
                  <a:cubicBezTo>
                    <a:pt x="219126" y="262763"/>
                    <a:pt x="275914" y="285479"/>
                    <a:pt x="301468" y="296836"/>
                  </a:cubicBezTo>
                  <a:cubicBezTo>
                    <a:pt x="327023" y="308194"/>
                    <a:pt x="213447" y="301095"/>
                    <a:pt x="179374" y="248566"/>
                  </a:cubicBezTo>
                  <a:cubicBezTo>
                    <a:pt x="163757" y="224431"/>
                    <a:pt x="142462" y="188939"/>
                    <a:pt x="135363" y="163384"/>
                  </a:cubicBezTo>
                  <a:cubicBezTo>
                    <a:pt x="128265" y="137830"/>
                    <a:pt x="72896" y="42709"/>
                    <a:pt x="33145" y="61166"/>
                  </a:cubicBezTo>
                  <a:cubicBezTo>
                    <a:pt x="-6607" y="79622"/>
                    <a:pt x="492" y="37031"/>
                    <a:pt x="492" y="37031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>
              <a:extLst>
                <a:ext uri="{FF2B5EF4-FFF2-40B4-BE49-F238E27FC236}">
                  <a16:creationId xmlns:a16="http://schemas.microsoft.com/office/drawing/2014/main" id="{92E5CC88-227D-499F-88AC-4EA1DB027E0B}"/>
                </a:ext>
              </a:extLst>
            </p:cNvPr>
            <p:cNvSpPr/>
            <p:nvPr userDrawn="1"/>
          </p:nvSpPr>
          <p:spPr>
            <a:xfrm>
              <a:off x="6355320" y="3804242"/>
              <a:ext cx="28394" cy="42591"/>
            </a:xfrm>
            <a:custGeom>
              <a:avLst/>
              <a:gdLst>
                <a:gd name="connsiteX0" fmla="*/ 856 w 28394"/>
                <a:gd name="connsiteY0" fmla="*/ 24358 h 42591"/>
                <a:gd name="connsiteX1" fmla="*/ 27830 w 28394"/>
                <a:gd name="connsiteY1" fmla="*/ 4482 h 42591"/>
                <a:gd name="connsiteX2" fmla="*/ 19312 w 28394"/>
                <a:gd name="connsiteY2" fmla="*/ 54172 h 42591"/>
                <a:gd name="connsiteX3" fmla="*/ 856 w 28394"/>
                <a:gd name="connsiteY3" fmla="*/ 24358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856" y="24358"/>
                  </a:moveTo>
                  <a:cubicBezTo>
                    <a:pt x="-4823" y="8741"/>
                    <a:pt x="19312" y="-8295"/>
                    <a:pt x="27830" y="4482"/>
                  </a:cubicBezTo>
                  <a:cubicBezTo>
                    <a:pt x="36348" y="15840"/>
                    <a:pt x="33509" y="58431"/>
                    <a:pt x="19312" y="54172"/>
                  </a:cubicBezTo>
                  <a:cubicBezTo>
                    <a:pt x="5115" y="48493"/>
                    <a:pt x="856" y="24358"/>
                    <a:pt x="856" y="24358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>
              <a:extLst>
                <a:ext uri="{FF2B5EF4-FFF2-40B4-BE49-F238E27FC236}">
                  <a16:creationId xmlns:a16="http://schemas.microsoft.com/office/drawing/2014/main" id="{6C2FAE13-F237-4E04-89CD-A5A7B0AE1A86}"/>
                </a:ext>
              </a:extLst>
            </p:cNvPr>
            <p:cNvSpPr/>
            <p:nvPr userDrawn="1"/>
          </p:nvSpPr>
          <p:spPr>
            <a:xfrm>
              <a:off x="6276938" y="3969150"/>
              <a:ext cx="70985" cy="695654"/>
            </a:xfrm>
            <a:custGeom>
              <a:avLst/>
              <a:gdLst>
                <a:gd name="connsiteX0" fmla="*/ 70719 w 70985"/>
                <a:gd name="connsiteY0" fmla="*/ 0 h 695654"/>
                <a:gd name="connsiteX1" fmla="*/ 69299 w 70985"/>
                <a:gd name="connsiteY1" fmla="*/ 39752 h 695654"/>
                <a:gd name="connsiteX2" fmla="*/ 45164 w 70985"/>
                <a:gd name="connsiteY2" fmla="*/ 184561 h 695654"/>
                <a:gd name="connsiteX3" fmla="*/ 35226 w 70985"/>
                <a:gd name="connsiteY3" fmla="*/ 657322 h 695654"/>
                <a:gd name="connsiteX4" fmla="*/ 9672 w 70985"/>
                <a:gd name="connsiteY4" fmla="*/ 701333 h 695654"/>
                <a:gd name="connsiteX5" fmla="*/ 16770 w 70985"/>
                <a:gd name="connsiteY5" fmla="*/ 296718 h 695654"/>
                <a:gd name="connsiteX6" fmla="*/ 1154 w 70985"/>
                <a:gd name="connsiteY6" fmla="*/ 195919 h 695654"/>
                <a:gd name="connsiteX7" fmla="*/ 22449 w 70985"/>
                <a:gd name="connsiteY7" fmla="*/ 46850 h 695654"/>
                <a:gd name="connsiteX8" fmla="*/ 70719 w 70985"/>
                <a:gd name="connsiteY8" fmla="*/ 0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85" h="695654">
                  <a:moveTo>
                    <a:pt x="70719" y="0"/>
                  </a:moveTo>
                  <a:cubicBezTo>
                    <a:pt x="70719" y="0"/>
                    <a:pt x="73558" y="14197"/>
                    <a:pt x="69299" y="39752"/>
                  </a:cubicBezTo>
                  <a:cubicBezTo>
                    <a:pt x="62201" y="79503"/>
                    <a:pt x="46584" y="140551"/>
                    <a:pt x="45164" y="184561"/>
                  </a:cubicBezTo>
                  <a:cubicBezTo>
                    <a:pt x="42325" y="256966"/>
                    <a:pt x="84916" y="380480"/>
                    <a:pt x="35226" y="657322"/>
                  </a:cubicBezTo>
                  <a:cubicBezTo>
                    <a:pt x="26708" y="671519"/>
                    <a:pt x="18190" y="685716"/>
                    <a:pt x="9672" y="701333"/>
                  </a:cubicBezTo>
                  <a:cubicBezTo>
                    <a:pt x="9672" y="698493"/>
                    <a:pt x="46584" y="376221"/>
                    <a:pt x="16770" y="296718"/>
                  </a:cubicBezTo>
                  <a:cubicBezTo>
                    <a:pt x="-266" y="252707"/>
                    <a:pt x="-1686" y="254127"/>
                    <a:pt x="1154" y="195919"/>
                  </a:cubicBezTo>
                  <a:cubicBezTo>
                    <a:pt x="2573" y="150488"/>
                    <a:pt x="3993" y="107897"/>
                    <a:pt x="22449" y="46850"/>
                  </a:cubicBezTo>
                  <a:cubicBezTo>
                    <a:pt x="39485" y="28394"/>
                    <a:pt x="63620" y="5679"/>
                    <a:pt x="70719" y="0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>
              <a:extLst>
                <a:ext uri="{FF2B5EF4-FFF2-40B4-BE49-F238E27FC236}">
                  <a16:creationId xmlns:a16="http://schemas.microsoft.com/office/drawing/2014/main" id="{A56FB0E9-4324-40EB-B17A-A2BFB2B6A2EE}"/>
                </a:ext>
              </a:extLst>
            </p:cNvPr>
            <p:cNvSpPr/>
            <p:nvPr userDrawn="1"/>
          </p:nvSpPr>
          <p:spPr>
            <a:xfrm>
              <a:off x="6155998" y="4118219"/>
              <a:ext cx="42591" cy="70985"/>
            </a:xfrm>
            <a:custGeom>
              <a:avLst/>
              <a:gdLst>
                <a:gd name="connsiteX0" fmla="*/ 19876 w 42591"/>
                <a:gd name="connsiteY0" fmla="*/ 18456 h 70985"/>
                <a:gd name="connsiteX1" fmla="*/ 0 w 42591"/>
                <a:gd name="connsiteY1" fmla="*/ 79503 h 70985"/>
                <a:gd name="connsiteX2" fmla="*/ 42591 w 42591"/>
                <a:gd name="connsiteY2" fmla="*/ 0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91" h="70985">
                  <a:moveTo>
                    <a:pt x="19876" y="18456"/>
                  </a:moveTo>
                  <a:lnTo>
                    <a:pt x="0" y="79503"/>
                  </a:lnTo>
                  <a:lnTo>
                    <a:pt x="42591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>
              <a:extLst>
                <a:ext uri="{FF2B5EF4-FFF2-40B4-BE49-F238E27FC236}">
                  <a16:creationId xmlns:a16="http://schemas.microsoft.com/office/drawing/2014/main" id="{A39549E6-9844-4F54-B4E4-DBBE86CDF917}"/>
                </a:ext>
              </a:extLst>
            </p:cNvPr>
            <p:cNvSpPr/>
            <p:nvPr userDrawn="1"/>
          </p:nvSpPr>
          <p:spPr>
            <a:xfrm>
              <a:off x="6466912" y="3493550"/>
              <a:ext cx="269743" cy="241349"/>
            </a:xfrm>
            <a:custGeom>
              <a:avLst/>
              <a:gdLst>
                <a:gd name="connsiteX0" fmla="*/ 278261 w 269743"/>
                <a:gd name="connsiteY0" fmla="*/ 0 h 241349"/>
                <a:gd name="connsiteX1" fmla="*/ 0 w 269743"/>
                <a:gd name="connsiteY1" fmla="*/ 0 h 241349"/>
                <a:gd name="connsiteX2" fmla="*/ 0 w 269743"/>
                <a:gd name="connsiteY2" fmla="*/ 201598 h 241349"/>
                <a:gd name="connsiteX3" fmla="*/ 0 w 269743"/>
                <a:gd name="connsiteY3" fmla="*/ 244189 h 241349"/>
                <a:gd name="connsiteX4" fmla="*/ 42591 w 269743"/>
                <a:gd name="connsiteY4" fmla="*/ 201598 h 241349"/>
                <a:gd name="connsiteX5" fmla="*/ 278261 w 269743"/>
                <a:gd name="connsiteY5" fmla="*/ 20159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43" h="241349">
                  <a:moveTo>
                    <a:pt x="278261" y="0"/>
                  </a:moveTo>
                  <a:lnTo>
                    <a:pt x="0" y="0"/>
                  </a:lnTo>
                  <a:lnTo>
                    <a:pt x="0" y="201598"/>
                  </a:lnTo>
                  <a:lnTo>
                    <a:pt x="0" y="244189"/>
                  </a:lnTo>
                  <a:lnTo>
                    <a:pt x="42591" y="201598"/>
                  </a:lnTo>
                  <a:lnTo>
                    <a:pt x="278261" y="201598"/>
                  </a:lnTo>
                  <a:close/>
                </a:path>
              </a:pathLst>
            </a:custGeom>
            <a:solidFill>
              <a:srgbClr val="FFFFF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0" name="任意多边形: 形状 10069">
              <a:extLst>
                <a:ext uri="{FF2B5EF4-FFF2-40B4-BE49-F238E27FC236}">
                  <a16:creationId xmlns:a16="http://schemas.microsoft.com/office/drawing/2014/main" id="{2431BA82-C0B9-4B81-9E43-9F88B0F06D68}"/>
                </a:ext>
              </a:extLst>
            </p:cNvPr>
            <p:cNvSpPr/>
            <p:nvPr userDrawn="1"/>
          </p:nvSpPr>
          <p:spPr>
            <a:xfrm>
              <a:off x="8723671" y="5319645"/>
              <a:ext cx="198758" cy="99379"/>
            </a:xfrm>
            <a:custGeom>
              <a:avLst/>
              <a:gdLst>
                <a:gd name="connsiteX0" fmla="*/ 84330 w 198758"/>
                <a:gd name="connsiteY0" fmla="*/ 6740 h 99379"/>
                <a:gd name="connsiteX1" fmla="*/ 152476 w 198758"/>
                <a:gd name="connsiteY1" fmla="*/ 49331 h 99379"/>
                <a:gd name="connsiteX2" fmla="*/ 210684 w 198758"/>
                <a:gd name="connsiteY2" fmla="*/ 86243 h 99379"/>
                <a:gd name="connsiteX3" fmla="*/ 72973 w 198758"/>
                <a:gd name="connsiteY3" fmla="*/ 99021 h 99379"/>
                <a:gd name="connsiteX4" fmla="*/ 1988 w 198758"/>
                <a:gd name="connsiteY4" fmla="*/ 62108 h 99379"/>
                <a:gd name="connsiteX5" fmla="*/ 9086 w 198758"/>
                <a:gd name="connsiteY5" fmla="*/ 1061 h 99379"/>
                <a:gd name="connsiteX6" fmla="*/ 84330 w 198758"/>
                <a:gd name="connsiteY6" fmla="*/ 6740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58" h="99379">
                  <a:moveTo>
                    <a:pt x="84330" y="6740"/>
                  </a:moveTo>
                  <a:cubicBezTo>
                    <a:pt x="84330" y="6740"/>
                    <a:pt x="118403" y="42233"/>
                    <a:pt x="152476" y="49331"/>
                  </a:cubicBezTo>
                  <a:cubicBezTo>
                    <a:pt x="186549" y="56430"/>
                    <a:pt x="210684" y="66367"/>
                    <a:pt x="210684" y="86243"/>
                  </a:cubicBezTo>
                  <a:cubicBezTo>
                    <a:pt x="210684" y="106119"/>
                    <a:pt x="111304" y="120316"/>
                    <a:pt x="72973" y="99021"/>
                  </a:cubicBezTo>
                  <a:cubicBezTo>
                    <a:pt x="14765" y="67787"/>
                    <a:pt x="9086" y="77725"/>
                    <a:pt x="1988" y="62108"/>
                  </a:cubicBezTo>
                  <a:cubicBezTo>
                    <a:pt x="-5111" y="46492"/>
                    <a:pt x="9086" y="5320"/>
                    <a:pt x="9086" y="1061"/>
                  </a:cubicBezTo>
                  <a:cubicBezTo>
                    <a:pt x="9086" y="-3198"/>
                    <a:pt x="84330" y="6740"/>
                    <a:pt x="84330" y="674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1" name="任意多边形: 形状 10070">
              <a:extLst>
                <a:ext uri="{FF2B5EF4-FFF2-40B4-BE49-F238E27FC236}">
                  <a16:creationId xmlns:a16="http://schemas.microsoft.com/office/drawing/2014/main" id="{24B85199-0349-47EC-9D07-DD57623C0563}"/>
                </a:ext>
              </a:extLst>
            </p:cNvPr>
            <p:cNvSpPr/>
            <p:nvPr userDrawn="1"/>
          </p:nvSpPr>
          <p:spPr>
            <a:xfrm>
              <a:off x="8734157" y="5299411"/>
              <a:ext cx="70985" cy="28394"/>
            </a:xfrm>
            <a:custGeom>
              <a:avLst/>
              <a:gdLst>
                <a:gd name="connsiteX0" fmla="*/ 71005 w 70985"/>
                <a:gd name="connsiteY0" fmla="*/ 9938 h 28394"/>
                <a:gd name="connsiteX1" fmla="*/ 75264 w 70985"/>
                <a:gd name="connsiteY1" fmla="*/ 26974 h 28394"/>
                <a:gd name="connsiteX2" fmla="*/ 19 w 70985"/>
                <a:gd name="connsiteY2" fmla="*/ 22715 h 28394"/>
                <a:gd name="connsiteX3" fmla="*/ 4279 w 70985"/>
                <a:gd name="connsiteY3" fmla="*/ 0 h 28394"/>
                <a:gd name="connsiteX4" fmla="*/ 71005 w 70985"/>
                <a:gd name="connsiteY4" fmla="*/ 993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1005" y="9938"/>
                  </a:moveTo>
                  <a:cubicBezTo>
                    <a:pt x="71005" y="9938"/>
                    <a:pt x="75264" y="26974"/>
                    <a:pt x="75264" y="26974"/>
                  </a:cubicBezTo>
                  <a:cubicBezTo>
                    <a:pt x="75264" y="26974"/>
                    <a:pt x="-1400" y="35493"/>
                    <a:pt x="19" y="22715"/>
                  </a:cubicBezTo>
                  <a:cubicBezTo>
                    <a:pt x="1439" y="11358"/>
                    <a:pt x="4279" y="0"/>
                    <a:pt x="4279" y="0"/>
                  </a:cubicBezTo>
                  <a:lnTo>
                    <a:pt x="71005" y="9938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2" name="任意多边形: 形状 10071">
              <a:extLst>
                <a:ext uri="{FF2B5EF4-FFF2-40B4-BE49-F238E27FC236}">
                  <a16:creationId xmlns:a16="http://schemas.microsoft.com/office/drawing/2014/main" id="{E88E0BE3-6A6E-42F2-B2F6-D0B483726696}"/>
                </a:ext>
              </a:extLst>
            </p:cNvPr>
            <p:cNvSpPr/>
            <p:nvPr userDrawn="1"/>
          </p:nvSpPr>
          <p:spPr>
            <a:xfrm>
              <a:off x="8347084" y="5332753"/>
              <a:ext cx="184561" cy="113576"/>
            </a:xfrm>
            <a:custGeom>
              <a:avLst/>
              <a:gdLst>
                <a:gd name="connsiteX0" fmla="*/ 79017 w 184561"/>
                <a:gd name="connsiteY0" fmla="*/ 2150 h 113576"/>
                <a:gd name="connsiteX1" fmla="*/ 137225 w 184561"/>
                <a:gd name="connsiteY1" fmla="*/ 44742 h 113576"/>
                <a:gd name="connsiteX2" fmla="*/ 192594 w 184561"/>
                <a:gd name="connsiteY2" fmla="*/ 87333 h 113576"/>
                <a:gd name="connsiteX3" fmla="*/ 59142 w 184561"/>
                <a:gd name="connsiteY3" fmla="*/ 98690 h 113576"/>
                <a:gd name="connsiteX4" fmla="*/ 2354 w 184561"/>
                <a:gd name="connsiteY4" fmla="*/ 63198 h 113576"/>
                <a:gd name="connsiteX5" fmla="*/ 5193 w 184561"/>
                <a:gd name="connsiteY5" fmla="*/ 3570 h 113576"/>
                <a:gd name="connsiteX6" fmla="*/ 79017 w 184561"/>
                <a:gd name="connsiteY6" fmla="*/ 215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13576">
                  <a:moveTo>
                    <a:pt x="79017" y="2150"/>
                  </a:moveTo>
                  <a:cubicBezTo>
                    <a:pt x="79017" y="2150"/>
                    <a:pt x="104572" y="36223"/>
                    <a:pt x="137225" y="44742"/>
                  </a:cubicBezTo>
                  <a:cubicBezTo>
                    <a:pt x="169878" y="53260"/>
                    <a:pt x="191174" y="67457"/>
                    <a:pt x="192594" y="87333"/>
                  </a:cubicBezTo>
                  <a:cubicBezTo>
                    <a:pt x="194013" y="107209"/>
                    <a:pt x="115930" y="132763"/>
                    <a:pt x="59142" y="98690"/>
                  </a:cubicBezTo>
                  <a:cubicBezTo>
                    <a:pt x="22229" y="75975"/>
                    <a:pt x="9452" y="77395"/>
                    <a:pt x="2354" y="63198"/>
                  </a:cubicBezTo>
                  <a:cubicBezTo>
                    <a:pt x="-4745" y="49001"/>
                    <a:pt x="6613" y="7829"/>
                    <a:pt x="5193" y="3570"/>
                  </a:cubicBezTo>
                  <a:cubicBezTo>
                    <a:pt x="5193" y="-3528"/>
                    <a:pt x="79017" y="2150"/>
                    <a:pt x="79017" y="215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3" name="任意多边形: 形状 10072">
              <a:extLst>
                <a:ext uri="{FF2B5EF4-FFF2-40B4-BE49-F238E27FC236}">
                  <a16:creationId xmlns:a16="http://schemas.microsoft.com/office/drawing/2014/main" id="{BF7127B6-B03E-4B2B-842C-D6F24043E53C}"/>
                </a:ext>
              </a:extLst>
            </p:cNvPr>
            <p:cNvSpPr/>
            <p:nvPr userDrawn="1"/>
          </p:nvSpPr>
          <p:spPr>
            <a:xfrm>
              <a:off x="8353696" y="5310769"/>
              <a:ext cx="70985" cy="28394"/>
            </a:xfrm>
            <a:custGeom>
              <a:avLst/>
              <a:gdLst>
                <a:gd name="connsiteX0" fmla="*/ 72405 w 70985"/>
                <a:gd name="connsiteY0" fmla="*/ 7099 h 28394"/>
                <a:gd name="connsiteX1" fmla="*/ 73825 w 70985"/>
                <a:gd name="connsiteY1" fmla="*/ 24135 h 28394"/>
                <a:gd name="connsiteX2" fmla="*/ 0 w 70985"/>
                <a:gd name="connsiteY2" fmla="*/ 24135 h 28394"/>
                <a:gd name="connsiteX3" fmla="*/ 4259 w 70985"/>
                <a:gd name="connsiteY3" fmla="*/ 0 h 28394"/>
                <a:gd name="connsiteX4" fmla="*/ 72405 w 70985"/>
                <a:gd name="connsiteY4" fmla="*/ 7099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2405" y="7099"/>
                  </a:moveTo>
                  <a:cubicBezTo>
                    <a:pt x="72405" y="7099"/>
                    <a:pt x="73825" y="24135"/>
                    <a:pt x="73825" y="24135"/>
                  </a:cubicBezTo>
                  <a:cubicBezTo>
                    <a:pt x="73825" y="24135"/>
                    <a:pt x="0" y="36912"/>
                    <a:pt x="0" y="24135"/>
                  </a:cubicBezTo>
                  <a:cubicBezTo>
                    <a:pt x="0" y="14197"/>
                    <a:pt x="4259" y="0"/>
                    <a:pt x="4259" y="0"/>
                  </a:cubicBezTo>
                  <a:lnTo>
                    <a:pt x="72405" y="7099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4" name="任意多边形: 形状 10073">
              <a:extLst>
                <a:ext uri="{FF2B5EF4-FFF2-40B4-BE49-F238E27FC236}">
                  <a16:creationId xmlns:a16="http://schemas.microsoft.com/office/drawing/2014/main" id="{433B2612-4E88-4E02-8ED4-B5D857EE2D27}"/>
                </a:ext>
              </a:extLst>
            </p:cNvPr>
            <p:cNvSpPr/>
            <p:nvPr userDrawn="1"/>
          </p:nvSpPr>
          <p:spPr>
            <a:xfrm>
              <a:off x="8329561" y="4236807"/>
              <a:ext cx="482699" cy="1093171"/>
            </a:xfrm>
            <a:custGeom>
              <a:avLst/>
              <a:gdLst>
                <a:gd name="connsiteX0" fmla="*/ 397517 w 482698"/>
                <a:gd name="connsiteY0" fmla="*/ 73072 h 1093170"/>
                <a:gd name="connsiteX1" fmla="*/ 447206 w 482698"/>
                <a:gd name="connsiteY1" fmla="*/ 418060 h 1093170"/>
                <a:gd name="connsiteX2" fmla="*/ 474181 w 482698"/>
                <a:gd name="connsiteY2" fmla="*/ 656569 h 1093170"/>
                <a:gd name="connsiteX3" fmla="*/ 492637 w 482698"/>
                <a:gd name="connsiteY3" fmla="*/ 1082480 h 1093170"/>
                <a:gd name="connsiteX4" fmla="*/ 388999 w 482698"/>
                <a:gd name="connsiteY4" fmla="*/ 1092418 h 1093170"/>
                <a:gd name="connsiteX5" fmla="*/ 336470 w 482698"/>
                <a:gd name="connsiteY5" fmla="*/ 587004 h 1093170"/>
                <a:gd name="connsiteX6" fmla="*/ 235671 w 482698"/>
                <a:gd name="connsiteY6" fmla="*/ 247695 h 1093170"/>
                <a:gd name="connsiteX7" fmla="*/ 163266 w 482698"/>
                <a:gd name="connsiteY7" fmla="*/ 639533 h 1093170"/>
                <a:gd name="connsiteX8" fmla="*/ 122094 w 482698"/>
                <a:gd name="connsiteY8" fmla="*/ 1099517 h 1093170"/>
                <a:gd name="connsiteX9" fmla="*/ 0 w 482698"/>
                <a:gd name="connsiteY9" fmla="*/ 1099517 h 1093170"/>
                <a:gd name="connsiteX10" fmla="*/ 22715 w 482698"/>
                <a:gd name="connsiteY10" fmla="*/ 638113 h 1093170"/>
                <a:gd name="connsiteX11" fmla="*/ 62467 w 482698"/>
                <a:gd name="connsiteY11" fmla="*/ 30481 h 1093170"/>
                <a:gd name="connsiteX12" fmla="*/ 397517 w 482698"/>
                <a:gd name="connsiteY12" fmla="*/ 73072 h 109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2698" h="1093170">
                  <a:moveTo>
                    <a:pt x="397517" y="73072"/>
                  </a:moveTo>
                  <a:cubicBezTo>
                    <a:pt x="397517" y="73072"/>
                    <a:pt x="433009" y="331458"/>
                    <a:pt x="447206" y="418060"/>
                  </a:cubicBezTo>
                  <a:cubicBezTo>
                    <a:pt x="464243" y="520278"/>
                    <a:pt x="469921" y="604041"/>
                    <a:pt x="474181" y="656569"/>
                  </a:cubicBezTo>
                  <a:cubicBezTo>
                    <a:pt x="479860" y="723296"/>
                    <a:pt x="488378" y="1062604"/>
                    <a:pt x="492637" y="1082480"/>
                  </a:cubicBezTo>
                  <a:cubicBezTo>
                    <a:pt x="496896" y="1102356"/>
                    <a:pt x="388999" y="1092418"/>
                    <a:pt x="388999" y="1092418"/>
                  </a:cubicBezTo>
                  <a:cubicBezTo>
                    <a:pt x="388999" y="1092418"/>
                    <a:pt x="353506" y="657989"/>
                    <a:pt x="336470" y="587004"/>
                  </a:cubicBezTo>
                  <a:cubicBezTo>
                    <a:pt x="319433" y="521698"/>
                    <a:pt x="258386" y="240597"/>
                    <a:pt x="235671" y="247695"/>
                  </a:cubicBezTo>
                  <a:cubicBezTo>
                    <a:pt x="188821" y="261892"/>
                    <a:pt x="174624" y="588424"/>
                    <a:pt x="163266" y="639533"/>
                  </a:cubicBezTo>
                  <a:cubicBezTo>
                    <a:pt x="151908" y="692062"/>
                    <a:pt x="122094" y="1099517"/>
                    <a:pt x="122094" y="1099517"/>
                  </a:cubicBezTo>
                  <a:cubicBezTo>
                    <a:pt x="122094" y="1099517"/>
                    <a:pt x="21296" y="1115133"/>
                    <a:pt x="0" y="1099517"/>
                  </a:cubicBezTo>
                  <a:cubicBezTo>
                    <a:pt x="0" y="1099517"/>
                    <a:pt x="15617" y="734653"/>
                    <a:pt x="22715" y="638113"/>
                  </a:cubicBezTo>
                  <a:cubicBezTo>
                    <a:pt x="25555" y="601201"/>
                    <a:pt x="-1419" y="193747"/>
                    <a:pt x="62467" y="30481"/>
                  </a:cubicBezTo>
                  <a:cubicBezTo>
                    <a:pt x="96540" y="-57541"/>
                    <a:pt x="397517" y="73072"/>
                    <a:pt x="397517" y="73072"/>
                  </a:cubicBezTo>
                  <a:close/>
                </a:path>
              </a:pathLst>
            </a:custGeom>
            <a:solidFill>
              <a:srgbClr val="2F324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5" name="任意多边形: 形状 10074">
              <a:extLst>
                <a:ext uri="{FF2B5EF4-FFF2-40B4-BE49-F238E27FC236}">
                  <a16:creationId xmlns:a16="http://schemas.microsoft.com/office/drawing/2014/main" id="{E28C9449-DB98-4456-BB05-41345B3E781F}"/>
                </a:ext>
              </a:extLst>
            </p:cNvPr>
            <p:cNvSpPr/>
            <p:nvPr userDrawn="1"/>
          </p:nvSpPr>
          <p:spPr>
            <a:xfrm>
              <a:off x="8640266" y="3673852"/>
              <a:ext cx="354926" cy="425911"/>
            </a:xfrm>
            <a:custGeom>
              <a:avLst/>
              <a:gdLst>
                <a:gd name="connsiteX0" fmla="*/ 352296 w 354925"/>
                <a:gd name="connsiteY0" fmla="*/ 433009 h 425910"/>
                <a:gd name="connsiteX1" fmla="*/ 92491 w 354925"/>
                <a:gd name="connsiteY1" fmla="*/ 379060 h 425910"/>
                <a:gd name="connsiteX2" fmla="*/ 47060 w 354925"/>
                <a:gd name="connsiteY2" fmla="*/ 292459 h 425910"/>
                <a:gd name="connsiteX3" fmla="*/ 35703 w 354925"/>
                <a:gd name="connsiteY3" fmla="*/ 252707 h 425910"/>
                <a:gd name="connsiteX4" fmla="*/ 35703 w 354925"/>
                <a:gd name="connsiteY4" fmla="*/ 252707 h 425910"/>
                <a:gd name="connsiteX5" fmla="*/ 14407 w 354925"/>
                <a:gd name="connsiteY5" fmla="*/ 151908 h 425910"/>
                <a:gd name="connsiteX6" fmla="*/ 49900 w 354925"/>
                <a:gd name="connsiteY6" fmla="*/ 0 h 425910"/>
                <a:gd name="connsiteX7" fmla="*/ 96750 w 354925"/>
                <a:gd name="connsiteY7" fmla="*/ 41171 h 425910"/>
                <a:gd name="connsiteX8" fmla="*/ 137921 w 354925"/>
                <a:gd name="connsiteY8" fmla="*/ 143390 h 425910"/>
                <a:gd name="connsiteX9" fmla="*/ 181932 w 354925"/>
                <a:gd name="connsiteY9" fmla="*/ 302397 h 425910"/>
                <a:gd name="connsiteX10" fmla="*/ 234461 w 354925"/>
                <a:gd name="connsiteY10" fmla="*/ 330791 h 425910"/>
                <a:gd name="connsiteX11" fmla="*/ 365073 w 354925"/>
                <a:gd name="connsiteY11" fmla="*/ 346407 h 425910"/>
                <a:gd name="connsiteX12" fmla="*/ 352296 w 354925"/>
                <a:gd name="connsiteY12" fmla="*/ 433009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925" h="425910">
                  <a:moveTo>
                    <a:pt x="352296" y="433009"/>
                  </a:moveTo>
                  <a:cubicBezTo>
                    <a:pt x="352296" y="433009"/>
                    <a:pt x="130822" y="403195"/>
                    <a:pt x="92491" y="379060"/>
                  </a:cubicBezTo>
                  <a:cubicBezTo>
                    <a:pt x="75454" y="367703"/>
                    <a:pt x="59837" y="332210"/>
                    <a:pt x="47060" y="292459"/>
                  </a:cubicBezTo>
                  <a:cubicBezTo>
                    <a:pt x="42801" y="279681"/>
                    <a:pt x="38542" y="265484"/>
                    <a:pt x="35703" y="252707"/>
                  </a:cubicBezTo>
                  <a:cubicBezTo>
                    <a:pt x="35703" y="252707"/>
                    <a:pt x="35703" y="252707"/>
                    <a:pt x="35703" y="252707"/>
                  </a:cubicBezTo>
                  <a:cubicBezTo>
                    <a:pt x="21506" y="200178"/>
                    <a:pt x="14407" y="151908"/>
                    <a:pt x="14407" y="151908"/>
                  </a:cubicBezTo>
                  <a:cubicBezTo>
                    <a:pt x="14407" y="151908"/>
                    <a:pt x="-35283" y="19876"/>
                    <a:pt x="49900" y="0"/>
                  </a:cubicBezTo>
                  <a:cubicBezTo>
                    <a:pt x="49900" y="0"/>
                    <a:pt x="82553" y="8518"/>
                    <a:pt x="96750" y="41171"/>
                  </a:cubicBezTo>
                  <a:cubicBezTo>
                    <a:pt x="110947" y="73825"/>
                    <a:pt x="130822" y="122094"/>
                    <a:pt x="137921" y="143390"/>
                  </a:cubicBezTo>
                  <a:cubicBezTo>
                    <a:pt x="142180" y="157587"/>
                    <a:pt x="179092" y="298137"/>
                    <a:pt x="181932" y="302397"/>
                  </a:cubicBezTo>
                  <a:cubicBezTo>
                    <a:pt x="184771" y="306656"/>
                    <a:pt x="203227" y="322272"/>
                    <a:pt x="234461" y="330791"/>
                  </a:cubicBezTo>
                  <a:cubicBezTo>
                    <a:pt x="284150" y="344988"/>
                    <a:pt x="365073" y="346407"/>
                    <a:pt x="365073" y="346407"/>
                  </a:cubicBezTo>
                  <a:lnTo>
                    <a:pt x="352296" y="433009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6" name="任意多边形: 形状 10075">
              <a:extLst>
                <a:ext uri="{FF2B5EF4-FFF2-40B4-BE49-F238E27FC236}">
                  <a16:creationId xmlns:a16="http://schemas.microsoft.com/office/drawing/2014/main" id="{60D058C3-BF93-4048-812C-097186EC3301}"/>
                </a:ext>
              </a:extLst>
            </p:cNvPr>
            <p:cNvSpPr/>
            <p:nvPr userDrawn="1"/>
          </p:nvSpPr>
          <p:spPr>
            <a:xfrm>
              <a:off x="8508899" y="3368377"/>
              <a:ext cx="184561" cy="255546"/>
            </a:xfrm>
            <a:custGeom>
              <a:avLst/>
              <a:gdLst>
                <a:gd name="connsiteX0" fmla="*/ 6643 w 184561"/>
                <a:gd name="connsiteY0" fmla="*/ 160666 h 255546"/>
                <a:gd name="connsiteX1" fmla="*/ 6643 w 184561"/>
                <a:gd name="connsiteY1" fmla="*/ 160666 h 255546"/>
                <a:gd name="connsiteX2" fmla="*/ 25099 w 184561"/>
                <a:gd name="connsiteY2" fmla="*/ 218874 h 255546"/>
                <a:gd name="connsiteX3" fmla="*/ 179847 w 184561"/>
                <a:gd name="connsiteY3" fmla="*/ 163505 h 255546"/>
                <a:gd name="connsiteX4" fmla="*/ 186945 w 184561"/>
                <a:gd name="connsiteY4" fmla="*/ 95360 h 255546"/>
                <a:gd name="connsiteX5" fmla="*/ 140095 w 184561"/>
                <a:gd name="connsiteY5" fmla="*/ 7338 h 255546"/>
                <a:gd name="connsiteX6" fmla="*/ 18001 w 184561"/>
                <a:gd name="connsiteY6" fmla="*/ 30053 h 255546"/>
                <a:gd name="connsiteX7" fmla="*/ 6643 w 184561"/>
                <a:gd name="connsiteY7" fmla="*/ 160666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561" h="255546">
                  <a:moveTo>
                    <a:pt x="6643" y="160666"/>
                  </a:moveTo>
                  <a:cubicBezTo>
                    <a:pt x="6643" y="160666"/>
                    <a:pt x="6643" y="160666"/>
                    <a:pt x="6643" y="160666"/>
                  </a:cubicBezTo>
                  <a:cubicBezTo>
                    <a:pt x="10902" y="180542"/>
                    <a:pt x="16581" y="200418"/>
                    <a:pt x="25099" y="218874"/>
                  </a:cubicBezTo>
                  <a:cubicBezTo>
                    <a:pt x="52074" y="279921"/>
                    <a:pt x="145774" y="302636"/>
                    <a:pt x="179847" y="163505"/>
                  </a:cubicBezTo>
                  <a:cubicBezTo>
                    <a:pt x="186945" y="136531"/>
                    <a:pt x="188365" y="115235"/>
                    <a:pt x="186945" y="95360"/>
                  </a:cubicBezTo>
                  <a:cubicBezTo>
                    <a:pt x="182686" y="28634"/>
                    <a:pt x="140095" y="7338"/>
                    <a:pt x="140095" y="7338"/>
                  </a:cubicBezTo>
                  <a:cubicBezTo>
                    <a:pt x="107442" y="-2600"/>
                    <a:pt x="47814" y="-8279"/>
                    <a:pt x="18001" y="30053"/>
                  </a:cubicBezTo>
                  <a:cubicBezTo>
                    <a:pt x="-1875" y="57028"/>
                    <a:pt x="-4715" y="110976"/>
                    <a:pt x="6643" y="160666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7" name="任意多边形: 形状 10076">
              <a:extLst>
                <a:ext uri="{FF2B5EF4-FFF2-40B4-BE49-F238E27FC236}">
                  <a16:creationId xmlns:a16="http://schemas.microsoft.com/office/drawing/2014/main" id="{D52C41B0-926D-40AF-9865-D81F6576B68E}"/>
                </a:ext>
              </a:extLst>
            </p:cNvPr>
            <p:cNvSpPr/>
            <p:nvPr userDrawn="1"/>
          </p:nvSpPr>
          <p:spPr>
            <a:xfrm>
              <a:off x="8502428" y="3364176"/>
              <a:ext cx="198758" cy="156167"/>
            </a:xfrm>
            <a:custGeom>
              <a:avLst/>
              <a:gdLst>
                <a:gd name="connsiteX0" fmla="*/ 13115 w 198758"/>
                <a:gd name="connsiteY0" fmla="*/ 164866 h 156167"/>
                <a:gd name="connsiteX1" fmla="*/ 13115 w 198758"/>
                <a:gd name="connsiteY1" fmla="*/ 164866 h 156167"/>
                <a:gd name="connsiteX2" fmla="*/ 42928 w 198758"/>
                <a:gd name="connsiteY2" fmla="*/ 136472 h 156167"/>
                <a:gd name="connsiteX3" fmla="*/ 51447 w 198758"/>
                <a:gd name="connsiteY3" fmla="*/ 133633 h 156167"/>
                <a:gd name="connsiteX4" fmla="*/ 81261 w 198758"/>
                <a:gd name="connsiteY4" fmla="*/ 129374 h 156167"/>
                <a:gd name="connsiteX5" fmla="*/ 103975 w 198758"/>
                <a:gd name="connsiteY5" fmla="*/ 74005 h 156167"/>
                <a:gd name="connsiteX6" fmla="*/ 194837 w 198758"/>
                <a:gd name="connsiteY6" fmla="*/ 99560 h 156167"/>
                <a:gd name="connsiteX7" fmla="*/ 170702 w 198758"/>
                <a:gd name="connsiteY7" fmla="*/ 15798 h 156167"/>
                <a:gd name="connsiteX8" fmla="*/ 13115 w 198758"/>
                <a:gd name="connsiteY8" fmla="*/ 25735 h 156167"/>
                <a:gd name="connsiteX9" fmla="*/ 13115 w 198758"/>
                <a:gd name="connsiteY9" fmla="*/ 164866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758" h="156167">
                  <a:moveTo>
                    <a:pt x="13115" y="164866"/>
                  </a:moveTo>
                  <a:cubicBezTo>
                    <a:pt x="13115" y="164866"/>
                    <a:pt x="13115" y="164866"/>
                    <a:pt x="13115" y="164866"/>
                  </a:cubicBezTo>
                  <a:cubicBezTo>
                    <a:pt x="13115" y="164866"/>
                    <a:pt x="17374" y="167706"/>
                    <a:pt x="42928" y="136472"/>
                  </a:cubicBezTo>
                  <a:cubicBezTo>
                    <a:pt x="48607" y="130793"/>
                    <a:pt x="50027" y="136472"/>
                    <a:pt x="51447" y="133633"/>
                  </a:cubicBezTo>
                  <a:lnTo>
                    <a:pt x="81261" y="129374"/>
                  </a:lnTo>
                  <a:cubicBezTo>
                    <a:pt x="81261" y="129374"/>
                    <a:pt x="65644" y="78264"/>
                    <a:pt x="103975" y="74005"/>
                  </a:cubicBezTo>
                  <a:cubicBezTo>
                    <a:pt x="143727" y="69746"/>
                    <a:pt x="194837" y="99560"/>
                    <a:pt x="194837" y="99560"/>
                  </a:cubicBezTo>
                  <a:cubicBezTo>
                    <a:pt x="218971" y="-1239"/>
                    <a:pt x="170702" y="15798"/>
                    <a:pt x="170702" y="15798"/>
                  </a:cubicBezTo>
                  <a:cubicBezTo>
                    <a:pt x="146567" y="-1239"/>
                    <a:pt x="42928" y="-12596"/>
                    <a:pt x="13115" y="25735"/>
                  </a:cubicBezTo>
                  <a:cubicBezTo>
                    <a:pt x="-9601" y="54130"/>
                    <a:pt x="1757" y="115177"/>
                    <a:pt x="13115" y="164866"/>
                  </a:cubicBezTo>
                  <a:close/>
                </a:path>
              </a:pathLst>
            </a:custGeom>
            <a:solidFill>
              <a:srgbClr val="66524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8" name="任意多边形: 形状 10077">
              <a:extLst>
                <a:ext uri="{FF2B5EF4-FFF2-40B4-BE49-F238E27FC236}">
                  <a16:creationId xmlns:a16="http://schemas.microsoft.com/office/drawing/2014/main" id="{0491FB43-60EF-4207-906E-9E5B169C9846}"/>
                </a:ext>
              </a:extLst>
            </p:cNvPr>
            <p:cNvSpPr/>
            <p:nvPr userDrawn="1"/>
          </p:nvSpPr>
          <p:spPr>
            <a:xfrm>
              <a:off x="8531433" y="3464289"/>
              <a:ext cx="28394" cy="42591"/>
            </a:xfrm>
            <a:custGeom>
              <a:avLst/>
              <a:gdLst>
                <a:gd name="connsiteX0" fmla="*/ 32379 w 28394"/>
                <a:gd name="connsiteY0" fmla="*/ 13644 h 42591"/>
                <a:gd name="connsiteX1" fmla="*/ 3985 w 28394"/>
                <a:gd name="connsiteY1" fmla="*/ 9385 h 42591"/>
                <a:gd name="connsiteX2" fmla="*/ 21021 w 28394"/>
                <a:gd name="connsiteY2" fmla="*/ 51976 h 42591"/>
                <a:gd name="connsiteX3" fmla="*/ 32379 w 28394"/>
                <a:gd name="connsiteY3" fmla="*/ 13644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32379" y="13644"/>
                  </a:moveTo>
                  <a:cubicBezTo>
                    <a:pt x="32379" y="3706"/>
                    <a:pt x="15342" y="-9072"/>
                    <a:pt x="3985" y="9385"/>
                  </a:cubicBezTo>
                  <a:cubicBezTo>
                    <a:pt x="-8793" y="27841"/>
                    <a:pt x="12503" y="54815"/>
                    <a:pt x="21021" y="51976"/>
                  </a:cubicBezTo>
                  <a:cubicBezTo>
                    <a:pt x="28120" y="50556"/>
                    <a:pt x="32379" y="30680"/>
                    <a:pt x="32379" y="13644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9" name="任意多边形: 形状 10078">
              <a:extLst>
                <a:ext uri="{FF2B5EF4-FFF2-40B4-BE49-F238E27FC236}">
                  <a16:creationId xmlns:a16="http://schemas.microsoft.com/office/drawing/2014/main" id="{CECBCC14-8A96-4D63-96E3-71721D1E33FE}"/>
                </a:ext>
              </a:extLst>
            </p:cNvPr>
            <p:cNvSpPr/>
            <p:nvPr userDrawn="1"/>
          </p:nvSpPr>
          <p:spPr>
            <a:xfrm>
              <a:off x="8355116" y="3653963"/>
              <a:ext cx="383320" cy="695654"/>
            </a:xfrm>
            <a:custGeom>
              <a:avLst/>
              <a:gdLst>
                <a:gd name="connsiteX0" fmla="*/ 254127 w 383319"/>
                <a:gd name="connsiteY0" fmla="*/ 13 h 695654"/>
                <a:gd name="connsiteX1" fmla="*/ 344987 w 383319"/>
                <a:gd name="connsiteY1" fmla="*/ 25568 h 695654"/>
                <a:gd name="connsiteX2" fmla="*/ 380480 w 383319"/>
                <a:gd name="connsiteY2" fmla="*/ 161859 h 695654"/>
                <a:gd name="connsiteX3" fmla="*/ 363444 w 383319"/>
                <a:gd name="connsiteY3" fmla="*/ 340741 h 695654"/>
                <a:gd name="connsiteX4" fmla="*/ 386159 w 383319"/>
                <a:gd name="connsiteY4" fmla="*/ 674371 h 695654"/>
                <a:gd name="connsiteX5" fmla="*/ 0 w 383319"/>
                <a:gd name="connsiteY5" fmla="*/ 702765 h 695654"/>
                <a:gd name="connsiteX6" fmla="*/ 41171 w 383319"/>
                <a:gd name="connsiteY6" fmla="*/ 390431 h 695654"/>
                <a:gd name="connsiteX7" fmla="*/ 2839 w 383319"/>
                <a:gd name="connsiteY7" fmla="*/ 157600 h 695654"/>
                <a:gd name="connsiteX8" fmla="*/ 41171 w 383319"/>
                <a:gd name="connsiteY8" fmla="*/ 25568 h 695654"/>
                <a:gd name="connsiteX9" fmla="*/ 154747 w 383319"/>
                <a:gd name="connsiteY9" fmla="*/ 13 h 695654"/>
                <a:gd name="connsiteX10" fmla="*/ 254127 w 383319"/>
                <a:gd name="connsiteY10" fmla="*/ 13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3319" h="695654">
                  <a:moveTo>
                    <a:pt x="254127" y="13"/>
                  </a:moveTo>
                  <a:cubicBezTo>
                    <a:pt x="254127" y="13"/>
                    <a:pt x="335050" y="17049"/>
                    <a:pt x="344987" y="25568"/>
                  </a:cubicBezTo>
                  <a:cubicBezTo>
                    <a:pt x="356345" y="35505"/>
                    <a:pt x="379060" y="134885"/>
                    <a:pt x="380480" y="161859"/>
                  </a:cubicBezTo>
                  <a:cubicBezTo>
                    <a:pt x="381900" y="188833"/>
                    <a:pt x="374801" y="299570"/>
                    <a:pt x="363444" y="340741"/>
                  </a:cubicBezTo>
                  <a:cubicBezTo>
                    <a:pt x="352086" y="381913"/>
                    <a:pt x="379060" y="616164"/>
                    <a:pt x="386159" y="674371"/>
                  </a:cubicBezTo>
                  <a:cubicBezTo>
                    <a:pt x="386159" y="674371"/>
                    <a:pt x="173203" y="725481"/>
                    <a:pt x="0" y="702765"/>
                  </a:cubicBezTo>
                  <a:cubicBezTo>
                    <a:pt x="0" y="702765"/>
                    <a:pt x="46850" y="448639"/>
                    <a:pt x="41171" y="390431"/>
                  </a:cubicBezTo>
                  <a:cubicBezTo>
                    <a:pt x="32653" y="316606"/>
                    <a:pt x="2839" y="157600"/>
                    <a:pt x="2839" y="157600"/>
                  </a:cubicBezTo>
                  <a:cubicBezTo>
                    <a:pt x="2839" y="157600"/>
                    <a:pt x="22715" y="34086"/>
                    <a:pt x="41171" y="25568"/>
                  </a:cubicBezTo>
                  <a:cubicBezTo>
                    <a:pt x="102218" y="-1407"/>
                    <a:pt x="154747" y="13"/>
                    <a:pt x="154747" y="13"/>
                  </a:cubicBezTo>
                  <a:lnTo>
                    <a:pt x="254127" y="13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0" name="任意多边形: 形状 10079">
              <a:extLst>
                <a:ext uri="{FF2B5EF4-FFF2-40B4-BE49-F238E27FC236}">
                  <a16:creationId xmlns:a16="http://schemas.microsoft.com/office/drawing/2014/main" id="{45E17AF9-7B91-4C3A-AD4F-381EF8DC8083}"/>
                </a:ext>
              </a:extLst>
            </p:cNvPr>
            <p:cNvSpPr/>
            <p:nvPr userDrawn="1"/>
          </p:nvSpPr>
          <p:spPr>
            <a:xfrm>
              <a:off x="8512703" y="3535673"/>
              <a:ext cx="99379" cy="141970"/>
            </a:xfrm>
            <a:custGeom>
              <a:avLst/>
              <a:gdLst>
                <a:gd name="connsiteX0" fmla="*/ 106478 w 99379"/>
                <a:gd name="connsiteY0" fmla="*/ 136759 h 141970"/>
                <a:gd name="connsiteX1" fmla="*/ 0 w 99379"/>
                <a:gd name="connsiteY1" fmla="*/ 119723 h 141970"/>
                <a:gd name="connsiteX2" fmla="*/ 8518 w 99379"/>
                <a:gd name="connsiteY2" fmla="*/ 14665 h 141970"/>
                <a:gd name="connsiteX3" fmla="*/ 106478 w 99379"/>
                <a:gd name="connsiteY3" fmla="*/ 78551 h 141970"/>
                <a:gd name="connsiteX4" fmla="*/ 106478 w 99379"/>
                <a:gd name="connsiteY4" fmla="*/ 99847 h 141970"/>
                <a:gd name="connsiteX5" fmla="*/ 106478 w 99379"/>
                <a:gd name="connsiteY5" fmla="*/ 118303 h 141970"/>
                <a:gd name="connsiteX6" fmla="*/ 106478 w 99379"/>
                <a:gd name="connsiteY6" fmla="*/ 136759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79" h="141970">
                  <a:moveTo>
                    <a:pt x="106478" y="136759"/>
                  </a:moveTo>
                  <a:cubicBezTo>
                    <a:pt x="106478" y="136759"/>
                    <a:pt x="82343" y="156635"/>
                    <a:pt x="0" y="119723"/>
                  </a:cubicBezTo>
                  <a:cubicBezTo>
                    <a:pt x="0" y="119723"/>
                    <a:pt x="12777" y="71453"/>
                    <a:pt x="8518" y="14665"/>
                  </a:cubicBezTo>
                  <a:cubicBezTo>
                    <a:pt x="4259" y="-40703"/>
                    <a:pt x="106478" y="78551"/>
                    <a:pt x="106478" y="78551"/>
                  </a:cubicBezTo>
                  <a:cubicBezTo>
                    <a:pt x="106478" y="87070"/>
                    <a:pt x="106478" y="94168"/>
                    <a:pt x="106478" y="99847"/>
                  </a:cubicBezTo>
                  <a:cubicBezTo>
                    <a:pt x="106478" y="106946"/>
                    <a:pt x="106478" y="114044"/>
                    <a:pt x="106478" y="118303"/>
                  </a:cubicBezTo>
                  <a:cubicBezTo>
                    <a:pt x="105058" y="129661"/>
                    <a:pt x="106478" y="136759"/>
                    <a:pt x="106478" y="13675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1" name="任意多边形: 形状 10080">
              <a:extLst>
                <a:ext uri="{FF2B5EF4-FFF2-40B4-BE49-F238E27FC236}">
                  <a16:creationId xmlns:a16="http://schemas.microsoft.com/office/drawing/2014/main" id="{50B4CC54-178F-48C7-BAD4-CCCCC8111429}"/>
                </a:ext>
              </a:extLst>
            </p:cNvPr>
            <p:cNvSpPr/>
            <p:nvPr userDrawn="1"/>
          </p:nvSpPr>
          <p:spPr>
            <a:xfrm>
              <a:off x="8508444" y="3652940"/>
              <a:ext cx="113576" cy="28394"/>
            </a:xfrm>
            <a:custGeom>
              <a:avLst/>
              <a:gdLst>
                <a:gd name="connsiteX0" fmla="*/ 117836 w 113576"/>
                <a:gd name="connsiteY0" fmla="*/ 5296 h 28394"/>
                <a:gd name="connsiteX1" fmla="*/ 110737 w 113576"/>
                <a:gd name="connsiteY1" fmla="*/ 37949 h 28394"/>
                <a:gd name="connsiteX2" fmla="*/ 0 w 113576"/>
                <a:gd name="connsiteY2" fmla="*/ 2456 h 28394"/>
                <a:gd name="connsiteX3" fmla="*/ 117836 w 113576"/>
                <a:gd name="connsiteY3" fmla="*/ 5296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28394">
                  <a:moveTo>
                    <a:pt x="117836" y="5296"/>
                  </a:moveTo>
                  <a:cubicBezTo>
                    <a:pt x="117836" y="5296"/>
                    <a:pt x="136291" y="33690"/>
                    <a:pt x="110737" y="37949"/>
                  </a:cubicBezTo>
                  <a:cubicBezTo>
                    <a:pt x="83762" y="42208"/>
                    <a:pt x="29814" y="37949"/>
                    <a:pt x="0" y="2456"/>
                  </a:cubicBezTo>
                  <a:cubicBezTo>
                    <a:pt x="0" y="2456"/>
                    <a:pt x="80923" y="-4642"/>
                    <a:pt x="117836" y="529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2" name="任意多边形: 形状 10081">
              <a:extLst>
                <a:ext uri="{FF2B5EF4-FFF2-40B4-BE49-F238E27FC236}">
                  <a16:creationId xmlns:a16="http://schemas.microsoft.com/office/drawing/2014/main" id="{5EFEE9BF-549A-41D4-AF3A-A6C7DB3ED9DB}"/>
                </a:ext>
              </a:extLst>
            </p:cNvPr>
            <p:cNvSpPr/>
            <p:nvPr userDrawn="1"/>
          </p:nvSpPr>
          <p:spPr>
            <a:xfrm>
              <a:off x="8528319" y="3818662"/>
              <a:ext cx="653063" cy="567881"/>
            </a:xfrm>
            <a:custGeom>
              <a:avLst/>
              <a:gdLst>
                <a:gd name="connsiteX0" fmla="*/ 221474 w 653062"/>
                <a:gd name="connsiteY0" fmla="*/ 0 h 567880"/>
                <a:gd name="connsiteX1" fmla="*/ 0 w 653062"/>
                <a:gd name="connsiteY1" fmla="*/ 545166 h 567880"/>
                <a:gd name="connsiteX2" fmla="*/ 444367 w 653062"/>
                <a:gd name="connsiteY2" fmla="*/ 545166 h 567880"/>
                <a:gd name="connsiteX3" fmla="*/ 663001 w 653062"/>
                <a:gd name="connsiteY3" fmla="*/ 14197 h 567880"/>
                <a:gd name="connsiteX4" fmla="*/ 221474 w 653062"/>
                <a:gd name="connsiteY4" fmla="*/ 0 h 56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062" h="567880">
                  <a:moveTo>
                    <a:pt x="221474" y="0"/>
                  </a:moveTo>
                  <a:cubicBezTo>
                    <a:pt x="221474" y="0"/>
                    <a:pt x="156167" y="346407"/>
                    <a:pt x="0" y="545166"/>
                  </a:cubicBezTo>
                  <a:cubicBezTo>
                    <a:pt x="0" y="545166"/>
                    <a:pt x="159007" y="617570"/>
                    <a:pt x="444367" y="545166"/>
                  </a:cubicBezTo>
                  <a:cubicBezTo>
                    <a:pt x="444367" y="545166"/>
                    <a:pt x="643125" y="205857"/>
                    <a:pt x="663001" y="14197"/>
                  </a:cubicBezTo>
                  <a:cubicBezTo>
                    <a:pt x="663001" y="14197"/>
                    <a:pt x="465663" y="53949"/>
                    <a:pt x="221474" y="0"/>
                  </a:cubicBezTo>
                  <a:close/>
                </a:path>
              </a:pathLst>
            </a:custGeom>
            <a:solidFill>
              <a:srgbClr val="DBDFF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3" name="任意多边形: 形状 10082">
              <a:extLst>
                <a:ext uri="{FF2B5EF4-FFF2-40B4-BE49-F238E27FC236}">
                  <a16:creationId xmlns:a16="http://schemas.microsoft.com/office/drawing/2014/main" id="{995D8534-159F-42B0-8709-711A775C83C4}"/>
                </a:ext>
              </a:extLst>
            </p:cNvPr>
            <p:cNvSpPr/>
            <p:nvPr userDrawn="1"/>
          </p:nvSpPr>
          <p:spPr>
            <a:xfrm>
              <a:off x="8559553" y="3856994"/>
              <a:ext cx="596275" cy="511093"/>
            </a:xfrm>
            <a:custGeom>
              <a:avLst/>
              <a:gdLst>
                <a:gd name="connsiteX0" fmla="*/ 201598 w 596274"/>
                <a:gd name="connsiteY0" fmla="*/ 0 h 511092"/>
                <a:gd name="connsiteX1" fmla="*/ 0 w 596274"/>
                <a:gd name="connsiteY1" fmla="*/ 494056 h 511092"/>
                <a:gd name="connsiteX2" fmla="*/ 401776 w 596274"/>
                <a:gd name="connsiteY2" fmla="*/ 494056 h 511092"/>
                <a:gd name="connsiteX3" fmla="*/ 599114 w 596274"/>
                <a:gd name="connsiteY3" fmla="*/ 14197 h 511092"/>
                <a:gd name="connsiteX4" fmla="*/ 201598 w 596274"/>
                <a:gd name="connsiteY4" fmla="*/ 0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274" h="511092">
                  <a:moveTo>
                    <a:pt x="201598" y="0"/>
                  </a:moveTo>
                  <a:cubicBezTo>
                    <a:pt x="201598" y="0"/>
                    <a:pt x="143390" y="313754"/>
                    <a:pt x="0" y="494056"/>
                  </a:cubicBezTo>
                  <a:cubicBezTo>
                    <a:pt x="0" y="494056"/>
                    <a:pt x="143390" y="560782"/>
                    <a:pt x="401776" y="494056"/>
                  </a:cubicBezTo>
                  <a:cubicBezTo>
                    <a:pt x="401776" y="494056"/>
                    <a:pt x="580658" y="185981"/>
                    <a:pt x="599114" y="14197"/>
                  </a:cubicBezTo>
                  <a:cubicBezTo>
                    <a:pt x="600534" y="12777"/>
                    <a:pt x="421652" y="48270"/>
                    <a:pt x="201598" y="0"/>
                  </a:cubicBezTo>
                  <a:close/>
                </a:path>
              </a:pathLst>
            </a:custGeom>
            <a:solidFill>
              <a:srgbClr val="BDC9F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4" name="任意多边形: 形状 10083">
              <a:extLst>
                <a:ext uri="{FF2B5EF4-FFF2-40B4-BE49-F238E27FC236}">
                  <a16:creationId xmlns:a16="http://schemas.microsoft.com/office/drawing/2014/main" id="{43097A5D-B710-4084-9933-61EF26A7802E}"/>
                </a:ext>
              </a:extLst>
            </p:cNvPr>
            <p:cNvSpPr/>
            <p:nvPr userDrawn="1"/>
          </p:nvSpPr>
          <p:spPr>
            <a:xfrm>
              <a:off x="8541097" y="3601447"/>
              <a:ext cx="70985" cy="42591"/>
            </a:xfrm>
            <a:custGeom>
              <a:avLst/>
              <a:gdLst>
                <a:gd name="connsiteX0" fmla="*/ 76664 w 70985"/>
                <a:gd name="connsiteY0" fmla="*/ 51109 h 42591"/>
                <a:gd name="connsiteX1" fmla="*/ 0 w 70985"/>
                <a:gd name="connsiteY1" fmla="*/ 0 h 42591"/>
                <a:gd name="connsiteX2" fmla="*/ 76664 w 70985"/>
                <a:gd name="connsiteY2" fmla="*/ 31233 h 42591"/>
                <a:gd name="connsiteX3" fmla="*/ 76664 w 70985"/>
                <a:gd name="connsiteY3" fmla="*/ 32653 h 42591"/>
                <a:gd name="connsiteX4" fmla="*/ 76664 w 70985"/>
                <a:gd name="connsiteY4" fmla="*/ 51109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42591">
                  <a:moveTo>
                    <a:pt x="76664" y="51109"/>
                  </a:moveTo>
                  <a:cubicBezTo>
                    <a:pt x="19876" y="48270"/>
                    <a:pt x="0" y="0"/>
                    <a:pt x="0" y="0"/>
                  </a:cubicBezTo>
                  <a:cubicBezTo>
                    <a:pt x="28394" y="39752"/>
                    <a:pt x="76664" y="31233"/>
                    <a:pt x="76664" y="31233"/>
                  </a:cubicBezTo>
                  <a:lnTo>
                    <a:pt x="76664" y="32653"/>
                  </a:lnTo>
                  <a:cubicBezTo>
                    <a:pt x="76664" y="39752"/>
                    <a:pt x="76664" y="45430"/>
                    <a:pt x="76664" y="51109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5" name="任意多边形: 形状 10084">
              <a:extLst>
                <a:ext uri="{FF2B5EF4-FFF2-40B4-BE49-F238E27FC236}">
                  <a16:creationId xmlns:a16="http://schemas.microsoft.com/office/drawing/2014/main" id="{9933B2EF-621A-440B-AB92-2DECB190CD83}"/>
                </a:ext>
              </a:extLst>
            </p:cNvPr>
            <p:cNvSpPr/>
            <p:nvPr userDrawn="1"/>
          </p:nvSpPr>
          <p:spPr>
            <a:xfrm>
              <a:off x="8542377" y="4155884"/>
              <a:ext cx="70985" cy="70985"/>
            </a:xfrm>
            <a:custGeom>
              <a:avLst/>
              <a:gdLst>
                <a:gd name="connsiteX0" fmla="*/ 28534 w 70985"/>
                <a:gd name="connsiteY0" fmla="*/ 4926 h 70985"/>
                <a:gd name="connsiteX1" fmla="*/ 41311 w 70985"/>
                <a:gd name="connsiteY1" fmla="*/ 9185 h 70985"/>
                <a:gd name="connsiteX2" fmla="*/ 76804 w 70985"/>
                <a:gd name="connsiteY2" fmla="*/ 3507 h 70985"/>
                <a:gd name="connsiteX3" fmla="*/ 59767 w 70985"/>
                <a:gd name="connsiteY3" fmla="*/ 75911 h 70985"/>
                <a:gd name="connsiteX4" fmla="*/ 5819 w 70985"/>
                <a:gd name="connsiteY4" fmla="*/ 47517 h 70985"/>
                <a:gd name="connsiteX5" fmla="*/ 28534 w 70985"/>
                <a:gd name="connsiteY5" fmla="*/ 4926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70985">
                  <a:moveTo>
                    <a:pt x="28534" y="4926"/>
                  </a:moveTo>
                  <a:cubicBezTo>
                    <a:pt x="28534" y="4926"/>
                    <a:pt x="35632" y="10605"/>
                    <a:pt x="41311" y="9185"/>
                  </a:cubicBezTo>
                  <a:cubicBezTo>
                    <a:pt x="52669" y="7766"/>
                    <a:pt x="64026" y="-6431"/>
                    <a:pt x="76804" y="3507"/>
                  </a:cubicBezTo>
                  <a:cubicBezTo>
                    <a:pt x="89581" y="14864"/>
                    <a:pt x="68285" y="68813"/>
                    <a:pt x="59767" y="75911"/>
                  </a:cubicBezTo>
                  <a:cubicBezTo>
                    <a:pt x="51249" y="83010"/>
                    <a:pt x="29953" y="74492"/>
                    <a:pt x="5819" y="47517"/>
                  </a:cubicBezTo>
                  <a:cubicBezTo>
                    <a:pt x="-15477" y="21963"/>
                    <a:pt x="28534" y="4926"/>
                    <a:pt x="28534" y="492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6" name="任意多边形: 形状 10085">
              <a:extLst>
                <a:ext uri="{FF2B5EF4-FFF2-40B4-BE49-F238E27FC236}">
                  <a16:creationId xmlns:a16="http://schemas.microsoft.com/office/drawing/2014/main" id="{0FB03D23-70F5-4E3A-A200-98A19BFFD6CC}"/>
                </a:ext>
              </a:extLst>
            </p:cNvPr>
            <p:cNvSpPr/>
            <p:nvPr userDrawn="1"/>
          </p:nvSpPr>
          <p:spPr>
            <a:xfrm>
              <a:off x="8577292" y="4156551"/>
              <a:ext cx="127773" cy="85182"/>
            </a:xfrm>
            <a:custGeom>
              <a:avLst/>
              <a:gdLst>
                <a:gd name="connsiteX0" fmla="*/ 37629 w 127773"/>
                <a:gd name="connsiteY0" fmla="*/ 0 h 85182"/>
                <a:gd name="connsiteX1" fmla="*/ 85899 w 127773"/>
                <a:gd name="connsiteY1" fmla="*/ 17036 h 85182"/>
                <a:gd name="connsiteX2" fmla="*/ 132749 w 127773"/>
                <a:gd name="connsiteY2" fmla="*/ 46850 h 85182"/>
                <a:gd name="connsiteX3" fmla="*/ 87319 w 127773"/>
                <a:gd name="connsiteY3" fmla="*/ 34073 h 85182"/>
                <a:gd name="connsiteX4" fmla="*/ 70282 w 127773"/>
                <a:gd name="connsiteY4" fmla="*/ 32653 h 85182"/>
                <a:gd name="connsiteX5" fmla="*/ 90158 w 127773"/>
                <a:gd name="connsiteY5" fmla="*/ 44011 h 85182"/>
                <a:gd name="connsiteX6" fmla="*/ 134169 w 127773"/>
                <a:gd name="connsiteY6" fmla="*/ 79503 h 85182"/>
                <a:gd name="connsiteX7" fmla="*/ 122811 w 127773"/>
                <a:gd name="connsiteY7" fmla="*/ 80923 h 85182"/>
                <a:gd name="connsiteX8" fmla="*/ 127071 w 127773"/>
                <a:gd name="connsiteY8" fmla="*/ 88022 h 85182"/>
                <a:gd name="connsiteX9" fmla="*/ 71702 w 127773"/>
                <a:gd name="connsiteY9" fmla="*/ 80923 h 85182"/>
                <a:gd name="connsiteX10" fmla="*/ 83060 w 127773"/>
                <a:gd name="connsiteY10" fmla="*/ 95120 h 85182"/>
                <a:gd name="connsiteX11" fmla="*/ 4976 w 127773"/>
                <a:gd name="connsiteY11" fmla="*/ 73825 h 85182"/>
                <a:gd name="connsiteX12" fmla="*/ 37629 w 127773"/>
                <a:gd name="connsiteY12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73" h="85182">
                  <a:moveTo>
                    <a:pt x="37629" y="0"/>
                  </a:moveTo>
                  <a:cubicBezTo>
                    <a:pt x="37629" y="0"/>
                    <a:pt x="60344" y="5679"/>
                    <a:pt x="85899" y="17036"/>
                  </a:cubicBezTo>
                  <a:cubicBezTo>
                    <a:pt x="108614" y="25555"/>
                    <a:pt x="132749" y="41171"/>
                    <a:pt x="132749" y="46850"/>
                  </a:cubicBezTo>
                  <a:cubicBezTo>
                    <a:pt x="132749" y="52529"/>
                    <a:pt x="110034" y="41171"/>
                    <a:pt x="87319" y="34073"/>
                  </a:cubicBezTo>
                  <a:cubicBezTo>
                    <a:pt x="66023" y="26974"/>
                    <a:pt x="70282" y="32653"/>
                    <a:pt x="70282" y="32653"/>
                  </a:cubicBezTo>
                  <a:cubicBezTo>
                    <a:pt x="70282" y="32653"/>
                    <a:pt x="68863" y="31234"/>
                    <a:pt x="90158" y="44011"/>
                  </a:cubicBezTo>
                  <a:cubicBezTo>
                    <a:pt x="112874" y="56788"/>
                    <a:pt x="135588" y="73825"/>
                    <a:pt x="134169" y="79503"/>
                  </a:cubicBezTo>
                  <a:cubicBezTo>
                    <a:pt x="134169" y="82343"/>
                    <a:pt x="132749" y="83762"/>
                    <a:pt x="122811" y="80923"/>
                  </a:cubicBezTo>
                  <a:cubicBezTo>
                    <a:pt x="127071" y="83762"/>
                    <a:pt x="127071" y="86602"/>
                    <a:pt x="127071" y="88022"/>
                  </a:cubicBezTo>
                  <a:cubicBezTo>
                    <a:pt x="121391" y="100799"/>
                    <a:pt x="85899" y="86602"/>
                    <a:pt x="71702" y="80923"/>
                  </a:cubicBezTo>
                  <a:cubicBezTo>
                    <a:pt x="83060" y="85182"/>
                    <a:pt x="90158" y="89441"/>
                    <a:pt x="83060" y="95120"/>
                  </a:cubicBezTo>
                  <a:cubicBezTo>
                    <a:pt x="74541" y="100799"/>
                    <a:pt x="23432" y="79503"/>
                    <a:pt x="4976" y="73825"/>
                  </a:cubicBezTo>
                  <a:cubicBezTo>
                    <a:pt x="-16319" y="66726"/>
                    <a:pt x="37629" y="0"/>
                    <a:pt x="37629" y="0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7" name="任意多边形: 形状 10086">
              <a:extLst>
                <a:ext uri="{FF2B5EF4-FFF2-40B4-BE49-F238E27FC236}">
                  <a16:creationId xmlns:a16="http://schemas.microsoft.com/office/drawing/2014/main" id="{3E2E95A7-D1ED-4B4B-8BE2-AC6DCF11FB4E}"/>
                </a:ext>
              </a:extLst>
            </p:cNvPr>
            <p:cNvSpPr/>
            <p:nvPr userDrawn="1"/>
          </p:nvSpPr>
          <p:spPr>
            <a:xfrm>
              <a:off x="9088974" y="4033674"/>
              <a:ext cx="56788" cy="99379"/>
            </a:xfrm>
            <a:custGeom>
              <a:avLst/>
              <a:gdLst>
                <a:gd name="connsiteX0" fmla="*/ 1548 w 56788"/>
                <a:gd name="connsiteY0" fmla="*/ 101581 h 99379"/>
                <a:gd name="connsiteX1" fmla="*/ 29942 w 56788"/>
                <a:gd name="connsiteY1" fmla="*/ 87384 h 99379"/>
                <a:gd name="connsiteX2" fmla="*/ 46978 w 56788"/>
                <a:gd name="connsiteY2" fmla="*/ 67508 h 99379"/>
                <a:gd name="connsiteX3" fmla="*/ 54077 w 56788"/>
                <a:gd name="connsiteY3" fmla="*/ 7881 h 99379"/>
                <a:gd name="connsiteX4" fmla="*/ 32781 w 56788"/>
                <a:gd name="connsiteY4" fmla="*/ 782 h 99379"/>
                <a:gd name="connsiteX5" fmla="*/ 1548 w 56788"/>
                <a:gd name="connsiteY5" fmla="*/ 101581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99379">
                  <a:moveTo>
                    <a:pt x="1548" y="101581"/>
                  </a:moveTo>
                  <a:cubicBezTo>
                    <a:pt x="1548" y="101581"/>
                    <a:pt x="24263" y="97322"/>
                    <a:pt x="29942" y="87384"/>
                  </a:cubicBezTo>
                  <a:cubicBezTo>
                    <a:pt x="37040" y="77446"/>
                    <a:pt x="39880" y="80286"/>
                    <a:pt x="46978" y="67508"/>
                  </a:cubicBezTo>
                  <a:cubicBezTo>
                    <a:pt x="54077" y="54731"/>
                    <a:pt x="61175" y="20658"/>
                    <a:pt x="54077" y="7881"/>
                  </a:cubicBezTo>
                  <a:cubicBezTo>
                    <a:pt x="45559" y="-3477"/>
                    <a:pt x="32781" y="782"/>
                    <a:pt x="32781" y="782"/>
                  </a:cubicBezTo>
                  <a:cubicBezTo>
                    <a:pt x="32781" y="782"/>
                    <a:pt x="-8390" y="30596"/>
                    <a:pt x="1548" y="101581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8" name="任意多边形: 形状 10087">
              <a:extLst>
                <a:ext uri="{FF2B5EF4-FFF2-40B4-BE49-F238E27FC236}">
                  <a16:creationId xmlns:a16="http://schemas.microsoft.com/office/drawing/2014/main" id="{49AFA127-E140-4CDC-AB8F-5EF16EE422BB}"/>
                </a:ext>
              </a:extLst>
            </p:cNvPr>
            <p:cNvSpPr/>
            <p:nvPr userDrawn="1"/>
          </p:nvSpPr>
          <p:spPr>
            <a:xfrm>
              <a:off x="8371885" y="3827180"/>
              <a:ext cx="170364" cy="283940"/>
            </a:xfrm>
            <a:custGeom>
              <a:avLst/>
              <a:gdLst>
                <a:gd name="connsiteX0" fmla="*/ 81191 w 170364"/>
                <a:gd name="connsiteY0" fmla="*/ 0 h 283940"/>
                <a:gd name="connsiteX1" fmla="*/ 59895 w 170364"/>
                <a:gd name="connsiteY1" fmla="*/ 168945 h 283940"/>
                <a:gd name="connsiteX2" fmla="*/ 170632 w 170364"/>
                <a:gd name="connsiteY2" fmla="*/ 291039 h 283940"/>
                <a:gd name="connsiteX3" fmla="*/ 268 w 170364"/>
                <a:gd name="connsiteY3" fmla="*/ 168945 h 283940"/>
                <a:gd name="connsiteX4" fmla="*/ 81191 w 170364"/>
                <a:gd name="connsiteY4" fmla="*/ 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83940">
                  <a:moveTo>
                    <a:pt x="81191" y="0"/>
                  </a:moveTo>
                  <a:cubicBezTo>
                    <a:pt x="81191" y="0"/>
                    <a:pt x="47118" y="159007"/>
                    <a:pt x="59895" y="168945"/>
                  </a:cubicBezTo>
                  <a:cubicBezTo>
                    <a:pt x="72672" y="178882"/>
                    <a:pt x="153596" y="278262"/>
                    <a:pt x="170632" y="291039"/>
                  </a:cubicBezTo>
                  <a:cubicBezTo>
                    <a:pt x="187668" y="303816"/>
                    <a:pt x="5947" y="193079"/>
                    <a:pt x="268" y="168945"/>
                  </a:cubicBezTo>
                  <a:cubicBezTo>
                    <a:pt x="-5411" y="144810"/>
                    <a:pt x="81191" y="0"/>
                    <a:pt x="81191" y="0"/>
                  </a:cubicBezTo>
                  <a:close/>
                </a:path>
              </a:pathLst>
            </a:custGeom>
            <a:solidFill>
              <a:srgbClr val="A87F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9" name="任意多边形: 形状 10088">
              <a:extLst>
                <a:ext uri="{FF2B5EF4-FFF2-40B4-BE49-F238E27FC236}">
                  <a16:creationId xmlns:a16="http://schemas.microsoft.com/office/drawing/2014/main" id="{58D277D5-6745-4243-A514-1CD23484B956}"/>
                </a:ext>
              </a:extLst>
            </p:cNvPr>
            <p:cNvSpPr/>
            <p:nvPr userDrawn="1"/>
          </p:nvSpPr>
          <p:spPr>
            <a:xfrm>
              <a:off x="8290893" y="3675304"/>
              <a:ext cx="298137" cy="539487"/>
            </a:xfrm>
            <a:custGeom>
              <a:avLst/>
              <a:gdLst>
                <a:gd name="connsiteX0" fmla="*/ 149405 w 298137"/>
                <a:gd name="connsiteY0" fmla="*/ 2807 h 539486"/>
                <a:gd name="connsiteX1" fmla="*/ 169281 w 298137"/>
                <a:gd name="connsiteY1" fmla="*/ 90828 h 539486"/>
                <a:gd name="connsiteX2" fmla="*/ 143726 w 298137"/>
                <a:gd name="connsiteY2" fmla="*/ 201565 h 539486"/>
                <a:gd name="connsiteX3" fmla="*/ 108234 w 298137"/>
                <a:gd name="connsiteY3" fmla="*/ 322240 h 539486"/>
                <a:gd name="connsiteX4" fmla="*/ 207613 w 298137"/>
                <a:gd name="connsiteY4" fmla="*/ 408842 h 539486"/>
                <a:gd name="connsiteX5" fmla="*/ 306992 w 298137"/>
                <a:gd name="connsiteY5" fmla="*/ 485506 h 539486"/>
                <a:gd name="connsiteX6" fmla="*/ 268660 w 298137"/>
                <a:gd name="connsiteY6" fmla="*/ 550812 h 539486"/>
                <a:gd name="connsiteX7" fmla="*/ 52865 w 298137"/>
                <a:gd name="connsiteY7" fmla="*/ 408842 h 539486"/>
                <a:gd name="connsiteX8" fmla="*/ 1756 w 298137"/>
                <a:gd name="connsiteY8" fmla="*/ 316561 h 539486"/>
                <a:gd name="connsiteX9" fmla="*/ 35829 w 298137"/>
                <a:gd name="connsiteY9" fmla="*/ 129160 h 539486"/>
                <a:gd name="connsiteX10" fmla="*/ 149405 w 298137"/>
                <a:gd name="connsiteY10" fmla="*/ 2807 h 53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137" h="539486">
                  <a:moveTo>
                    <a:pt x="149405" y="2807"/>
                  </a:moveTo>
                  <a:cubicBezTo>
                    <a:pt x="162182" y="7066"/>
                    <a:pt x="169281" y="28361"/>
                    <a:pt x="169281" y="90828"/>
                  </a:cubicBezTo>
                  <a:cubicBezTo>
                    <a:pt x="170701" y="154715"/>
                    <a:pt x="150825" y="185948"/>
                    <a:pt x="143726" y="201565"/>
                  </a:cubicBezTo>
                  <a:cubicBezTo>
                    <a:pt x="136628" y="217182"/>
                    <a:pt x="99716" y="310882"/>
                    <a:pt x="108234" y="322240"/>
                  </a:cubicBezTo>
                  <a:cubicBezTo>
                    <a:pt x="118172" y="333597"/>
                    <a:pt x="201934" y="403163"/>
                    <a:pt x="207613" y="408842"/>
                  </a:cubicBezTo>
                  <a:cubicBezTo>
                    <a:pt x="213292" y="414520"/>
                    <a:pt x="306992" y="485506"/>
                    <a:pt x="306992" y="485506"/>
                  </a:cubicBezTo>
                  <a:lnTo>
                    <a:pt x="268660" y="550812"/>
                  </a:lnTo>
                  <a:cubicBezTo>
                    <a:pt x="268660" y="550812"/>
                    <a:pt x="68482" y="421619"/>
                    <a:pt x="52865" y="408842"/>
                  </a:cubicBezTo>
                  <a:cubicBezTo>
                    <a:pt x="37249" y="396064"/>
                    <a:pt x="-9602" y="369090"/>
                    <a:pt x="1756" y="316561"/>
                  </a:cubicBezTo>
                  <a:cubicBezTo>
                    <a:pt x="13114" y="264032"/>
                    <a:pt x="31570" y="139098"/>
                    <a:pt x="35829" y="129160"/>
                  </a:cubicBezTo>
                  <a:cubicBezTo>
                    <a:pt x="38668" y="117803"/>
                    <a:pt x="64223" y="-21328"/>
                    <a:pt x="149405" y="2807"/>
                  </a:cubicBez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0" name="任意多边形: 形状 10089">
              <a:extLst>
                <a:ext uri="{FF2B5EF4-FFF2-40B4-BE49-F238E27FC236}">
                  <a16:creationId xmlns:a16="http://schemas.microsoft.com/office/drawing/2014/main" id="{4982B53D-75AA-4FA7-BA12-3FA26A48746C}"/>
                </a:ext>
              </a:extLst>
            </p:cNvPr>
            <p:cNvSpPr/>
            <p:nvPr userDrawn="1"/>
          </p:nvSpPr>
          <p:spPr>
            <a:xfrm>
              <a:off x="10017587" y="3636940"/>
              <a:ext cx="70985" cy="85182"/>
            </a:xfrm>
            <a:custGeom>
              <a:avLst/>
              <a:gdLst>
                <a:gd name="connsiteX0" fmla="*/ 59627 w 70985"/>
                <a:gd name="connsiteY0" fmla="*/ 92281 h 85182"/>
                <a:gd name="connsiteX1" fmla="*/ 59627 w 70985"/>
                <a:gd name="connsiteY1" fmla="*/ 49690 h 85182"/>
                <a:gd name="connsiteX2" fmla="*/ 0 w 70985"/>
                <a:gd name="connsiteY2" fmla="*/ 8518 h 85182"/>
                <a:gd name="connsiteX3" fmla="*/ 5679 w 70985"/>
                <a:gd name="connsiteY3" fmla="*/ 0 h 85182"/>
                <a:gd name="connsiteX4" fmla="*/ 66726 w 70985"/>
                <a:gd name="connsiteY4" fmla="*/ 42591 h 85182"/>
                <a:gd name="connsiteX5" fmla="*/ 70985 w 70985"/>
                <a:gd name="connsiteY5" fmla="*/ 93700 h 85182"/>
                <a:gd name="connsiteX6" fmla="*/ 59627 w 70985"/>
                <a:gd name="connsiteY6" fmla="*/ 9228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85182">
                  <a:moveTo>
                    <a:pt x="59627" y="92281"/>
                  </a:moveTo>
                  <a:cubicBezTo>
                    <a:pt x="62467" y="72405"/>
                    <a:pt x="62467" y="52529"/>
                    <a:pt x="59627" y="49690"/>
                  </a:cubicBezTo>
                  <a:cubicBezTo>
                    <a:pt x="53949" y="44011"/>
                    <a:pt x="18456" y="19876"/>
                    <a:pt x="0" y="8518"/>
                  </a:cubicBezTo>
                  <a:lnTo>
                    <a:pt x="5679" y="0"/>
                  </a:lnTo>
                  <a:cubicBezTo>
                    <a:pt x="8518" y="1420"/>
                    <a:pt x="58207" y="35493"/>
                    <a:pt x="66726" y="42591"/>
                  </a:cubicBezTo>
                  <a:cubicBezTo>
                    <a:pt x="75244" y="51109"/>
                    <a:pt x="72404" y="80923"/>
                    <a:pt x="70985" y="93700"/>
                  </a:cubicBezTo>
                  <a:lnTo>
                    <a:pt x="59627" y="92281"/>
                  </a:lnTo>
                  <a:close/>
                </a:path>
              </a:pathLst>
            </a:custGeom>
            <a:solidFill>
              <a:srgbClr val="FFE0E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1" name="任意多边形: 形状 10090">
              <a:extLst>
                <a:ext uri="{FF2B5EF4-FFF2-40B4-BE49-F238E27FC236}">
                  <a16:creationId xmlns:a16="http://schemas.microsoft.com/office/drawing/2014/main" id="{0A3F9538-C081-466D-B5B9-65330610498A}"/>
                </a:ext>
              </a:extLst>
            </p:cNvPr>
            <p:cNvSpPr/>
            <p:nvPr userDrawn="1"/>
          </p:nvSpPr>
          <p:spPr>
            <a:xfrm>
              <a:off x="10010489" y="3717863"/>
              <a:ext cx="113576" cy="170364"/>
            </a:xfrm>
            <a:custGeom>
              <a:avLst/>
              <a:gdLst>
                <a:gd name="connsiteX0" fmla="*/ 18456 w 113576"/>
                <a:gd name="connsiteY0" fmla="*/ 0 h 170364"/>
                <a:gd name="connsiteX1" fmla="*/ 0 w 113576"/>
                <a:gd name="connsiteY1" fmla="*/ 160426 h 170364"/>
                <a:gd name="connsiteX2" fmla="*/ 69565 w 113576"/>
                <a:gd name="connsiteY2" fmla="*/ 176043 h 170364"/>
                <a:gd name="connsiteX3" fmla="*/ 122094 w 113576"/>
                <a:gd name="connsiteY3" fmla="*/ 22715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70364">
                  <a:moveTo>
                    <a:pt x="18456" y="0"/>
                  </a:moveTo>
                  <a:lnTo>
                    <a:pt x="0" y="160426"/>
                  </a:lnTo>
                  <a:lnTo>
                    <a:pt x="69565" y="176043"/>
                  </a:lnTo>
                  <a:lnTo>
                    <a:pt x="122094" y="22715"/>
                  </a:lnTo>
                  <a:close/>
                </a:path>
              </a:pathLst>
            </a:custGeom>
            <a:solidFill>
              <a:srgbClr val="FF55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2" name="任意多边形: 形状 10091">
              <a:extLst>
                <a:ext uri="{FF2B5EF4-FFF2-40B4-BE49-F238E27FC236}">
                  <a16:creationId xmlns:a16="http://schemas.microsoft.com/office/drawing/2014/main" id="{FCAEF5DC-CBB9-409B-A314-D4E3D8B70C0C}"/>
                </a:ext>
              </a:extLst>
            </p:cNvPr>
            <p:cNvSpPr/>
            <p:nvPr userDrawn="1"/>
          </p:nvSpPr>
          <p:spPr>
            <a:xfrm>
              <a:off x="9590391" y="3487069"/>
              <a:ext cx="269743" cy="440108"/>
            </a:xfrm>
            <a:custGeom>
              <a:avLst/>
              <a:gdLst>
                <a:gd name="connsiteX0" fmla="*/ 104923 w 269743"/>
                <a:gd name="connsiteY0" fmla="*/ 802 h 440107"/>
                <a:gd name="connsiteX1" fmla="*/ 12643 w 269743"/>
                <a:gd name="connsiteY1" fmla="*/ 56171 h 440107"/>
                <a:gd name="connsiteX2" fmla="*/ 14062 w 269743"/>
                <a:gd name="connsiteY2" fmla="*/ 178265 h 440107"/>
                <a:gd name="connsiteX3" fmla="*/ 24000 w 269743"/>
                <a:gd name="connsiteY3" fmla="*/ 284743 h 440107"/>
                <a:gd name="connsiteX4" fmla="*/ 2704 w 269743"/>
                <a:gd name="connsiteY4" fmla="*/ 355728 h 440107"/>
                <a:gd name="connsiteX5" fmla="*/ 9803 w 269743"/>
                <a:gd name="connsiteY5" fmla="*/ 381282 h 440107"/>
                <a:gd name="connsiteX6" fmla="*/ 276707 w 269743"/>
                <a:gd name="connsiteY6" fmla="*/ 440910 h 440107"/>
                <a:gd name="connsiteX7" fmla="*/ 251152 w 269743"/>
                <a:gd name="connsiteY7" fmla="*/ 345790 h 440107"/>
                <a:gd name="connsiteX8" fmla="*/ 234116 w 269743"/>
                <a:gd name="connsiteY8" fmla="*/ 260608 h 440107"/>
                <a:gd name="connsiteX9" fmla="*/ 249733 w 269743"/>
                <a:gd name="connsiteY9" fmla="*/ 132834 h 440107"/>
                <a:gd name="connsiteX10" fmla="*/ 188686 w 269743"/>
                <a:gd name="connsiteY10" fmla="*/ 20678 h 440107"/>
                <a:gd name="connsiteX11" fmla="*/ 104923 w 269743"/>
                <a:gd name="connsiteY11" fmla="*/ 80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9743" h="440107">
                  <a:moveTo>
                    <a:pt x="104923" y="802"/>
                  </a:moveTo>
                  <a:cubicBezTo>
                    <a:pt x="104923" y="802"/>
                    <a:pt x="35358" y="-2037"/>
                    <a:pt x="12643" y="56171"/>
                  </a:cubicBezTo>
                  <a:cubicBezTo>
                    <a:pt x="-10073" y="112959"/>
                    <a:pt x="6964" y="156969"/>
                    <a:pt x="14062" y="178265"/>
                  </a:cubicBezTo>
                  <a:cubicBezTo>
                    <a:pt x="31099" y="232214"/>
                    <a:pt x="32518" y="252089"/>
                    <a:pt x="24000" y="284743"/>
                  </a:cubicBezTo>
                  <a:cubicBezTo>
                    <a:pt x="16901" y="314556"/>
                    <a:pt x="9803" y="328753"/>
                    <a:pt x="2704" y="355728"/>
                  </a:cubicBezTo>
                  <a:cubicBezTo>
                    <a:pt x="-5813" y="382702"/>
                    <a:pt x="8384" y="379863"/>
                    <a:pt x="9803" y="381282"/>
                  </a:cubicBezTo>
                  <a:cubicBezTo>
                    <a:pt x="11223" y="382702"/>
                    <a:pt x="276707" y="440910"/>
                    <a:pt x="276707" y="440910"/>
                  </a:cubicBezTo>
                  <a:cubicBezTo>
                    <a:pt x="276707" y="440910"/>
                    <a:pt x="268189" y="372764"/>
                    <a:pt x="251152" y="345790"/>
                  </a:cubicBezTo>
                  <a:cubicBezTo>
                    <a:pt x="238375" y="325914"/>
                    <a:pt x="218499" y="318815"/>
                    <a:pt x="234116" y="260608"/>
                  </a:cubicBezTo>
                  <a:cubicBezTo>
                    <a:pt x="248313" y="202400"/>
                    <a:pt x="258251" y="175426"/>
                    <a:pt x="249733" y="132834"/>
                  </a:cubicBezTo>
                  <a:cubicBezTo>
                    <a:pt x="239795" y="83145"/>
                    <a:pt x="234116" y="53331"/>
                    <a:pt x="188686" y="20678"/>
                  </a:cubicBezTo>
                  <a:cubicBezTo>
                    <a:pt x="158872" y="2222"/>
                    <a:pt x="127639" y="-2037"/>
                    <a:pt x="104923" y="802"/>
                  </a:cubicBezTo>
                  <a:close/>
                </a:path>
              </a:pathLst>
            </a:custGeom>
            <a:solidFill>
              <a:srgbClr val="3B3B4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3" name="任意多边形: 形状 10092">
              <a:extLst>
                <a:ext uri="{FF2B5EF4-FFF2-40B4-BE49-F238E27FC236}">
                  <a16:creationId xmlns:a16="http://schemas.microsoft.com/office/drawing/2014/main" id="{0CF524EB-8DF9-4DC4-8837-246D6C5761EE}"/>
                </a:ext>
              </a:extLst>
            </p:cNvPr>
            <p:cNvSpPr/>
            <p:nvPr userDrawn="1"/>
          </p:nvSpPr>
          <p:spPr>
            <a:xfrm>
              <a:off x="9477342" y="3902424"/>
              <a:ext cx="127773" cy="440108"/>
            </a:xfrm>
            <a:custGeom>
              <a:avLst/>
              <a:gdLst>
                <a:gd name="connsiteX0" fmla="*/ 139889 w 127773"/>
                <a:gd name="connsiteY0" fmla="*/ 315174 h 440107"/>
                <a:gd name="connsiteX1" fmla="*/ 110075 w 127773"/>
                <a:gd name="connsiteY1" fmla="*/ 441527 h 440107"/>
                <a:gd name="connsiteX2" fmla="*/ 24893 w 127773"/>
                <a:gd name="connsiteY2" fmla="*/ 428750 h 440107"/>
                <a:gd name="connsiteX3" fmla="*/ 759 w 127773"/>
                <a:gd name="connsiteY3" fmla="*/ 306656 h 440107"/>
                <a:gd name="connsiteX4" fmla="*/ 56127 w 127773"/>
                <a:gd name="connsiteY4" fmla="*/ 0 h 440107"/>
                <a:gd name="connsiteX5" fmla="*/ 139889 w 127773"/>
                <a:gd name="connsiteY5" fmla="*/ 315174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773" h="440107">
                  <a:moveTo>
                    <a:pt x="139889" y="315174"/>
                  </a:moveTo>
                  <a:cubicBezTo>
                    <a:pt x="137050" y="354926"/>
                    <a:pt x="128532" y="397517"/>
                    <a:pt x="110075" y="441527"/>
                  </a:cubicBezTo>
                  <a:cubicBezTo>
                    <a:pt x="110075" y="441527"/>
                    <a:pt x="53287" y="465662"/>
                    <a:pt x="24893" y="428750"/>
                  </a:cubicBezTo>
                  <a:cubicBezTo>
                    <a:pt x="13536" y="414553"/>
                    <a:pt x="5017" y="367703"/>
                    <a:pt x="759" y="306656"/>
                  </a:cubicBezTo>
                  <a:cubicBezTo>
                    <a:pt x="-4921" y="214375"/>
                    <a:pt x="22054" y="80923"/>
                    <a:pt x="56127" y="0"/>
                  </a:cubicBezTo>
                  <a:cubicBezTo>
                    <a:pt x="57547" y="0"/>
                    <a:pt x="149827" y="141970"/>
                    <a:pt x="139889" y="315174"/>
                  </a:cubicBez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4" name="任意多边形: 形状 10093">
              <a:extLst>
                <a:ext uri="{FF2B5EF4-FFF2-40B4-BE49-F238E27FC236}">
                  <a16:creationId xmlns:a16="http://schemas.microsoft.com/office/drawing/2014/main" id="{32AAD862-A760-4885-A6E9-20B63E434B6C}"/>
                </a:ext>
              </a:extLst>
            </p:cNvPr>
            <p:cNvSpPr/>
            <p:nvPr userDrawn="1"/>
          </p:nvSpPr>
          <p:spPr>
            <a:xfrm>
              <a:off x="9478100" y="4209080"/>
              <a:ext cx="127773" cy="141970"/>
            </a:xfrm>
            <a:custGeom>
              <a:avLst/>
              <a:gdLst>
                <a:gd name="connsiteX0" fmla="*/ 139131 w 127773"/>
                <a:gd name="connsiteY0" fmla="*/ 8518 h 141970"/>
                <a:gd name="connsiteX1" fmla="*/ 109317 w 127773"/>
                <a:gd name="connsiteY1" fmla="*/ 134872 h 141970"/>
                <a:gd name="connsiteX2" fmla="*/ 24135 w 127773"/>
                <a:gd name="connsiteY2" fmla="*/ 122094 h 141970"/>
                <a:gd name="connsiteX3" fmla="*/ 0 w 127773"/>
                <a:gd name="connsiteY3" fmla="*/ 0 h 141970"/>
                <a:gd name="connsiteX4" fmla="*/ 139131 w 127773"/>
                <a:gd name="connsiteY4" fmla="*/ 8518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773" h="141970">
                  <a:moveTo>
                    <a:pt x="139131" y="8518"/>
                  </a:moveTo>
                  <a:cubicBezTo>
                    <a:pt x="136291" y="48270"/>
                    <a:pt x="127773" y="90861"/>
                    <a:pt x="109317" y="134872"/>
                  </a:cubicBezTo>
                  <a:cubicBezTo>
                    <a:pt x="109317" y="134872"/>
                    <a:pt x="52529" y="159007"/>
                    <a:pt x="24135" y="122094"/>
                  </a:cubicBezTo>
                  <a:cubicBezTo>
                    <a:pt x="12777" y="107897"/>
                    <a:pt x="4259" y="61047"/>
                    <a:pt x="0" y="0"/>
                  </a:cubicBezTo>
                  <a:lnTo>
                    <a:pt x="139131" y="8518"/>
                  </a:ln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5" name="任意多边形: 形状 10094">
              <a:extLst>
                <a:ext uri="{FF2B5EF4-FFF2-40B4-BE49-F238E27FC236}">
                  <a16:creationId xmlns:a16="http://schemas.microsoft.com/office/drawing/2014/main" id="{95D2D11F-ADFC-4A3A-8CEF-9EF7C0CACE54}"/>
                </a:ext>
              </a:extLst>
            </p:cNvPr>
            <p:cNvSpPr/>
            <p:nvPr userDrawn="1"/>
          </p:nvSpPr>
          <p:spPr>
            <a:xfrm>
              <a:off x="10098510" y="3798400"/>
              <a:ext cx="28394" cy="28394"/>
            </a:xfrm>
            <a:custGeom>
              <a:avLst/>
              <a:gdLst>
                <a:gd name="connsiteX0" fmla="*/ 14197 w 28394"/>
                <a:gd name="connsiteY0" fmla="*/ 41558 h 28394"/>
                <a:gd name="connsiteX1" fmla="*/ 28394 w 28394"/>
                <a:gd name="connsiteY1" fmla="*/ 10324 h 28394"/>
                <a:gd name="connsiteX2" fmla="*/ 12777 w 28394"/>
                <a:gd name="connsiteY2" fmla="*/ 7485 h 28394"/>
                <a:gd name="connsiteX3" fmla="*/ 0 w 28394"/>
                <a:gd name="connsiteY3" fmla="*/ 33039 h 28394"/>
                <a:gd name="connsiteX4" fmla="*/ 14197 w 28394"/>
                <a:gd name="connsiteY4" fmla="*/ 4155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94" h="28394">
                  <a:moveTo>
                    <a:pt x="14197" y="41558"/>
                  </a:moveTo>
                  <a:cubicBezTo>
                    <a:pt x="14197" y="41558"/>
                    <a:pt x="24135" y="16003"/>
                    <a:pt x="28394" y="10324"/>
                  </a:cubicBezTo>
                  <a:cubicBezTo>
                    <a:pt x="32653" y="4645"/>
                    <a:pt x="19876" y="-8132"/>
                    <a:pt x="12777" y="7485"/>
                  </a:cubicBezTo>
                  <a:cubicBezTo>
                    <a:pt x="5679" y="23102"/>
                    <a:pt x="0" y="33039"/>
                    <a:pt x="0" y="33039"/>
                  </a:cubicBezTo>
                  <a:lnTo>
                    <a:pt x="14197" y="41558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6" name="任意多边形: 形状 10095">
              <a:extLst>
                <a:ext uri="{FF2B5EF4-FFF2-40B4-BE49-F238E27FC236}">
                  <a16:creationId xmlns:a16="http://schemas.microsoft.com/office/drawing/2014/main" id="{FD22D3CD-722B-438C-A117-DB25980771E5}"/>
                </a:ext>
              </a:extLst>
            </p:cNvPr>
            <p:cNvSpPr/>
            <p:nvPr userDrawn="1"/>
          </p:nvSpPr>
          <p:spPr>
            <a:xfrm>
              <a:off x="10025104" y="3785952"/>
              <a:ext cx="85182" cy="141970"/>
            </a:xfrm>
            <a:custGeom>
              <a:avLst/>
              <a:gdLst>
                <a:gd name="connsiteX0" fmla="*/ 91863 w 85182"/>
                <a:gd name="connsiteY0" fmla="*/ 71042 h 141970"/>
                <a:gd name="connsiteX1" fmla="*/ 80505 w 85182"/>
                <a:gd name="connsiteY1" fmla="*/ 45487 h 141970"/>
                <a:gd name="connsiteX2" fmla="*/ 23717 w 85182"/>
                <a:gd name="connsiteY2" fmla="*/ 57 h 141970"/>
                <a:gd name="connsiteX3" fmla="*/ 29396 w 85182"/>
                <a:gd name="connsiteY3" fmla="*/ 21352 h 141970"/>
                <a:gd name="connsiteX4" fmla="*/ 47852 w 85182"/>
                <a:gd name="connsiteY4" fmla="*/ 35549 h 141970"/>
                <a:gd name="connsiteX5" fmla="*/ 9520 w 85182"/>
                <a:gd name="connsiteY5" fmla="*/ 22772 h 141970"/>
                <a:gd name="connsiteX6" fmla="*/ 2421 w 85182"/>
                <a:gd name="connsiteY6" fmla="*/ 35549 h 141970"/>
                <a:gd name="connsiteX7" fmla="*/ 19458 w 85182"/>
                <a:gd name="connsiteY7" fmla="*/ 44067 h 141970"/>
                <a:gd name="connsiteX8" fmla="*/ 2421 w 85182"/>
                <a:gd name="connsiteY8" fmla="*/ 44067 h 141970"/>
                <a:gd name="connsiteX9" fmla="*/ 9520 w 85182"/>
                <a:gd name="connsiteY9" fmla="*/ 59684 h 141970"/>
                <a:gd name="connsiteX10" fmla="*/ 8100 w 85182"/>
                <a:gd name="connsiteY10" fmla="*/ 76721 h 141970"/>
                <a:gd name="connsiteX11" fmla="*/ 18038 w 85182"/>
                <a:gd name="connsiteY11" fmla="*/ 107954 h 141970"/>
                <a:gd name="connsiteX12" fmla="*/ 25137 w 85182"/>
                <a:gd name="connsiteY12" fmla="*/ 144866 h 141970"/>
                <a:gd name="connsiteX13" fmla="*/ 66308 w 85182"/>
                <a:gd name="connsiteY13" fmla="*/ 140607 h 141970"/>
                <a:gd name="connsiteX14" fmla="*/ 79085 w 85182"/>
                <a:gd name="connsiteY14" fmla="*/ 95177 h 141970"/>
                <a:gd name="connsiteX15" fmla="*/ 91863 w 85182"/>
                <a:gd name="connsiteY15" fmla="*/ 71042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5182" h="141970">
                  <a:moveTo>
                    <a:pt x="91863" y="71042"/>
                  </a:moveTo>
                  <a:cubicBezTo>
                    <a:pt x="91863" y="71042"/>
                    <a:pt x="96122" y="61104"/>
                    <a:pt x="80505" y="45487"/>
                  </a:cubicBezTo>
                  <a:cubicBezTo>
                    <a:pt x="59209" y="24192"/>
                    <a:pt x="29396" y="-1363"/>
                    <a:pt x="23717" y="57"/>
                  </a:cubicBezTo>
                  <a:cubicBezTo>
                    <a:pt x="13779" y="1476"/>
                    <a:pt x="15199" y="9995"/>
                    <a:pt x="29396" y="21352"/>
                  </a:cubicBezTo>
                  <a:cubicBezTo>
                    <a:pt x="43593" y="32710"/>
                    <a:pt x="47852" y="35549"/>
                    <a:pt x="47852" y="35549"/>
                  </a:cubicBezTo>
                  <a:cubicBezTo>
                    <a:pt x="47852" y="35549"/>
                    <a:pt x="18038" y="21352"/>
                    <a:pt x="9520" y="22772"/>
                  </a:cubicBezTo>
                  <a:cubicBezTo>
                    <a:pt x="1002" y="24192"/>
                    <a:pt x="-1838" y="32710"/>
                    <a:pt x="2421" y="35549"/>
                  </a:cubicBezTo>
                  <a:cubicBezTo>
                    <a:pt x="6681" y="38389"/>
                    <a:pt x="19458" y="44067"/>
                    <a:pt x="19458" y="44067"/>
                  </a:cubicBezTo>
                  <a:cubicBezTo>
                    <a:pt x="19458" y="44067"/>
                    <a:pt x="5261" y="39808"/>
                    <a:pt x="2421" y="44067"/>
                  </a:cubicBezTo>
                  <a:cubicBezTo>
                    <a:pt x="-418" y="48327"/>
                    <a:pt x="-3257" y="52586"/>
                    <a:pt x="9520" y="59684"/>
                  </a:cubicBezTo>
                  <a:cubicBezTo>
                    <a:pt x="9520" y="59684"/>
                    <a:pt x="-3257" y="65363"/>
                    <a:pt x="8100" y="76721"/>
                  </a:cubicBezTo>
                  <a:cubicBezTo>
                    <a:pt x="18038" y="88078"/>
                    <a:pt x="19458" y="93757"/>
                    <a:pt x="18038" y="107954"/>
                  </a:cubicBezTo>
                  <a:cubicBezTo>
                    <a:pt x="16618" y="122151"/>
                    <a:pt x="25137" y="144866"/>
                    <a:pt x="25137" y="144866"/>
                  </a:cubicBezTo>
                  <a:lnTo>
                    <a:pt x="66308" y="140607"/>
                  </a:lnTo>
                  <a:cubicBezTo>
                    <a:pt x="66308" y="140607"/>
                    <a:pt x="73406" y="103695"/>
                    <a:pt x="79085" y="95177"/>
                  </a:cubicBezTo>
                  <a:cubicBezTo>
                    <a:pt x="83345" y="86658"/>
                    <a:pt x="91863" y="71042"/>
                    <a:pt x="91863" y="7104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7" name="任意多边形: 形状 10096">
              <a:extLst>
                <a:ext uri="{FF2B5EF4-FFF2-40B4-BE49-F238E27FC236}">
                  <a16:creationId xmlns:a16="http://schemas.microsoft.com/office/drawing/2014/main" id="{0785831B-723F-48ED-B855-D06E3B277EEC}"/>
                </a:ext>
              </a:extLst>
            </p:cNvPr>
            <p:cNvSpPr/>
            <p:nvPr userDrawn="1"/>
          </p:nvSpPr>
          <p:spPr>
            <a:xfrm>
              <a:off x="9741522" y="3832859"/>
              <a:ext cx="340728" cy="312334"/>
            </a:xfrm>
            <a:custGeom>
              <a:avLst/>
              <a:gdLst>
                <a:gd name="connsiteX0" fmla="*/ 117059 w 340728"/>
                <a:gd name="connsiteY0" fmla="*/ 258386 h 312334"/>
                <a:gd name="connsiteX1" fmla="*/ 180945 w 340728"/>
                <a:gd name="connsiteY1" fmla="*/ 316594 h 312334"/>
                <a:gd name="connsiteX2" fmla="*/ 354149 w 340728"/>
                <a:gd name="connsiteY2" fmla="*/ 99379 h 312334"/>
                <a:gd name="connsiteX3" fmla="*/ 294522 w 340728"/>
                <a:gd name="connsiteY3" fmla="*/ 70985 h 312334"/>
                <a:gd name="connsiteX4" fmla="*/ 240573 w 340728"/>
                <a:gd name="connsiteY4" fmla="*/ 140550 h 312334"/>
                <a:gd name="connsiteX5" fmla="*/ 176687 w 340728"/>
                <a:gd name="connsiteY5" fmla="*/ 210116 h 312334"/>
                <a:gd name="connsiteX6" fmla="*/ 146873 w 340728"/>
                <a:gd name="connsiteY6" fmla="*/ 164685 h 312334"/>
                <a:gd name="connsiteX7" fmla="*/ 107121 w 340728"/>
                <a:gd name="connsiteY7" fmla="*/ 56788 h 312334"/>
                <a:gd name="connsiteX8" fmla="*/ 33297 w 340728"/>
                <a:gd name="connsiteY8" fmla="*/ 0 h 312334"/>
                <a:gd name="connsiteX9" fmla="*/ 88665 w 340728"/>
                <a:gd name="connsiteY9" fmla="*/ 211536 h 312334"/>
                <a:gd name="connsiteX10" fmla="*/ 117059 w 340728"/>
                <a:gd name="connsiteY10" fmla="*/ 258386 h 31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0728" h="312334">
                  <a:moveTo>
                    <a:pt x="117059" y="258386"/>
                  </a:moveTo>
                  <a:cubicBezTo>
                    <a:pt x="135515" y="286780"/>
                    <a:pt x="161070" y="316594"/>
                    <a:pt x="180945" y="316594"/>
                  </a:cubicBezTo>
                  <a:cubicBezTo>
                    <a:pt x="193723" y="316594"/>
                    <a:pt x="354149" y="109317"/>
                    <a:pt x="354149" y="99379"/>
                  </a:cubicBezTo>
                  <a:cubicBezTo>
                    <a:pt x="354149" y="88021"/>
                    <a:pt x="294522" y="70985"/>
                    <a:pt x="294522" y="70985"/>
                  </a:cubicBezTo>
                  <a:cubicBezTo>
                    <a:pt x="294522" y="70985"/>
                    <a:pt x="266128" y="119255"/>
                    <a:pt x="240573" y="140550"/>
                  </a:cubicBezTo>
                  <a:cubicBezTo>
                    <a:pt x="215018" y="161846"/>
                    <a:pt x="183785" y="205857"/>
                    <a:pt x="176687" y="210116"/>
                  </a:cubicBezTo>
                  <a:cubicBezTo>
                    <a:pt x="169588" y="214375"/>
                    <a:pt x="146873" y="164685"/>
                    <a:pt x="146873" y="164685"/>
                  </a:cubicBezTo>
                  <a:cubicBezTo>
                    <a:pt x="139774" y="140550"/>
                    <a:pt x="129836" y="96540"/>
                    <a:pt x="107121" y="56788"/>
                  </a:cubicBezTo>
                  <a:cubicBezTo>
                    <a:pt x="84406" y="17036"/>
                    <a:pt x="33297" y="0"/>
                    <a:pt x="33297" y="0"/>
                  </a:cubicBezTo>
                  <a:cubicBezTo>
                    <a:pt x="-66083" y="44011"/>
                    <a:pt x="88665" y="211536"/>
                    <a:pt x="88665" y="211536"/>
                  </a:cubicBezTo>
                  <a:cubicBezTo>
                    <a:pt x="88665" y="211536"/>
                    <a:pt x="108541" y="245608"/>
                    <a:pt x="117059" y="258386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8" name="任意多边形: 形状 10097">
              <a:extLst>
                <a:ext uri="{FF2B5EF4-FFF2-40B4-BE49-F238E27FC236}">
                  <a16:creationId xmlns:a16="http://schemas.microsoft.com/office/drawing/2014/main" id="{898B6241-34DC-47D1-8BA7-490D9801B1E9}"/>
                </a:ext>
              </a:extLst>
            </p:cNvPr>
            <p:cNvSpPr/>
            <p:nvPr userDrawn="1"/>
          </p:nvSpPr>
          <p:spPr>
            <a:xfrm>
              <a:off x="9750173" y="3791687"/>
              <a:ext cx="99379" cy="184561"/>
            </a:xfrm>
            <a:custGeom>
              <a:avLst/>
              <a:gdLst>
                <a:gd name="connsiteX0" fmla="*/ 510 w 99379"/>
                <a:gd name="connsiteY0" fmla="*/ 0 h 184561"/>
                <a:gd name="connsiteX1" fmla="*/ 104149 w 99379"/>
                <a:gd name="connsiteY1" fmla="*/ 190240 h 184561"/>
                <a:gd name="connsiteX2" fmla="*/ 7609 w 99379"/>
                <a:gd name="connsiteY2" fmla="*/ 21296 h 184561"/>
                <a:gd name="connsiteX3" fmla="*/ 510 w 99379"/>
                <a:gd name="connsiteY3" fmla="*/ 0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" h="184561">
                  <a:moveTo>
                    <a:pt x="510" y="0"/>
                  </a:moveTo>
                  <a:cubicBezTo>
                    <a:pt x="510" y="0"/>
                    <a:pt x="78594" y="56788"/>
                    <a:pt x="104149" y="190240"/>
                  </a:cubicBezTo>
                  <a:cubicBezTo>
                    <a:pt x="104149" y="190240"/>
                    <a:pt x="31744" y="46850"/>
                    <a:pt x="7609" y="21296"/>
                  </a:cubicBezTo>
                  <a:cubicBezTo>
                    <a:pt x="7609" y="21296"/>
                    <a:pt x="-2329" y="11358"/>
                    <a:pt x="510" y="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9" name="任意多边形: 形状 10098">
              <a:extLst>
                <a:ext uri="{FF2B5EF4-FFF2-40B4-BE49-F238E27FC236}">
                  <a16:creationId xmlns:a16="http://schemas.microsoft.com/office/drawing/2014/main" id="{FB3EAF58-86A5-4D0D-8613-62AE8462CEC9}"/>
                </a:ext>
              </a:extLst>
            </p:cNvPr>
            <p:cNvSpPr/>
            <p:nvPr userDrawn="1"/>
          </p:nvSpPr>
          <p:spPr>
            <a:xfrm>
              <a:off x="9781917" y="4014581"/>
              <a:ext cx="85182" cy="383320"/>
            </a:xfrm>
            <a:custGeom>
              <a:avLst/>
              <a:gdLst>
                <a:gd name="connsiteX0" fmla="*/ 90861 w 85182"/>
                <a:gd name="connsiteY0" fmla="*/ 0 h 383319"/>
                <a:gd name="connsiteX1" fmla="*/ 90861 w 85182"/>
                <a:gd name="connsiteY1" fmla="*/ 381900 h 383319"/>
                <a:gd name="connsiteX2" fmla="*/ 0 w 85182"/>
                <a:gd name="connsiteY2" fmla="*/ 210116 h 383319"/>
                <a:gd name="connsiteX3" fmla="*/ 90861 w 85182"/>
                <a:gd name="connsiteY3" fmla="*/ 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182" h="383319">
                  <a:moveTo>
                    <a:pt x="90861" y="0"/>
                  </a:moveTo>
                  <a:cubicBezTo>
                    <a:pt x="90861" y="0"/>
                    <a:pt x="89441" y="310915"/>
                    <a:pt x="90861" y="381900"/>
                  </a:cubicBezTo>
                  <a:cubicBezTo>
                    <a:pt x="92281" y="452885"/>
                    <a:pt x="0" y="210116"/>
                    <a:pt x="0" y="210116"/>
                  </a:cubicBezTo>
                  <a:cubicBezTo>
                    <a:pt x="0" y="210116"/>
                    <a:pt x="48270" y="58208"/>
                    <a:pt x="90861" y="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0" name="任意多边形: 形状 10099">
              <a:extLst>
                <a:ext uri="{FF2B5EF4-FFF2-40B4-BE49-F238E27FC236}">
                  <a16:creationId xmlns:a16="http://schemas.microsoft.com/office/drawing/2014/main" id="{2D2C6A4F-F71B-4302-A801-4861C9B94138}"/>
                </a:ext>
              </a:extLst>
            </p:cNvPr>
            <p:cNvSpPr/>
            <p:nvPr userDrawn="1"/>
          </p:nvSpPr>
          <p:spPr>
            <a:xfrm>
              <a:off x="9463903" y="4583881"/>
              <a:ext cx="383320" cy="241349"/>
            </a:xfrm>
            <a:custGeom>
              <a:avLst/>
              <a:gdLst>
                <a:gd name="connsiteX0" fmla="*/ 0 w 383319"/>
                <a:gd name="connsiteY0" fmla="*/ 177463 h 241349"/>
                <a:gd name="connsiteX1" fmla="*/ 357765 w 383319"/>
                <a:gd name="connsiteY1" fmla="*/ 231411 h 241349"/>
                <a:gd name="connsiteX2" fmla="*/ 231411 w 383319"/>
                <a:gd name="connsiteY2" fmla="*/ 0 h 241349"/>
                <a:gd name="connsiteX3" fmla="*/ 0 w 383319"/>
                <a:gd name="connsiteY3" fmla="*/ 177463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319" h="241349">
                  <a:moveTo>
                    <a:pt x="0" y="177463"/>
                  </a:moveTo>
                  <a:cubicBezTo>
                    <a:pt x="0" y="177463"/>
                    <a:pt x="222893" y="153328"/>
                    <a:pt x="357765" y="231411"/>
                  </a:cubicBezTo>
                  <a:cubicBezTo>
                    <a:pt x="494056" y="309495"/>
                    <a:pt x="231411" y="0"/>
                    <a:pt x="231411" y="0"/>
                  </a:cubicBezTo>
                  <a:cubicBezTo>
                    <a:pt x="231411" y="0"/>
                    <a:pt x="2839" y="89441"/>
                    <a:pt x="0" y="177463"/>
                  </a:cubicBezTo>
                  <a:close/>
                </a:path>
              </a:pathLst>
            </a:custGeom>
            <a:solidFill>
              <a:srgbClr val="C2B2A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1" name="任意多边形: 形状 10100">
              <a:extLst>
                <a:ext uri="{FF2B5EF4-FFF2-40B4-BE49-F238E27FC236}">
                  <a16:creationId xmlns:a16="http://schemas.microsoft.com/office/drawing/2014/main" id="{7FDC8156-51D2-4A0E-A11D-3F358FA2BE28}"/>
                </a:ext>
              </a:extLst>
            </p:cNvPr>
            <p:cNvSpPr/>
            <p:nvPr userDrawn="1"/>
          </p:nvSpPr>
          <p:spPr>
            <a:xfrm>
              <a:off x="9874074" y="5405961"/>
              <a:ext cx="212955" cy="156167"/>
            </a:xfrm>
            <a:custGeom>
              <a:avLst/>
              <a:gdLst>
                <a:gd name="connsiteX0" fmla="*/ 68268 w 212955"/>
                <a:gd name="connsiteY0" fmla="*/ 31161 h 156167"/>
                <a:gd name="connsiteX1" fmla="*/ 96662 w 212955"/>
                <a:gd name="connsiteY1" fmla="*/ 69493 h 156167"/>
                <a:gd name="connsiteX2" fmla="*/ 164808 w 212955"/>
                <a:gd name="connsiteY2" fmla="*/ 113503 h 156167"/>
                <a:gd name="connsiteX3" fmla="*/ 217337 w 212955"/>
                <a:gd name="connsiteY3" fmla="*/ 137638 h 156167"/>
                <a:gd name="connsiteX4" fmla="*/ 143513 w 212955"/>
                <a:gd name="connsiteY4" fmla="*/ 163193 h 156167"/>
                <a:gd name="connsiteX5" fmla="*/ 4382 w 212955"/>
                <a:gd name="connsiteY5" fmla="*/ 120602 h 156167"/>
                <a:gd name="connsiteX6" fmla="*/ 12900 w 212955"/>
                <a:gd name="connsiteY6" fmla="*/ 11285 h 156167"/>
                <a:gd name="connsiteX7" fmla="*/ 68268 w 212955"/>
                <a:gd name="connsiteY7" fmla="*/ 31161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955" h="156167">
                  <a:moveTo>
                    <a:pt x="68268" y="31161"/>
                  </a:moveTo>
                  <a:cubicBezTo>
                    <a:pt x="68268" y="31161"/>
                    <a:pt x="79626" y="62394"/>
                    <a:pt x="96662" y="69493"/>
                  </a:cubicBezTo>
                  <a:cubicBezTo>
                    <a:pt x="113699" y="76591"/>
                    <a:pt x="150611" y="110664"/>
                    <a:pt x="164808" y="113503"/>
                  </a:cubicBezTo>
                  <a:cubicBezTo>
                    <a:pt x="179005" y="116343"/>
                    <a:pt x="215917" y="119182"/>
                    <a:pt x="217337" y="137638"/>
                  </a:cubicBezTo>
                  <a:cubicBezTo>
                    <a:pt x="218757" y="156094"/>
                    <a:pt x="215917" y="173131"/>
                    <a:pt x="143513" y="163193"/>
                  </a:cubicBezTo>
                  <a:cubicBezTo>
                    <a:pt x="71108" y="153255"/>
                    <a:pt x="4382" y="120602"/>
                    <a:pt x="4382" y="120602"/>
                  </a:cubicBezTo>
                  <a:cubicBezTo>
                    <a:pt x="4382" y="120602"/>
                    <a:pt x="-9815" y="48197"/>
                    <a:pt x="12900" y="11285"/>
                  </a:cubicBezTo>
                  <a:cubicBezTo>
                    <a:pt x="35615" y="-22788"/>
                    <a:pt x="68268" y="31161"/>
                    <a:pt x="68268" y="31161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2" name="任意多边形: 形状 10101">
              <a:extLst>
                <a:ext uri="{FF2B5EF4-FFF2-40B4-BE49-F238E27FC236}">
                  <a16:creationId xmlns:a16="http://schemas.microsoft.com/office/drawing/2014/main" id="{CC84A1A6-C76D-4A1F-81CD-3A70A0D96363}"/>
                </a:ext>
              </a:extLst>
            </p:cNvPr>
            <p:cNvSpPr/>
            <p:nvPr userDrawn="1"/>
          </p:nvSpPr>
          <p:spPr>
            <a:xfrm>
              <a:off x="9878437" y="5391692"/>
              <a:ext cx="56788" cy="56788"/>
            </a:xfrm>
            <a:custGeom>
              <a:avLst/>
              <a:gdLst>
                <a:gd name="connsiteX0" fmla="*/ 63906 w 56788"/>
                <a:gd name="connsiteY0" fmla="*/ 45430 h 56788"/>
                <a:gd name="connsiteX1" fmla="*/ 51129 w 56788"/>
                <a:gd name="connsiteY1" fmla="*/ 0 h 56788"/>
                <a:gd name="connsiteX2" fmla="*/ 19 w 56788"/>
                <a:gd name="connsiteY2" fmla="*/ 0 h 56788"/>
                <a:gd name="connsiteX3" fmla="*/ 19 w 56788"/>
                <a:gd name="connsiteY3" fmla="*/ 48270 h 56788"/>
                <a:gd name="connsiteX4" fmla="*/ 63906 w 56788"/>
                <a:gd name="connsiteY4" fmla="*/ 4543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63906" y="45430"/>
                  </a:moveTo>
                  <a:lnTo>
                    <a:pt x="51129" y="0"/>
                  </a:lnTo>
                  <a:lnTo>
                    <a:pt x="19" y="0"/>
                  </a:lnTo>
                  <a:lnTo>
                    <a:pt x="19" y="48270"/>
                  </a:lnTo>
                  <a:cubicBezTo>
                    <a:pt x="-1401" y="48270"/>
                    <a:pt x="76683" y="78084"/>
                    <a:pt x="63906" y="4543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3" name="任意多边形: 形状 10102">
              <a:extLst>
                <a:ext uri="{FF2B5EF4-FFF2-40B4-BE49-F238E27FC236}">
                  <a16:creationId xmlns:a16="http://schemas.microsoft.com/office/drawing/2014/main" id="{753E0AC5-0049-4779-97D9-D8CE0551026B}"/>
                </a:ext>
              </a:extLst>
            </p:cNvPr>
            <p:cNvSpPr/>
            <p:nvPr userDrawn="1"/>
          </p:nvSpPr>
          <p:spPr>
            <a:xfrm>
              <a:off x="9417609" y="5327115"/>
              <a:ext cx="156167" cy="198758"/>
            </a:xfrm>
            <a:custGeom>
              <a:avLst/>
              <a:gdLst>
                <a:gd name="connsiteX0" fmla="*/ 73269 w 156167"/>
                <a:gd name="connsiteY0" fmla="*/ 26245 h 198758"/>
                <a:gd name="connsiteX1" fmla="*/ 86046 w 156167"/>
                <a:gd name="connsiteY1" fmla="*/ 68836 h 198758"/>
                <a:gd name="connsiteX2" fmla="*/ 121539 w 156167"/>
                <a:gd name="connsiteY2" fmla="*/ 139821 h 198758"/>
                <a:gd name="connsiteX3" fmla="*/ 165550 w 156167"/>
                <a:gd name="connsiteY3" fmla="*/ 205127 h 198758"/>
                <a:gd name="connsiteX4" fmla="*/ 37776 w 156167"/>
                <a:gd name="connsiteY4" fmla="*/ 148339 h 198758"/>
                <a:gd name="connsiteX5" fmla="*/ 864 w 156167"/>
                <a:gd name="connsiteY5" fmla="*/ 75934 h 198758"/>
                <a:gd name="connsiteX6" fmla="*/ 33517 w 156167"/>
                <a:gd name="connsiteY6" fmla="*/ 690 h 198758"/>
                <a:gd name="connsiteX7" fmla="*/ 73269 w 156167"/>
                <a:gd name="connsiteY7" fmla="*/ 26245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167" h="198758">
                  <a:moveTo>
                    <a:pt x="73269" y="26245"/>
                  </a:moveTo>
                  <a:cubicBezTo>
                    <a:pt x="73269" y="26245"/>
                    <a:pt x="78948" y="58898"/>
                    <a:pt x="86046" y="68836"/>
                  </a:cubicBezTo>
                  <a:cubicBezTo>
                    <a:pt x="94564" y="78774"/>
                    <a:pt x="105922" y="125624"/>
                    <a:pt x="121539" y="139821"/>
                  </a:cubicBezTo>
                  <a:cubicBezTo>
                    <a:pt x="137156" y="155438"/>
                    <a:pt x="178327" y="188091"/>
                    <a:pt x="165550" y="205127"/>
                  </a:cubicBezTo>
                  <a:cubicBezTo>
                    <a:pt x="152772" y="222164"/>
                    <a:pt x="67590" y="200868"/>
                    <a:pt x="37776" y="148339"/>
                  </a:cubicBezTo>
                  <a:cubicBezTo>
                    <a:pt x="7963" y="95810"/>
                    <a:pt x="-3395" y="90131"/>
                    <a:pt x="864" y="75934"/>
                  </a:cubicBezTo>
                  <a:cubicBezTo>
                    <a:pt x="5123" y="61737"/>
                    <a:pt x="33517" y="7789"/>
                    <a:pt x="33517" y="690"/>
                  </a:cubicBezTo>
                  <a:cubicBezTo>
                    <a:pt x="33517" y="-4989"/>
                    <a:pt x="73269" y="26245"/>
                    <a:pt x="73269" y="26245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4" name="任意多边形: 形状 10103">
              <a:extLst>
                <a:ext uri="{FF2B5EF4-FFF2-40B4-BE49-F238E27FC236}">
                  <a16:creationId xmlns:a16="http://schemas.microsoft.com/office/drawing/2014/main" id="{D4FB78D9-1C60-48C8-9A2C-1EE50A70C65A}"/>
                </a:ext>
              </a:extLst>
            </p:cNvPr>
            <p:cNvSpPr/>
            <p:nvPr userDrawn="1"/>
          </p:nvSpPr>
          <p:spPr>
            <a:xfrm>
              <a:off x="9451126" y="5289473"/>
              <a:ext cx="42591" cy="56788"/>
            </a:xfrm>
            <a:custGeom>
              <a:avLst/>
              <a:gdLst>
                <a:gd name="connsiteX0" fmla="*/ 52529 w 42591"/>
                <a:gd name="connsiteY0" fmla="*/ 39752 h 56788"/>
                <a:gd name="connsiteX1" fmla="*/ 39752 w 42591"/>
                <a:gd name="connsiteY1" fmla="*/ 62467 h 56788"/>
                <a:gd name="connsiteX2" fmla="*/ 4259 w 42591"/>
                <a:gd name="connsiteY2" fmla="*/ 55368 h 56788"/>
                <a:gd name="connsiteX3" fmla="*/ 0 w 42591"/>
                <a:gd name="connsiteY3" fmla="*/ 36912 h 56788"/>
                <a:gd name="connsiteX4" fmla="*/ 12778 w 42591"/>
                <a:gd name="connsiteY4" fmla="*/ 0 h 56788"/>
                <a:gd name="connsiteX5" fmla="*/ 52529 w 42591"/>
                <a:gd name="connsiteY5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591" h="56788">
                  <a:moveTo>
                    <a:pt x="52529" y="39752"/>
                  </a:moveTo>
                  <a:cubicBezTo>
                    <a:pt x="52529" y="39752"/>
                    <a:pt x="42591" y="53949"/>
                    <a:pt x="39752" y="62467"/>
                  </a:cubicBezTo>
                  <a:cubicBezTo>
                    <a:pt x="36912" y="70985"/>
                    <a:pt x="18456" y="73824"/>
                    <a:pt x="4259" y="55368"/>
                  </a:cubicBezTo>
                  <a:cubicBezTo>
                    <a:pt x="4259" y="55368"/>
                    <a:pt x="0" y="48270"/>
                    <a:pt x="0" y="36912"/>
                  </a:cubicBezTo>
                  <a:cubicBezTo>
                    <a:pt x="0" y="25555"/>
                    <a:pt x="12778" y="0"/>
                    <a:pt x="12778" y="0"/>
                  </a:cubicBezTo>
                  <a:lnTo>
                    <a:pt x="52529" y="39752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5" name="任意多边形: 形状 10104">
              <a:extLst>
                <a:ext uri="{FF2B5EF4-FFF2-40B4-BE49-F238E27FC236}">
                  <a16:creationId xmlns:a16="http://schemas.microsoft.com/office/drawing/2014/main" id="{A2040D72-A21D-44D0-BD31-9311DBA9FDCA}"/>
                </a:ext>
              </a:extLst>
            </p:cNvPr>
            <p:cNvSpPr/>
            <p:nvPr userDrawn="1"/>
          </p:nvSpPr>
          <p:spPr>
            <a:xfrm>
              <a:off x="9695024" y="4355406"/>
              <a:ext cx="241349" cy="1078974"/>
            </a:xfrm>
            <a:custGeom>
              <a:avLst/>
              <a:gdLst>
                <a:gd name="connsiteX0" fmla="*/ 21586 w 241349"/>
                <a:gd name="connsiteY0" fmla="*/ 236993 h 1078973"/>
                <a:gd name="connsiteX1" fmla="*/ 59918 w 241349"/>
                <a:gd name="connsiteY1" fmla="*/ 364766 h 1078973"/>
                <a:gd name="connsiteX2" fmla="*/ 59918 w 241349"/>
                <a:gd name="connsiteY2" fmla="*/ 364766 h 1078973"/>
                <a:gd name="connsiteX3" fmla="*/ 76954 w 241349"/>
                <a:gd name="connsiteY3" fmla="*/ 417295 h 1078973"/>
                <a:gd name="connsiteX4" fmla="*/ 108188 w 241349"/>
                <a:gd name="connsiteY4" fmla="*/ 518094 h 1078973"/>
                <a:gd name="connsiteX5" fmla="*/ 116706 w 241349"/>
                <a:gd name="connsiteY5" fmla="*/ 550747 h 1078973"/>
                <a:gd name="connsiteX6" fmla="*/ 111027 w 241349"/>
                <a:gd name="connsiteY6" fmla="*/ 726790 h 1078973"/>
                <a:gd name="connsiteX7" fmla="*/ 170655 w 241349"/>
                <a:gd name="connsiteY7" fmla="*/ 1077457 h 1078973"/>
                <a:gd name="connsiteX8" fmla="*/ 252997 w 241349"/>
                <a:gd name="connsiteY8" fmla="*/ 1066099 h 1078973"/>
                <a:gd name="connsiteX9" fmla="*/ 233121 w 241349"/>
                <a:gd name="connsiteY9" fmla="*/ 658645 h 1078973"/>
                <a:gd name="connsiteX10" fmla="*/ 237381 w 241349"/>
                <a:gd name="connsiteY10" fmla="*/ 546488 h 1078973"/>
                <a:gd name="connsiteX11" fmla="*/ 235961 w 241349"/>
                <a:gd name="connsiteY11" fmla="*/ 526612 h 1078973"/>
                <a:gd name="connsiteX12" fmla="*/ 245899 w 241349"/>
                <a:gd name="connsiteY12" fmla="*/ 384642 h 1078973"/>
                <a:gd name="connsiteX13" fmla="*/ 218924 w 241349"/>
                <a:gd name="connsiteY13" fmla="*/ 116318 h 1078973"/>
                <a:gd name="connsiteX14" fmla="*/ 217505 w 241349"/>
                <a:gd name="connsiteY14" fmla="*/ 110640 h 1078973"/>
                <a:gd name="connsiteX15" fmla="*/ 186271 w 241349"/>
                <a:gd name="connsiteY15" fmla="*/ 14100 h 1078973"/>
                <a:gd name="connsiteX16" fmla="*/ 74115 w 241349"/>
                <a:gd name="connsiteY16" fmla="*/ 2742 h 1078973"/>
                <a:gd name="connsiteX17" fmla="*/ 8809 w 241349"/>
                <a:gd name="connsiteY17" fmla="*/ 59530 h 1078973"/>
                <a:gd name="connsiteX18" fmla="*/ 21586 w 241349"/>
                <a:gd name="connsiteY18" fmla="*/ 236993 h 107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1349" h="1078973">
                  <a:moveTo>
                    <a:pt x="21586" y="236993"/>
                  </a:moveTo>
                  <a:cubicBezTo>
                    <a:pt x="24426" y="249770"/>
                    <a:pt x="41462" y="303719"/>
                    <a:pt x="59918" y="364766"/>
                  </a:cubicBezTo>
                  <a:cubicBezTo>
                    <a:pt x="59918" y="364766"/>
                    <a:pt x="59918" y="364766"/>
                    <a:pt x="59918" y="364766"/>
                  </a:cubicBezTo>
                  <a:cubicBezTo>
                    <a:pt x="65597" y="381803"/>
                    <a:pt x="71276" y="400259"/>
                    <a:pt x="76954" y="417295"/>
                  </a:cubicBezTo>
                  <a:cubicBezTo>
                    <a:pt x="89731" y="455627"/>
                    <a:pt x="101089" y="491120"/>
                    <a:pt x="108188" y="518094"/>
                  </a:cubicBezTo>
                  <a:cubicBezTo>
                    <a:pt x="112447" y="532291"/>
                    <a:pt x="115286" y="543649"/>
                    <a:pt x="116706" y="550747"/>
                  </a:cubicBezTo>
                  <a:cubicBezTo>
                    <a:pt x="128064" y="596178"/>
                    <a:pt x="115286" y="667163"/>
                    <a:pt x="111027" y="726790"/>
                  </a:cubicBezTo>
                  <a:cubicBezTo>
                    <a:pt x="106768" y="786418"/>
                    <a:pt x="170655" y="1077457"/>
                    <a:pt x="170655" y="1077457"/>
                  </a:cubicBezTo>
                  <a:cubicBezTo>
                    <a:pt x="186271" y="1084555"/>
                    <a:pt x="252997" y="1066099"/>
                    <a:pt x="252997" y="1066099"/>
                  </a:cubicBezTo>
                  <a:cubicBezTo>
                    <a:pt x="241640" y="1044804"/>
                    <a:pt x="227443" y="681360"/>
                    <a:pt x="233121" y="658645"/>
                  </a:cubicBezTo>
                  <a:cubicBezTo>
                    <a:pt x="238800" y="635929"/>
                    <a:pt x="243060" y="570623"/>
                    <a:pt x="237381" y="546488"/>
                  </a:cubicBezTo>
                  <a:cubicBezTo>
                    <a:pt x="235961" y="540809"/>
                    <a:pt x="235961" y="535130"/>
                    <a:pt x="235961" y="526612"/>
                  </a:cubicBezTo>
                  <a:cubicBezTo>
                    <a:pt x="235961" y="495379"/>
                    <a:pt x="241640" y="442850"/>
                    <a:pt x="245899" y="384642"/>
                  </a:cubicBezTo>
                  <a:cubicBezTo>
                    <a:pt x="251578" y="312237"/>
                    <a:pt x="223184" y="131935"/>
                    <a:pt x="218924" y="116318"/>
                  </a:cubicBezTo>
                  <a:cubicBezTo>
                    <a:pt x="218924" y="114899"/>
                    <a:pt x="217505" y="112059"/>
                    <a:pt x="217505" y="110640"/>
                  </a:cubicBezTo>
                  <a:cubicBezTo>
                    <a:pt x="210406" y="85085"/>
                    <a:pt x="186271" y="14100"/>
                    <a:pt x="186271" y="14100"/>
                  </a:cubicBezTo>
                  <a:cubicBezTo>
                    <a:pt x="138002" y="-97"/>
                    <a:pt x="101089" y="-2937"/>
                    <a:pt x="74115" y="2742"/>
                  </a:cubicBezTo>
                  <a:cubicBezTo>
                    <a:pt x="38623" y="9841"/>
                    <a:pt x="18746" y="31136"/>
                    <a:pt x="8809" y="59530"/>
                  </a:cubicBezTo>
                  <a:cubicBezTo>
                    <a:pt x="-15326" y="120577"/>
                    <a:pt x="17327" y="219957"/>
                    <a:pt x="21586" y="236993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6" name="任意多边形: 形状 10105">
              <a:extLst>
                <a:ext uri="{FF2B5EF4-FFF2-40B4-BE49-F238E27FC236}">
                  <a16:creationId xmlns:a16="http://schemas.microsoft.com/office/drawing/2014/main" id="{57D8D695-A82D-47E5-8ECD-ADCA0C9617C7}"/>
                </a:ext>
              </a:extLst>
            </p:cNvPr>
            <p:cNvSpPr/>
            <p:nvPr userDrawn="1"/>
          </p:nvSpPr>
          <p:spPr>
            <a:xfrm>
              <a:off x="9441188" y="4302582"/>
              <a:ext cx="326531" cy="1036383"/>
            </a:xfrm>
            <a:custGeom>
              <a:avLst/>
              <a:gdLst>
                <a:gd name="connsiteX0" fmla="*/ 0 w 326531"/>
                <a:gd name="connsiteY0" fmla="*/ 1018125 h 1036382"/>
                <a:gd name="connsiteX1" fmla="*/ 66726 w 326531"/>
                <a:gd name="connsiteY1" fmla="*/ 1046519 h 1036382"/>
                <a:gd name="connsiteX2" fmla="*/ 271163 w 326531"/>
                <a:gd name="connsiteY2" fmla="*/ 695852 h 1036382"/>
                <a:gd name="connsiteX3" fmla="*/ 296718 w 326531"/>
                <a:gd name="connsiteY3" fmla="*/ 582276 h 1036382"/>
                <a:gd name="connsiteX4" fmla="*/ 298137 w 326531"/>
                <a:gd name="connsiteY4" fmla="*/ 562400 h 1036382"/>
                <a:gd name="connsiteX5" fmla="*/ 315174 w 326531"/>
                <a:gd name="connsiteY5" fmla="*/ 416171 h 1036382"/>
                <a:gd name="connsiteX6" fmla="*/ 320853 w 326531"/>
                <a:gd name="connsiteY6" fmla="*/ 390616 h 1036382"/>
                <a:gd name="connsiteX7" fmla="*/ 332210 w 326531"/>
                <a:gd name="connsiteY7" fmla="*/ 118034 h 1036382"/>
                <a:gd name="connsiteX8" fmla="*/ 332210 w 326531"/>
                <a:gd name="connsiteY8" fmla="*/ 54147 h 1036382"/>
                <a:gd name="connsiteX9" fmla="*/ 329371 w 326531"/>
                <a:gd name="connsiteY9" fmla="*/ 52727 h 1036382"/>
                <a:gd name="connsiteX10" fmla="*/ 151908 w 326531"/>
                <a:gd name="connsiteY10" fmla="*/ 32852 h 1036382"/>
                <a:gd name="connsiteX11" fmla="*/ 129193 w 326531"/>
                <a:gd name="connsiteY11" fmla="*/ 99578 h 1036382"/>
                <a:gd name="connsiteX12" fmla="*/ 116415 w 326531"/>
                <a:gd name="connsiteY12" fmla="*/ 336668 h 1036382"/>
                <a:gd name="connsiteX13" fmla="*/ 159006 w 326531"/>
                <a:gd name="connsiteY13" fmla="*/ 535426 h 1036382"/>
                <a:gd name="connsiteX14" fmla="*/ 164686 w 326531"/>
                <a:gd name="connsiteY14" fmla="*/ 623448 h 1036382"/>
                <a:gd name="connsiteX15" fmla="*/ 72405 w 326531"/>
                <a:gd name="connsiteY15" fmla="*/ 839242 h 1036382"/>
                <a:gd name="connsiteX16" fmla="*/ 0 w 326531"/>
                <a:gd name="connsiteY16" fmla="*/ 1018125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6531" h="1036382">
                  <a:moveTo>
                    <a:pt x="0" y="1018125"/>
                  </a:moveTo>
                  <a:lnTo>
                    <a:pt x="66726" y="1046519"/>
                  </a:lnTo>
                  <a:cubicBezTo>
                    <a:pt x="75244" y="1006767"/>
                    <a:pt x="259805" y="727086"/>
                    <a:pt x="271163" y="695852"/>
                  </a:cubicBezTo>
                  <a:cubicBezTo>
                    <a:pt x="283940" y="664619"/>
                    <a:pt x="296718" y="604991"/>
                    <a:pt x="296718" y="582276"/>
                  </a:cubicBezTo>
                  <a:cubicBezTo>
                    <a:pt x="296718" y="578017"/>
                    <a:pt x="296718" y="572338"/>
                    <a:pt x="298137" y="562400"/>
                  </a:cubicBezTo>
                  <a:cubicBezTo>
                    <a:pt x="300977" y="528328"/>
                    <a:pt x="306656" y="465861"/>
                    <a:pt x="315174" y="416171"/>
                  </a:cubicBezTo>
                  <a:cubicBezTo>
                    <a:pt x="316593" y="407653"/>
                    <a:pt x="318013" y="397715"/>
                    <a:pt x="320853" y="390616"/>
                  </a:cubicBezTo>
                  <a:cubicBezTo>
                    <a:pt x="330790" y="348025"/>
                    <a:pt x="332210" y="203216"/>
                    <a:pt x="332210" y="118034"/>
                  </a:cubicBezTo>
                  <a:cubicBezTo>
                    <a:pt x="332210" y="79702"/>
                    <a:pt x="332210" y="54147"/>
                    <a:pt x="332210" y="54147"/>
                  </a:cubicBezTo>
                  <a:cubicBezTo>
                    <a:pt x="332210" y="54147"/>
                    <a:pt x="330790" y="54147"/>
                    <a:pt x="329371" y="52727"/>
                  </a:cubicBezTo>
                  <a:cubicBezTo>
                    <a:pt x="310915" y="38530"/>
                    <a:pt x="193080" y="-45232"/>
                    <a:pt x="151908" y="32852"/>
                  </a:cubicBezTo>
                  <a:cubicBezTo>
                    <a:pt x="140550" y="54147"/>
                    <a:pt x="133452" y="76862"/>
                    <a:pt x="129193" y="99578"/>
                  </a:cubicBezTo>
                  <a:cubicBezTo>
                    <a:pt x="116415" y="170563"/>
                    <a:pt x="106478" y="262843"/>
                    <a:pt x="116415" y="336668"/>
                  </a:cubicBezTo>
                  <a:cubicBezTo>
                    <a:pt x="124934" y="399135"/>
                    <a:pt x="144809" y="470120"/>
                    <a:pt x="159006" y="535426"/>
                  </a:cubicBezTo>
                  <a:cubicBezTo>
                    <a:pt x="166105" y="570919"/>
                    <a:pt x="173203" y="609251"/>
                    <a:pt x="164686" y="623448"/>
                  </a:cubicBezTo>
                  <a:cubicBezTo>
                    <a:pt x="141970" y="663199"/>
                    <a:pt x="119255" y="697272"/>
                    <a:pt x="72405" y="839242"/>
                  </a:cubicBezTo>
                  <a:cubicBezTo>
                    <a:pt x="56788" y="884673"/>
                    <a:pt x="0" y="1018125"/>
                    <a:pt x="0" y="1018125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7" name="任意多边形: 形状 10106">
              <a:extLst>
                <a:ext uri="{FF2B5EF4-FFF2-40B4-BE49-F238E27FC236}">
                  <a16:creationId xmlns:a16="http://schemas.microsoft.com/office/drawing/2014/main" id="{E595D42A-475F-4824-8919-89CAC237D951}"/>
                </a:ext>
              </a:extLst>
            </p:cNvPr>
            <p:cNvSpPr/>
            <p:nvPr userDrawn="1"/>
          </p:nvSpPr>
          <p:spPr>
            <a:xfrm>
              <a:off x="9543406" y="3798786"/>
              <a:ext cx="369123" cy="709851"/>
            </a:xfrm>
            <a:custGeom>
              <a:avLst/>
              <a:gdLst>
                <a:gd name="connsiteX0" fmla="*/ 68146 w 369122"/>
                <a:gd name="connsiteY0" fmla="*/ 413133 h 709851"/>
                <a:gd name="connsiteX1" fmla="*/ 4259 w 369122"/>
                <a:gd name="connsiteY1" fmla="*/ 682877 h 709851"/>
                <a:gd name="connsiteX2" fmla="*/ 119255 w 369122"/>
                <a:gd name="connsiteY2" fmla="*/ 707012 h 709851"/>
                <a:gd name="connsiteX3" fmla="*/ 369123 w 369122"/>
                <a:gd name="connsiteY3" fmla="*/ 664421 h 709851"/>
                <a:gd name="connsiteX4" fmla="*/ 369123 w 369122"/>
                <a:gd name="connsiteY4" fmla="*/ 664421 h 709851"/>
                <a:gd name="connsiteX5" fmla="*/ 310915 w 369122"/>
                <a:gd name="connsiteY5" fmla="*/ 435849 h 709851"/>
                <a:gd name="connsiteX6" fmla="*/ 318014 w 369122"/>
                <a:gd name="connsiteY6" fmla="*/ 299557 h 709851"/>
                <a:gd name="connsiteX7" fmla="*/ 327951 w 369122"/>
                <a:gd name="connsiteY7" fmla="*/ 262645 h 709851"/>
                <a:gd name="connsiteX8" fmla="*/ 327951 w 369122"/>
                <a:gd name="connsiteY8" fmla="*/ 262645 h 709851"/>
                <a:gd name="connsiteX9" fmla="*/ 344988 w 369122"/>
                <a:gd name="connsiteY9" fmla="*/ 195919 h 709851"/>
                <a:gd name="connsiteX10" fmla="*/ 336470 w 369122"/>
                <a:gd name="connsiteY10" fmla="*/ 161846 h 709851"/>
                <a:gd name="connsiteX11" fmla="*/ 336470 w 369122"/>
                <a:gd name="connsiteY11" fmla="*/ 161846 h 709851"/>
                <a:gd name="connsiteX12" fmla="*/ 313754 w 369122"/>
                <a:gd name="connsiteY12" fmla="*/ 122094 h 709851"/>
                <a:gd name="connsiteX13" fmla="*/ 296718 w 369122"/>
                <a:gd name="connsiteY13" fmla="*/ 96540 h 709851"/>
                <a:gd name="connsiteX14" fmla="*/ 251287 w 369122"/>
                <a:gd name="connsiteY14" fmla="*/ 36912 h 709851"/>
                <a:gd name="connsiteX15" fmla="*/ 232831 w 369122"/>
                <a:gd name="connsiteY15" fmla="*/ 22715 h 709851"/>
                <a:gd name="connsiteX16" fmla="*/ 232831 w 369122"/>
                <a:gd name="connsiteY16" fmla="*/ 22715 h 709851"/>
                <a:gd name="connsiteX17" fmla="*/ 215795 w 369122"/>
                <a:gd name="connsiteY17" fmla="*/ 12777 h 709851"/>
                <a:gd name="connsiteX18" fmla="*/ 215795 w 369122"/>
                <a:gd name="connsiteY18" fmla="*/ 12777 h 709851"/>
                <a:gd name="connsiteX19" fmla="*/ 214375 w 369122"/>
                <a:gd name="connsiteY19" fmla="*/ 12777 h 709851"/>
                <a:gd name="connsiteX20" fmla="*/ 134872 w 369122"/>
                <a:gd name="connsiteY20" fmla="*/ 0 h 709851"/>
                <a:gd name="connsiteX21" fmla="*/ 114996 w 369122"/>
                <a:gd name="connsiteY21" fmla="*/ 7099 h 709851"/>
                <a:gd name="connsiteX22" fmla="*/ 63887 w 369122"/>
                <a:gd name="connsiteY22" fmla="*/ 22715 h 709851"/>
                <a:gd name="connsiteX23" fmla="*/ 63887 w 369122"/>
                <a:gd name="connsiteY23" fmla="*/ 22715 h 709851"/>
                <a:gd name="connsiteX24" fmla="*/ 56788 w 369122"/>
                <a:gd name="connsiteY24" fmla="*/ 24135 h 709851"/>
                <a:gd name="connsiteX25" fmla="*/ 28394 w 369122"/>
                <a:gd name="connsiteY25" fmla="*/ 45430 h 709851"/>
                <a:gd name="connsiteX26" fmla="*/ 0 w 369122"/>
                <a:gd name="connsiteY26" fmla="*/ 137711 h 709851"/>
                <a:gd name="connsiteX27" fmla="*/ 59628 w 369122"/>
                <a:gd name="connsiteY27" fmla="*/ 325112 h 709851"/>
                <a:gd name="connsiteX28" fmla="*/ 68146 w 369122"/>
                <a:gd name="connsiteY28" fmla="*/ 413133 h 70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69122" h="709851">
                  <a:moveTo>
                    <a:pt x="68146" y="413133"/>
                  </a:moveTo>
                  <a:cubicBezTo>
                    <a:pt x="56788" y="455724"/>
                    <a:pt x="2840" y="670099"/>
                    <a:pt x="4259" y="682877"/>
                  </a:cubicBezTo>
                  <a:cubicBezTo>
                    <a:pt x="4259" y="687136"/>
                    <a:pt x="63887" y="697074"/>
                    <a:pt x="119255" y="707012"/>
                  </a:cubicBezTo>
                  <a:cubicBezTo>
                    <a:pt x="210116" y="722628"/>
                    <a:pt x="329371" y="688556"/>
                    <a:pt x="369123" y="664421"/>
                  </a:cubicBezTo>
                  <a:cubicBezTo>
                    <a:pt x="369123" y="664421"/>
                    <a:pt x="369123" y="664421"/>
                    <a:pt x="369123" y="664421"/>
                  </a:cubicBezTo>
                  <a:cubicBezTo>
                    <a:pt x="367703" y="661581"/>
                    <a:pt x="313754" y="459984"/>
                    <a:pt x="310915" y="435849"/>
                  </a:cubicBezTo>
                  <a:cubicBezTo>
                    <a:pt x="306656" y="411714"/>
                    <a:pt x="315174" y="325112"/>
                    <a:pt x="318014" y="299557"/>
                  </a:cubicBezTo>
                  <a:cubicBezTo>
                    <a:pt x="319433" y="291039"/>
                    <a:pt x="322273" y="276842"/>
                    <a:pt x="327951" y="262645"/>
                  </a:cubicBezTo>
                  <a:lnTo>
                    <a:pt x="327951" y="262645"/>
                  </a:lnTo>
                  <a:cubicBezTo>
                    <a:pt x="335050" y="238510"/>
                    <a:pt x="344988" y="211536"/>
                    <a:pt x="344988" y="195919"/>
                  </a:cubicBezTo>
                  <a:cubicBezTo>
                    <a:pt x="344988" y="184561"/>
                    <a:pt x="342148" y="173204"/>
                    <a:pt x="336470" y="161846"/>
                  </a:cubicBezTo>
                  <a:lnTo>
                    <a:pt x="336470" y="161846"/>
                  </a:lnTo>
                  <a:cubicBezTo>
                    <a:pt x="330791" y="149069"/>
                    <a:pt x="323692" y="136291"/>
                    <a:pt x="313754" y="122094"/>
                  </a:cubicBezTo>
                  <a:cubicBezTo>
                    <a:pt x="308076" y="113576"/>
                    <a:pt x="302397" y="105058"/>
                    <a:pt x="296718" y="96540"/>
                  </a:cubicBezTo>
                  <a:cubicBezTo>
                    <a:pt x="278262" y="69565"/>
                    <a:pt x="259806" y="45430"/>
                    <a:pt x="251287" y="36912"/>
                  </a:cubicBezTo>
                  <a:cubicBezTo>
                    <a:pt x="244189" y="31233"/>
                    <a:pt x="238510" y="25555"/>
                    <a:pt x="232831" y="22715"/>
                  </a:cubicBezTo>
                  <a:cubicBezTo>
                    <a:pt x="232831" y="22715"/>
                    <a:pt x="232831" y="22715"/>
                    <a:pt x="232831" y="22715"/>
                  </a:cubicBezTo>
                  <a:cubicBezTo>
                    <a:pt x="224313" y="17036"/>
                    <a:pt x="218634" y="14197"/>
                    <a:pt x="215795" y="12777"/>
                  </a:cubicBezTo>
                  <a:cubicBezTo>
                    <a:pt x="215795" y="12777"/>
                    <a:pt x="215795" y="12777"/>
                    <a:pt x="215795" y="12777"/>
                  </a:cubicBezTo>
                  <a:cubicBezTo>
                    <a:pt x="214375" y="12777"/>
                    <a:pt x="214375" y="12777"/>
                    <a:pt x="214375" y="12777"/>
                  </a:cubicBezTo>
                  <a:lnTo>
                    <a:pt x="134872" y="0"/>
                  </a:lnTo>
                  <a:cubicBezTo>
                    <a:pt x="134872" y="0"/>
                    <a:pt x="126354" y="2839"/>
                    <a:pt x="114996" y="7099"/>
                  </a:cubicBezTo>
                  <a:cubicBezTo>
                    <a:pt x="100799" y="12777"/>
                    <a:pt x="80923" y="18456"/>
                    <a:pt x="63887" y="22715"/>
                  </a:cubicBezTo>
                  <a:cubicBezTo>
                    <a:pt x="63887" y="22715"/>
                    <a:pt x="63887" y="22715"/>
                    <a:pt x="63887" y="22715"/>
                  </a:cubicBezTo>
                  <a:cubicBezTo>
                    <a:pt x="61047" y="22715"/>
                    <a:pt x="59628" y="24135"/>
                    <a:pt x="56788" y="24135"/>
                  </a:cubicBezTo>
                  <a:cubicBezTo>
                    <a:pt x="56788" y="24135"/>
                    <a:pt x="42591" y="29814"/>
                    <a:pt x="28394" y="45430"/>
                  </a:cubicBezTo>
                  <a:cubicBezTo>
                    <a:pt x="14197" y="61047"/>
                    <a:pt x="0" y="86602"/>
                    <a:pt x="0" y="137711"/>
                  </a:cubicBezTo>
                  <a:cubicBezTo>
                    <a:pt x="0" y="183142"/>
                    <a:pt x="52529" y="291039"/>
                    <a:pt x="59628" y="325112"/>
                  </a:cubicBezTo>
                  <a:cubicBezTo>
                    <a:pt x="65306" y="359185"/>
                    <a:pt x="78084" y="370542"/>
                    <a:pt x="68146" y="413133"/>
                  </a:cubicBez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8" name="任意多边形: 形状 10107">
              <a:extLst>
                <a:ext uri="{FF2B5EF4-FFF2-40B4-BE49-F238E27FC236}">
                  <a16:creationId xmlns:a16="http://schemas.microsoft.com/office/drawing/2014/main" id="{3C71BB07-E70F-44B3-B4B0-24101B168086}"/>
                </a:ext>
              </a:extLst>
            </p:cNvPr>
            <p:cNvSpPr/>
            <p:nvPr userDrawn="1"/>
          </p:nvSpPr>
          <p:spPr>
            <a:xfrm>
              <a:off x="9774818" y="3821501"/>
              <a:ext cx="85182" cy="127773"/>
            </a:xfrm>
            <a:custGeom>
              <a:avLst/>
              <a:gdLst>
                <a:gd name="connsiteX0" fmla="*/ 0 w 85182"/>
                <a:gd name="connsiteY0" fmla="*/ 0 h 127773"/>
                <a:gd name="connsiteX1" fmla="*/ 46850 w 85182"/>
                <a:gd name="connsiteY1" fmla="*/ 72405 h 127773"/>
                <a:gd name="connsiteX2" fmla="*/ 89441 w 85182"/>
                <a:gd name="connsiteY2" fmla="*/ 139131 h 127773"/>
                <a:gd name="connsiteX3" fmla="*/ 82343 w 85182"/>
                <a:gd name="connsiteY3" fmla="*/ 99379 h 127773"/>
                <a:gd name="connsiteX4" fmla="*/ 79503 w 85182"/>
                <a:gd name="connsiteY4" fmla="*/ 80923 h 127773"/>
                <a:gd name="connsiteX5" fmla="*/ 78084 w 85182"/>
                <a:gd name="connsiteY5" fmla="*/ 75244 h 127773"/>
                <a:gd name="connsiteX6" fmla="*/ 78084 w 85182"/>
                <a:gd name="connsiteY6" fmla="*/ 75244 h 127773"/>
                <a:gd name="connsiteX7" fmla="*/ 0 w 85182"/>
                <a:gd name="connsiteY7" fmla="*/ 0 h 127773"/>
                <a:gd name="connsiteX8" fmla="*/ 0 w 85182"/>
                <a:gd name="connsiteY8" fmla="*/ 0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127773">
                  <a:moveTo>
                    <a:pt x="0" y="0"/>
                  </a:moveTo>
                  <a:lnTo>
                    <a:pt x="46850" y="72405"/>
                  </a:lnTo>
                  <a:lnTo>
                    <a:pt x="89441" y="139131"/>
                  </a:lnTo>
                  <a:cubicBezTo>
                    <a:pt x="89441" y="139131"/>
                    <a:pt x="86602" y="129193"/>
                    <a:pt x="82343" y="99379"/>
                  </a:cubicBezTo>
                  <a:cubicBezTo>
                    <a:pt x="80923" y="93700"/>
                    <a:pt x="80923" y="88022"/>
                    <a:pt x="79503" y="80923"/>
                  </a:cubicBezTo>
                  <a:cubicBezTo>
                    <a:pt x="79503" y="79503"/>
                    <a:pt x="78084" y="76664"/>
                    <a:pt x="78084" y="75244"/>
                  </a:cubicBezTo>
                  <a:lnTo>
                    <a:pt x="78084" y="75244"/>
                  </a:lnTo>
                  <a:cubicBezTo>
                    <a:pt x="58208" y="32653"/>
                    <a:pt x="2839" y="142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DAD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9" name="任意多边形: 形状 10108">
              <a:extLst>
                <a:ext uri="{FF2B5EF4-FFF2-40B4-BE49-F238E27FC236}">
                  <a16:creationId xmlns:a16="http://schemas.microsoft.com/office/drawing/2014/main" id="{00445956-7027-4547-93B6-95A43672E1C1}"/>
                </a:ext>
              </a:extLst>
            </p:cNvPr>
            <p:cNvSpPr/>
            <p:nvPr userDrawn="1"/>
          </p:nvSpPr>
          <p:spPr>
            <a:xfrm>
              <a:off x="9652238" y="3695955"/>
              <a:ext cx="99379" cy="127773"/>
            </a:xfrm>
            <a:custGeom>
              <a:avLst/>
              <a:gdLst>
                <a:gd name="connsiteX0" fmla="*/ 6164 w 99379"/>
                <a:gd name="connsiteY0" fmla="*/ 111350 h 127773"/>
                <a:gd name="connsiteX1" fmla="*/ 485 w 99379"/>
                <a:gd name="connsiteY1" fmla="*/ 2032 h 127773"/>
                <a:gd name="connsiteX2" fmla="*/ 98445 w 99379"/>
                <a:gd name="connsiteY2" fmla="*/ 65919 h 127773"/>
                <a:gd name="connsiteX3" fmla="*/ 98445 w 99379"/>
                <a:gd name="connsiteY3" fmla="*/ 71598 h 127773"/>
                <a:gd name="connsiteX4" fmla="*/ 98445 w 99379"/>
                <a:gd name="connsiteY4" fmla="*/ 73018 h 127773"/>
                <a:gd name="connsiteX5" fmla="*/ 98445 w 99379"/>
                <a:gd name="connsiteY5" fmla="*/ 90054 h 127773"/>
                <a:gd name="connsiteX6" fmla="*/ 98445 w 99379"/>
                <a:gd name="connsiteY6" fmla="*/ 92893 h 127773"/>
                <a:gd name="connsiteX7" fmla="*/ 108383 w 99379"/>
                <a:gd name="connsiteY7" fmla="*/ 129806 h 127773"/>
                <a:gd name="connsiteX8" fmla="*/ 6164 w 99379"/>
                <a:gd name="connsiteY8" fmla="*/ 111350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379" h="127773">
                  <a:moveTo>
                    <a:pt x="6164" y="111350"/>
                  </a:moveTo>
                  <a:cubicBezTo>
                    <a:pt x="6164" y="111350"/>
                    <a:pt x="9003" y="16230"/>
                    <a:pt x="485" y="2032"/>
                  </a:cubicBezTo>
                  <a:cubicBezTo>
                    <a:pt x="-8033" y="-13584"/>
                    <a:pt x="98445" y="65919"/>
                    <a:pt x="98445" y="65919"/>
                  </a:cubicBezTo>
                  <a:cubicBezTo>
                    <a:pt x="98445" y="65919"/>
                    <a:pt x="98445" y="70178"/>
                    <a:pt x="98445" y="71598"/>
                  </a:cubicBezTo>
                  <a:cubicBezTo>
                    <a:pt x="98445" y="71598"/>
                    <a:pt x="98445" y="73018"/>
                    <a:pt x="98445" y="73018"/>
                  </a:cubicBezTo>
                  <a:cubicBezTo>
                    <a:pt x="98445" y="81536"/>
                    <a:pt x="98445" y="82955"/>
                    <a:pt x="98445" y="90054"/>
                  </a:cubicBezTo>
                  <a:cubicBezTo>
                    <a:pt x="98445" y="91474"/>
                    <a:pt x="98445" y="91474"/>
                    <a:pt x="98445" y="92893"/>
                  </a:cubicBezTo>
                  <a:cubicBezTo>
                    <a:pt x="99864" y="105671"/>
                    <a:pt x="102704" y="118448"/>
                    <a:pt x="108383" y="129806"/>
                  </a:cubicBezTo>
                  <a:cubicBezTo>
                    <a:pt x="119740" y="153941"/>
                    <a:pt x="6164" y="111350"/>
                    <a:pt x="6164" y="11135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0" name="任意多边形: 形状 10109">
              <a:extLst>
                <a:ext uri="{FF2B5EF4-FFF2-40B4-BE49-F238E27FC236}">
                  <a16:creationId xmlns:a16="http://schemas.microsoft.com/office/drawing/2014/main" id="{0A385F5A-0F93-41FB-805F-A22D14C02814}"/>
                </a:ext>
              </a:extLst>
            </p:cNvPr>
            <p:cNvSpPr/>
            <p:nvPr userDrawn="1"/>
          </p:nvSpPr>
          <p:spPr>
            <a:xfrm>
              <a:off x="9774818" y="3821501"/>
              <a:ext cx="70985" cy="99379"/>
            </a:xfrm>
            <a:custGeom>
              <a:avLst/>
              <a:gdLst>
                <a:gd name="connsiteX0" fmla="*/ 76664 w 70985"/>
                <a:gd name="connsiteY0" fmla="*/ 75244 h 99379"/>
                <a:gd name="connsiteX1" fmla="*/ 76664 w 70985"/>
                <a:gd name="connsiteY1" fmla="*/ 75244 h 99379"/>
                <a:gd name="connsiteX2" fmla="*/ 80923 w 70985"/>
                <a:gd name="connsiteY2" fmla="*/ 100799 h 99379"/>
                <a:gd name="connsiteX3" fmla="*/ 63887 w 70985"/>
                <a:gd name="connsiteY3" fmla="*/ 75244 h 99379"/>
                <a:gd name="connsiteX4" fmla="*/ 24135 w 70985"/>
                <a:gd name="connsiteY4" fmla="*/ 21296 h 99379"/>
                <a:gd name="connsiteX5" fmla="*/ 0 w 70985"/>
                <a:gd name="connsiteY5" fmla="*/ 0 h 99379"/>
                <a:gd name="connsiteX6" fmla="*/ 76664 w 70985"/>
                <a:gd name="connsiteY6" fmla="*/ 75244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99379">
                  <a:moveTo>
                    <a:pt x="76664" y="75244"/>
                  </a:moveTo>
                  <a:lnTo>
                    <a:pt x="76664" y="75244"/>
                  </a:lnTo>
                  <a:cubicBezTo>
                    <a:pt x="76664" y="75244"/>
                    <a:pt x="79503" y="80923"/>
                    <a:pt x="80923" y="100799"/>
                  </a:cubicBezTo>
                  <a:lnTo>
                    <a:pt x="63887" y="75244"/>
                  </a:lnTo>
                  <a:cubicBezTo>
                    <a:pt x="63887" y="75244"/>
                    <a:pt x="34073" y="32653"/>
                    <a:pt x="24135" y="21296"/>
                  </a:cubicBezTo>
                  <a:cubicBezTo>
                    <a:pt x="14197" y="9938"/>
                    <a:pt x="0" y="0"/>
                    <a:pt x="0" y="0"/>
                  </a:cubicBezTo>
                  <a:cubicBezTo>
                    <a:pt x="0" y="0"/>
                    <a:pt x="59627" y="28394"/>
                    <a:pt x="76664" y="75244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1" name="任意多边形: 形状 10110">
              <a:extLst>
                <a:ext uri="{FF2B5EF4-FFF2-40B4-BE49-F238E27FC236}">
                  <a16:creationId xmlns:a16="http://schemas.microsoft.com/office/drawing/2014/main" id="{133B5917-B5C5-4F27-8506-18085B6045A1}"/>
                </a:ext>
              </a:extLst>
            </p:cNvPr>
            <p:cNvSpPr/>
            <p:nvPr userDrawn="1"/>
          </p:nvSpPr>
          <p:spPr>
            <a:xfrm>
              <a:off x="9634268" y="3798671"/>
              <a:ext cx="156167" cy="99379"/>
            </a:xfrm>
            <a:custGeom>
              <a:avLst/>
              <a:gdLst>
                <a:gd name="connsiteX0" fmla="*/ 122094 w 156167"/>
                <a:gd name="connsiteY0" fmla="*/ 12892 h 99379"/>
                <a:gd name="connsiteX1" fmla="*/ 157587 w 156167"/>
                <a:gd name="connsiteY1" fmla="*/ 102333 h 99379"/>
                <a:gd name="connsiteX2" fmla="*/ 0 w 156167"/>
                <a:gd name="connsiteY2" fmla="*/ 14312 h 99379"/>
                <a:gd name="connsiteX3" fmla="*/ 122094 w 156167"/>
                <a:gd name="connsiteY3" fmla="*/ 12892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67" h="99379">
                  <a:moveTo>
                    <a:pt x="122094" y="12892"/>
                  </a:moveTo>
                  <a:cubicBezTo>
                    <a:pt x="122094" y="12892"/>
                    <a:pt x="176043" y="95235"/>
                    <a:pt x="157587" y="102333"/>
                  </a:cubicBezTo>
                  <a:cubicBezTo>
                    <a:pt x="139131" y="109432"/>
                    <a:pt x="41171" y="92396"/>
                    <a:pt x="0" y="14312"/>
                  </a:cubicBezTo>
                  <a:cubicBezTo>
                    <a:pt x="0" y="14312"/>
                    <a:pt x="61047" y="-16922"/>
                    <a:pt x="122094" y="128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2" name="任意多边形: 形状 10111">
              <a:extLst>
                <a:ext uri="{FF2B5EF4-FFF2-40B4-BE49-F238E27FC236}">
                  <a16:creationId xmlns:a16="http://schemas.microsoft.com/office/drawing/2014/main" id="{23C5634D-4D87-4934-85A5-94691A08CB4C}"/>
                </a:ext>
              </a:extLst>
            </p:cNvPr>
            <p:cNvSpPr/>
            <p:nvPr userDrawn="1"/>
          </p:nvSpPr>
          <p:spPr>
            <a:xfrm>
              <a:off x="9860000" y="4098343"/>
              <a:ext cx="14197" cy="14197"/>
            </a:xfrm>
            <a:custGeom>
              <a:avLst/>
              <a:gdLst>
                <a:gd name="connsiteX0" fmla="*/ 0 w 0"/>
                <a:gd name="connsiteY0" fmla="*/ 1420 h 0"/>
                <a:gd name="connsiteX1" fmla="*/ 0 w 0"/>
                <a:gd name="connsiteY1" fmla="*/ 0 h 0"/>
                <a:gd name="connsiteX2" fmla="*/ 0 w 0"/>
                <a:gd name="connsiteY2" fmla="*/ 1420 h 0"/>
                <a:gd name="connsiteX3" fmla="*/ 0 w 0"/>
                <a:gd name="connsiteY3" fmla="*/ 14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42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420"/>
                  </a:cubicBezTo>
                  <a:cubicBezTo>
                    <a:pt x="0" y="1420"/>
                    <a:pt x="0" y="1420"/>
                    <a:pt x="0" y="1420"/>
                  </a:cubicBezTo>
                  <a:close/>
                </a:path>
              </a:pathLst>
            </a:custGeom>
            <a:solidFill>
              <a:srgbClr val="2F456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3" name="任意多边形: 形状 10112">
              <a:extLst>
                <a:ext uri="{FF2B5EF4-FFF2-40B4-BE49-F238E27FC236}">
                  <a16:creationId xmlns:a16="http://schemas.microsoft.com/office/drawing/2014/main" id="{122AB035-DF43-4C24-B89E-3C9D927A40B4}"/>
                </a:ext>
              </a:extLst>
            </p:cNvPr>
            <p:cNvSpPr/>
            <p:nvPr userDrawn="1"/>
          </p:nvSpPr>
          <p:spPr>
            <a:xfrm>
              <a:off x="9540567" y="3819327"/>
              <a:ext cx="113576" cy="127773"/>
            </a:xfrm>
            <a:custGeom>
              <a:avLst/>
              <a:gdLst>
                <a:gd name="connsiteX0" fmla="*/ 89441 w 113576"/>
                <a:gd name="connsiteY0" fmla="*/ 135626 h 127773"/>
                <a:gd name="connsiteX1" fmla="*/ 0 w 113576"/>
                <a:gd name="connsiteY1" fmla="*/ 110071 h 127773"/>
                <a:gd name="connsiteX2" fmla="*/ 86602 w 113576"/>
                <a:gd name="connsiteY2" fmla="*/ 754 h 127773"/>
                <a:gd name="connsiteX3" fmla="*/ 89441 w 113576"/>
                <a:gd name="connsiteY3" fmla="*/ 13562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89441" y="135626"/>
                  </a:moveTo>
                  <a:cubicBezTo>
                    <a:pt x="89441" y="135626"/>
                    <a:pt x="21296" y="111491"/>
                    <a:pt x="0" y="110071"/>
                  </a:cubicBezTo>
                  <a:cubicBezTo>
                    <a:pt x="0" y="110071"/>
                    <a:pt x="15617" y="-10603"/>
                    <a:pt x="86602" y="754"/>
                  </a:cubicBezTo>
                  <a:cubicBezTo>
                    <a:pt x="156167" y="13532"/>
                    <a:pt x="89441" y="135626"/>
                    <a:pt x="89441" y="135626"/>
                  </a:cubicBezTo>
                  <a:close/>
                </a:path>
              </a:pathLst>
            </a:custGeom>
            <a:solidFill>
              <a:srgbClr val="EDDAD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4" name="任意多边形: 形状 10113">
              <a:extLst>
                <a:ext uri="{FF2B5EF4-FFF2-40B4-BE49-F238E27FC236}">
                  <a16:creationId xmlns:a16="http://schemas.microsoft.com/office/drawing/2014/main" id="{3251A2AF-3643-40BD-8F95-3569AF5B1A83}"/>
                </a:ext>
              </a:extLst>
            </p:cNvPr>
            <p:cNvSpPr/>
            <p:nvPr userDrawn="1"/>
          </p:nvSpPr>
          <p:spPr>
            <a:xfrm>
              <a:off x="9611552" y="3786009"/>
              <a:ext cx="184561" cy="127773"/>
            </a:xfrm>
            <a:custGeom>
              <a:avLst/>
              <a:gdLst>
                <a:gd name="connsiteX0" fmla="*/ 140550 w 184561"/>
                <a:gd name="connsiteY0" fmla="*/ 11358 h 127773"/>
                <a:gd name="connsiteX1" fmla="*/ 48270 w 184561"/>
                <a:gd name="connsiteY1" fmla="*/ 0 h 127773"/>
                <a:gd name="connsiteX2" fmla="*/ 44011 w 184561"/>
                <a:gd name="connsiteY2" fmla="*/ 19876 h 127773"/>
                <a:gd name="connsiteX3" fmla="*/ 0 w 184561"/>
                <a:gd name="connsiteY3" fmla="*/ 34073 h 127773"/>
                <a:gd name="connsiteX4" fmla="*/ 183141 w 184561"/>
                <a:gd name="connsiteY4" fmla="*/ 123514 h 127773"/>
                <a:gd name="connsiteX5" fmla="*/ 146229 w 184561"/>
                <a:gd name="connsiteY5" fmla="*/ 26974 h 127773"/>
                <a:gd name="connsiteX6" fmla="*/ 140550 w 184561"/>
                <a:gd name="connsiteY6" fmla="*/ 11358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27773">
                  <a:moveTo>
                    <a:pt x="140550" y="11358"/>
                  </a:moveTo>
                  <a:cubicBezTo>
                    <a:pt x="140550" y="11358"/>
                    <a:pt x="136291" y="26974"/>
                    <a:pt x="48270" y="0"/>
                  </a:cubicBezTo>
                  <a:lnTo>
                    <a:pt x="44011" y="19876"/>
                  </a:lnTo>
                  <a:cubicBezTo>
                    <a:pt x="44011" y="19876"/>
                    <a:pt x="32653" y="21296"/>
                    <a:pt x="0" y="34073"/>
                  </a:cubicBezTo>
                  <a:cubicBezTo>
                    <a:pt x="0" y="34073"/>
                    <a:pt x="159006" y="184561"/>
                    <a:pt x="183141" y="123514"/>
                  </a:cubicBezTo>
                  <a:cubicBezTo>
                    <a:pt x="207277" y="62467"/>
                    <a:pt x="146229" y="26974"/>
                    <a:pt x="146229" y="26974"/>
                  </a:cubicBezTo>
                  <a:lnTo>
                    <a:pt x="140550" y="11358"/>
                  </a:ln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5" name="任意多边形: 形状 10114">
              <a:extLst>
                <a:ext uri="{FF2B5EF4-FFF2-40B4-BE49-F238E27FC236}">
                  <a16:creationId xmlns:a16="http://schemas.microsoft.com/office/drawing/2014/main" id="{A4AA2841-064D-41DF-A9BB-368685CB74E2}"/>
                </a:ext>
              </a:extLst>
            </p:cNvPr>
            <p:cNvSpPr/>
            <p:nvPr userDrawn="1"/>
          </p:nvSpPr>
          <p:spPr>
            <a:xfrm>
              <a:off x="9757781" y="3812983"/>
              <a:ext cx="113576" cy="141970"/>
            </a:xfrm>
            <a:custGeom>
              <a:avLst/>
              <a:gdLst>
                <a:gd name="connsiteX0" fmla="*/ 0 w 113576"/>
                <a:gd name="connsiteY0" fmla="*/ 0 h 141970"/>
                <a:gd name="connsiteX1" fmla="*/ 120675 w 113576"/>
                <a:gd name="connsiteY1" fmla="*/ 149069 h 141970"/>
                <a:gd name="connsiteX2" fmla="*/ 97959 w 113576"/>
                <a:gd name="connsiteY2" fmla="*/ 109317 h 141970"/>
                <a:gd name="connsiteX3" fmla="*/ 80923 w 113576"/>
                <a:gd name="connsiteY3" fmla="*/ 83762 h 141970"/>
                <a:gd name="connsiteX4" fmla="*/ 35493 w 113576"/>
                <a:gd name="connsiteY4" fmla="*/ 24135 h 141970"/>
                <a:gd name="connsiteX5" fmla="*/ 17037 w 113576"/>
                <a:gd name="connsiteY5" fmla="*/ 9938 h 141970"/>
                <a:gd name="connsiteX6" fmla="*/ 17037 w 113576"/>
                <a:gd name="connsiteY6" fmla="*/ 9938 h 141970"/>
                <a:gd name="connsiteX7" fmla="*/ 0 w 113576"/>
                <a:gd name="connsiteY7" fmla="*/ 0 h 141970"/>
                <a:gd name="connsiteX8" fmla="*/ 0 w 113576"/>
                <a:gd name="connsiteY8" fmla="*/ 0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576" h="141970">
                  <a:moveTo>
                    <a:pt x="0" y="0"/>
                  </a:moveTo>
                  <a:lnTo>
                    <a:pt x="120675" y="149069"/>
                  </a:lnTo>
                  <a:cubicBezTo>
                    <a:pt x="114996" y="136291"/>
                    <a:pt x="107897" y="123514"/>
                    <a:pt x="97959" y="109317"/>
                  </a:cubicBezTo>
                  <a:cubicBezTo>
                    <a:pt x="92281" y="100799"/>
                    <a:pt x="86602" y="92281"/>
                    <a:pt x="80923" y="83762"/>
                  </a:cubicBezTo>
                  <a:cubicBezTo>
                    <a:pt x="62467" y="56788"/>
                    <a:pt x="44011" y="32653"/>
                    <a:pt x="35493" y="24135"/>
                  </a:cubicBezTo>
                  <a:cubicBezTo>
                    <a:pt x="28394" y="18456"/>
                    <a:pt x="22715" y="12777"/>
                    <a:pt x="17037" y="9938"/>
                  </a:cubicBezTo>
                  <a:cubicBezTo>
                    <a:pt x="17037" y="9938"/>
                    <a:pt x="17037" y="9938"/>
                    <a:pt x="17037" y="9938"/>
                  </a:cubicBezTo>
                  <a:cubicBezTo>
                    <a:pt x="8518" y="2839"/>
                    <a:pt x="284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6" name="任意多边形: 形状 10115">
              <a:extLst>
                <a:ext uri="{FF2B5EF4-FFF2-40B4-BE49-F238E27FC236}">
                  <a16:creationId xmlns:a16="http://schemas.microsoft.com/office/drawing/2014/main" id="{7486CD7B-7A12-4841-B21D-399183865CDE}"/>
                </a:ext>
              </a:extLst>
            </p:cNvPr>
            <p:cNvSpPr/>
            <p:nvPr userDrawn="1"/>
          </p:nvSpPr>
          <p:spPr>
            <a:xfrm>
              <a:off x="9757781" y="3811563"/>
              <a:ext cx="127773" cy="283940"/>
            </a:xfrm>
            <a:custGeom>
              <a:avLst/>
              <a:gdLst>
                <a:gd name="connsiteX0" fmla="*/ 102219 w 127773"/>
                <a:gd name="connsiteY0" fmla="*/ 286780 h 283940"/>
                <a:gd name="connsiteX1" fmla="*/ 129193 w 127773"/>
                <a:gd name="connsiteY1" fmla="*/ 184561 h 283940"/>
                <a:gd name="connsiteX2" fmla="*/ 120675 w 127773"/>
                <a:gd name="connsiteY2" fmla="*/ 150488 h 283940"/>
                <a:gd name="connsiteX3" fmla="*/ 120675 w 127773"/>
                <a:gd name="connsiteY3" fmla="*/ 150488 h 283940"/>
                <a:gd name="connsiteX4" fmla="*/ 97959 w 127773"/>
                <a:gd name="connsiteY4" fmla="*/ 109317 h 283940"/>
                <a:gd name="connsiteX5" fmla="*/ 76664 w 127773"/>
                <a:gd name="connsiteY5" fmla="*/ 78084 h 283940"/>
                <a:gd name="connsiteX6" fmla="*/ 35493 w 127773"/>
                <a:gd name="connsiteY6" fmla="*/ 24135 h 283940"/>
                <a:gd name="connsiteX7" fmla="*/ 17037 w 127773"/>
                <a:gd name="connsiteY7" fmla="*/ 8518 h 283940"/>
                <a:gd name="connsiteX8" fmla="*/ 17037 w 127773"/>
                <a:gd name="connsiteY8" fmla="*/ 8518 h 283940"/>
                <a:gd name="connsiteX9" fmla="*/ 0 w 127773"/>
                <a:gd name="connsiteY9" fmla="*/ 0 h 283940"/>
                <a:gd name="connsiteX10" fmla="*/ 0 w 127773"/>
                <a:gd name="connsiteY10" fmla="*/ 0 h 283940"/>
                <a:gd name="connsiteX11" fmla="*/ 102219 w 127773"/>
                <a:gd name="connsiteY11" fmla="*/ 28678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773" h="283940">
                  <a:moveTo>
                    <a:pt x="102219" y="286780"/>
                  </a:moveTo>
                  <a:cubicBezTo>
                    <a:pt x="110737" y="262645"/>
                    <a:pt x="130613" y="207276"/>
                    <a:pt x="129193" y="184561"/>
                  </a:cubicBezTo>
                  <a:cubicBezTo>
                    <a:pt x="127773" y="173204"/>
                    <a:pt x="124934" y="161846"/>
                    <a:pt x="120675" y="150488"/>
                  </a:cubicBezTo>
                  <a:lnTo>
                    <a:pt x="120675" y="150488"/>
                  </a:lnTo>
                  <a:cubicBezTo>
                    <a:pt x="114996" y="137711"/>
                    <a:pt x="107897" y="123514"/>
                    <a:pt x="97959" y="109317"/>
                  </a:cubicBezTo>
                  <a:cubicBezTo>
                    <a:pt x="92281" y="100799"/>
                    <a:pt x="82343" y="86602"/>
                    <a:pt x="76664" y="78084"/>
                  </a:cubicBezTo>
                  <a:cubicBezTo>
                    <a:pt x="58208" y="51109"/>
                    <a:pt x="44011" y="32653"/>
                    <a:pt x="35493" y="24135"/>
                  </a:cubicBezTo>
                  <a:cubicBezTo>
                    <a:pt x="28394" y="18456"/>
                    <a:pt x="22715" y="12777"/>
                    <a:pt x="17037" y="8518"/>
                  </a:cubicBezTo>
                  <a:cubicBezTo>
                    <a:pt x="17037" y="8518"/>
                    <a:pt x="17037" y="8518"/>
                    <a:pt x="17037" y="8518"/>
                  </a:cubicBezTo>
                  <a:cubicBezTo>
                    <a:pt x="8518" y="2839"/>
                    <a:pt x="2840" y="142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27773" y="114996"/>
                    <a:pt x="102219" y="28678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7" name="任意多边形: 形状 10116">
              <a:extLst>
                <a:ext uri="{FF2B5EF4-FFF2-40B4-BE49-F238E27FC236}">
                  <a16:creationId xmlns:a16="http://schemas.microsoft.com/office/drawing/2014/main" id="{B2C14B2F-2F02-4065-9D96-5BE5594DEBF6}"/>
                </a:ext>
              </a:extLst>
            </p:cNvPr>
            <p:cNvSpPr/>
            <p:nvPr userDrawn="1"/>
          </p:nvSpPr>
          <p:spPr>
            <a:xfrm>
              <a:off x="9547179" y="4322656"/>
              <a:ext cx="56788" cy="56788"/>
            </a:xfrm>
            <a:custGeom>
              <a:avLst/>
              <a:gdLst>
                <a:gd name="connsiteX0" fmla="*/ 40239 w 56788"/>
                <a:gd name="connsiteY0" fmla="*/ 0 h 56788"/>
                <a:gd name="connsiteX1" fmla="*/ 54436 w 56788"/>
                <a:gd name="connsiteY1" fmla="*/ 15617 h 56788"/>
                <a:gd name="connsiteX2" fmla="*/ 65793 w 56788"/>
                <a:gd name="connsiteY2" fmla="*/ 31233 h 56788"/>
                <a:gd name="connsiteX3" fmla="*/ 31720 w 56788"/>
                <a:gd name="connsiteY3" fmla="*/ 56788 h 56788"/>
                <a:gd name="connsiteX4" fmla="*/ 3326 w 56788"/>
                <a:gd name="connsiteY4" fmla="*/ 17036 h 56788"/>
                <a:gd name="connsiteX5" fmla="*/ 40239 w 56788"/>
                <a:gd name="connsiteY5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40239" y="0"/>
                  </a:moveTo>
                  <a:cubicBezTo>
                    <a:pt x="40239" y="0"/>
                    <a:pt x="48757" y="12777"/>
                    <a:pt x="54436" y="15617"/>
                  </a:cubicBezTo>
                  <a:cubicBezTo>
                    <a:pt x="60114" y="18456"/>
                    <a:pt x="65793" y="31233"/>
                    <a:pt x="65793" y="31233"/>
                  </a:cubicBezTo>
                  <a:lnTo>
                    <a:pt x="31720" y="56788"/>
                  </a:lnTo>
                  <a:cubicBezTo>
                    <a:pt x="31720" y="56788"/>
                    <a:pt x="18943" y="26974"/>
                    <a:pt x="3326" y="17036"/>
                  </a:cubicBezTo>
                  <a:cubicBezTo>
                    <a:pt x="-13710" y="8518"/>
                    <a:pt x="40239" y="0"/>
                    <a:pt x="40239" y="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8" name="任意多边形: 形状 10117">
              <a:extLst>
                <a:ext uri="{FF2B5EF4-FFF2-40B4-BE49-F238E27FC236}">
                  <a16:creationId xmlns:a16="http://schemas.microsoft.com/office/drawing/2014/main" id="{42FAFFB5-B978-4EAB-8692-55F56CE88D48}"/>
                </a:ext>
              </a:extLst>
            </p:cNvPr>
            <p:cNvSpPr/>
            <p:nvPr userDrawn="1"/>
          </p:nvSpPr>
          <p:spPr>
            <a:xfrm>
              <a:off x="9427922" y="3832128"/>
              <a:ext cx="212955" cy="525290"/>
            </a:xfrm>
            <a:custGeom>
              <a:avLst/>
              <a:gdLst>
                <a:gd name="connsiteX0" fmla="*/ 106967 w 212955"/>
                <a:gd name="connsiteY0" fmla="*/ 60358 h 525289"/>
                <a:gd name="connsiteX1" fmla="*/ 193568 w 212955"/>
                <a:gd name="connsiteY1" fmla="*/ 4989 h 525289"/>
                <a:gd name="connsiteX2" fmla="*/ 166594 w 212955"/>
                <a:gd name="connsiteY2" fmla="*/ 139861 h 525289"/>
                <a:gd name="connsiteX3" fmla="*/ 89930 w 212955"/>
                <a:gd name="connsiteY3" fmla="*/ 263375 h 525289"/>
                <a:gd name="connsiteX4" fmla="*/ 82831 w 212955"/>
                <a:gd name="connsiteY4" fmla="*/ 345718 h 525289"/>
                <a:gd name="connsiteX5" fmla="*/ 162335 w 212955"/>
                <a:gd name="connsiteY5" fmla="*/ 486268 h 525289"/>
                <a:gd name="connsiteX6" fmla="*/ 111225 w 212955"/>
                <a:gd name="connsiteY6" fmla="*/ 523181 h 525289"/>
                <a:gd name="connsiteX7" fmla="*/ 33142 w 212955"/>
                <a:gd name="connsiteY7" fmla="*/ 403926 h 525289"/>
                <a:gd name="connsiteX8" fmla="*/ 9007 w 212955"/>
                <a:gd name="connsiteY8" fmla="*/ 264795 h 525289"/>
                <a:gd name="connsiteX9" fmla="*/ 106967 w 212955"/>
                <a:gd name="connsiteY9" fmla="*/ 60358 h 52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955" h="525289">
                  <a:moveTo>
                    <a:pt x="106967" y="60358"/>
                  </a:moveTo>
                  <a:cubicBezTo>
                    <a:pt x="106967" y="60358"/>
                    <a:pt x="135361" y="-20565"/>
                    <a:pt x="193568" y="4989"/>
                  </a:cubicBezTo>
                  <a:cubicBezTo>
                    <a:pt x="250356" y="29124"/>
                    <a:pt x="173692" y="128504"/>
                    <a:pt x="166594" y="139861"/>
                  </a:cubicBezTo>
                  <a:cubicBezTo>
                    <a:pt x="159495" y="152638"/>
                    <a:pt x="95609" y="249178"/>
                    <a:pt x="89930" y="263375"/>
                  </a:cubicBezTo>
                  <a:cubicBezTo>
                    <a:pt x="70054" y="304547"/>
                    <a:pt x="77153" y="325842"/>
                    <a:pt x="82831" y="345718"/>
                  </a:cubicBezTo>
                  <a:cubicBezTo>
                    <a:pt x="105547" y="412444"/>
                    <a:pt x="150977" y="474911"/>
                    <a:pt x="162335" y="486268"/>
                  </a:cubicBezTo>
                  <a:cubicBezTo>
                    <a:pt x="173692" y="497626"/>
                    <a:pt x="128262" y="535958"/>
                    <a:pt x="111225" y="523181"/>
                  </a:cubicBezTo>
                  <a:cubicBezTo>
                    <a:pt x="87090" y="507564"/>
                    <a:pt x="45919" y="422382"/>
                    <a:pt x="33142" y="403926"/>
                  </a:cubicBezTo>
                  <a:cubicBezTo>
                    <a:pt x="18945" y="379791"/>
                    <a:pt x="-16548" y="338619"/>
                    <a:pt x="9007" y="264795"/>
                  </a:cubicBezTo>
                  <a:cubicBezTo>
                    <a:pt x="26043" y="213686"/>
                    <a:pt x="106967" y="60358"/>
                    <a:pt x="106967" y="60358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9" name="任意多边形: 形状 10118">
              <a:extLst>
                <a:ext uri="{FF2B5EF4-FFF2-40B4-BE49-F238E27FC236}">
                  <a16:creationId xmlns:a16="http://schemas.microsoft.com/office/drawing/2014/main" id="{98768A61-0F52-446D-B4C0-465161454BCF}"/>
                </a:ext>
              </a:extLst>
            </p:cNvPr>
            <p:cNvSpPr/>
            <p:nvPr userDrawn="1"/>
          </p:nvSpPr>
          <p:spPr>
            <a:xfrm>
              <a:off x="9547666" y="4329754"/>
              <a:ext cx="85182" cy="113576"/>
            </a:xfrm>
            <a:custGeom>
              <a:avLst/>
              <a:gdLst>
                <a:gd name="connsiteX0" fmla="*/ 73824 w 85182"/>
                <a:gd name="connsiteY0" fmla="*/ 0 h 113576"/>
                <a:gd name="connsiteX1" fmla="*/ 0 w 85182"/>
                <a:gd name="connsiteY1" fmla="*/ 59627 h 113576"/>
                <a:gd name="connsiteX2" fmla="*/ 86602 w 85182"/>
                <a:gd name="connsiteY2" fmla="*/ 110737 h 113576"/>
                <a:gd name="connsiteX3" fmla="*/ 73824 w 85182"/>
                <a:gd name="connsiteY3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182" h="113576">
                  <a:moveTo>
                    <a:pt x="73824" y="0"/>
                  </a:moveTo>
                  <a:lnTo>
                    <a:pt x="0" y="59627"/>
                  </a:lnTo>
                  <a:cubicBezTo>
                    <a:pt x="0" y="59627"/>
                    <a:pt x="58208" y="147649"/>
                    <a:pt x="86602" y="110737"/>
                  </a:cubicBezTo>
                  <a:cubicBezTo>
                    <a:pt x="113576" y="72405"/>
                    <a:pt x="73824" y="0"/>
                    <a:pt x="73824" y="0"/>
                  </a:cubicBezTo>
                  <a:close/>
                </a:path>
              </a:pathLst>
            </a:custGeom>
            <a:solidFill>
              <a:srgbClr val="DBCAC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0" name="任意多边形: 形状 10119">
              <a:extLst>
                <a:ext uri="{FF2B5EF4-FFF2-40B4-BE49-F238E27FC236}">
                  <a16:creationId xmlns:a16="http://schemas.microsoft.com/office/drawing/2014/main" id="{C21A428D-EBCF-436C-8044-2F7D369FD080}"/>
                </a:ext>
              </a:extLst>
            </p:cNvPr>
            <p:cNvSpPr/>
            <p:nvPr userDrawn="1"/>
          </p:nvSpPr>
          <p:spPr>
            <a:xfrm>
              <a:off x="9361685" y="3784589"/>
              <a:ext cx="411714" cy="1078974"/>
            </a:xfrm>
            <a:custGeom>
              <a:avLst/>
              <a:gdLst>
                <a:gd name="connsiteX0" fmla="*/ 414553 w 411713"/>
                <a:gd name="connsiteY0" fmla="*/ 208696 h 1078973"/>
                <a:gd name="connsiteX1" fmla="*/ 414553 w 411713"/>
                <a:gd name="connsiteY1" fmla="*/ 208696 h 1078973"/>
                <a:gd name="connsiteX2" fmla="*/ 298137 w 411713"/>
                <a:gd name="connsiteY2" fmla="*/ 0 h 1078973"/>
                <a:gd name="connsiteX3" fmla="*/ 293879 w 411713"/>
                <a:gd name="connsiteY3" fmla="*/ 19876 h 1078973"/>
                <a:gd name="connsiteX4" fmla="*/ 293879 w 411713"/>
                <a:gd name="connsiteY4" fmla="*/ 19876 h 1078973"/>
                <a:gd name="connsiteX5" fmla="*/ 178883 w 411713"/>
                <a:gd name="connsiteY5" fmla="*/ 146229 h 1078973"/>
                <a:gd name="connsiteX6" fmla="*/ 194499 w 411713"/>
                <a:gd name="connsiteY6" fmla="*/ 249868 h 1078973"/>
                <a:gd name="connsiteX7" fmla="*/ 207277 w 411713"/>
                <a:gd name="connsiteY7" fmla="*/ 299557 h 1078973"/>
                <a:gd name="connsiteX8" fmla="*/ 228572 w 411713"/>
                <a:gd name="connsiteY8" fmla="*/ 435849 h 1078973"/>
                <a:gd name="connsiteX9" fmla="*/ 0 w 411713"/>
                <a:gd name="connsiteY9" fmla="*/ 888734 h 1078973"/>
                <a:gd name="connsiteX10" fmla="*/ 194499 w 411713"/>
                <a:gd name="connsiteY10" fmla="*/ 1078974 h 1078973"/>
                <a:gd name="connsiteX11" fmla="*/ 414553 w 411713"/>
                <a:gd name="connsiteY11" fmla="*/ 208696 h 107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1713" h="1078973">
                  <a:moveTo>
                    <a:pt x="414553" y="208696"/>
                  </a:moveTo>
                  <a:lnTo>
                    <a:pt x="414553" y="208696"/>
                  </a:lnTo>
                  <a:cubicBezTo>
                    <a:pt x="401776" y="78084"/>
                    <a:pt x="298137" y="0"/>
                    <a:pt x="298137" y="0"/>
                  </a:cubicBezTo>
                  <a:lnTo>
                    <a:pt x="293879" y="19876"/>
                  </a:lnTo>
                  <a:lnTo>
                    <a:pt x="293879" y="19876"/>
                  </a:lnTo>
                  <a:cubicBezTo>
                    <a:pt x="185981" y="49690"/>
                    <a:pt x="184561" y="73825"/>
                    <a:pt x="178883" y="146229"/>
                  </a:cubicBezTo>
                  <a:cubicBezTo>
                    <a:pt x="177463" y="173204"/>
                    <a:pt x="184561" y="210116"/>
                    <a:pt x="194499" y="249868"/>
                  </a:cubicBezTo>
                  <a:cubicBezTo>
                    <a:pt x="198758" y="265484"/>
                    <a:pt x="203017" y="282521"/>
                    <a:pt x="207277" y="299557"/>
                  </a:cubicBezTo>
                  <a:cubicBezTo>
                    <a:pt x="220054" y="349247"/>
                    <a:pt x="231411" y="397517"/>
                    <a:pt x="228572" y="435849"/>
                  </a:cubicBezTo>
                  <a:cubicBezTo>
                    <a:pt x="224313" y="519611"/>
                    <a:pt x="0" y="888734"/>
                    <a:pt x="0" y="888734"/>
                  </a:cubicBezTo>
                  <a:cubicBezTo>
                    <a:pt x="0" y="966817"/>
                    <a:pt x="194499" y="1078974"/>
                    <a:pt x="194499" y="1078974"/>
                  </a:cubicBezTo>
                  <a:cubicBezTo>
                    <a:pt x="184561" y="975335"/>
                    <a:pt x="431589" y="312334"/>
                    <a:pt x="414553" y="208696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1" name="任意多边形: 形状 10120">
              <a:extLst>
                <a:ext uri="{FF2B5EF4-FFF2-40B4-BE49-F238E27FC236}">
                  <a16:creationId xmlns:a16="http://schemas.microsoft.com/office/drawing/2014/main" id="{14004C7A-1205-4483-A39E-62B9A9346A95}"/>
                </a:ext>
              </a:extLst>
            </p:cNvPr>
            <p:cNvSpPr/>
            <p:nvPr userDrawn="1"/>
          </p:nvSpPr>
          <p:spPr>
            <a:xfrm>
              <a:off x="9556184" y="3927979"/>
              <a:ext cx="56788" cy="141970"/>
            </a:xfrm>
            <a:custGeom>
              <a:avLst/>
              <a:gdLst>
                <a:gd name="connsiteX0" fmla="*/ 12777 w 56788"/>
                <a:gd name="connsiteY0" fmla="*/ 154748 h 141970"/>
                <a:gd name="connsiteX1" fmla="*/ 12777 w 56788"/>
                <a:gd name="connsiteY1" fmla="*/ 154748 h 141970"/>
                <a:gd name="connsiteX2" fmla="*/ 65306 w 56788"/>
                <a:gd name="connsiteY2" fmla="*/ 0 h 141970"/>
                <a:gd name="connsiteX3" fmla="*/ 0 w 56788"/>
                <a:gd name="connsiteY3" fmla="*/ 105058 h 141970"/>
                <a:gd name="connsiteX4" fmla="*/ 0 w 56788"/>
                <a:gd name="connsiteY4" fmla="*/ 105058 h 141970"/>
                <a:gd name="connsiteX5" fmla="*/ 12777 w 56788"/>
                <a:gd name="connsiteY5" fmla="*/ 154748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141970">
                  <a:moveTo>
                    <a:pt x="12777" y="154748"/>
                  </a:moveTo>
                  <a:lnTo>
                    <a:pt x="12777" y="154748"/>
                  </a:lnTo>
                  <a:cubicBezTo>
                    <a:pt x="46850" y="114996"/>
                    <a:pt x="65306" y="0"/>
                    <a:pt x="65306" y="0"/>
                  </a:cubicBezTo>
                  <a:cubicBezTo>
                    <a:pt x="45430" y="56788"/>
                    <a:pt x="0" y="105058"/>
                    <a:pt x="0" y="105058"/>
                  </a:cubicBezTo>
                  <a:cubicBezTo>
                    <a:pt x="0" y="105058"/>
                    <a:pt x="0" y="105058"/>
                    <a:pt x="0" y="105058"/>
                  </a:cubicBezTo>
                  <a:cubicBezTo>
                    <a:pt x="4259" y="122094"/>
                    <a:pt x="8518" y="137711"/>
                    <a:pt x="12777" y="154748"/>
                  </a:cubicBezTo>
                  <a:close/>
                </a:path>
              </a:pathLst>
            </a:custGeom>
            <a:solidFill>
              <a:srgbClr val="B3933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2" name="任意多边形: 形状 10121">
              <a:extLst>
                <a:ext uri="{FF2B5EF4-FFF2-40B4-BE49-F238E27FC236}">
                  <a16:creationId xmlns:a16="http://schemas.microsoft.com/office/drawing/2014/main" id="{FD933B79-FBE6-4ACD-B9F8-0E5C03AE5A29}"/>
                </a:ext>
              </a:extLst>
            </p:cNvPr>
            <p:cNvSpPr/>
            <p:nvPr userDrawn="1"/>
          </p:nvSpPr>
          <p:spPr>
            <a:xfrm>
              <a:off x="9754942" y="4551228"/>
              <a:ext cx="42591" cy="212955"/>
            </a:xfrm>
            <a:custGeom>
              <a:avLst/>
              <a:gdLst>
                <a:gd name="connsiteX0" fmla="*/ 0 w 42591"/>
                <a:gd name="connsiteY0" fmla="*/ 167525 h 212955"/>
                <a:gd name="connsiteX1" fmla="*/ 0 w 42591"/>
                <a:gd name="connsiteY1" fmla="*/ 167525 h 212955"/>
                <a:gd name="connsiteX2" fmla="*/ 17036 w 42591"/>
                <a:gd name="connsiteY2" fmla="*/ 220054 h 212955"/>
                <a:gd name="connsiteX3" fmla="*/ 48270 w 42591"/>
                <a:gd name="connsiteY3" fmla="*/ 0 h 212955"/>
                <a:gd name="connsiteX4" fmla="*/ 0 w 42591"/>
                <a:gd name="connsiteY4" fmla="*/ 167525 h 21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212955">
                  <a:moveTo>
                    <a:pt x="0" y="167525"/>
                  </a:moveTo>
                  <a:cubicBezTo>
                    <a:pt x="0" y="167525"/>
                    <a:pt x="0" y="167525"/>
                    <a:pt x="0" y="167525"/>
                  </a:cubicBezTo>
                  <a:cubicBezTo>
                    <a:pt x="5679" y="184561"/>
                    <a:pt x="11357" y="203017"/>
                    <a:pt x="17036" y="220054"/>
                  </a:cubicBezTo>
                  <a:cubicBezTo>
                    <a:pt x="44010" y="116416"/>
                    <a:pt x="48270" y="0"/>
                    <a:pt x="48270" y="0"/>
                  </a:cubicBezTo>
                  <a:cubicBezTo>
                    <a:pt x="41171" y="65306"/>
                    <a:pt x="0" y="167525"/>
                    <a:pt x="0" y="167525"/>
                  </a:cubicBezTo>
                  <a:close/>
                </a:path>
              </a:pathLst>
            </a:custGeom>
            <a:solidFill>
              <a:srgbClr val="15162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3" name="任意多边形: 形状 10122">
              <a:extLst>
                <a:ext uri="{FF2B5EF4-FFF2-40B4-BE49-F238E27FC236}">
                  <a16:creationId xmlns:a16="http://schemas.microsoft.com/office/drawing/2014/main" id="{BC3700F4-05AC-40F0-AC42-FF0977F9BF73}"/>
                </a:ext>
              </a:extLst>
            </p:cNvPr>
            <p:cNvSpPr/>
            <p:nvPr userDrawn="1"/>
          </p:nvSpPr>
          <p:spPr>
            <a:xfrm>
              <a:off x="9551925" y="3830019"/>
              <a:ext cx="99379" cy="340728"/>
            </a:xfrm>
            <a:custGeom>
              <a:avLst/>
              <a:gdLst>
                <a:gd name="connsiteX0" fmla="*/ 7099 w 99379"/>
                <a:gd name="connsiteY0" fmla="*/ 346407 h 340728"/>
                <a:gd name="connsiteX1" fmla="*/ 0 w 99379"/>
                <a:gd name="connsiteY1" fmla="*/ 335050 h 340728"/>
                <a:gd name="connsiteX2" fmla="*/ 89441 w 99379"/>
                <a:gd name="connsiteY2" fmla="*/ 204437 h 340728"/>
                <a:gd name="connsiteX3" fmla="*/ 18456 w 99379"/>
                <a:gd name="connsiteY3" fmla="*/ 8518 h 340728"/>
                <a:gd name="connsiteX4" fmla="*/ 29814 w 99379"/>
                <a:gd name="connsiteY4" fmla="*/ 0 h 340728"/>
                <a:gd name="connsiteX5" fmla="*/ 100799 w 99379"/>
                <a:gd name="connsiteY5" fmla="*/ 205857 h 340728"/>
                <a:gd name="connsiteX6" fmla="*/ 7099 w 99379"/>
                <a:gd name="connsiteY6" fmla="*/ 346407 h 340728"/>
                <a:gd name="connsiteX7" fmla="*/ 4259 w 99379"/>
                <a:gd name="connsiteY7" fmla="*/ 340728 h 340728"/>
                <a:gd name="connsiteX8" fmla="*/ 1420 w 99379"/>
                <a:gd name="connsiteY8" fmla="*/ 335050 h 340728"/>
                <a:gd name="connsiteX9" fmla="*/ 1420 w 99379"/>
                <a:gd name="connsiteY9" fmla="*/ 335050 h 340728"/>
                <a:gd name="connsiteX10" fmla="*/ 4259 w 99379"/>
                <a:gd name="connsiteY10" fmla="*/ 340728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379" h="340728">
                  <a:moveTo>
                    <a:pt x="7099" y="346407"/>
                  </a:moveTo>
                  <a:lnTo>
                    <a:pt x="0" y="335050"/>
                  </a:lnTo>
                  <a:cubicBezTo>
                    <a:pt x="1420" y="335050"/>
                    <a:pt x="75244" y="288200"/>
                    <a:pt x="89441" y="204437"/>
                  </a:cubicBezTo>
                  <a:cubicBezTo>
                    <a:pt x="99379" y="143390"/>
                    <a:pt x="75244" y="76664"/>
                    <a:pt x="18456" y="8518"/>
                  </a:cubicBezTo>
                  <a:lnTo>
                    <a:pt x="29814" y="0"/>
                  </a:lnTo>
                  <a:cubicBezTo>
                    <a:pt x="88022" y="70985"/>
                    <a:pt x="112156" y="140550"/>
                    <a:pt x="100799" y="205857"/>
                  </a:cubicBezTo>
                  <a:cubicBezTo>
                    <a:pt x="88022" y="296718"/>
                    <a:pt x="11358" y="344988"/>
                    <a:pt x="7099" y="346407"/>
                  </a:cubicBezTo>
                  <a:close/>
                  <a:moveTo>
                    <a:pt x="4259" y="340728"/>
                  </a:moveTo>
                  <a:lnTo>
                    <a:pt x="1420" y="335050"/>
                  </a:lnTo>
                  <a:lnTo>
                    <a:pt x="1420" y="335050"/>
                  </a:lnTo>
                  <a:lnTo>
                    <a:pt x="4259" y="340728"/>
                  </a:ln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4" name="任意多边形: 形状 10123">
              <a:extLst>
                <a:ext uri="{FF2B5EF4-FFF2-40B4-BE49-F238E27FC236}">
                  <a16:creationId xmlns:a16="http://schemas.microsoft.com/office/drawing/2014/main" id="{6FCB3BD2-704C-4471-862C-5A8270D1C037}"/>
                </a:ext>
              </a:extLst>
            </p:cNvPr>
            <p:cNvSpPr/>
            <p:nvPr userDrawn="1"/>
          </p:nvSpPr>
          <p:spPr>
            <a:xfrm>
              <a:off x="9570381" y="3830019"/>
              <a:ext cx="14197" cy="14197"/>
            </a:xfrm>
            <a:custGeom>
              <a:avLst/>
              <a:gdLst>
                <a:gd name="connsiteX0" fmla="*/ 0 w 0"/>
                <a:gd name="connsiteY0" fmla="*/ 8518 h 0"/>
                <a:gd name="connsiteX1" fmla="*/ 11357 w 0"/>
                <a:gd name="connsiteY1" fmla="*/ 0 h 0"/>
                <a:gd name="connsiteX2" fmla="*/ 0 w 0"/>
                <a:gd name="connsiteY2" fmla="*/ 851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8518"/>
                  </a:moveTo>
                  <a:cubicBezTo>
                    <a:pt x="0" y="8518"/>
                    <a:pt x="4259" y="2839"/>
                    <a:pt x="11357" y="0"/>
                  </a:cubicBezTo>
                  <a:cubicBezTo>
                    <a:pt x="12777" y="1420"/>
                    <a:pt x="11357" y="8518"/>
                    <a:pt x="0" y="8518"/>
                  </a:cubicBez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5" name="任意多边形: 形状 10124">
              <a:extLst>
                <a:ext uri="{FF2B5EF4-FFF2-40B4-BE49-F238E27FC236}">
                  <a16:creationId xmlns:a16="http://schemas.microsoft.com/office/drawing/2014/main" id="{F1AB1A71-9D61-4599-807D-1EE1E0C8380E}"/>
                </a:ext>
              </a:extLst>
            </p:cNvPr>
            <p:cNvSpPr/>
            <p:nvPr userDrawn="1"/>
          </p:nvSpPr>
          <p:spPr>
            <a:xfrm>
              <a:off x="9634249" y="3511547"/>
              <a:ext cx="170364" cy="255546"/>
            </a:xfrm>
            <a:custGeom>
              <a:avLst/>
              <a:gdLst>
                <a:gd name="connsiteX0" fmla="*/ 116434 w 170364"/>
                <a:gd name="connsiteY0" fmla="*/ 13237 h 255546"/>
                <a:gd name="connsiteX1" fmla="*/ 168963 w 170364"/>
                <a:gd name="connsiteY1" fmla="*/ 185021 h 255546"/>
                <a:gd name="connsiteX2" fmla="*/ 42610 w 170364"/>
                <a:gd name="connsiteY2" fmla="*/ 233291 h 255546"/>
                <a:gd name="connsiteX3" fmla="*/ 1438 w 170364"/>
                <a:gd name="connsiteY3" fmla="*/ 116875 h 255546"/>
                <a:gd name="connsiteX4" fmla="*/ 116434 w 170364"/>
                <a:gd name="connsiteY4" fmla="*/ 13237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55546">
                  <a:moveTo>
                    <a:pt x="116434" y="13237"/>
                  </a:moveTo>
                  <a:cubicBezTo>
                    <a:pt x="116434" y="13237"/>
                    <a:pt x="193098" y="62926"/>
                    <a:pt x="168963" y="185021"/>
                  </a:cubicBezTo>
                  <a:cubicBezTo>
                    <a:pt x="143408" y="307115"/>
                    <a:pt x="52547" y="240389"/>
                    <a:pt x="42610" y="233291"/>
                  </a:cubicBezTo>
                  <a:cubicBezTo>
                    <a:pt x="32672" y="226192"/>
                    <a:pt x="2858" y="150948"/>
                    <a:pt x="1438" y="116875"/>
                  </a:cubicBezTo>
                  <a:cubicBezTo>
                    <a:pt x="19" y="85642"/>
                    <a:pt x="-17018" y="-40712"/>
                    <a:pt x="116434" y="13237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6" name="任意多边形: 形状 10125">
              <a:extLst>
                <a:ext uri="{FF2B5EF4-FFF2-40B4-BE49-F238E27FC236}">
                  <a16:creationId xmlns:a16="http://schemas.microsoft.com/office/drawing/2014/main" id="{68A71A24-77EC-4BBF-B20B-92B7DE5D07A5}"/>
                </a:ext>
              </a:extLst>
            </p:cNvPr>
            <p:cNvSpPr/>
            <p:nvPr userDrawn="1"/>
          </p:nvSpPr>
          <p:spPr>
            <a:xfrm>
              <a:off x="9626569" y="3499958"/>
              <a:ext cx="184561" cy="198758"/>
            </a:xfrm>
            <a:custGeom>
              <a:avLst/>
              <a:gdLst>
                <a:gd name="connsiteX0" fmla="*/ 118436 w 184561"/>
                <a:gd name="connsiteY0" fmla="*/ 48960 h 198758"/>
                <a:gd name="connsiteX1" fmla="*/ 68746 w 184561"/>
                <a:gd name="connsiteY1" fmla="*/ 111427 h 198758"/>
                <a:gd name="connsiteX2" fmla="*/ 24735 w 184561"/>
                <a:gd name="connsiteY2" fmla="*/ 192350 h 198758"/>
                <a:gd name="connsiteX3" fmla="*/ 2020 w 184561"/>
                <a:gd name="connsiteY3" fmla="*/ 73095 h 198758"/>
                <a:gd name="connsiteX4" fmla="*/ 119855 w 184561"/>
                <a:gd name="connsiteY4" fmla="*/ 17727 h 198758"/>
                <a:gd name="connsiteX5" fmla="*/ 189421 w 184561"/>
                <a:gd name="connsiteY5" fmla="*/ 154018 h 198758"/>
                <a:gd name="connsiteX6" fmla="*/ 118436 w 184561"/>
                <a:gd name="connsiteY6" fmla="*/ 489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98758">
                  <a:moveTo>
                    <a:pt x="118436" y="48960"/>
                  </a:moveTo>
                  <a:cubicBezTo>
                    <a:pt x="109917" y="46121"/>
                    <a:pt x="82943" y="98650"/>
                    <a:pt x="68746" y="111427"/>
                  </a:cubicBezTo>
                  <a:cubicBezTo>
                    <a:pt x="54549" y="124204"/>
                    <a:pt x="27575" y="156858"/>
                    <a:pt x="24735" y="192350"/>
                  </a:cubicBezTo>
                  <a:cubicBezTo>
                    <a:pt x="21896" y="227843"/>
                    <a:pt x="-7918" y="114267"/>
                    <a:pt x="2020" y="73095"/>
                  </a:cubicBezTo>
                  <a:cubicBezTo>
                    <a:pt x="11958" y="30504"/>
                    <a:pt x="26155" y="-30543"/>
                    <a:pt x="119855" y="17727"/>
                  </a:cubicBezTo>
                  <a:cubicBezTo>
                    <a:pt x="213556" y="65997"/>
                    <a:pt x="189421" y="154018"/>
                    <a:pt x="189421" y="154018"/>
                  </a:cubicBezTo>
                  <a:cubicBezTo>
                    <a:pt x="189421" y="154018"/>
                    <a:pt x="159607" y="60318"/>
                    <a:pt x="118436" y="48960"/>
                  </a:cubicBezTo>
                  <a:close/>
                </a:path>
              </a:pathLst>
            </a:custGeom>
            <a:solidFill>
              <a:srgbClr val="3B3B4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7" name="任意多边形: 形状 10126">
              <a:extLst>
                <a:ext uri="{FF2B5EF4-FFF2-40B4-BE49-F238E27FC236}">
                  <a16:creationId xmlns:a16="http://schemas.microsoft.com/office/drawing/2014/main" id="{78263E55-9236-457F-B01C-6643470F6015}"/>
                </a:ext>
              </a:extLst>
            </p:cNvPr>
            <p:cNvSpPr/>
            <p:nvPr userDrawn="1"/>
          </p:nvSpPr>
          <p:spPr>
            <a:xfrm>
              <a:off x="9645625" y="3616017"/>
              <a:ext cx="28394" cy="56788"/>
            </a:xfrm>
            <a:custGeom>
              <a:avLst/>
              <a:gdLst>
                <a:gd name="connsiteX0" fmla="*/ 34073 w 28394"/>
                <a:gd name="connsiteY0" fmla="*/ 16663 h 56788"/>
                <a:gd name="connsiteX1" fmla="*/ 0 w 28394"/>
                <a:gd name="connsiteY1" fmla="*/ 12404 h 56788"/>
                <a:gd name="connsiteX2" fmla="*/ 28394 w 28394"/>
                <a:gd name="connsiteY2" fmla="*/ 57835 h 56788"/>
                <a:gd name="connsiteX3" fmla="*/ 34073 w 28394"/>
                <a:gd name="connsiteY3" fmla="*/ 16663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34073" y="16663"/>
                  </a:moveTo>
                  <a:cubicBezTo>
                    <a:pt x="31234" y="2466"/>
                    <a:pt x="0" y="-10311"/>
                    <a:pt x="0" y="12404"/>
                  </a:cubicBezTo>
                  <a:cubicBezTo>
                    <a:pt x="0" y="33700"/>
                    <a:pt x="18456" y="59254"/>
                    <a:pt x="28394" y="57835"/>
                  </a:cubicBezTo>
                  <a:cubicBezTo>
                    <a:pt x="38332" y="54995"/>
                    <a:pt x="36912" y="29441"/>
                    <a:pt x="34073" y="16663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8" name="任意多边形: 形状 10127">
              <a:extLst>
                <a:ext uri="{FF2B5EF4-FFF2-40B4-BE49-F238E27FC236}">
                  <a16:creationId xmlns:a16="http://schemas.microsoft.com/office/drawing/2014/main" id="{7691DDB3-4607-4DC4-A270-E5B923DAAD73}"/>
                </a:ext>
              </a:extLst>
            </p:cNvPr>
            <p:cNvSpPr/>
            <p:nvPr userDrawn="1"/>
          </p:nvSpPr>
          <p:spPr>
            <a:xfrm>
              <a:off x="9676859" y="3743417"/>
              <a:ext cx="70985" cy="42591"/>
            </a:xfrm>
            <a:custGeom>
              <a:avLst/>
              <a:gdLst>
                <a:gd name="connsiteX0" fmla="*/ 73824 w 70985"/>
                <a:gd name="connsiteY0" fmla="*/ 42591 h 42591"/>
                <a:gd name="connsiteX1" fmla="*/ 73824 w 70985"/>
                <a:gd name="connsiteY1" fmla="*/ 42591 h 42591"/>
                <a:gd name="connsiteX2" fmla="*/ 0 w 70985"/>
                <a:gd name="connsiteY2" fmla="*/ 0 h 42591"/>
                <a:gd name="connsiteX3" fmla="*/ 73824 w 70985"/>
                <a:gd name="connsiteY3" fmla="*/ 24135 h 42591"/>
                <a:gd name="connsiteX4" fmla="*/ 73824 w 70985"/>
                <a:gd name="connsiteY4" fmla="*/ 25555 h 42591"/>
                <a:gd name="connsiteX5" fmla="*/ 73824 w 70985"/>
                <a:gd name="connsiteY5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42591">
                  <a:moveTo>
                    <a:pt x="73824" y="42591"/>
                  </a:moveTo>
                  <a:lnTo>
                    <a:pt x="73824" y="42591"/>
                  </a:lnTo>
                  <a:cubicBezTo>
                    <a:pt x="18456" y="42591"/>
                    <a:pt x="0" y="0"/>
                    <a:pt x="0" y="0"/>
                  </a:cubicBezTo>
                  <a:cubicBezTo>
                    <a:pt x="38332" y="29814"/>
                    <a:pt x="69565" y="24135"/>
                    <a:pt x="73824" y="24135"/>
                  </a:cubicBezTo>
                  <a:cubicBezTo>
                    <a:pt x="73824" y="24135"/>
                    <a:pt x="73824" y="25555"/>
                    <a:pt x="73824" y="25555"/>
                  </a:cubicBezTo>
                  <a:cubicBezTo>
                    <a:pt x="72404" y="34073"/>
                    <a:pt x="72404" y="35493"/>
                    <a:pt x="73824" y="42591"/>
                  </a:cubicBezTo>
                  <a:close/>
                </a:path>
              </a:pathLst>
            </a:custGeom>
            <a:solidFill>
              <a:srgbClr val="A8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9" name="任意多边形: 形状 10128">
              <a:extLst>
                <a:ext uri="{FF2B5EF4-FFF2-40B4-BE49-F238E27FC236}">
                  <a16:creationId xmlns:a16="http://schemas.microsoft.com/office/drawing/2014/main" id="{92CC1FE0-BBF9-498A-86A1-10F5B86DC5F9}"/>
                </a:ext>
              </a:extLst>
            </p:cNvPr>
            <p:cNvSpPr/>
            <p:nvPr userDrawn="1"/>
          </p:nvSpPr>
          <p:spPr>
            <a:xfrm>
              <a:off x="4849645" y="5042445"/>
              <a:ext cx="255546" cy="113576"/>
            </a:xfrm>
            <a:custGeom>
              <a:avLst/>
              <a:gdLst>
                <a:gd name="connsiteX0" fmla="*/ 200405 w 255546"/>
                <a:gd name="connsiteY0" fmla="*/ 0 h 113576"/>
                <a:gd name="connsiteX1" fmla="*/ 137938 w 255546"/>
                <a:gd name="connsiteY1" fmla="*/ 36912 h 113576"/>
                <a:gd name="connsiteX2" fmla="*/ 3067 w 255546"/>
                <a:gd name="connsiteY2" fmla="*/ 53949 h 113576"/>
                <a:gd name="connsiteX3" fmla="*/ 227 w 255546"/>
                <a:gd name="connsiteY3" fmla="*/ 89441 h 113576"/>
                <a:gd name="connsiteX4" fmla="*/ 193307 w 255546"/>
                <a:gd name="connsiteY4" fmla="*/ 102219 h 113576"/>
                <a:gd name="connsiteX5" fmla="*/ 196146 w 255546"/>
                <a:gd name="connsiteY5" fmla="*/ 112156 h 113576"/>
                <a:gd name="connsiteX6" fmla="*/ 261452 w 255546"/>
                <a:gd name="connsiteY6" fmla="*/ 116416 h 113576"/>
                <a:gd name="connsiteX7" fmla="*/ 262872 w 255546"/>
                <a:gd name="connsiteY7" fmla="*/ 32653 h 113576"/>
                <a:gd name="connsiteX8" fmla="*/ 200405 w 255546"/>
                <a:gd name="connsiteY8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46" h="113576">
                  <a:moveTo>
                    <a:pt x="200405" y="0"/>
                  </a:moveTo>
                  <a:cubicBezTo>
                    <a:pt x="200405" y="0"/>
                    <a:pt x="160653" y="35493"/>
                    <a:pt x="137938" y="36912"/>
                  </a:cubicBezTo>
                  <a:cubicBezTo>
                    <a:pt x="115223" y="38332"/>
                    <a:pt x="8745" y="52529"/>
                    <a:pt x="3067" y="53949"/>
                  </a:cubicBezTo>
                  <a:cubicBezTo>
                    <a:pt x="-1193" y="55368"/>
                    <a:pt x="227" y="89441"/>
                    <a:pt x="227" y="89441"/>
                  </a:cubicBezTo>
                  <a:cubicBezTo>
                    <a:pt x="227" y="89441"/>
                    <a:pt x="140778" y="124934"/>
                    <a:pt x="193307" y="102219"/>
                  </a:cubicBezTo>
                  <a:lnTo>
                    <a:pt x="196146" y="112156"/>
                  </a:lnTo>
                  <a:cubicBezTo>
                    <a:pt x="196146" y="112156"/>
                    <a:pt x="258613" y="122094"/>
                    <a:pt x="261452" y="116416"/>
                  </a:cubicBezTo>
                  <a:cubicBezTo>
                    <a:pt x="264292" y="110737"/>
                    <a:pt x="268551" y="52529"/>
                    <a:pt x="262872" y="32653"/>
                  </a:cubicBezTo>
                  <a:cubicBezTo>
                    <a:pt x="255774" y="14197"/>
                    <a:pt x="200405" y="0"/>
                    <a:pt x="200405" y="0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0" name="任意多边形: 形状 10129">
              <a:extLst>
                <a:ext uri="{FF2B5EF4-FFF2-40B4-BE49-F238E27FC236}">
                  <a16:creationId xmlns:a16="http://schemas.microsoft.com/office/drawing/2014/main" id="{368257D0-E074-4B12-AA46-1730CD9E8A06}"/>
                </a:ext>
              </a:extLst>
            </p:cNvPr>
            <p:cNvSpPr/>
            <p:nvPr userDrawn="1"/>
          </p:nvSpPr>
          <p:spPr>
            <a:xfrm>
              <a:off x="5050050" y="5018310"/>
              <a:ext cx="70985" cy="42591"/>
            </a:xfrm>
            <a:custGeom>
              <a:avLst/>
              <a:gdLst>
                <a:gd name="connsiteX0" fmla="*/ 12777 w 70985"/>
                <a:gd name="connsiteY0" fmla="*/ 0 h 42591"/>
                <a:gd name="connsiteX1" fmla="*/ 0 w 70985"/>
                <a:gd name="connsiteY1" fmla="*/ 24135 h 42591"/>
                <a:gd name="connsiteX2" fmla="*/ 62467 w 70985"/>
                <a:gd name="connsiteY2" fmla="*/ 56788 h 42591"/>
                <a:gd name="connsiteX3" fmla="*/ 79503 w 70985"/>
                <a:gd name="connsiteY3" fmla="*/ 34073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85" h="42591">
                  <a:moveTo>
                    <a:pt x="12777" y="0"/>
                  </a:moveTo>
                  <a:lnTo>
                    <a:pt x="0" y="24135"/>
                  </a:lnTo>
                  <a:lnTo>
                    <a:pt x="62467" y="56788"/>
                  </a:lnTo>
                  <a:lnTo>
                    <a:pt x="79503" y="34073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1" name="任意多边形: 形状 10130">
              <a:extLst>
                <a:ext uri="{FF2B5EF4-FFF2-40B4-BE49-F238E27FC236}">
                  <a16:creationId xmlns:a16="http://schemas.microsoft.com/office/drawing/2014/main" id="{230BC8EB-0EEC-439B-BF2D-552F91384738}"/>
                </a:ext>
              </a:extLst>
            </p:cNvPr>
            <p:cNvSpPr/>
            <p:nvPr userDrawn="1"/>
          </p:nvSpPr>
          <p:spPr>
            <a:xfrm>
              <a:off x="4578709" y="4807897"/>
              <a:ext cx="184561" cy="241349"/>
            </a:xfrm>
            <a:custGeom>
              <a:avLst/>
              <a:gdLst>
                <a:gd name="connsiteX0" fmla="*/ 178882 w 184561"/>
                <a:gd name="connsiteY0" fmla="*/ 142267 h 241349"/>
                <a:gd name="connsiteX1" fmla="*/ 117835 w 184561"/>
                <a:gd name="connsiteY1" fmla="*/ 112453 h 241349"/>
                <a:gd name="connsiteX2" fmla="*/ 31233 w 184561"/>
                <a:gd name="connsiteY2" fmla="*/ 297 h 241349"/>
                <a:gd name="connsiteX3" fmla="*/ 0 w 184561"/>
                <a:gd name="connsiteY3" fmla="*/ 15914 h 241349"/>
                <a:gd name="connsiteX4" fmla="*/ 88022 w 184561"/>
                <a:gd name="connsiteY4" fmla="*/ 187698 h 241349"/>
                <a:gd name="connsiteX5" fmla="*/ 80923 w 184561"/>
                <a:gd name="connsiteY5" fmla="*/ 196216 h 241349"/>
                <a:gd name="connsiteX6" fmla="*/ 110737 w 184561"/>
                <a:gd name="connsiteY6" fmla="*/ 254424 h 241349"/>
                <a:gd name="connsiteX7" fmla="*/ 183142 w 184561"/>
                <a:gd name="connsiteY7" fmla="*/ 211833 h 241349"/>
                <a:gd name="connsiteX8" fmla="*/ 178882 w 184561"/>
                <a:gd name="connsiteY8" fmla="*/ 142267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561" h="241349">
                  <a:moveTo>
                    <a:pt x="178882" y="142267"/>
                  </a:moveTo>
                  <a:cubicBezTo>
                    <a:pt x="178882" y="142267"/>
                    <a:pt x="130613" y="130910"/>
                    <a:pt x="117835" y="112453"/>
                  </a:cubicBezTo>
                  <a:cubicBezTo>
                    <a:pt x="105058" y="93997"/>
                    <a:pt x="35493" y="4556"/>
                    <a:pt x="31233" y="297"/>
                  </a:cubicBezTo>
                  <a:cubicBezTo>
                    <a:pt x="26974" y="-2542"/>
                    <a:pt x="0" y="15914"/>
                    <a:pt x="0" y="15914"/>
                  </a:cubicBezTo>
                  <a:cubicBezTo>
                    <a:pt x="0" y="15914"/>
                    <a:pt x="41171" y="155045"/>
                    <a:pt x="88022" y="187698"/>
                  </a:cubicBezTo>
                  <a:lnTo>
                    <a:pt x="80923" y="196216"/>
                  </a:lnTo>
                  <a:cubicBezTo>
                    <a:pt x="80923" y="196216"/>
                    <a:pt x="105058" y="254424"/>
                    <a:pt x="110737" y="254424"/>
                  </a:cubicBezTo>
                  <a:cubicBezTo>
                    <a:pt x="116416" y="254424"/>
                    <a:pt x="168945" y="227449"/>
                    <a:pt x="183142" y="211833"/>
                  </a:cubicBezTo>
                  <a:cubicBezTo>
                    <a:pt x="197339" y="197636"/>
                    <a:pt x="178882" y="142267"/>
                    <a:pt x="178882" y="142267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2" name="任意多边形: 形状 10131">
              <a:extLst>
                <a:ext uri="{FF2B5EF4-FFF2-40B4-BE49-F238E27FC236}">
                  <a16:creationId xmlns:a16="http://schemas.microsoft.com/office/drawing/2014/main" id="{8EAFD33B-F3CB-4E6B-87C1-79B64E974F01}"/>
                </a:ext>
              </a:extLst>
            </p:cNvPr>
            <p:cNvSpPr/>
            <p:nvPr userDrawn="1"/>
          </p:nvSpPr>
          <p:spPr>
            <a:xfrm>
              <a:off x="4757591" y="4948745"/>
              <a:ext cx="28394" cy="70985"/>
            </a:xfrm>
            <a:custGeom>
              <a:avLst/>
              <a:gdLst>
                <a:gd name="connsiteX0" fmla="*/ 28394 w 28394"/>
                <a:gd name="connsiteY0" fmla="*/ 0 h 70985"/>
                <a:gd name="connsiteX1" fmla="*/ 0 w 28394"/>
                <a:gd name="connsiteY1" fmla="*/ 1420 h 70985"/>
                <a:gd name="connsiteX2" fmla="*/ 4259 w 28394"/>
                <a:gd name="connsiteY2" fmla="*/ 72405 h 70985"/>
                <a:gd name="connsiteX3" fmla="*/ 34073 w 28394"/>
                <a:gd name="connsiteY3" fmla="*/ 75244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70985">
                  <a:moveTo>
                    <a:pt x="28394" y="0"/>
                  </a:moveTo>
                  <a:lnTo>
                    <a:pt x="0" y="1420"/>
                  </a:lnTo>
                  <a:lnTo>
                    <a:pt x="4259" y="72405"/>
                  </a:lnTo>
                  <a:lnTo>
                    <a:pt x="34073" y="75244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3" name="任意多边形: 形状 10132">
              <a:extLst>
                <a:ext uri="{FF2B5EF4-FFF2-40B4-BE49-F238E27FC236}">
                  <a16:creationId xmlns:a16="http://schemas.microsoft.com/office/drawing/2014/main" id="{AE48A564-535A-447F-A73A-00D15308C562}"/>
                </a:ext>
              </a:extLst>
            </p:cNvPr>
            <p:cNvSpPr/>
            <p:nvPr userDrawn="1"/>
          </p:nvSpPr>
          <p:spPr>
            <a:xfrm>
              <a:off x="4767529" y="4833749"/>
              <a:ext cx="1050579" cy="198758"/>
            </a:xfrm>
            <a:custGeom>
              <a:avLst/>
              <a:gdLst>
                <a:gd name="connsiteX0" fmla="*/ 0 w 1050579"/>
                <a:gd name="connsiteY0" fmla="*/ 106478 h 198758"/>
                <a:gd name="connsiteX1" fmla="*/ 9938 w 1050579"/>
                <a:gd name="connsiteY1" fmla="*/ 207276 h 198758"/>
                <a:gd name="connsiteX2" fmla="*/ 364863 w 1050579"/>
                <a:gd name="connsiteY2" fmla="*/ 180302 h 198758"/>
                <a:gd name="connsiteX3" fmla="*/ 552264 w 1050579"/>
                <a:gd name="connsiteY3" fmla="*/ 168945 h 198758"/>
                <a:gd name="connsiteX4" fmla="*/ 908609 w 1050579"/>
                <a:gd name="connsiteY4" fmla="*/ 173204 h 198758"/>
                <a:gd name="connsiteX5" fmla="*/ 973916 w 1050579"/>
                <a:gd name="connsiteY5" fmla="*/ 173204 h 198758"/>
                <a:gd name="connsiteX6" fmla="*/ 973916 w 1050579"/>
                <a:gd name="connsiteY6" fmla="*/ 173204 h 198758"/>
                <a:gd name="connsiteX7" fmla="*/ 1047740 w 1050579"/>
                <a:gd name="connsiteY7" fmla="*/ 173204 h 198758"/>
                <a:gd name="connsiteX8" fmla="*/ 769478 w 1050579"/>
                <a:gd name="connsiteY8" fmla="*/ 0 h 198758"/>
                <a:gd name="connsiteX9" fmla="*/ 492637 w 1050579"/>
                <a:gd name="connsiteY9" fmla="*/ 51109 h 198758"/>
                <a:gd name="connsiteX10" fmla="*/ 208696 w 1050579"/>
                <a:gd name="connsiteY10" fmla="*/ 92281 h 198758"/>
                <a:gd name="connsiteX11" fmla="*/ 0 w 1050579"/>
                <a:gd name="connsiteY11" fmla="*/ 106478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579" h="198758">
                  <a:moveTo>
                    <a:pt x="0" y="106478"/>
                  </a:moveTo>
                  <a:lnTo>
                    <a:pt x="9938" y="207276"/>
                  </a:lnTo>
                  <a:cubicBezTo>
                    <a:pt x="9938" y="207276"/>
                    <a:pt x="306656" y="184561"/>
                    <a:pt x="364863" y="180302"/>
                  </a:cubicBezTo>
                  <a:cubicBezTo>
                    <a:pt x="421651" y="177463"/>
                    <a:pt x="498315" y="166105"/>
                    <a:pt x="552264" y="168945"/>
                  </a:cubicBezTo>
                  <a:cubicBezTo>
                    <a:pt x="586337" y="170364"/>
                    <a:pt x="775157" y="171784"/>
                    <a:pt x="908609" y="173204"/>
                  </a:cubicBezTo>
                  <a:cubicBezTo>
                    <a:pt x="932744" y="173204"/>
                    <a:pt x="954040" y="173204"/>
                    <a:pt x="973916" y="173204"/>
                  </a:cubicBezTo>
                  <a:cubicBezTo>
                    <a:pt x="973916" y="173204"/>
                    <a:pt x="973916" y="173204"/>
                    <a:pt x="973916" y="173204"/>
                  </a:cubicBezTo>
                  <a:cubicBezTo>
                    <a:pt x="1016507" y="173204"/>
                    <a:pt x="1044901" y="173204"/>
                    <a:pt x="1047740" y="173204"/>
                  </a:cubicBezTo>
                  <a:cubicBezTo>
                    <a:pt x="1057678" y="171784"/>
                    <a:pt x="1140021" y="28394"/>
                    <a:pt x="769478" y="0"/>
                  </a:cubicBezTo>
                  <a:cubicBezTo>
                    <a:pt x="769478" y="0"/>
                    <a:pt x="535228" y="44011"/>
                    <a:pt x="492637" y="51109"/>
                  </a:cubicBezTo>
                  <a:cubicBezTo>
                    <a:pt x="450046" y="56788"/>
                    <a:pt x="256966" y="90861"/>
                    <a:pt x="208696" y="92281"/>
                  </a:cubicBezTo>
                  <a:cubicBezTo>
                    <a:pt x="157587" y="92281"/>
                    <a:pt x="0" y="106478"/>
                    <a:pt x="0" y="106478"/>
                  </a:cubicBezTo>
                  <a:close/>
                </a:path>
              </a:pathLst>
            </a:custGeom>
            <a:solidFill>
              <a:srgbClr val="995D3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4" name="任意多边形: 形状 10133">
              <a:extLst>
                <a:ext uri="{FF2B5EF4-FFF2-40B4-BE49-F238E27FC236}">
                  <a16:creationId xmlns:a16="http://schemas.microsoft.com/office/drawing/2014/main" id="{61669022-47CD-4B2D-877E-A76286405A6E}"/>
                </a:ext>
              </a:extLst>
            </p:cNvPr>
            <p:cNvSpPr/>
            <p:nvPr userDrawn="1"/>
          </p:nvSpPr>
          <p:spPr>
            <a:xfrm>
              <a:off x="5830886" y="4598078"/>
              <a:ext cx="241349" cy="28394"/>
            </a:xfrm>
            <a:custGeom>
              <a:avLst/>
              <a:gdLst>
                <a:gd name="connsiteX0" fmla="*/ 0 w 241349"/>
                <a:gd name="connsiteY0" fmla="*/ 38332 h 28394"/>
                <a:gd name="connsiteX1" fmla="*/ 249868 w 241349"/>
                <a:gd name="connsiteY1" fmla="*/ 38332 h 28394"/>
                <a:gd name="connsiteX2" fmla="*/ 237090 w 241349"/>
                <a:gd name="connsiteY2" fmla="*/ 8518 h 28394"/>
                <a:gd name="connsiteX3" fmla="*/ 234251 w 241349"/>
                <a:gd name="connsiteY3" fmla="*/ 0 h 28394"/>
                <a:gd name="connsiteX4" fmla="*/ 1420 w 241349"/>
                <a:gd name="connsiteY4" fmla="*/ 0 h 28394"/>
                <a:gd name="connsiteX5" fmla="*/ 0 w 241349"/>
                <a:gd name="connsiteY5" fmla="*/ 38332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49" h="28394">
                  <a:moveTo>
                    <a:pt x="0" y="38332"/>
                  </a:moveTo>
                  <a:lnTo>
                    <a:pt x="249868" y="38332"/>
                  </a:lnTo>
                  <a:cubicBezTo>
                    <a:pt x="242769" y="19876"/>
                    <a:pt x="237090" y="8518"/>
                    <a:pt x="237090" y="8518"/>
                  </a:cubicBezTo>
                  <a:cubicBezTo>
                    <a:pt x="235671" y="5679"/>
                    <a:pt x="235671" y="2839"/>
                    <a:pt x="234251" y="0"/>
                  </a:cubicBezTo>
                  <a:lnTo>
                    <a:pt x="1420" y="0"/>
                  </a:lnTo>
                  <a:lnTo>
                    <a:pt x="0" y="38332"/>
                  </a:lnTo>
                  <a:close/>
                </a:path>
              </a:pathLst>
            </a:custGeom>
            <a:solidFill>
              <a:srgbClr val="3C639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5" name="任意多边形: 形状 10134">
              <a:extLst>
                <a:ext uri="{FF2B5EF4-FFF2-40B4-BE49-F238E27FC236}">
                  <a16:creationId xmlns:a16="http://schemas.microsoft.com/office/drawing/2014/main" id="{F31E0A76-7270-40DF-9BE2-7F128F6B3B5C}"/>
                </a:ext>
              </a:extLst>
            </p:cNvPr>
            <p:cNvSpPr/>
            <p:nvPr userDrawn="1"/>
          </p:nvSpPr>
          <p:spPr>
            <a:xfrm>
              <a:off x="5578414" y="4299758"/>
              <a:ext cx="354926" cy="582078"/>
            </a:xfrm>
            <a:custGeom>
              <a:avLst/>
              <a:gdLst>
                <a:gd name="connsiteX0" fmla="*/ 106242 w 354925"/>
                <a:gd name="connsiteY0" fmla="*/ 28577 h 582077"/>
                <a:gd name="connsiteX1" fmla="*/ 5444 w 354925"/>
                <a:gd name="connsiteY1" fmla="*/ 79686 h 582077"/>
                <a:gd name="connsiteX2" fmla="*/ 16801 w 354925"/>
                <a:gd name="connsiteY2" fmla="*/ 294061 h 582077"/>
                <a:gd name="connsiteX3" fmla="*/ 15381 w 354925"/>
                <a:gd name="connsiteY3" fmla="*/ 485721 h 582077"/>
                <a:gd name="connsiteX4" fmla="*/ 317778 w 354925"/>
                <a:gd name="connsiteY4" fmla="*/ 592198 h 582077"/>
                <a:gd name="connsiteX5" fmla="*/ 346172 w 354925"/>
                <a:gd name="connsiteY5" fmla="*/ 379243 h 582077"/>
                <a:gd name="connsiteX6" fmla="*/ 356110 w 354925"/>
                <a:gd name="connsiteY6" fmla="*/ 177645 h 582077"/>
                <a:gd name="connsiteX7" fmla="*/ 366048 w 354925"/>
                <a:gd name="connsiteY7" fmla="*/ 41354 h 582077"/>
                <a:gd name="connsiteX8" fmla="*/ 209881 w 354925"/>
                <a:gd name="connsiteY8" fmla="*/ 183 h 582077"/>
                <a:gd name="connsiteX9" fmla="*/ 106242 w 354925"/>
                <a:gd name="connsiteY9" fmla="*/ 28577 h 58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4925" h="582077">
                  <a:moveTo>
                    <a:pt x="106242" y="28577"/>
                  </a:moveTo>
                  <a:cubicBezTo>
                    <a:pt x="106242" y="28577"/>
                    <a:pt x="22480" y="56971"/>
                    <a:pt x="5444" y="79686"/>
                  </a:cubicBezTo>
                  <a:cubicBezTo>
                    <a:pt x="-11593" y="100981"/>
                    <a:pt x="16801" y="294061"/>
                    <a:pt x="16801" y="294061"/>
                  </a:cubicBezTo>
                  <a:lnTo>
                    <a:pt x="15381" y="485721"/>
                  </a:lnTo>
                  <a:cubicBezTo>
                    <a:pt x="15381" y="485721"/>
                    <a:pt x="211300" y="586519"/>
                    <a:pt x="317778" y="592198"/>
                  </a:cubicBezTo>
                  <a:cubicBezTo>
                    <a:pt x="317778" y="592198"/>
                    <a:pt x="347592" y="444549"/>
                    <a:pt x="346172" y="379243"/>
                  </a:cubicBezTo>
                  <a:cubicBezTo>
                    <a:pt x="344752" y="313937"/>
                    <a:pt x="356110" y="177645"/>
                    <a:pt x="356110" y="177645"/>
                  </a:cubicBezTo>
                  <a:cubicBezTo>
                    <a:pt x="356110" y="177645"/>
                    <a:pt x="346172" y="72587"/>
                    <a:pt x="366048" y="41354"/>
                  </a:cubicBezTo>
                  <a:cubicBezTo>
                    <a:pt x="366048" y="41354"/>
                    <a:pt x="251052" y="1602"/>
                    <a:pt x="209881" y="183"/>
                  </a:cubicBezTo>
                  <a:cubicBezTo>
                    <a:pt x="170129" y="-2657"/>
                    <a:pt x="106242" y="28577"/>
                    <a:pt x="106242" y="28577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6" name="任意多边形: 形状 10135">
              <a:extLst>
                <a:ext uri="{FF2B5EF4-FFF2-40B4-BE49-F238E27FC236}">
                  <a16:creationId xmlns:a16="http://schemas.microsoft.com/office/drawing/2014/main" id="{FAE7313D-A8CD-4451-BA07-9EA9A9D9B764}"/>
                </a:ext>
              </a:extLst>
            </p:cNvPr>
            <p:cNvSpPr/>
            <p:nvPr userDrawn="1"/>
          </p:nvSpPr>
          <p:spPr>
            <a:xfrm>
              <a:off x="5825207" y="4338273"/>
              <a:ext cx="298137" cy="369123"/>
            </a:xfrm>
            <a:custGeom>
              <a:avLst/>
              <a:gdLst>
                <a:gd name="connsiteX0" fmla="*/ 120675 w 298137"/>
                <a:gd name="connsiteY0" fmla="*/ 0 h 369122"/>
                <a:gd name="connsiteX1" fmla="*/ 184561 w 298137"/>
                <a:gd name="connsiteY1" fmla="*/ 69565 h 369122"/>
                <a:gd name="connsiteX2" fmla="*/ 300977 w 298137"/>
                <a:gd name="connsiteY2" fmla="*/ 271163 h 369122"/>
                <a:gd name="connsiteX3" fmla="*/ 235671 w 298137"/>
                <a:gd name="connsiteY3" fmla="*/ 318013 h 369122"/>
                <a:gd name="connsiteX4" fmla="*/ 28394 w 298137"/>
                <a:gd name="connsiteY4" fmla="*/ 376221 h 369122"/>
                <a:gd name="connsiteX5" fmla="*/ 0 w 298137"/>
                <a:gd name="connsiteY5" fmla="*/ 312334 h 369122"/>
                <a:gd name="connsiteX6" fmla="*/ 184561 w 298137"/>
                <a:gd name="connsiteY6" fmla="*/ 254127 h 369122"/>
                <a:gd name="connsiteX7" fmla="*/ 110737 w 298137"/>
                <a:gd name="connsiteY7" fmla="*/ 146229 h 369122"/>
                <a:gd name="connsiteX8" fmla="*/ 120675 w 298137"/>
                <a:gd name="connsiteY8" fmla="*/ 0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137" h="369122">
                  <a:moveTo>
                    <a:pt x="120675" y="0"/>
                  </a:moveTo>
                  <a:cubicBezTo>
                    <a:pt x="120675" y="0"/>
                    <a:pt x="170364" y="48270"/>
                    <a:pt x="184561" y="69565"/>
                  </a:cubicBezTo>
                  <a:cubicBezTo>
                    <a:pt x="201598" y="93700"/>
                    <a:pt x="305236" y="254127"/>
                    <a:pt x="300977" y="271163"/>
                  </a:cubicBezTo>
                  <a:cubicBezTo>
                    <a:pt x="298137" y="289619"/>
                    <a:pt x="282521" y="303816"/>
                    <a:pt x="235671" y="318013"/>
                  </a:cubicBezTo>
                  <a:cubicBezTo>
                    <a:pt x="187401" y="330791"/>
                    <a:pt x="28394" y="376221"/>
                    <a:pt x="28394" y="376221"/>
                  </a:cubicBezTo>
                  <a:lnTo>
                    <a:pt x="0" y="312334"/>
                  </a:lnTo>
                  <a:cubicBezTo>
                    <a:pt x="0" y="312334"/>
                    <a:pt x="166105" y="266904"/>
                    <a:pt x="184561" y="254127"/>
                  </a:cubicBezTo>
                  <a:cubicBezTo>
                    <a:pt x="203017" y="242769"/>
                    <a:pt x="110737" y="146229"/>
                    <a:pt x="110737" y="146229"/>
                  </a:cubicBezTo>
                  <a:cubicBezTo>
                    <a:pt x="110737" y="146229"/>
                    <a:pt x="70985" y="28394"/>
                    <a:pt x="120675" y="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7" name="任意多边形: 形状 10136">
              <a:extLst>
                <a:ext uri="{FF2B5EF4-FFF2-40B4-BE49-F238E27FC236}">
                  <a16:creationId xmlns:a16="http://schemas.microsoft.com/office/drawing/2014/main" id="{00836333-EF66-45DE-9ED0-1DE7F36C5B3D}"/>
                </a:ext>
              </a:extLst>
            </p:cNvPr>
            <p:cNvSpPr/>
            <p:nvPr userDrawn="1"/>
          </p:nvSpPr>
          <p:spPr>
            <a:xfrm>
              <a:off x="5464825" y="4379384"/>
              <a:ext cx="141970" cy="198758"/>
            </a:xfrm>
            <a:custGeom>
              <a:avLst/>
              <a:gdLst>
                <a:gd name="connsiteX0" fmla="*/ 119033 w 141970"/>
                <a:gd name="connsiteY0" fmla="*/ 60 h 198758"/>
                <a:gd name="connsiteX1" fmla="*/ 1197 w 141970"/>
                <a:gd name="connsiteY1" fmla="*/ 164745 h 198758"/>
                <a:gd name="connsiteX2" fmla="*/ 82120 w 141970"/>
                <a:gd name="connsiteY2" fmla="*/ 207336 h 198758"/>
                <a:gd name="connsiteX3" fmla="*/ 143168 w 141970"/>
                <a:gd name="connsiteY3" fmla="*/ 103698 h 198758"/>
                <a:gd name="connsiteX4" fmla="*/ 119033 w 141970"/>
                <a:gd name="connsiteY4" fmla="*/ 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70" h="198758">
                  <a:moveTo>
                    <a:pt x="119033" y="60"/>
                  </a:moveTo>
                  <a:cubicBezTo>
                    <a:pt x="119033" y="60"/>
                    <a:pt x="13975" y="150548"/>
                    <a:pt x="1197" y="164745"/>
                  </a:cubicBezTo>
                  <a:cubicBezTo>
                    <a:pt x="-11580" y="178942"/>
                    <a:pt x="82120" y="207336"/>
                    <a:pt x="82120" y="207336"/>
                  </a:cubicBezTo>
                  <a:cubicBezTo>
                    <a:pt x="82120" y="207336"/>
                    <a:pt x="130390" y="110796"/>
                    <a:pt x="143168" y="103698"/>
                  </a:cubicBezTo>
                  <a:cubicBezTo>
                    <a:pt x="157365" y="96599"/>
                    <a:pt x="161624" y="-2780"/>
                    <a:pt x="119033" y="6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8" name="任意多边形: 形状 10137">
              <a:extLst>
                <a:ext uri="{FF2B5EF4-FFF2-40B4-BE49-F238E27FC236}">
                  <a16:creationId xmlns:a16="http://schemas.microsoft.com/office/drawing/2014/main" id="{154CB66F-4C4C-4C3B-9B15-166BD4B9166F}"/>
                </a:ext>
              </a:extLst>
            </p:cNvPr>
            <p:cNvSpPr/>
            <p:nvPr userDrawn="1"/>
          </p:nvSpPr>
          <p:spPr>
            <a:xfrm>
              <a:off x="5041531" y="4670275"/>
              <a:ext cx="851821" cy="397517"/>
            </a:xfrm>
            <a:custGeom>
              <a:avLst/>
              <a:gdLst>
                <a:gd name="connsiteX0" fmla="*/ 854661 w 851821"/>
                <a:gd name="connsiteY0" fmla="*/ 245816 h 397516"/>
                <a:gd name="connsiteX1" fmla="*/ 793613 w 851821"/>
                <a:gd name="connsiteY1" fmla="*/ 343775 h 397516"/>
                <a:gd name="connsiteX2" fmla="*/ 552264 w 851821"/>
                <a:gd name="connsiteY2" fmla="*/ 278469 h 397516"/>
                <a:gd name="connsiteX3" fmla="*/ 300977 w 851821"/>
                <a:gd name="connsiteY3" fmla="*/ 177670 h 397516"/>
                <a:gd name="connsiteX4" fmla="*/ 102219 w 851821"/>
                <a:gd name="connsiteY4" fmla="*/ 407662 h 397516"/>
                <a:gd name="connsiteX5" fmla="*/ 0 w 851821"/>
                <a:gd name="connsiteY5" fmla="*/ 360812 h 397516"/>
                <a:gd name="connsiteX6" fmla="*/ 198758 w 851821"/>
                <a:gd name="connsiteY6" fmla="*/ 79711 h 397516"/>
                <a:gd name="connsiteX7" fmla="*/ 283940 w 851821"/>
                <a:gd name="connsiteY7" fmla="*/ 208 h 397516"/>
                <a:gd name="connsiteX8" fmla="*/ 854661 w 851821"/>
                <a:gd name="connsiteY8" fmla="*/ 200386 h 397516"/>
                <a:gd name="connsiteX9" fmla="*/ 854661 w 851821"/>
                <a:gd name="connsiteY9" fmla="*/ 245816 h 39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1821" h="397516">
                  <a:moveTo>
                    <a:pt x="854661" y="245816"/>
                  </a:moveTo>
                  <a:cubicBezTo>
                    <a:pt x="854661" y="245816"/>
                    <a:pt x="861759" y="335257"/>
                    <a:pt x="793613" y="343775"/>
                  </a:cubicBezTo>
                  <a:cubicBezTo>
                    <a:pt x="725468" y="350874"/>
                    <a:pt x="650224" y="329578"/>
                    <a:pt x="552264" y="278469"/>
                  </a:cubicBezTo>
                  <a:cubicBezTo>
                    <a:pt x="454305" y="225940"/>
                    <a:pt x="323692" y="167732"/>
                    <a:pt x="300977" y="177670"/>
                  </a:cubicBezTo>
                  <a:cubicBezTo>
                    <a:pt x="278262" y="187608"/>
                    <a:pt x="102219" y="407662"/>
                    <a:pt x="102219" y="407662"/>
                  </a:cubicBezTo>
                  <a:lnTo>
                    <a:pt x="0" y="360812"/>
                  </a:lnTo>
                  <a:cubicBezTo>
                    <a:pt x="0" y="360812"/>
                    <a:pt x="190240" y="102426"/>
                    <a:pt x="198758" y="79711"/>
                  </a:cubicBezTo>
                  <a:cubicBezTo>
                    <a:pt x="207277" y="58415"/>
                    <a:pt x="244189" y="-4052"/>
                    <a:pt x="283940" y="208"/>
                  </a:cubicBezTo>
                  <a:cubicBezTo>
                    <a:pt x="322272" y="4467"/>
                    <a:pt x="854661" y="200386"/>
                    <a:pt x="854661" y="200386"/>
                  </a:cubicBezTo>
                  <a:lnTo>
                    <a:pt x="854661" y="245816"/>
                  </a:lnTo>
                  <a:close/>
                </a:path>
              </a:pathLst>
            </a:custGeom>
            <a:solidFill>
              <a:srgbClr val="A3633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9" name="任意多边形: 形状 10138">
              <a:extLst>
                <a:ext uri="{FF2B5EF4-FFF2-40B4-BE49-F238E27FC236}">
                  <a16:creationId xmlns:a16="http://schemas.microsoft.com/office/drawing/2014/main" id="{1AB554C6-C7C9-472D-81CB-7C3B4F9D994B}"/>
                </a:ext>
              </a:extLst>
            </p:cNvPr>
            <p:cNvSpPr/>
            <p:nvPr userDrawn="1"/>
          </p:nvSpPr>
          <p:spPr>
            <a:xfrm>
              <a:off x="5601097" y="4025955"/>
              <a:ext cx="184561" cy="269743"/>
            </a:xfrm>
            <a:custGeom>
              <a:avLst/>
              <a:gdLst>
                <a:gd name="connsiteX0" fmla="*/ 65104 w 184561"/>
                <a:gd name="connsiteY0" fmla="*/ 1403 h 269743"/>
                <a:gd name="connsiteX1" fmla="*/ 4057 w 184561"/>
                <a:gd name="connsiteY1" fmla="*/ 141953 h 269743"/>
                <a:gd name="connsiteX2" fmla="*/ 104855 w 184561"/>
                <a:gd name="connsiteY2" fmla="*/ 272566 h 269743"/>
                <a:gd name="connsiteX3" fmla="*/ 177260 w 184561"/>
                <a:gd name="connsiteY3" fmla="*/ 183125 h 269743"/>
                <a:gd name="connsiteX4" fmla="*/ 177260 w 184561"/>
                <a:gd name="connsiteY4" fmla="*/ 32636 h 269743"/>
                <a:gd name="connsiteX5" fmla="*/ 65104 w 184561"/>
                <a:gd name="connsiteY5" fmla="*/ 1403 h 26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561" h="269743">
                  <a:moveTo>
                    <a:pt x="65104" y="1403"/>
                  </a:moveTo>
                  <a:cubicBezTo>
                    <a:pt x="26772" y="5662"/>
                    <a:pt x="-12980" y="55352"/>
                    <a:pt x="4057" y="141953"/>
                  </a:cubicBezTo>
                  <a:cubicBezTo>
                    <a:pt x="21093" y="228555"/>
                    <a:pt x="65104" y="276825"/>
                    <a:pt x="104855" y="272566"/>
                  </a:cubicBezTo>
                  <a:cubicBezTo>
                    <a:pt x="144607" y="266887"/>
                    <a:pt x="155965" y="232814"/>
                    <a:pt x="177260" y="183125"/>
                  </a:cubicBezTo>
                  <a:cubicBezTo>
                    <a:pt x="197136" y="133435"/>
                    <a:pt x="197136" y="46833"/>
                    <a:pt x="177260" y="32636"/>
                  </a:cubicBezTo>
                  <a:cubicBezTo>
                    <a:pt x="155965" y="15600"/>
                    <a:pt x="138928" y="-5696"/>
                    <a:pt x="65104" y="140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0" name="任意多边形: 形状 10139">
              <a:extLst>
                <a:ext uri="{FF2B5EF4-FFF2-40B4-BE49-F238E27FC236}">
                  <a16:creationId xmlns:a16="http://schemas.microsoft.com/office/drawing/2014/main" id="{B7B55D01-FA75-4F0B-86E9-747BA357770C}"/>
                </a:ext>
              </a:extLst>
            </p:cNvPr>
            <p:cNvSpPr/>
            <p:nvPr userDrawn="1"/>
          </p:nvSpPr>
          <p:spPr>
            <a:xfrm>
              <a:off x="5680397" y="4177484"/>
              <a:ext cx="99379" cy="170364"/>
            </a:xfrm>
            <a:custGeom>
              <a:avLst/>
              <a:gdLst>
                <a:gd name="connsiteX0" fmla="*/ 0 w 99379"/>
                <a:gd name="connsiteY0" fmla="*/ 106840 h 170364"/>
                <a:gd name="connsiteX1" fmla="*/ 8518 w 99379"/>
                <a:gd name="connsiteY1" fmla="*/ 166468 h 170364"/>
                <a:gd name="connsiteX2" fmla="*/ 109317 w 99379"/>
                <a:gd name="connsiteY2" fmla="*/ 140913 h 170364"/>
                <a:gd name="connsiteX3" fmla="*/ 106478 w 99379"/>
                <a:gd name="connsiteY3" fmla="*/ 10300 h 170364"/>
                <a:gd name="connsiteX4" fmla="*/ 0 w 99379"/>
                <a:gd name="connsiteY4" fmla="*/ 106840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170364">
                  <a:moveTo>
                    <a:pt x="0" y="106840"/>
                  </a:moveTo>
                  <a:cubicBezTo>
                    <a:pt x="0" y="106840"/>
                    <a:pt x="9938" y="145172"/>
                    <a:pt x="8518" y="166468"/>
                  </a:cubicBezTo>
                  <a:cubicBezTo>
                    <a:pt x="8518" y="166468"/>
                    <a:pt x="68146" y="192022"/>
                    <a:pt x="109317" y="140913"/>
                  </a:cubicBezTo>
                  <a:cubicBezTo>
                    <a:pt x="109317" y="140913"/>
                    <a:pt x="93700" y="59990"/>
                    <a:pt x="106478" y="10300"/>
                  </a:cubicBezTo>
                  <a:cubicBezTo>
                    <a:pt x="117835" y="-39389"/>
                    <a:pt x="0" y="106840"/>
                    <a:pt x="0" y="10684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1" name="任意多边形: 形状 10140">
              <a:extLst>
                <a:ext uri="{FF2B5EF4-FFF2-40B4-BE49-F238E27FC236}">
                  <a16:creationId xmlns:a16="http://schemas.microsoft.com/office/drawing/2014/main" id="{4AE7E0E3-CFF5-4750-A7D4-909986127502}"/>
                </a:ext>
              </a:extLst>
            </p:cNvPr>
            <p:cNvSpPr/>
            <p:nvPr userDrawn="1"/>
          </p:nvSpPr>
          <p:spPr>
            <a:xfrm>
              <a:off x="5598121" y="4022414"/>
              <a:ext cx="198758" cy="184561"/>
            </a:xfrm>
            <a:custGeom>
              <a:avLst/>
              <a:gdLst>
                <a:gd name="connsiteX0" fmla="*/ 2773 w 198758"/>
                <a:gd name="connsiteY0" fmla="*/ 141236 h 184561"/>
                <a:gd name="connsiteX1" fmla="*/ 83696 w 198758"/>
                <a:gd name="connsiteY1" fmla="*/ 110002 h 184561"/>
                <a:gd name="connsiteX2" fmla="*/ 130546 w 198758"/>
                <a:gd name="connsiteY2" fmla="*/ 144075 h 184561"/>
                <a:gd name="connsiteX3" fmla="*/ 147583 w 198758"/>
                <a:gd name="connsiteY3" fmla="*/ 151174 h 184561"/>
                <a:gd name="connsiteX4" fmla="*/ 183075 w 198758"/>
                <a:gd name="connsiteY4" fmla="*/ 185246 h 184561"/>
                <a:gd name="connsiteX5" fmla="*/ 204371 w 198758"/>
                <a:gd name="connsiteY5" fmla="*/ 74510 h 184561"/>
                <a:gd name="connsiteX6" fmla="*/ 73758 w 198758"/>
                <a:gd name="connsiteY6" fmla="*/ 685 h 184561"/>
                <a:gd name="connsiteX7" fmla="*/ 2773 w 198758"/>
                <a:gd name="connsiteY7" fmla="*/ 141236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758" h="184561">
                  <a:moveTo>
                    <a:pt x="2773" y="141236"/>
                  </a:moveTo>
                  <a:cubicBezTo>
                    <a:pt x="2773" y="141236"/>
                    <a:pt x="56722" y="114261"/>
                    <a:pt x="83696" y="110002"/>
                  </a:cubicBezTo>
                  <a:cubicBezTo>
                    <a:pt x="112090" y="105743"/>
                    <a:pt x="137645" y="117101"/>
                    <a:pt x="130546" y="144075"/>
                  </a:cubicBezTo>
                  <a:lnTo>
                    <a:pt x="147583" y="151174"/>
                  </a:lnTo>
                  <a:cubicBezTo>
                    <a:pt x="147583" y="151174"/>
                    <a:pt x="178816" y="166790"/>
                    <a:pt x="183075" y="185246"/>
                  </a:cubicBezTo>
                  <a:cubicBezTo>
                    <a:pt x="183075" y="185246"/>
                    <a:pt x="202951" y="102904"/>
                    <a:pt x="204371" y="74510"/>
                  </a:cubicBezTo>
                  <a:cubicBezTo>
                    <a:pt x="205791" y="43276"/>
                    <a:pt x="173137" y="-6413"/>
                    <a:pt x="73758" y="685"/>
                  </a:cubicBezTo>
                  <a:cubicBezTo>
                    <a:pt x="-24201" y="4944"/>
                    <a:pt x="4193" y="128458"/>
                    <a:pt x="2773" y="141236"/>
                  </a:cubicBezTo>
                  <a:close/>
                </a:path>
              </a:pathLst>
            </a:custGeom>
            <a:solidFill>
              <a:srgbClr val="283B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2" name="任意多边形: 形状 10141">
              <a:extLst>
                <a:ext uri="{FF2B5EF4-FFF2-40B4-BE49-F238E27FC236}">
                  <a16:creationId xmlns:a16="http://schemas.microsoft.com/office/drawing/2014/main" id="{CF19A26C-46E3-4DC1-8154-D1CC97ED477C}"/>
                </a:ext>
              </a:extLst>
            </p:cNvPr>
            <p:cNvSpPr/>
            <p:nvPr userDrawn="1"/>
          </p:nvSpPr>
          <p:spPr>
            <a:xfrm>
              <a:off x="5738824" y="4134519"/>
              <a:ext cx="28394" cy="56788"/>
            </a:xfrm>
            <a:custGeom>
              <a:avLst/>
              <a:gdLst>
                <a:gd name="connsiteX0" fmla="*/ 2621 w 28394"/>
                <a:gd name="connsiteY0" fmla="*/ 19192 h 56788"/>
                <a:gd name="connsiteX1" fmla="*/ 32435 w 28394"/>
                <a:gd name="connsiteY1" fmla="*/ 7835 h 56788"/>
                <a:gd name="connsiteX2" fmla="*/ 9719 w 28394"/>
                <a:gd name="connsiteY2" fmla="*/ 57524 h 56788"/>
                <a:gd name="connsiteX3" fmla="*/ 2621 w 28394"/>
                <a:gd name="connsiteY3" fmla="*/ 1919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621" y="19192"/>
                  </a:moveTo>
                  <a:cubicBezTo>
                    <a:pt x="5460" y="7835"/>
                    <a:pt x="22497" y="-10621"/>
                    <a:pt x="32435" y="7835"/>
                  </a:cubicBezTo>
                  <a:cubicBezTo>
                    <a:pt x="42373" y="26291"/>
                    <a:pt x="21077" y="57524"/>
                    <a:pt x="9719" y="57524"/>
                  </a:cubicBezTo>
                  <a:cubicBezTo>
                    <a:pt x="-1638" y="57524"/>
                    <a:pt x="-1638" y="34809"/>
                    <a:pt x="2621" y="191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3" name="任意多边形: 形状 10142">
              <a:extLst>
                <a:ext uri="{FF2B5EF4-FFF2-40B4-BE49-F238E27FC236}">
                  <a16:creationId xmlns:a16="http://schemas.microsoft.com/office/drawing/2014/main" id="{A4EAED12-3DC7-4937-96B3-CE373FF26608}"/>
                </a:ext>
              </a:extLst>
            </p:cNvPr>
            <p:cNvSpPr/>
            <p:nvPr userDrawn="1"/>
          </p:nvSpPr>
          <p:spPr>
            <a:xfrm>
              <a:off x="5483059" y="4457625"/>
              <a:ext cx="582078" cy="454305"/>
            </a:xfrm>
            <a:custGeom>
              <a:avLst/>
              <a:gdLst>
                <a:gd name="connsiteX0" fmla="*/ 15617 w 582077"/>
                <a:gd name="connsiteY0" fmla="*/ 68049 h 454304"/>
                <a:gd name="connsiteX1" fmla="*/ 173204 w 582077"/>
                <a:gd name="connsiteY1" fmla="*/ 28297 h 454304"/>
                <a:gd name="connsiteX2" fmla="*/ 454305 w 582077"/>
                <a:gd name="connsiteY2" fmla="*/ 70888 h 454304"/>
                <a:gd name="connsiteX3" fmla="*/ 572140 w 582077"/>
                <a:gd name="connsiteY3" fmla="*/ 337792 h 454304"/>
                <a:gd name="connsiteX4" fmla="*/ 570720 w 582077"/>
                <a:gd name="connsiteY4" fmla="*/ 342051 h 454304"/>
                <a:gd name="connsiteX5" fmla="*/ 549425 w 582077"/>
                <a:gd name="connsiteY5" fmla="*/ 381803 h 454304"/>
                <a:gd name="connsiteX6" fmla="*/ 299557 w 582077"/>
                <a:gd name="connsiteY6" fmla="*/ 451368 h 454304"/>
                <a:gd name="connsiteX7" fmla="*/ 69565 w 582077"/>
                <a:gd name="connsiteY7" fmla="*/ 282424 h 454304"/>
                <a:gd name="connsiteX8" fmla="*/ 89441 w 582077"/>
                <a:gd name="connsiteY8" fmla="*/ 166008 h 454304"/>
                <a:gd name="connsiteX9" fmla="*/ 0 w 582077"/>
                <a:gd name="connsiteY9" fmla="*/ 102122 h 454304"/>
                <a:gd name="connsiteX10" fmla="*/ 15617 w 582077"/>
                <a:gd name="connsiteY10" fmla="*/ 68049 h 45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2077" h="454304">
                  <a:moveTo>
                    <a:pt x="15617" y="68049"/>
                  </a:moveTo>
                  <a:cubicBezTo>
                    <a:pt x="38332" y="25458"/>
                    <a:pt x="89441" y="-37009"/>
                    <a:pt x="173204" y="28297"/>
                  </a:cubicBezTo>
                  <a:cubicBezTo>
                    <a:pt x="292459" y="119158"/>
                    <a:pt x="305236" y="11261"/>
                    <a:pt x="454305" y="70888"/>
                  </a:cubicBezTo>
                  <a:cubicBezTo>
                    <a:pt x="559363" y="112060"/>
                    <a:pt x="618990" y="224216"/>
                    <a:pt x="572140" y="337792"/>
                  </a:cubicBezTo>
                  <a:lnTo>
                    <a:pt x="570720" y="342051"/>
                  </a:lnTo>
                  <a:cubicBezTo>
                    <a:pt x="565041" y="356248"/>
                    <a:pt x="557943" y="369026"/>
                    <a:pt x="549425" y="381803"/>
                  </a:cubicBezTo>
                  <a:cubicBezTo>
                    <a:pt x="494056" y="464146"/>
                    <a:pt x="391838" y="488281"/>
                    <a:pt x="299557" y="451368"/>
                  </a:cubicBezTo>
                  <a:cubicBezTo>
                    <a:pt x="150488" y="393161"/>
                    <a:pt x="185981" y="298041"/>
                    <a:pt x="69565" y="282424"/>
                  </a:cubicBezTo>
                  <a:cubicBezTo>
                    <a:pt x="-61047" y="265387"/>
                    <a:pt x="89441" y="166008"/>
                    <a:pt x="89441" y="166008"/>
                  </a:cubicBezTo>
                  <a:lnTo>
                    <a:pt x="0" y="102122"/>
                  </a:lnTo>
                  <a:cubicBezTo>
                    <a:pt x="1420" y="100702"/>
                    <a:pt x="7099" y="86505"/>
                    <a:pt x="15617" y="68049"/>
                  </a:cubicBezTo>
                  <a:close/>
                </a:path>
              </a:pathLst>
            </a:custGeom>
            <a:solidFill>
              <a:srgbClr val="FCBC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4" name="任意多边形: 形状 10143">
              <a:extLst>
                <a:ext uri="{FF2B5EF4-FFF2-40B4-BE49-F238E27FC236}">
                  <a16:creationId xmlns:a16="http://schemas.microsoft.com/office/drawing/2014/main" id="{731E4ED4-4A5F-464D-87A0-8CE7030B98CE}"/>
                </a:ext>
              </a:extLst>
            </p:cNvPr>
            <p:cNvSpPr/>
            <p:nvPr userDrawn="1"/>
          </p:nvSpPr>
          <p:spPr>
            <a:xfrm>
              <a:off x="5477380" y="4449466"/>
              <a:ext cx="596275" cy="468502"/>
            </a:xfrm>
            <a:custGeom>
              <a:avLst/>
              <a:gdLst>
                <a:gd name="connsiteX0" fmla="*/ 2839 w 596274"/>
                <a:gd name="connsiteY0" fmla="*/ 100342 h 468501"/>
                <a:gd name="connsiteX1" fmla="*/ 1420 w 596274"/>
                <a:gd name="connsiteY1" fmla="*/ 106021 h 468501"/>
                <a:gd name="connsiteX2" fmla="*/ 0 w 596274"/>
                <a:gd name="connsiteY2" fmla="*/ 110280 h 468501"/>
                <a:gd name="connsiteX3" fmla="*/ 85182 w 596274"/>
                <a:gd name="connsiteY3" fmla="*/ 171327 h 468501"/>
                <a:gd name="connsiteX4" fmla="*/ 18456 w 596274"/>
                <a:gd name="connsiteY4" fmla="*/ 263608 h 468501"/>
                <a:gd name="connsiteX5" fmla="*/ 78084 w 596274"/>
                <a:gd name="connsiteY5" fmla="*/ 296261 h 468501"/>
                <a:gd name="connsiteX6" fmla="*/ 174623 w 596274"/>
                <a:gd name="connsiteY6" fmla="*/ 361568 h 468501"/>
                <a:gd name="connsiteX7" fmla="*/ 306656 w 596274"/>
                <a:gd name="connsiteY7" fmla="*/ 465206 h 468501"/>
                <a:gd name="connsiteX8" fmla="*/ 565041 w 596274"/>
                <a:gd name="connsiteY8" fmla="*/ 392801 h 468501"/>
                <a:gd name="connsiteX9" fmla="*/ 583498 w 596274"/>
                <a:gd name="connsiteY9" fmla="*/ 357308 h 468501"/>
                <a:gd name="connsiteX10" fmla="*/ 586337 w 596274"/>
                <a:gd name="connsiteY10" fmla="*/ 351630 h 468501"/>
                <a:gd name="connsiteX11" fmla="*/ 587757 w 596274"/>
                <a:gd name="connsiteY11" fmla="*/ 347371 h 468501"/>
                <a:gd name="connsiteX12" fmla="*/ 584917 w 596274"/>
                <a:gd name="connsiteY12" fmla="*/ 181265 h 468501"/>
                <a:gd name="connsiteX13" fmla="*/ 464243 w 596274"/>
                <a:gd name="connsiteY13" fmla="*/ 70529 h 468501"/>
                <a:gd name="connsiteX14" fmla="*/ 313754 w 596274"/>
                <a:gd name="connsiteY14" fmla="*/ 59171 h 468501"/>
                <a:gd name="connsiteX15" fmla="*/ 184561 w 596274"/>
                <a:gd name="connsiteY15" fmla="*/ 29357 h 468501"/>
                <a:gd name="connsiteX16" fmla="*/ 96540 w 596274"/>
                <a:gd name="connsiteY16" fmla="*/ 963 h 468501"/>
                <a:gd name="connsiteX17" fmla="*/ 14197 w 596274"/>
                <a:gd name="connsiteY17" fmla="*/ 71948 h 468501"/>
                <a:gd name="connsiteX18" fmla="*/ 2839 w 596274"/>
                <a:gd name="connsiteY18" fmla="*/ 100342 h 468501"/>
                <a:gd name="connsiteX19" fmla="*/ 51109 w 596274"/>
                <a:gd name="connsiteY19" fmla="*/ 131576 h 468501"/>
                <a:gd name="connsiteX20" fmla="*/ 15617 w 596274"/>
                <a:gd name="connsiteY20" fmla="*/ 106021 h 468501"/>
                <a:gd name="connsiteX21" fmla="*/ 17036 w 596274"/>
                <a:gd name="connsiteY21" fmla="*/ 101762 h 468501"/>
                <a:gd name="connsiteX22" fmla="*/ 26974 w 596274"/>
                <a:gd name="connsiteY22" fmla="*/ 79047 h 468501"/>
                <a:gd name="connsiteX23" fmla="*/ 99379 w 596274"/>
                <a:gd name="connsiteY23" fmla="*/ 15160 h 468501"/>
                <a:gd name="connsiteX24" fmla="*/ 174623 w 596274"/>
                <a:gd name="connsiteY24" fmla="*/ 40715 h 468501"/>
                <a:gd name="connsiteX25" fmla="*/ 318013 w 596274"/>
                <a:gd name="connsiteY25" fmla="*/ 73368 h 468501"/>
                <a:gd name="connsiteX26" fmla="*/ 458564 w 596274"/>
                <a:gd name="connsiteY26" fmla="*/ 83306 h 468501"/>
                <a:gd name="connsiteX27" fmla="*/ 572140 w 596274"/>
                <a:gd name="connsiteY27" fmla="*/ 341692 h 468501"/>
                <a:gd name="connsiteX28" fmla="*/ 570720 w 596274"/>
                <a:gd name="connsiteY28" fmla="*/ 345951 h 468501"/>
                <a:gd name="connsiteX29" fmla="*/ 569301 w 596274"/>
                <a:gd name="connsiteY29" fmla="*/ 348790 h 468501"/>
                <a:gd name="connsiteX30" fmla="*/ 549425 w 596274"/>
                <a:gd name="connsiteY30" fmla="*/ 384283 h 468501"/>
                <a:gd name="connsiteX31" fmla="*/ 309495 w 596274"/>
                <a:gd name="connsiteY31" fmla="*/ 451009 h 468501"/>
                <a:gd name="connsiteX32" fmla="*/ 184561 w 596274"/>
                <a:gd name="connsiteY32" fmla="*/ 353049 h 468501"/>
                <a:gd name="connsiteX33" fmla="*/ 76664 w 596274"/>
                <a:gd name="connsiteY33" fmla="*/ 282064 h 468501"/>
                <a:gd name="connsiteX34" fmla="*/ 29814 w 596274"/>
                <a:gd name="connsiteY34" fmla="*/ 260769 h 468501"/>
                <a:gd name="connsiteX35" fmla="*/ 99379 w 596274"/>
                <a:gd name="connsiteY35" fmla="*/ 178426 h 468501"/>
                <a:gd name="connsiteX36" fmla="*/ 107897 w 596274"/>
                <a:gd name="connsiteY36" fmla="*/ 172747 h 468501"/>
                <a:gd name="connsiteX37" fmla="*/ 51109 w 596274"/>
                <a:gd name="connsiteY37" fmla="*/ 131576 h 46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6274" h="468501">
                  <a:moveTo>
                    <a:pt x="2839" y="100342"/>
                  </a:moveTo>
                  <a:cubicBezTo>
                    <a:pt x="1420" y="103182"/>
                    <a:pt x="1420" y="106021"/>
                    <a:pt x="1420" y="106021"/>
                  </a:cubicBezTo>
                  <a:lnTo>
                    <a:pt x="0" y="110280"/>
                  </a:lnTo>
                  <a:lnTo>
                    <a:pt x="85182" y="171327"/>
                  </a:lnTo>
                  <a:cubicBezTo>
                    <a:pt x="62467" y="186944"/>
                    <a:pt x="8518" y="229535"/>
                    <a:pt x="18456" y="263608"/>
                  </a:cubicBezTo>
                  <a:cubicBezTo>
                    <a:pt x="24135" y="280644"/>
                    <a:pt x="44011" y="290582"/>
                    <a:pt x="78084" y="296261"/>
                  </a:cubicBezTo>
                  <a:cubicBezTo>
                    <a:pt x="132032" y="303360"/>
                    <a:pt x="151908" y="328914"/>
                    <a:pt x="174623" y="361568"/>
                  </a:cubicBezTo>
                  <a:cubicBezTo>
                    <a:pt x="198758" y="394221"/>
                    <a:pt x="228572" y="435392"/>
                    <a:pt x="306656" y="465206"/>
                  </a:cubicBezTo>
                  <a:cubicBezTo>
                    <a:pt x="406035" y="504957"/>
                    <a:pt x="509673" y="475144"/>
                    <a:pt x="565041" y="392801"/>
                  </a:cubicBezTo>
                  <a:cubicBezTo>
                    <a:pt x="572140" y="381443"/>
                    <a:pt x="579238" y="370086"/>
                    <a:pt x="583498" y="357308"/>
                  </a:cubicBezTo>
                  <a:cubicBezTo>
                    <a:pt x="584917" y="355889"/>
                    <a:pt x="584917" y="353049"/>
                    <a:pt x="586337" y="351630"/>
                  </a:cubicBezTo>
                  <a:lnTo>
                    <a:pt x="587757" y="347371"/>
                  </a:lnTo>
                  <a:cubicBezTo>
                    <a:pt x="610472" y="292002"/>
                    <a:pt x="609052" y="232375"/>
                    <a:pt x="584917" y="181265"/>
                  </a:cubicBezTo>
                  <a:cubicBezTo>
                    <a:pt x="562202" y="131576"/>
                    <a:pt x="519611" y="91824"/>
                    <a:pt x="464243" y="70529"/>
                  </a:cubicBezTo>
                  <a:cubicBezTo>
                    <a:pt x="391838" y="42135"/>
                    <a:pt x="350666" y="52072"/>
                    <a:pt x="313754" y="59171"/>
                  </a:cubicBezTo>
                  <a:cubicBezTo>
                    <a:pt x="275422" y="67689"/>
                    <a:pt x="244189" y="74788"/>
                    <a:pt x="184561" y="29357"/>
                  </a:cubicBezTo>
                  <a:cubicBezTo>
                    <a:pt x="153328" y="6642"/>
                    <a:pt x="124934" y="-3296"/>
                    <a:pt x="96540" y="963"/>
                  </a:cubicBezTo>
                  <a:cubicBezTo>
                    <a:pt x="56788" y="8062"/>
                    <a:pt x="29814" y="43554"/>
                    <a:pt x="14197" y="71948"/>
                  </a:cubicBezTo>
                  <a:cubicBezTo>
                    <a:pt x="8518" y="84726"/>
                    <a:pt x="4259" y="94663"/>
                    <a:pt x="2839" y="100342"/>
                  </a:cubicBezTo>
                  <a:close/>
                  <a:moveTo>
                    <a:pt x="51109" y="131576"/>
                  </a:moveTo>
                  <a:lnTo>
                    <a:pt x="15617" y="106021"/>
                  </a:lnTo>
                  <a:cubicBezTo>
                    <a:pt x="15617" y="104601"/>
                    <a:pt x="17036" y="103182"/>
                    <a:pt x="17036" y="101762"/>
                  </a:cubicBezTo>
                  <a:cubicBezTo>
                    <a:pt x="19876" y="96083"/>
                    <a:pt x="22715" y="87565"/>
                    <a:pt x="26974" y="79047"/>
                  </a:cubicBezTo>
                  <a:cubicBezTo>
                    <a:pt x="41171" y="53492"/>
                    <a:pt x="65306" y="20839"/>
                    <a:pt x="99379" y="15160"/>
                  </a:cubicBezTo>
                  <a:cubicBezTo>
                    <a:pt x="122094" y="10901"/>
                    <a:pt x="147649" y="19419"/>
                    <a:pt x="174623" y="40715"/>
                  </a:cubicBezTo>
                  <a:cubicBezTo>
                    <a:pt x="241349" y="91824"/>
                    <a:pt x="278262" y="83306"/>
                    <a:pt x="318013" y="73368"/>
                  </a:cubicBezTo>
                  <a:cubicBezTo>
                    <a:pt x="352086" y="64850"/>
                    <a:pt x="390418" y="56332"/>
                    <a:pt x="458564" y="83306"/>
                  </a:cubicBezTo>
                  <a:cubicBezTo>
                    <a:pt x="565041" y="125897"/>
                    <a:pt x="614731" y="236634"/>
                    <a:pt x="572140" y="341692"/>
                  </a:cubicBezTo>
                  <a:lnTo>
                    <a:pt x="570720" y="345951"/>
                  </a:lnTo>
                  <a:cubicBezTo>
                    <a:pt x="570720" y="347371"/>
                    <a:pt x="570720" y="347371"/>
                    <a:pt x="569301" y="348790"/>
                  </a:cubicBezTo>
                  <a:cubicBezTo>
                    <a:pt x="563622" y="361568"/>
                    <a:pt x="557943" y="374345"/>
                    <a:pt x="549425" y="384283"/>
                  </a:cubicBezTo>
                  <a:cubicBezTo>
                    <a:pt x="498315" y="460947"/>
                    <a:pt x="401776" y="487921"/>
                    <a:pt x="309495" y="451009"/>
                  </a:cubicBezTo>
                  <a:cubicBezTo>
                    <a:pt x="237090" y="422615"/>
                    <a:pt x="208696" y="385702"/>
                    <a:pt x="184561" y="353049"/>
                  </a:cubicBezTo>
                  <a:cubicBezTo>
                    <a:pt x="159007" y="318976"/>
                    <a:pt x="137711" y="290582"/>
                    <a:pt x="76664" y="282064"/>
                  </a:cubicBezTo>
                  <a:cubicBezTo>
                    <a:pt x="58208" y="279225"/>
                    <a:pt x="34073" y="273546"/>
                    <a:pt x="29814" y="260769"/>
                  </a:cubicBezTo>
                  <a:cubicBezTo>
                    <a:pt x="22715" y="238053"/>
                    <a:pt x="69565" y="198302"/>
                    <a:pt x="99379" y="178426"/>
                  </a:cubicBezTo>
                  <a:lnTo>
                    <a:pt x="107897" y="172747"/>
                  </a:lnTo>
                  <a:lnTo>
                    <a:pt x="51109" y="131576"/>
                  </a:lnTo>
                  <a:close/>
                </a:path>
              </a:pathLst>
            </a:custGeom>
            <a:solidFill>
              <a:srgbClr val="E0A76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5" name="任意多边形: 形状 10144">
              <a:extLst>
                <a:ext uri="{FF2B5EF4-FFF2-40B4-BE49-F238E27FC236}">
                  <a16:creationId xmlns:a16="http://schemas.microsoft.com/office/drawing/2014/main" id="{811AAEEC-7226-4746-BAC5-EC2ADB14A493}"/>
                </a:ext>
              </a:extLst>
            </p:cNvPr>
            <p:cNvSpPr/>
            <p:nvPr userDrawn="1"/>
          </p:nvSpPr>
          <p:spPr>
            <a:xfrm>
              <a:off x="5877736" y="4652027"/>
              <a:ext cx="85182" cy="170364"/>
            </a:xfrm>
            <a:custGeom>
              <a:avLst/>
              <a:gdLst>
                <a:gd name="connsiteX0" fmla="*/ 14197 w 85182"/>
                <a:gd name="connsiteY0" fmla="*/ 134872 h 170364"/>
                <a:gd name="connsiteX1" fmla="*/ 69565 w 85182"/>
                <a:gd name="connsiteY1" fmla="*/ 0 h 170364"/>
                <a:gd name="connsiteX2" fmla="*/ 93700 w 85182"/>
                <a:gd name="connsiteY2" fmla="*/ 9938 h 170364"/>
                <a:gd name="connsiteX3" fmla="*/ 86602 w 85182"/>
                <a:gd name="connsiteY3" fmla="*/ 29814 h 170364"/>
                <a:gd name="connsiteX4" fmla="*/ 92281 w 85182"/>
                <a:gd name="connsiteY4" fmla="*/ 32653 h 170364"/>
                <a:gd name="connsiteX5" fmla="*/ 51109 w 85182"/>
                <a:gd name="connsiteY5" fmla="*/ 133452 h 170364"/>
                <a:gd name="connsiteX6" fmla="*/ 51109 w 85182"/>
                <a:gd name="connsiteY6" fmla="*/ 133452 h 170364"/>
                <a:gd name="connsiteX7" fmla="*/ 39752 w 85182"/>
                <a:gd name="connsiteY7" fmla="*/ 163266 h 170364"/>
                <a:gd name="connsiteX8" fmla="*/ 34073 w 85182"/>
                <a:gd name="connsiteY8" fmla="*/ 160426 h 170364"/>
                <a:gd name="connsiteX9" fmla="*/ 25555 w 85182"/>
                <a:gd name="connsiteY9" fmla="*/ 180302 h 170364"/>
                <a:gd name="connsiteX10" fmla="*/ 0 w 85182"/>
                <a:gd name="connsiteY10" fmla="*/ 170364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182" h="170364">
                  <a:moveTo>
                    <a:pt x="14197" y="134872"/>
                  </a:moveTo>
                  <a:lnTo>
                    <a:pt x="69565" y="0"/>
                  </a:lnTo>
                  <a:lnTo>
                    <a:pt x="93700" y="9938"/>
                  </a:lnTo>
                  <a:lnTo>
                    <a:pt x="86602" y="29814"/>
                  </a:lnTo>
                  <a:lnTo>
                    <a:pt x="92281" y="32653"/>
                  </a:lnTo>
                  <a:lnTo>
                    <a:pt x="51109" y="133452"/>
                  </a:lnTo>
                  <a:lnTo>
                    <a:pt x="51109" y="133452"/>
                  </a:lnTo>
                  <a:lnTo>
                    <a:pt x="39752" y="163266"/>
                  </a:lnTo>
                  <a:lnTo>
                    <a:pt x="34073" y="160426"/>
                  </a:lnTo>
                  <a:lnTo>
                    <a:pt x="25555" y="180302"/>
                  </a:lnTo>
                  <a:lnTo>
                    <a:pt x="0" y="170364"/>
                  </a:lnTo>
                  <a:close/>
                </a:path>
              </a:pathLst>
            </a:custGeom>
            <a:solidFill>
              <a:srgbClr val="56361B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6" name="任意多边形: 形状 10145">
              <a:extLst>
                <a:ext uri="{FF2B5EF4-FFF2-40B4-BE49-F238E27FC236}">
                  <a16:creationId xmlns:a16="http://schemas.microsoft.com/office/drawing/2014/main" id="{598B554B-EBF4-4314-8186-054F8DD657E6}"/>
                </a:ext>
              </a:extLst>
            </p:cNvPr>
            <p:cNvSpPr/>
            <p:nvPr userDrawn="1"/>
          </p:nvSpPr>
          <p:spPr>
            <a:xfrm>
              <a:off x="4974805" y="4314138"/>
              <a:ext cx="14197" cy="14197"/>
            </a:xfrm>
            <a:custGeom>
              <a:avLst/>
              <a:gdLst>
                <a:gd name="connsiteX0" fmla="*/ 4259 w 14197"/>
                <a:gd name="connsiteY0" fmla="*/ 25555 h 14197"/>
                <a:gd name="connsiteX1" fmla="*/ 7099 w 14197"/>
                <a:gd name="connsiteY1" fmla="*/ 17036 h 14197"/>
                <a:gd name="connsiteX2" fmla="*/ 7099 w 14197"/>
                <a:gd name="connsiteY2" fmla="*/ 17036 h 14197"/>
                <a:gd name="connsiteX3" fmla="*/ 0 w 14197"/>
                <a:gd name="connsiteY3" fmla="*/ 9938 h 14197"/>
                <a:gd name="connsiteX4" fmla="*/ 4259 w 14197"/>
                <a:gd name="connsiteY4" fmla="*/ 0 h 14197"/>
                <a:gd name="connsiteX5" fmla="*/ 15617 w 14197"/>
                <a:gd name="connsiteY5" fmla="*/ 0 h 14197"/>
                <a:gd name="connsiteX6" fmla="*/ 24135 w 14197"/>
                <a:gd name="connsiteY6" fmla="*/ 7099 h 14197"/>
                <a:gd name="connsiteX7" fmla="*/ 19876 w 14197"/>
                <a:gd name="connsiteY7" fmla="*/ 18456 h 14197"/>
                <a:gd name="connsiteX8" fmla="*/ 9938 w 14197"/>
                <a:gd name="connsiteY8" fmla="*/ 17036 h 14197"/>
                <a:gd name="connsiteX9" fmla="*/ 5679 w 14197"/>
                <a:gd name="connsiteY9" fmla="*/ 26974 h 14197"/>
                <a:gd name="connsiteX10" fmla="*/ 5679 w 14197"/>
                <a:gd name="connsiteY10" fmla="*/ 26974 h 14197"/>
                <a:gd name="connsiteX11" fmla="*/ 5679 w 14197"/>
                <a:gd name="connsiteY11" fmla="*/ 26974 h 14197"/>
                <a:gd name="connsiteX12" fmla="*/ 4259 w 14197"/>
                <a:gd name="connsiteY12" fmla="*/ 25555 h 14197"/>
                <a:gd name="connsiteX13" fmla="*/ 4259 w 14197"/>
                <a:gd name="connsiteY13" fmla="*/ 25555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197" h="14197">
                  <a:moveTo>
                    <a:pt x="4259" y="25555"/>
                  </a:moveTo>
                  <a:lnTo>
                    <a:pt x="7099" y="17036"/>
                  </a:lnTo>
                  <a:lnTo>
                    <a:pt x="7099" y="17036"/>
                  </a:lnTo>
                  <a:lnTo>
                    <a:pt x="0" y="9938"/>
                  </a:lnTo>
                  <a:lnTo>
                    <a:pt x="4259" y="0"/>
                  </a:lnTo>
                  <a:lnTo>
                    <a:pt x="15617" y="0"/>
                  </a:lnTo>
                  <a:lnTo>
                    <a:pt x="24135" y="7099"/>
                  </a:lnTo>
                  <a:lnTo>
                    <a:pt x="19876" y="18456"/>
                  </a:lnTo>
                  <a:lnTo>
                    <a:pt x="9938" y="17036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4259" y="25555"/>
                  </a:lnTo>
                  <a:lnTo>
                    <a:pt x="4259" y="25555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7" name="任意多边形: 形状 10146">
              <a:extLst>
                <a:ext uri="{FF2B5EF4-FFF2-40B4-BE49-F238E27FC236}">
                  <a16:creationId xmlns:a16="http://schemas.microsoft.com/office/drawing/2014/main" id="{5263A921-3681-4DE2-A2EF-6A97E76F8685}"/>
                </a:ext>
              </a:extLst>
            </p:cNvPr>
            <p:cNvSpPr/>
            <p:nvPr userDrawn="1"/>
          </p:nvSpPr>
          <p:spPr>
            <a:xfrm>
              <a:off x="5003200" y="4325495"/>
              <a:ext cx="14197" cy="14197"/>
            </a:xfrm>
            <a:custGeom>
              <a:avLst/>
              <a:gdLst>
                <a:gd name="connsiteX0" fmla="*/ 0 w 14197"/>
                <a:gd name="connsiteY0" fmla="*/ 11358 h 14197"/>
                <a:gd name="connsiteX1" fmla="*/ 4259 w 14197"/>
                <a:gd name="connsiteY1" fmla="*/ 0 h 14197"/>
                <a:gd name="connsiteX2" fmla="*/ 15617 w 14197"/>
                <a:gd name="connsiteY2" fmla="*/ 1420 h 14197"/>
                <a:gd name="connsiteX3" fmla="*/ 15617 w 14197"/>
                <a:gd name="connsiteY3" fmla="*/ 1420 h 14197"/>
                <a:gd name="connsiteX4" fmla="*/ 24135 w 14197"/>
                <a:gd name="connsiteY4" fmla="*/ 8518 h 14197"/>
                <a:gd name="connsiteX5" fmla="*/ 19876 w 14197"/>
                <a:gd name="connsiteY5" fmla="*/ 19876 h 14197"/>
                <a:gd name="connsiteX6" fmla="*/ 9938 w 14197"/>
                <a:gd name="connsiteY6" fmla="*/ 18456 h 14197"/>
                <a:gd name="connsiteX7" fmla="*/ 7099 w 14197"/>
                <a:gd name="connsiteY7" fmla="*/ 26974 h 14197"/>
                <a:gd name="connsiteX8" fmla="*/ 5679 w 14197"/>
                <a:gd name="connsiteY8" fmla="*/ 26974 h 14197"/>
                <a:gd name="connsiteX9" fmla="*/ 4259 w 14197"/>
                <a:gd name="connsiteY9" fmla="*/ 26974 h 14197"/>
                <a:gd name="connsiteX10" fmla="*/ 7099 w 14197"/>
                <a:gd name="connsiteY10" fmla="*/ 1845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4259" y="0"/>
                  </a:lnTo>
                  <a:lnTo>
                    <a:pt x="15617" y="1420"/>
                  </a:lnTo>
                  <a:lnTo>
                    <a:pt x="15617" y="1420"/>
                  </a:lnTo>
                  <a:lnTo>
                    <a:pt x="24135" y="8518"/>
                  </a:lnTo>
                  <a:lnTo>
                    <a:pt x="19876" y="19876"/>
                  </a:lnTo>
                  <a:lnTo>
                    <a:pt x="9938" y="18456"/>
                  </a:lnTo>
                  <a:lnTo>
                    <a:pt x="7099" y="26974"/>
                  </a:lnTo>
                  <a:lnTo>
                    <a:pt x="5679" y="26974"/>
                  </a:lnTo>
                  <a:lnTo>
                    <a:pt x="4259" y="26974"/>
                  </a:lnTo>
                  <a:lnTo>
                    <a:pt x="7099" y="1845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8" name="任意多边形: 形状 10147">
              <a:extLst>
                <a:ext uri="{FF2B5EF4-FFF2-40B4-BE49-F238E27FC236}">
                  <a16:creationId xmlns:a16="http://schemas.microsoft.com/office/drawing/2014/main" id="{4D5DD265-96C9-436E-B55F-04A2D1ECD25C}"/>
                </a:ext>
              </a:extLst>
            </p:cNvPr>
            <p:cNvSpPr/>
            <p:nvPr userDrawn="1"/>
          </p:nvSpPr>
          <p:spPr>
            <a:xfrm>
              <a:off x="5030174" y="4338273"/>
              <a:ext cx="14197" cy="14197"/>
            </a:xfrm>
            <a:custGeom>
              <a:avLst/>
              <a:gdLst>
                <a:gd name="connsiteX0" fmla="*/ 0 w 14197"/>
                <a:gd name="connsiteY0" fmla="*/ 11358 h 14197"/>
                <a:gd name="connsiteX1" fmla="*/ 5679 w 14197"/>
                <a:gd name="connsiteY1" fmla="*/ 0 h 14197"/>
                <a:gd name="connsiteX2" fmla="*/ 17036 w 14197"/>
                <a:gd name="connsiteY2" fmla="*/ 1420 h 14197"/>
                <a:gd name="connsiteX3" fmla="*/ 17036 w 14197"/>
                <a:gd name="connsiteY3" fmla="*/ 1420 h 14197"/>
                <a:gd name="connsiteX4" fmla="*/ 25555 w 14197"/>
                <a:gd name="connsiteY4" fmla="*/ 8518 h 14197"/>
                <a:gd name="connsiteX5" fmla="*/ 21296 w 14197"/>
                <a:gd name="connsiteY5" fmla="*/ 19876 h 14197"/>
                <a:gd name="connsiteX6" fmla="*/ 11358 w 14197"/>
                <a:gd name="connsiteY6" fmla="*/ 18456 h 14197"/>
                <a:gd name="connsiteX7" fmla="*/ 8518 w 14197"/>
                <a:gd name="connsiteY7" fmla="*/ 26974 h 14197"/>
                <a:gd name="connsiteX8" fmla="*/ 5679 w 14197"/>
                <a:gd name="connsiteY8" fmla="*/ 25555 h 14197"/>
                <a:gd name="connsiteX9" fmla="*/ 8518 w 14197"/>
                <a:gd name="connsiteY9" fmla="*/ 1703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5679" y="0"/>
                  </a:lnTo>
                  <a:lnTo>
                    <a:pt x="17036" y="1420"/>
                  </a:lnTo>
                  <a:lnTo>
                    <a:pt x="17036" y="1420"/>
                  </a:lnTo>
                  <a:lnTo>
                    <a:pt x="25555" y="8518"/>
                  </a:lnTo>
                  <a:lnTo>
                    <a:pt x="21296" y="19876"/>
                  </a:lnTo>
                  <a:lnTo>
                    <a:pt x="11358" y="18456"/>
                  </a:lnTo>
                  <a:lnTo>
                    <a:pt x="8518" y="26974"/>
                  </a:lnTo>
                  <a:lnTo>
                    <a:pt x="5679" y="25555"/>
                  </a:lnTo>
                  <a:lnTo>
                    <a:pt x="8518" y="1703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9" name="任意多边形: 形状 10148">
              <a:extLst>
                <a:ext uri="{FF2B5EF4-FFF2-40B4-BE49-F238E27FC236}">
                  <a16:creationId xmlns:a16="http://schemas.microsoft.com/office/drawing/2014/main" id="{D0982DB4-84F2-4D40-8CDA-4E1CB94AC1AE}"/>
                </a:ext>
              </a:extLst>
            </p:cNvPr>
            <p:cNvSpPr/>
            <p:nvPr userDrawn="1"/>
          </p:nvSpPr>
          <p:spPr>
            <a:xfrm>
              <a:off x="5660199" y="4606916"/>
              <a:ext cx="99379" cy="99379"/>
            </a:xfrm>
            <a:custGeom>
              <a:avLst/>
              <a:gdLst>
                <a:gd name="connsiteX0" fmla="*/ 3162 w 99379"/>
                <a:gd name="connsiteY0" fmla="*/ 33753 h 99379"/>
                <a:gd name="connsiteX1" fmla="*/ 75567 w 99379"/>
                <a:gd name="connsiteY1" fmla="*/ 3939 h 99379"/>
                <a:gd name="connsiteX2" fmla="*/ 108220 w 99379"/>
                <a:gd name="connsiteY2" fmla="*/ 74924 h 99379"/>
                <a:gd name="connsiteX3" fmla="*/ 35815 w 99379"/>
                <a:gd name="connsiteY3" fmla="*/ 104738 h 99379"/>
                <a:gd name="connsiteX4" fmla="*/ 3162 w 99379"/>
                <a:gd name="connsiteY4" fmla="*/ 33753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99379">
                  <a:moveTo>
                    <a:pt x="3162" y="33753"/>
                  </a:moveTo>
                  <a:cubicBezTo>
                    <a:pt x="15939" y="6779"/>
                    <a:pt x="47173" y="-7418"/>
                    <a:pt x="75567" y="3939"/>
                  </a:cubicBezTo>
                  <a:cubicBezTo>
                    <a:pt x="103961" y="15297"/>
                    <a:pt x="118158" y="46530"/>
                    <a:pt x="108220" y="74924"/>
                  </a:cubicBezTo>
                  <a:cubicBezTo>
                    <a:pt x="95442" y="101899"/>
                    <a:pt x="64209" y="116096"/>
                    <a:pt x="35815" y="104738"/>
                  </a:cubicBezTo>
                  <a:cubicBezTo>
                    <a:pt x="7421" y="93381"/>
                    <a:pt x="-6776" y="62147"/>
                    <a:pt x="3162" y="33753"/>
                  </a:cubicBezTo>
                  <a:close/>
                </a:path>
              </a:pathLst>
            </a:custGeom>
            <a:solidFill>
              <a:srgbClr val="39241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0" name="任意多边形: 形状 10149">
              <a:extLst>
                <a:ext uri="{FF2B5EF4-FFF2-40B4-BE49-F238E27FC236}">
                  <a16:creationId xmlns:a16="http://schemas.microsoft.com/office/drawing/2014/main" id="{51A06E88-C481-4ACA-8888-B616C8C438BB}"/>
                </a:ext>
              </a:extLst>
            </p:cNvPr>
            <p:cNvSpPr/>
            <p:nvPr userDrawn="1"/>
          </p:nvSpPr>
          <p:spPr>
            <a:xfrm>
              <a:off x="4934996" y="4330812"/>
              <a:ext cx="752442" cy="340728"/>
            </a:xfrm>
            <a:custGeom>
              <a:avLst/>
              <a:gdLst>
                <a:gd name="connsiteX0" fmla="*/ 4317 w 752442"/>
                <a:gd name="connsiteY0" fmla="*/ 54311 h 340728"/>
                <a:gd name="connsiteX1" fmla="*/ 103696 w 752442"/>
                <a:gd name="connsiteY1" fmla="*/ 91223 h 340728"/>
                <a:gd name="connsiteX2" fmla="*/ 106535 w 752442"/>
                <a:gd name="connsiteY2" fmla="*/ 91223 h 340728"/>
                <a:gd name="connsiteX3" fmla="*/ 109375 w 752442"/>
                <a:gd name="connsiteY3" fmla="*/ 91223 h 340728"/>
                <a:gd name="connsiteX4" fmla="*/ 113634 w 752442"/>
                <a:gd name="connsiteY4" fmla="*/ 91223 h 340728"/>
                <a:gd name="connsiteX5" fmla="*/ 115053 w 752442"/>
                <a:gd name="connsiteY5" fmla="*/ 91223 h 340728"/>
                <a:gd name="connsiteX6" fmla="*/ 116473 w 752442"/>
                <a:gd name="connsiteY6" fmla="*/ 91223 h 340728"/>
                <a:gd name="connsiteX7" fmla="*/ 117893 w 752442"/>
                <a:gd name="connsiteY7" fmla="*/ 91223 h 340728"/>
                <a:gd name="connsiteX8" fmla="*/ 119312 w 752442"/>
                <a:gd name="connsiteY8" fmla="*/ 91223 h 340728"/>
                <a:gd name="connsiteX9" fmla="*/ 146287 w 752442"/>
                <a:gd name="connsiteY9" fmla="*/ 102580 h 340728"/>
                <a:gd name="connsiteX10" fmla="*/ 149126 w 752442"/>
                <a:gd name="connsiteY10" fmla="*/ 104000 h 340728"/>
                <a:gd name="connsiteX11" fmla="*/ 169002 w 752442"/>
                <a:gd name="connsiteY11" fmla="*/ 112518 h 340728"/>
                <a:gd name="connsiteX12" fmla="*/ 171841 w 752442"/>
                <a:gd name="connsiteY12" fmla="*/ 113938 h 340728"/>
                <a:gd name="connsiteX13" fmla="*/ 183199 w 752442"/>
                <a:gd name="connsiteY13" fmla="*/ 118197 h 340728"/>
                <a:gd name="connsiteX14" fmla="*/ 186038 w 752442"/>
                <a:gd name="connsiteY14" fmla="*/ 119617 h 340728"/>
                <a:gd name="connsiteX15" fmla="*/ 215852 w 752442"/>
                <a:gd name="connsiteY15" fmla="*/ 132394 h 340728"/>
                <a:gd name="connsiteX16" fmla="*/ 218692 w 752442"/>
                <a:gd name="connsiteY16" fmla="*/ 133814 h 340728"/>
                <a:gd name="connsiteX17" fmla="*/ 218692 w 752442"/>
                <a:gd name="connsiteY17" fmla="*/ 133814 h 340728"/>
                <a:gd name="connsiteX18" fmla="*/ 221531 w 752442"/>
                <a:gd name="connsiteY18" fmla="*/ 135233 h 340728"/>
                <a:gd name="connsiteX19" fmla="*/ 254184 w 752442"/>
                <a:gd name="connsiteY19" fmla="*/ 148011 h 340728"/>
                <a:gd name="connsiteX20" fmla="*/ 257024 w 752442"/>
                <a:gd name="connsiteY20" fmla="*/ 149431 h 340728"/>
                <a:gd name="connsiteX21" fmla="*/ 289677 w 752442"/>
                <a:gd name="connsiteY21" fmla="*/ 163628 h 340728"/>
                <a:gd name="connsiteX22" fmla="*/ 292516 w 752442"/>
                <a:gd name="connsiteY22" fmla="*/ 165047 h 340728"/>
                <a:gd name="connsiteX23" fmla="*/ 325169 w 752442"/>
                <a:gd name="connsiteY23" fmla="*/ 179244 h 340728"/>
                <a:gd name="connsiteX24" fmla="*/ 328009 w 752442"/>
                <a:gd name="connsiteY24" fmla="*/ 180664 h 340728"/>
                <a:gd name="connsiteX25" fmla="*/ 359242 w 752442"/>
                <a:gd name="connsiteY25" fmla="*/ 192022 h 340728"/>
                <a:gd name="connsiteX26" fmla="*/ 362082 w 752442"/>
                <a:gd name="connsiteY26" fmla="*/ 193441 h 340728"/>
                <a:gd name="connsiteX27" fmla="*/ 396154 w 752442"/>
                <a:gd name="connsiteY27" fmla="*/ 207638 h 340728"/>
                <a:gd name="connsiteX28" fmla="*/ 398994 w 752442"/>
                <a:gd name="connsiteY28" fmla="*/ 209058 h 340728"/>
                <a:gd name="connsiteX29" fmla="*/ 433067 w 752442"/>
                <a:gd name="connsiteY29" fmla="*/ 223255 h 340728"/>
                <a:gd name="connsiteX30" fmla="*/ 435906 w 752442"/>
                <a:gd name="connsiteY30" fmla="*/ 224675 h 340728"/>
                <a:gd name="connsiteX31" fmla="*/ 474238 w 752442"/>
                <a:gd name="connsiteY31" fmla="*/ 240291 h 340728"/>
                <a:gd name="connsiteX32" fmla="*/ 477077 w 752442"/>
                <a:gd name="connsiteY32" fmla="*/ 241711 h 340728"/>
                <a:gd name="connsiteX33" fmla="*/ 515409 w 752442"/>
                <a:gd name="connsiteY33" fmla="*/ 257328 h 340728"/>
                <a:gd name="connsiteX34" fmla="*/ 518249 w 752442"/>
                <a:gd name="connsiteY34" fmla="*/ 258748 h 340728"/>
                <a:gd name="connsiteX35" fmla="*/ 546643 w 752442"/>
                <a:gd name="connsiteY35" fmla="*/ 270105 h 340728"/>
                <a:gd name="connsiteX36" fmla="*/ 549482 w 752442"/>
                <a:gd name="connsiteY36" fmla="*/ 271525 h 340728"/>
                <a:gd name="connsiteX37" fmla="*/ 577876 w 752442"/>
                <a:gd name="connsiteY37" fmla="*/ 282883 h 340728"/>
                <a:gd name="connsiteX38" fmla="*/ 580716 w 752442"/>
                <a:gd name="connsiteY38" fmla="*/ 284302 h 340728"/>
                <a:gd name="connsiteX39" fmla="*/ 600592 w 752442"/>
                <a:gd name="connsiteY39" fmla="*/ 291401 h 340728"/>
                <a:gd name="connsiteX40" fmla="*/ 603431 w 752442"/>
                <a:gd name="connsiteY40" fmla="*/ 292820 h 340728"/>
                <a:gd name="connsiteX41" fmla="*/ 623307 w 752442"/>
                <a:gd name="connsiteY41" fmla="*/ 301339 h 340728"/>
                <a:gd name="connsiteX42" fmla="*/ 626146 w 752442"/>
                <a:gd name="connsiteY42" fmla="*/ 302758 h 340728"/>
                <a:gd name="connsiteX43" fmla="*/ 646022 w 752442"/>
                <a:gd name="connsiteY43" fmla="*/ 311277 h 340728"/>
                <a:gd name="connsiteX44" fmla="*/ 648861 w 752442"/>
                <a:gd name="connsiteY44" fmla="*/ 312696 h 340728"/>
                <a:gd name="connsiteX45" fmla="*/ 667317 w 752442"/>
                <a:gd name="connsiteY45" fmla="*/ 319795 h 340728"/>
                <a:gd name="connsiteX46" fmla="*/ 670157 w 752442"/>
                <a:gd name="connsiteY46" fmla="*/ 321214 h 340728"/>
                <a:gd name="connsiteX47" fmla="*/ 688613 w 752442"/>
                <a:gd name="connsiteY47" fmla="*/ 328313 h 340728"/>
                <a:gd name="connsiteX48" fmla="*/ 691452 w 752442"/>
                <a:gd name="connsiteY48" fmla="*/ 329733 h 340728"/>
                <a:gd name="connsiteX49" fmla="*/ 709909 w 752442"/>
                <a:gd name="connsiteY49" fmla="*/ 336831 h 340728"/>
                <a:gd name="connsiteX50" fmla="*/ 712748 w 752442"/>
                <a:gd name="connsiteY50" fmla="*/ 338251 h 340728"/>
                <a:gd name="connsiteX51" fmla="*/ 732624 w 752442"/>
                <a:gd name="connsiteY51" fmla="*/ 346769 h 340728"/>
                <a:gd name="connsiteX52" fmla="*/ 732624 w 752442"/>
                <a:gd name="connsiteY52" fmla="*/ 346769 h 340728"/>
                <a:gd name="connsiteX53" fmla="*/ 758178 w 752442"/>
                <a:gd name="connsiteY53" fmla="*/ 284302 h 340728"/>
                <a:gd name="connsiteX54" fmla="*/ 758178 w 752442"/>
                <a:gd name="connsiteY54" fmla="*/ 284302 h 340728"/>
                <a:gd name="connsiteX55" fmla="*/ 738303 w 752442"/>
                <a:gd name="connsiteY55" fmla="*/ 277204 h 340728"/>
                <a:gd name="connsiteX56" fmla="*/ 735463 w 752442"/>
                <a:gd name="connsiteY56" fmla="*/ 275784 h 340728"/>
                <a:gd name="connsiteX57" fmla="*/ 717007 w 752442"/>
                <a:gd name="connsiteY57" fmla="*/ 268686 h 340728"/>
                <a:gd name="connsiteX58" fmla="*/ 714168 w 752442"/>
                <a:gd name="connsiteY58" fmla="*/ 267266 h 340728"/>
                <a:gd name="connsiteX59" fmla="*/ 695712 w 752442"/>
                <a:gd name="connsiteY59" fmla="*/ 260167 h 340728"/>
                <a:gd name="connsiteX60" fmla="*/ 692872 w 752442"/>
                <a:gd name="connsiteY60" fmla="*/ 258748 h 340728"/>
                <a:gd name="connsiteX61" fmla="*/ 674416 w 752442"/>
                <a:gd name="connsiteY61" fmla="*/ 251649 h 340728"/>
                <a:gd name="connsiteX62" fmla="*/ 671577 w 752442"/>
                <a:gd name="connsiteY62" fmla="*/ 250229 h 340728"/>
                <a:gd name="connsiteX63" fmla="*/ 651701 w 752442"/>
                <a:gd name="connsiteY63" fmla="*/ 243131 h 340728"/>
                <a:gd name="connsiteX64" fmla="*/ 648861 w 752442"/>
                <a:gd name="connsiteY64" fmla="*/ 241711 h 340728"/>
                <a:gd name="connsiteX65" fmla="*/ 626146 w 752442"/>
                <a:gd name="connsiteY65" fmla="*/ 234613 h 340728"/>
                <a:gd name="connsiteX66" fmla="*/ 623307 w 752442"/>
                <a:gd name="connsiteY66" fmla="*/ 233193 h 340728"/>
                <a:gd name="connsiteX67" fmla="*/ 602011 w 752442"/>
                <a:gd name="connsiteY67" fmla="*/ 226094 h 340728"/>
                <a:gd name="connsiteX68" fmla="*/ 600592 w 752442"/>
                <a:gd name="connsiteY68" fmla="*/ 224675 h 340728"/>
                <a:gd name="connsiteX69" fmla="*/ 572197 w 752442"/>
                <a:gd name="connsiteY69" fmla="*/ 214737 h 340728"/>
                <a:gd name="connsiteX70" fmla="*/ 569358 w 752442"/>
                <a:gd name="connsiteY70" fmla="*/ 213317 h 340728"/>
                <a:gd name="connsiteX71" fmla="*/ 540964 w 752442"/>
                <a:gd name="connsiteY71" fmla="*/ 203379 h 340728"/>
                <a:gd name="connsiteX72" fmla="*/ 538125 w 752442"/>
                <a:gd name="connsiteY72" fmla="*/ 201959 h 340728"/>
                <a:gd name="connsiteX73" fmla="*/ 498373 w 752442"/>
                <a:gd name="connsiteY73" fmla="*/ 187762 h 340728"/>
                <a:gd name="connsiteX74" fmla="*/ 495534 w 752442"/>
                <a:gd name="connsiteY74" fmla="*/ 186343 h 340728"/>
                <a:gd name="connsiteX75" fmla="*/ 455782 w 752442"/>
                <a:gd name="connsiteY75" fmla="*/ 172146 h 340728"/>
                <a:gd name="connsiteX76" fmla="*/ 452942 w 752442"/>
                <a:gd name="connsiteY76" fmla="*/ 170726 h 340728"/>
                <a:gd name="connsiteX77" fmla="*/ 418870 w 752442"/>
                <a:gd name="connsiteY77" fmla="*/ 157949 h 340728"/>
                <a:gd name="connsiteX78" fmla="*/ 416030 w 752442"/>
                <a:gd name="connsiteY78" fmla="*/ 156529 h 340728"/>
                <a:gd name="connsiteX79" fmla="*/ 381957 w 752442"/>
                <a:gd name="connsiteY79" fmla="*/ 143752 h 340728"/>
                <a:gd name="connsiteX80" fmla="*/ 379118 w 752442"/>
                <a:gd name="connsiteY80" fmla="*/ 142332 h 340728"/>
                <a:gd name="connsiteX81" fmla="*/ 346465 w 752442"/>
                <a:gd name="connsiteY81" fmla="*/ 129555 h 340728"/>
                <a:gd name="connsiteX82" fmla="*/ 343625 w 752442"/>
                <a:gd name="connsiteY82" fmla="*/ 128135 h 340728"/>
                <a:gd name="connsiteX83" fmla="*/ 310972 w 752442"/>
                <a:gd name="connsiteY83" fmla="*/ 115358 h 340728"/>
                <a:gd name="connsiteX84" fmla="*/ 308133 w 752442"/>
                <a:gd name="connsiteY84" fmla="*/ 113938 h 340728"/>
                <a:gd name="connsiteX85" fmla="*/ 274060 w 752442"/>
                <a:gd name="connsiteY85" fmla="*/ 102580 h 340728"/>
                <a:gd name="connsiteX86" fmla="*/ 271221 w 752442"/>
                <a:gd name="connsiteY86" fmla="*/ 101161 h 340728"/>
                <a:gd name="connsiteX87" fmla="*/ 238567 w 752442"/>
                <a:gd name="connsiteY87" fmla="*/ 88383 h 340728"/>
                <a:gd name="connsiteX88" fmla="*/ 235728 w 752442"/>
                <a:gd name="connsiteY88" fmla="*/ 86964 h 340728"/>
                <a:gd name="connsiteX89" fmla="*/ 235728 w 752442"/>
                <a:gd name="connsiteY89" fmla="*/ 86964 h 340728"/>
                <a:gd name="connsiteX90" fmla="*/ 232889 w 752442"/>
                <a:gd name="connsiteY90" fmla="*/ 85544 h 340728"/>
                <a:gd name="connsiteX91" fmla="*/ 203075 w 752442"/>
                <a:gd name="connsiteY91" fmla="*/ 77026 h 340728"/>
                <a:gd name="connsiteX92" fmla="*/ 200236 w 752442"/>
                <a:gd name="connsiteY92" fmla="*/ 75606 h 340728"/>
                <a:gd name="connsiteX93" fmla="*/ 188878 w 752442"/>
                <a:gd name="connsiteY93" fmla="*/ 71347 h 340728"/>
                <a:gd name="connsiteX94" fmla="*/ 186038 w 752442"/>
                <a:gd name="connsiteY94" fmla="*/ 69927 h 340728"/>
                <a:gd name="connsiteX95" fmla="*/ 166163 w 752442"/>
                <a:gd name="connsiteY95" fmla="*/ 62829 h 340728"/>
                <a:gd name="connsiteX96" fmla="*/ 163323 w 752442"/>
                <a:gd name="connsiteY96" fmla="*/ 61409 h 340728"/>
                <a:gd name="connsiteX97" fmla="*/ 136349 w 752442"/>
                <a:gd name="connsiteY97" fmla="*/ 51471 h 340728"/>
                <a:gd name="connsiteX98" fmla="*/ 134929 w 752442"/>
                <a:gd name="connsiteY98" fmla="*/ 51471 h 340728"/>
                <a:gd name="connsiteX99" fmla="*/ 133510 w 752442"/>
                <a:gd name="connsiteY99" fmla="*/ 51471 h 340728"/>
                <a:gd name="connsiteX100" fmla="*/ 132090 w 752442"/>
                <a:gd name="connsiteY100" fmla="*/ 51471 h 340728"/>
                <a:gd name="connsiteX101" fmla="*/ 132090 w 752442"/>
                <a:gd name="connsiteY101" fmla="*/ 48632 h 340728"/>
                <a:gd name="connsiteX102" fmla="*/ 129250 w 752442"/>
                <a:gd name="connsiteY102" fmla="*/ 45792 h 340728"/>
                <a:gd name="connsiteX103" fmla="*/ 126411 w 752442"/>
                <a:gd name="connsiteY103" fmla="*/ 42953 h 340728"/>
                <a:gd name="connsiteX104" fmla="*/ 124991 w 752442"/>
                <a:gd name="connsiteY104" fmla="*/ 41533 h 340728"/>
                <a:gd name="connsiteX105" fmla="*/ 27032 w 752442"/>
                <a:gd name="connsiteY105" fmla="*/ 362 h 340728"/>
                <a:gd name="connsiteX106" fmla="*/ 14255 w 752442"/>
                <a:gd name="connsiteY106" fmla="*/ 7460 h 340728"/>
                <a:gd name="connsiteX107" fmla="*/ 1477 w 752442"/>
                <a:gd name="connsiteY107" fmla="*/ 40113 h 340728"/>
                <a:gd name="connsiteX108" fmla="*/ 4317 w 752442"/>
                <a:gd name="connsiteY108" fmla="*/ 54311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52442" h="340728">
                  <a:moveTo>
                    <a:pt x="4317" y="54311"/>
                  </a:moveTo>
                  <a:lnTo>
                    <a:pt x="103696" y="91223"/>
                  </a:lnTo>
                  <a:cubicBezTo>
                    <a:pt x="105115" y="91223"/>
                    <a:pt x="105115" y="91223"/>
                    <a:pt x="106535" y="91223"/>
                  </a:cubicBezTo>
                  <a:lnTo>
                    <a:pt x="109375" y="91223"/>
                  </a:lnTo>
                  <a:lnTo>
                    <a:pt x="113634" y="91223"/>
                  </a:lnTo>
                  <a:lnTo>
                    <a:pt x="115053" y="91223"/>
                  </a:lnTo>
                  <a:cubicBezTo>
                    <a:pt x="115053" y="91223"/>
                    <a:pt x="115053" y="91223"/>
                    <a:pt x="116473" y="91223"/>
                  </a:cubicBezTo>
                  <a:cubicBezTo>
                    <a:pt x="116473" y="91223"/>
                    <a:pt x="116473" y="91223"/>
                    <a:pt x="117893" y="91223"/>
                  </a:cubicBezTo>
                  <a:cubicBezTo>
                    <a:pt x="117893" y="91223"/>
                    <a:pt x="117893" y="91223"/>
                    <a:pt x="119312" y="91223"/>
                  </a:cubicBezTo>
                  <a:lnTo>
                    <a:pt x="146287" y="102580"/>
                  </a:lnTo>
                  <a:lnTo>
                    <a:pt x="149126" y="104000"/>
                  </a:lnTo>
                  <a:lnTo>
                    <a:pt x="169002" y="112518"/>
                  </a:lnTo>
                  <a:lnTo>
                    <a:pt x="171841" y="113938"/>
                  </a:lnTo>
                  <a:lnTo>
                    <a:pt x="183199" y="118197"/>
                  </a:lnTo>
                  <a:lnTo>
                    <a:pt x="186038" y="119617"/>
                  </a:lnTo>
                  <a:lnTo>
                    <a:pt x="215852" y="132394"/>
                  </a:lnTo>
                  <a:lnTo>
                    <a:pt x="218692" y="133814"/>
                  </a:lnTo>
                  <a:lnTo>
                    <a:pt x="218692" y="133814"/>
                  </a:lnTo>
                  <a:lnTo>
                    <a:pt x="221531" y="135233"/>
                  </a:lnTo>
                  <a:lnTo>
                    <a:pt x="254184" y="148011"/>
                  </a:lnTo>
                  <a:lnTo>
                    <a:pt x="257024" y="149431"/>
                  </a:lnTo>
                  <a:lnTo>
                    <a:pt x="289677" y="163628"/>
                  </a:lnTo>
                  <a:lnTo>
                    <a:pt x="292516" y="165047"/>
                  </a:lnTo>
                  <a:lnTo>
                    <a:pt x="325169" y="179244"/>
                  </a:lnTo>
                  <a:lnTo>
                    <a:pt x="328009" y="180664"/>
                  </a:lnTo>
                  <a:lnTo>
                    <a:pt x="359242" y="192022"/>
                  </a:lnTo>
                  <a:lnTo>
                    <a:pt x="362082" y="193441"/>
                  </a:lnTo>
                  <a:lnTo>
                    <a:pt x="396154" y="207638"/>
                  </a:lnTo>
                  <a:lnTo>
                    <a:pt x="398994" y="209058"/>
                  </a:lnTo>
                  <a:lnTo>
                    <a:pt x="433067" y="223255"/>
                  </a:lnTo>
                  <a:lnTo>
                    <a:pt x="435906" y="224675"/>
                  </a:lnTo>
                  <a:lnTo>
                    <a:pt x="474238" y="240291"/>
                  </a:lnTo>
                  <a:lnTo>
                    <a:pt x="477077" y="241711"/>
                  </a:lnTo>
                  <a:lnTo>
                    <a:pt x="515409" y="257328"/>
                  </a:lnTo>
                  <a:lnTo>
                    <a:pt x="518249" y="258748"/>
                  </a:lnTo>
                  <a:lnTo>
                    <a:pt x="546643" y="270105"/>
                  </a:lnTo>
                  <a:lnTo>
                    <a:pt x="549482" y="271525"/>
                  </a:lnTo>
                  <a:lnTo>
                    <a:pt x="577876" y="282883"/>
                  </a:lnTo>
                  <a:lnTo>
                    <a:pt x="580716" y="284302"/>
                  </a:lnTo>
                  <a:lnTo>
                    <a:pt x="600592" y="291401"/>
                  </a:lnTo>
                  <a:lnTo>
                    <a:pt x="603431" y="292820"/>
                  </a:lnTo>
                  <a:lnTo>
                    <a:pt x="623307" y="301339"/>
                  </a:lnTo>
                  <a:lnTo>
                    <a:pt x="626146" y="302758"/>
                  </a:lnTo>
                  <a:lnTo>
                    <a:pt x="646022" y="311277"/>
                  </a:lnTo>
                  <a:lnTo>
                    <a:pt x="648861" y="312696"/>
                  </a:lnTo>
                  <a:lnTo>
                    <a:pt x="667317" y="319795"/>
                  </a:lnTo>
                  <a:lnTo>
                    <a:pt x="670157" y="321214"/>
                  </a:lnTo>
                  <a:lnTo>
                    <a:pt x="688613" y="328313"/>
                  </a:lnTo>
                  <a:lnTo>
                    <a:pt x="691452" y="329733"/>
                  </a:lnTo>
                  <a:lnTo>
                    <a:pt x="709909" y="336831"/>
                  </a:lnTo>
                  <a:lnTo>
                    <a:pt x="712748" y="338251"/>
                  </a:lnTo>
                  <a:lnTo>
                    <a:pt x="732624" y="346769"/>
                  </a:lnTo>
                  <a:lnTo>
                    <a:pt x="732624" y="346769"/>
                  </a:lnTo>
                  <a:lnTo>
                    <a:pt x="758178" y="284302"/>
                  </a:lnTo>
                  <a:lnTo>
                    <a:pt x="758178" y="284302"/>
                  </a:lnTo>
                  <a:lnTo>
                    <a:pt x="738303" y="277204"/>
                  </a:lnTo>
                  <a:lnTo>
                    <a:pt x="735463" y="275784"/>
                  </a:lnTo>
                  <a:lnTo>
                    <a:pt x="717007" y="268686"/>
                  </a:lnTo>
                  <a:lnTo>
                    <a:pt x="714168" y="267266"/>
                  </a:lnTo>
                  <a:lnTo>
                    <a:pt x="695712" y="260167"/>
                  </a:lnTo>
                  <a:lnTo>
                    <a:pt x="692872" y="258748"/>
                  </a:lnTo>
                  <a:lnTo>
                    <a:pt x="674416" y="251649"/>
                  </a:lnTo>
                  <a:lnTo>
                    <a:pt x="671577" y="250229"/>
                  </a:lnTo>
                  <a:lnTo>
                    <a:pt x="651701" y="243131"/>
                  </a:lnTo>
                  <a:lnTo>
                    <a:pt x="648861" y="241711"/>
                  </a:lnTo>
                  <a:lnTo>
                    <a:pt x="626146" y="234613"/>
                  </a:lnTo>
                  <a:lnTo>
                    <a:pt x="623307" y="233193"/>
                  </a:lnTo>
                  <a:lnTo>
                    <a:pt x="602011" y="226094"/>
                  </a:lnTo>
                  <a:lnTo>
                    <a:pt x="600592" y="224675"/>
                  </a:lnTo>
                  <a:lnTo>
                    <a:pt x="572197" y="214737"/>
                  </a:lnTo>
                  <a:lnTo>
                    <a:pt x="569358" y="213317"/>
                  </a:lnTo>
                  <a:lnTo>
                    <a:pt x="540964" y="203379"/>
                  </a:lnTo>
                  <a:lnTo>
                    <a:pt x="538125" y="201959"/>
                  </a:lnTo>
                  <a:lnTo>
                    <a:pt x="498373" y="187762"/>
                  </a:lnTo>
                  <a:lnTo>
                    <a:pt x="495534" y="186343"/>
                  </a:lnTo>
                  <a:lnTo>
                    <a:pt x="455782" y="172146"/>
                  </a:lnTo>
                  <a:lnTo>
                    <a:pt x="452942" y="170726"/>
                  </a:lnTo>
                  <a:lnTo>
                    <a:pt x="418870" y="157949"/>
                  </a:lnTo>
                  <a:lnTo>
                    <a:pt x="416030" y="156529"/>
                  </a:lnTo>
                  <a:lnTo>
                    <a:pt x="381957" y="143752"/>
                  </a:lnTo>
                  <a:lnTo>
                    <a:pt x="379118" y="142332"/>
                  </a:lnTo>
                  <a:lnTo>
                    <a:pt x="346465" y="129555"/>
                  </a:lnTo>
                  <a:lnTo>
                    <a:pt x="343625" y="128135"/>
                  </a:lnTo>
                  <a:lnTo>
                    <a:pt x="310972" y="115358"/>
                  </a:lnTo>
                  <a:lnTo>
                    <a:pt x="308133" y="113938"/>
                  </a:lnTo>
                  <a:lnTo>
                    <a:pt x="274060" y="102580"/>
                  </a:lnTo>
                  <a:lnTo>
                    <a:pt x="271221" y="101161"/>
                  </a:lnTo>
                  <a:lnTo>
                    <a:pt x="238567" y="88383"/>
                  </a:lnTo>
                  <a:lnTo>
                    <a:pt x="235728" y="86964"/>
                  </a:lnTo>
                  <a:lnTo>
                    <a:pt x="235728" y="86964"/>
                  </a:lnTo>
                  <a:lnTo>
                    <a:pt x="232889" y="85544"/>
                  </a:lnTo>
                  <a:lnTo>
                    <a:pt x="203075" y="77026"/>
                  </a:lnTo>
                  <a:lnTo>
                    <a:pt x="200236" y="75606"/>
                  </a:lnTo>
                  <a:lnTo>
                    <a:pt x="188878" y="71347"/>
                  </a:lnTo>
                  <a:lnTo>
                    <a:pt x="186038" y="69927"/>
                  </a:lnTo>
                  <a:lnTo>
                    <a:pt x="166163" y="62829"/>
                  </a:lnTo>
                  <a:lnTo>
                    <a:pt x="163323" y="61409"/>
                  </a:lnTo>
                  <a:lnTo>
                    <a:pt x="136349" y="51471"/>
                  </a:lnTo>
                  <a:cubicBezTo>
                    <a:pt x="136349" y="51471"/>
                    <a:pt x="136349" y="51471"/>
                    <a:pt x="134929" y="51471"/>
                  </a:cubicBezTo>
                  <a:cubicBezTo>
                    <a:pt x="134929" y="51471"/>
                    <a:pt x="134929" y="51471"/>
                    <a:pt x="133510" y="51471"/>
                  </a:cubicBezTo>
                  <a:cubicBezTo>
                    <a:pt x="133510" y="51471"/>
                    <a:pt x="133510" y="51471"/>
                    <a:pt x="132090" y="51471"/>
                  </a:cubicBezTo>
                  <a:lnTo>
                    <a:pt x="132090" y="48632"/>
                  </a:lnTo>
                  <a:lnTo>
                    <a:pt x="129250" y="45792"/>
                  </a:lnTo>
                  <a:lnTo>
                    <a:pt x="126411" y="42953"/>
                  </a:lnTo>
                  <a:cubicBezTo>
                    <a:pt x="126411" y="42953"/>
                    <a:pt x="124991" y="41533"/>
                    <a:pt x="124991" y="41533"/>
                  </a:cubicBezTo>
                  <a:lnTo>
                    <a:pt x="27032" y="362"/>
                  </a:lnTo>
                  <a:cubicBezTo>
                    <a:pt x="22773" y="-1058"/>
                    <a:pt x="17094" y="1781"/>
                    <a:pt x="14255" y="7460"/>
                  </a:cubicBezTo>
                  <a:lnTo>
                    <a:pt x="1477" y="40113"/>
                  </a:lnTo>
                  <a:cubicBezTo>
                    <a:pt x="-1362" y="45792"/>
                    <a:pt x="58" y="52891"/>
                    <a:pt x="4317" y="54311"/>
                  </a:cubicBezTo>
                  <a:close/>
                </a:path>
              </a:pathLst>
            </a:custGeom>
            <a:solidFill>
              <a:srgbClr val="63402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1" name="任意多边形: 形状 10150">
              <a:extLst>
                <a:ext uri="{FF2B5EF4-FFF2-40B4-BE49-F238E27FC236}">
                  <a16:creationId xmlns:a16="http://schemas.microsoft.com/office/drawing/2014/main" id="{A9AB75D5-9CA6-47A2-9B9B-D19A38250853}"/>
                </a:ext>
              </a:extLst>
            </p:cNvPr>
            <p:cNvSpPr/>
            <p:nvPr userDrawn="1"/>
          </p:nvSpPr>
          <p:spPr>
            <a:xfrm>
              <a:off x="5187761" y="4433393"/>
              <a:ext cx="14197" cy="42591"/>
            </a:xfrm>
            <a:custGeom>
              <a:avLst/>
              <a:gdLst>
                <a:gd name="connsiteX0" fmla="*/ 21296 w 14197"/>
                <a:gd name="connsiteY0" fmla="*/ 0 h 42591"/>
                <a:gd name="connsiteX1" fmla="*/ 2839 w 14197"/>
                <a:gd name="connsiteY1" fmla="*/ 46850 h 42591"/>
                <a:gd name="connsiteX2" fmla="*/ 0 w 14197"/>
                <a:gd name="connsiteY2" fmla="*/ 45431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1296" y="0"/>
                  </a:moveTo>
                  <a:lnTo>
                    <a:pt x="2839" y="46850"/>
                  </a:lnTo>
                  <a:lnTo>
                    <a:pt x="0" y="45431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2" name="任意多边形: 形状 10151">
              <a:extLst>
                <a:ext uri="{FF2B5EF4-FFF2-40B4-BE49-F238E27FC236}">
                  <a16:creationId xmlns:a16="http://schemas.microsoft.com/office/drawing/2014/main" id="{A128D338-C7DF-4E18-B195-F002B2593D39}"/>
                </a:ext>
              </a:extLst>
            </p:cNvPr>
            <p:cNvSpPr/>
            <p:nvPr userDrawn="1"/>
          </p:nvSpPr>
          <p:spPr>
            <a:xfrm>
              <a:off x="5149429" y="4417776"/>
              <a:ext cx="14197" cy="42591"/>
            </a:xfrm>
            <a:custGeom>
              <a:avLst/>
              <a:gdLst>
                <a:gd name="connsiteX0" fmla="*/ 0 w 14197"/>
                <a:gd name="connsiteY0" fmla="*/ 45431 h 42591"/>
                <a:gd name="connsiteX1" fmla="*/ 2839 w 14197"/>
                <a:gd name="connsiteY1" fmla="*/ 45431 h 42591"/>
                <a:gd name="connsiteX2" fmla="*/ 21296 w 14197"/>
                <a:gd name="connsiteY2" fmla="*/ 142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5431"/>
                  </a:moveTo>
                  <a:lnTo>
                    <a:pt x="2839" y="45431"/>
                  </a:lnTo>
                  <a:lnTo>
                    <a:pt x="21296" y="142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3" name="任意多边形: 形状 10152">
              <a:extLst>
                <a:ext uri="{FF2B5EF4-FFF2-40B4-BE49-F238E27FC236}">
                  <a16:creationId xmlns:a16="http://schemas.microsoft.com/office/drawing/2014/main" id="{EB6A9F6D-91E5-4899-9E9E-90CC62A8CA68}"/>
                </a:ext>
              </a:extLst>
            </p:cNvPr>
            <p:cNvSpPr/>
            <p:nvPr userDrawn="1"/>
          </p:nvSpPr>
          <p:spPr>
            <a:xfrm>
              <a:off x="5103998" y="4400740"/>
              <a:ext cx="14197" cy="42591"/>
            </a:xfrm>
            <a:custGeom>
              <a:avLst/>
              <a:gdLst>
                <a:gd name="connsiteX0" fmla="*/ 0 w 14197"/>
                <a:gd name="connsiteY0" fmla="*/ 42591 h 42591"/>
                <a:gd name="connsiteX1" fmla="*/ 2839 w 14197"/>
                <a:gd name="connsiteY1" fmla="*/ 44011 h 42591"/>
                <a:gd name="connsiteX2" fmla="*/ 19876 w 14197"/>
                <a:gd name="connsiteY2" fmla="*/ 1420 h 42591"/>
                <a:gd name="connsiteX3" fmla="*/ 1703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2839" y="44011"/>
                  </a:lnTo>
                  <a:lnTo>
                    <a:pt x="19876" y="1420"/>
                  </a:lnTo>
                  <a:lnTo>
                    <a:pt x="1703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4" name="任意多边形: 形状 10153">
              <a:extLst>
                <a:ext uri="{FF2B5EF4-FFF2-40B4-BE49-F238E27FC236}">
                  <a16:creationId xmlns:a16="http://schemas.microsoft.com/office/drawing/2014/main" id="{1B7AAF73-9E9A-4403-A249-97F602D0A41E}"/>
                </a:ext>
              </a:extLst>
            </p:cNvPr>
            <p:cNvSpPr/>
            <p:nvPr userDrawn="1"/>
          </p:nvSpPr>
          <p:spPr>
            <a:xfrm>
              <a:off x="5050050" y="4379444"/>
              <a:ext cx="14197" cy="42591"/>
            </a:xfrm>
            <a:custGeom>
              <a:avLst/>
              <a:gdLst>
                <a:gd name="connsiteX0" fmla="*/ 0 w 14197"/>
                <a:gd name="connsiteY0" fmla="*/ 42591 h 42591"/>
                <a:gd name="connsiteX1" fmla="*/ 1420 w 14197"/>
                <a:gd name="connsiteY1" fmla="*/ 42591 h 42591"/>
                <a:gd name="connsiteX2" fmla="*/ 2839 w 14197"/>
                <a:gd name="connsiteY2" fmla="*/ 42591 h 42591"/>
                <a:gd name="connsiteX3" fmla="*/ 4259 w 14197"/>
                <a:gd name="connsiteY3" fmla="*/ 42591 h 42591"/>
                <a:gd name="connsiteX4" fmla="*/ 21296 w 14197"/>
                <a:gd name="connsiteY4" fmla="*/ 1420 h 42591"/>
                <a:gd name="connsiteX5" fmla="*/ 19876 w 14197"/>
                <a:gd name="connsiteY5" fmla="*/ 1420 h 42591"/>
                <a:gd name="connsiteX6" fmla="*/ 18456 w 14197"/>
                <a:gd name="connsiteY6" fmla="*/ 1420 h 42591"/>
                <a:gd name="connsiteX7" fmla="*/ 17036 w 14197"/>
                <a:gd name="connsiteY7" fmla="*/ 0 h 42591"/>
                <a:gd name="connsiteX8" fmla="*/ 0 w 14197"/>
                <a:gd name="connsiteY8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1420" y="42591"/>
                  </a:lnTo>
                  <a:cubicBezTo>
                    <a:pt x="1420" y="42591"/>
                    <a:pt x="1420" y="42591"/>
                    <a:pt x="2839" y="42591"/>
                  </a:cubicBezTo>
                  <a:cubicBezTo>
                    <a:pt x="2839" y="42591"/>
                    <a:pt x="2839" y="42591"/>
                    <a:pt x="4259" y="42591"/>
                  </a:cubicBezTo>
                  <a:lnTo>
                    <a:pt x="21296" y="1420"/>
                  </a:lnTo>
                  <a:cubicBezTo>
                    <a:pt x="21296" y="1420"/>
                    <a:pt x="21296" y="1420"/>
                    <a:pt x="19876" y="1420"/>
                  </a:cubicBezTo>
                  <a:cubicBezTo>
                    <a:pt x="19876" y="1420"/>
                    <a:pt x="19876" y="1420"/>
                    <a:pt x="18456" y="1420"/>
                  </a:cubicBezTo>
                  <a:lnTo>
                    <a:pt x="17036" y="0"/>
                  </a:lnTo>
                  <a:lnTo>
                    <a:pt x="0" y="42591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5" name="任意多边形: 形状 10154">
              <a:extLst>
                <a:ext uri="{FF2B5EF4-FFF2-40B4-BE49-F238E27FC236}">
                  <a16:creationId xmlns:a16="http://schemas.microsoft.com/office/drawing/2014/main" id="{877EB1B6-BAFC-4EA2-9FEF-05A3890099CD}"/>
                </a:ext>
              </a:extLst>
            </p:cNvPr>
            <p:cNvSpPr/>
            <p:nvPr userDrawn="1"/>
          </p:nvSpPr>
          <p:spPr>
            <a:xfrm>
              <a:off x="5223253" y="4446170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8270 h 42591"/>
                <a:gd name="connsiteX2" fmla="*/ 0 w 14197"/>
                <a:gd name="connsiteY2" fmla="*/ 4685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8270"/>
                  </a:lnTo>
                  <a:lnTo>
                    <a:pt x="0" y="4685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6" name="任意多边形: 形状 10155">
              <a:extLst>
                <a:ext uri="{FF2B5EF4-FFF2-40B4-BE49-F238E27FC236}">
                  <a16:creationId xmlns:a16="http://schemas.microsoft.com/office/drawing/2014/main" id="{558CE5B9-8677-4E5E-9B2F-F4AB10741C50}"/>
                </a:ext>
              </a:extLst>
            </p:cNvPr>
            <p:cNvSpPr/>
            <p:nvPr userDrawn="1"/>
          </p:nvSpPr>
          <p:spPr>
            <a:xfrm>
              <a:off x="5258746" y="4458947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9690 h 42591"/>
                <a:gd name="connsiteX2" fmla="*/ 0 w 14197"/>
                <a:gd name="connsiteY2" fmla="*/ 4827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9690"/>
                  </a:lnTo>
                  <a:lnTo>
                    <a:pt x="0" y="4827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7" name="任意多边形: 形状 10156">
              <a:extLst>
                <a:ext uri="{FF2B5EF4-FFF2-40B4-BE49-F238E27FC236}">
                  <a16:creationId xmlns:a16="http://schemas.microsoft.com/office/drawing/2014/main" id="{67407269-A4B6-4E8B-94CC-1EFEA54CB858}"/>
                </a:ext>
              </a:extLst>
            </p:cNvPr>
            <p:cNvSpPr/>
            <p:nvPr userDrawn="1"/>
          </p:nvSpPr>
          <p:spPr>
            <a:xfrm>
              <a:off x="5294238" y="4473144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8" name="任意多边形: 形状 10157">
              <a:extLst>
                <a:ext uri="{FF2B5EF4-FFF2-40B4-BE49-F238E27FC236}">
                  <a16:creationId xmlns:a16="http://schemas.microsoft.com/office/drawing/2014/main" id="{21CDB831-76CD-46C9-AC7E-618F5EB66F8D}"/>
                </a:ext>
              </a:extLst>
            </p:cNvPr>
            <p:cNvSpPr/>
            <p:nvPr userDrawn="1"/>
          </p:nvSpPr>
          <p:spPr>
            <a:xfrm>
              <a:off x="5331151" y="4487341"/>
              <a:ext cx="14197" cy="42591"/>
            </a:xfrm>
            <a:custGeom>
              <a:avLst/>
              <a:gdLst>
                <a:gd name="connsiteX0" fmla="*/ 22715 w 14197"/>
                <a:gd name="connsiteY0" fmla="*/ 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9" name="任意多边形: 形状 10158">
              <a:extLst>
                <a:ext uri="{FF2B5EF4-FFF2-40B4-BE49-F238E27FC236}">
                  <a16:creationId xmlns:a16="http://schemas.microsoft.com/office/drawing/2014/main" id="{9B277020-1F8A-4C77-BED2-FD566725F027}"/>
                </a:ext>
              </a:extLst>
            </p:cNvPr>
            <p:cNvSpPr/>
            <p:nvPr userDrawn="1"/>
          </p:nvSpPr>
          <p:spPr>
            <a:xfrm>
              <a:off x="5368063" y="4500119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0" name="任意多边形: 形状 10159">
              <a:extLst>
                <a:ext uri="{FF2B5EF4-FFF2-40B4-BE49-F238E27FC236}">
                  <a16:creationId xmlns:a16="http://schemas.microsoft.com/office/drawing/2014/main" id="{82113D99-6944-4ECC-8FDF-9C336EF47B7F}"/>
                </a:ext>
              </a:extLst>
            </p:cNvPr>
            <p:cNvSpPr/>
            <p:nvPr userDrawn="1"/>
          </p:nvSpPr>
          <p:spPr>
            <a:xfrm>
              <a:off x="5409234" y="4517155"/>
              <a:ext cx="14197" cy="42591"/>
            </a:xfrm>
            <a:custGeom>
              <a:avLst/>
              <a:gdLst>
                <a:gd name="connsiteX0" fmla="*/ 24135 w 14197"/>
                <a:gd name="connsiteY0" fmla="*/ 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2129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4135" y="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2129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1" name="任意多边形: 形状 10160">
              <a:extLst>
                <a:ext uri="{FF2B5EF4-FFF2-40B4-BE49-F238E27FC236}">
                  <a16:creationId xmlns:a16="http://schemas.microsoft.com/office/drawing/2014/main" id="{2B4CAF53-A60A-4DC5-A8F1-CD69AAD64C41}"/>
                </a:ext>
              </a:extLst>
            </p:cNvPr>
            <p:cNvSpPr/>
            <p:nvPr userDrawn="1"/>
          </p:nvSpPr>
          <p:spPr>
            <a:xfrm>
              <a:off x="5450406" y="4532772"/>
              <a:ext cx="14197" cy="42591"/>
            </a:xfrm>
            <a:custGeom>
              <a:avLst/>
              <a:gdLst>
                <a:gd name="connsiteX0" fmla="*/ 25555 w 14197"/>
                <a:gd name="connsiteY0" fmla="*/ 0 h 42591"/>
                <a:gd name="connsiteX1" fmla="*/ 2839 w 14197"/>
                <a:gd name="connsiteY1" fmla="*/ 55368 h 42591"/>
                <a:gd name="connsiteX2" fmla="*/ 0 w 14197"/>
                <a:gd name="connsiteY2" fmla="*/ 55368 h 42591"/>
                <a:gd name="connsiteX3" fmla="*/ 22715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5555" y="0"/>
                  </a:moveTo>
                  <a:lnTo>
                    <a:pt x="2839" y="5536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2" name="任意多边形: 形状 10161">
              <a:extLst>
                <a:ext uri="{FF2B5EF4-FFF2-40B4-BE49-F238E27FC236}">
                  <a16:creationId xmlns:a16="http://schemas.microsoft.com/office/drawing/2014/main" id="{BB355227-FFB4-4C8B-BC9A-6E406E1F6819}"/>
                </a:ext>
              </a:extLst>
            </p:cNvPr>
            <p:cNvSpPr/>
            <p:nvPr userDrawn="1"/>
          </p:nvSpPr>
          <p:spPr>
            <a:xfrm>
              <a:off x="5481639" y="4544129"/>
              <a:ext cx="14197" cy="56788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6788 h 56788"/>
                <a:gd name="connsiteX2" fmla="*/ 0 w 14197"/>
                <a:gd name="connsiteY2" fmla="*/ 5536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678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3" name="任意多边形: 形状 10162">
              <a:extLst>
                <a:ext uri="{FF2B5EF4-FFF2-40B4-BE49-F238E27FC236}">
                  <a16:creationId xmlns:a16="http://schemas.microsoft.com/office/drawing/2014/main" id="{A25882AD-DA31-4B63-821C-094A7BD9FEA2}"/>
                </a:ext>
              </a:extLst>
            </p:cNvPr>
            <p:cNvSpPr/>
            <p:nvPr userDrawn="1"/>
          </p:nvSpPr>
          <p:spPr>
            <a:xfrm>
              <a:off x="5512873" y="4555487"/>
              <a:ext cx="14197" cy="56788"/>
            </a:xfrm>
            <a:custGeom>
              <a:avLst/>
              <a:gdLst>
                <a:gd name="connsiteX0" fmla="*/ 22715 w 14197"/>
                <a:gd name="connsiteY0" fmla="*/ 0 h 56788"/>
                <a:gd name="connsiteX1" fmla="*/ 25555 w 14197"/>
                <a:gd name="connsiteY1" fmla="*/ 1420 h 56788"/>
                <a:gd name="connsiteX2" fmla="*/ 2839 w 14197"/>
                <a:gd name="connsiteY2" fmla="*/ 58208 h 56788"/>
                <a:gd name="connsiteX3" fmla="*/ 0 w 14197"/>
                <a:gd name="connsiteY3" fmla="*/ 5678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2715" y="0"/>
                  </a:moveTo>
                  <a:lnTo>
                    <a:pt x="25555" y="1420"/>
                  </a:lnTo>
                  <a:lnTo>
                    <a:pt x="2839" y="58208"/>
                  </a:lnTo>
                  <a:lnTo>
                    <a:pt x="0" y="56788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4" name="任意多边形: 形状 10163">
              <a:extLst>
                <a:ext uri="{FF2B5EF4-FFF2-40B4-BE49-F238E27FC236}">
                  <a16:creationId xmlns:a16="http://schemas.microsoft.com/office/drawing/2014/main" id="{8F749FD7-1A34-436B-B9DA-85F0C795035D}"/>
                </a:ext>
              </a:extLst>
            </p:cNvPr>
            <p:cNvSpPr/>
            <p:nvPr userDrawn="1"/>
          </p:nvSpPr>
          <p:spPr>
            <a:xfrm>
              <a:off x="5535588" y="4564005"/>
              <a:ext cx="14197" cy="56788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9627 h 56788"/>
                <a:gd name="connsiteX2" fmla="*/ 0 w 14197"/>
                <a:gd name="connsiteY2" fmla="*/ 5820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9627"/>
                  </a:lnTo>
                  <a:lnTo>
                    <a:pt x="0" y="5820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5" name="任意多边形: 形状 10164">
              <a:extLst>
                <a:ext uri="{FF2B5EF4-FFF2-40B4-BE49-F238E27FC236}">
                  <a16:creationId xmlns:a16="http://schemas.microsoft.com/office/drawing/2014/main" id="{9C633C70-318D-457F-AE0A-6AFD9EAD1886}"/>
                </a:ext>
              </a:extLst>
            </p:cNvPr>
            <p:cNvSpPr/>
            <p:nvPr userDrawn="1"/>
          </p:nvSpPr>
          <p:spPr>
            <a:xfrm>
              <a:off x="5556883" y="4572523"/>
              <a:ext cx="14197" cy="56788"/>
            </a:xfrm>
            <a:custGeom>
              <a:avLst/>
              <a:gdLst>
                <a:gd name="connsiteX0" fmla="*/ 26974 w 14197"/>
                <a:gd name="connsiteY0" fmla="*/ 1420 h 56788"/>
                <a:gd name="connsiteX1" fmla="*/ 2839 w 14197"/>
                <a:gd name="connsiteY1" fmla="*/ 61047 h 56788"/>
                <a:gd name="connsiteX2" fmla="*/ 0 w 14197"/>
                <a:gd name="connsiteY2" fmla="*/ 59627 h 56788"/>
                <a:gd name="connsiteX3" fmla="*/ 2413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6974" y="1420"/>
                  </a:moveTo>
                  <a:lnTo>
                    <a:pt x="2839" y="61047"/>
                  </a:lnTo>
                  <a:lnTo>
                    <a:pt x="0" y="59627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6" name="任意多边形: 形状 10165">
              <a:extLst>
                <a:ext uri="{FF2B5EF4-FFF2-40B4-BE49-F238E27FC236}">
                  <a16:creationId xmlns:a16="http://schemas.microsoft.com/office/drawing/2014/main" id="{C0D65603-B054-43FC-814C-264E1D618A1B}"/>
                </a:ext>
              </a:extLst>
            </p:cNvPr>
            <p:cNvSpPr/>
            <p:nvPr userDrawn="1"/>
          </p:nvSpPr>
          <p:spPr>
            <a:xfrm>
              <a:off x="5579599" y="4581042"/>
              <a:ext cx="28394" cy="56788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1047 h 56788"/>
                <a:gd name="connsiteX2" fmla="*/ 0 w 28394"/>
                <a:gd name="connsiteY2" fmla="*/ 59628 h 56788"/>
                <a:gd name="connsiteX3" fmla="*/ 2413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1047"/>
                  </a:lnTo>
                  <a:lnTo>
                    <a:pt x="0" y="59628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7" name="任意多边形: 形状 10166">
              <a:extLst>
                <a:ext uri="{FF2B5EF4-FFF2-40B4-BE49-F238E27FC236}">
                  <a16:creationId xmlns:a16="http://schemas.microsoft.com/office/drawing/2014/main" id="{7696ED8D-C4DC-4ED8-B14B-C85A1BF348F8}"/>
                </a:ext>
              </a:extLst>
            </p:cNvPr>
            <p:cNvSpPr/>
            <p:nvPr userDrawn="1"/>
          </p:nvSpPr>
          <p:spPr>
            <a:xfrm>
              <a:off x="5602077" y="4589533"/>
              <a:ext cx="14197" cy="56788"/>
            </a:xfrm>
            <a:custGeom>
              <a:avLst/>
              <a:gdLst>
                <a:gd name="connsiteX0" fmla="*/ 0 w 14197"/>
                <a:gd name="connsiteY0" fmla="*/ 60552 h 56788"/>
                <a:gd name="connsiteX1" fmla="*/ 24464 w 14197"/>
                <a:gd name="connsiteY1" fmla="*/ 0 h 56788"/>
                <a:gd name="connsiteX2" fmla="*/ 27096 w 14197"/>
                <a:gd name="connsiteY2" fmla="*/ 1064 h 56788"/>
                <a:gd name="connsiteX3" fmla="*/ 2633 w 14197"/>
                <a:gd name="connsiteY3" fmla="*/ 61616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0" y="60552"/>
                  </a:moveTo>
                  <a:lnTo>
                    <a:pt x="24464" y="0"/>
                  </a:lnTo>
                  <a:lnTo>
                    <a:pt x="27096" y="1064"/>
                  </a:lnTo>
                  <a:lnTo>
                    <a:pt x="2633" y="61616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8" name="任意多边形: 形状 10167">
              <a:extLst>
                <a:ext uri="{FF2B5EF4-FFF2-40B4-BE49-F238E27FC236}">
                  <a16:creationId xmlns:a16="http://schemas.microsoft.com/office/drawing/2014/main" id="{160EA730-E2A2-4679-8B5B-02005030E747}"/>
                </a:ext>
              </a:extLst>
            </p:cNvPr>
            <p:cNvSpPr/>
            <p:nvPr userDrawn="1"/>
          </p:nvSpPr>
          <p:spPr>
            <a:xfrm>
              <a:off x="5622190" y="4598078"/>
              <a:ext cx="28394" cy="56788"/>
            </a:xfrm>
            <a:custGeom>
              <a:avLst/>
              <a:gdLst>
                <a:gd name="connsiteX0" fmla="*/ 25555 w 28394"/>
                <a:gd name="connsiteY0" fmla="*/ 0 h 56788"/>
                <a:gd name="connsiteX1" fmla="*/ 28394 w 28394"/>
                <a:gd name="connsiteY1" fmla="*/ 0 h 56788"/>
                <a:gd name="connsiteX2" fmla="*/ 2839 w 28394"/>
                <a:gd name="connsiteY2" fmla="*/ 62467 h 56788"/>
                <a:gd name="connsiteX3" fmla="*/ 0 w 28394"/>
                <a:gd name="connsiteY3" fmla="*/ 61047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5555" y="0"/>
                  </a:moveTo>
                  <a:lnTo>
                    <a:pt x="28394" y="0"/>
                  </a:lnTo>
                  <a:lnTo>
                    <a:pt x="2839" y="62467"/>
                  </a:lnTo>
                  <a:lnTo>
                    <a:pt x="0" y="61047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9" name="任意多边形: 形状 10168">
              <a:extLst>
                <a:ext uri="{FF2B5EF4-FFF2-40B4-BE49-F238E27FC236}">
                  <a16:creationId xmlns:a16="http://schemas.microsoft.com/office/drawing/2014/main" id="{E1963866-4E34-4D17-9FD1-BC2BC523EC18}"/>
                </a:ext>
              </a:extLst>
            </p:cNvPr>
            <p:cNvSpPr/>
            <p:nvPr userDrawn="1"/>
          </p:nvSpPr>
          <p:spPr>
            <a:xfrm>
              <a:off x="5643485" y="4605177"/>
              <a:ext cx="28394" cy="56788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3887 h 56788"/>
                <a:gd name="connsiteX2" fmla="*/ 0 w 28394"/>
                <a:gd name="connsiteY2" fmla="*/ 62467 h 56788"/>
                <a:gd name="connsiteX3" fmla="*/ 2555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0" name="任意多边形: 形状 10169">
              <a:extLst>
                <a:ext uri="{FF2B5EF4-FFF2-40B4-BE49-F238E27FC236}">
                  <a16:creationId xmlns:a16="http://schemas.microsoft.com/office/drawing/2014/main" id="{74D46358-7A02-4A27-8E0F-E2BC3D950AC2}"/>
                </a:ext>
              </a:extLst>
            </p:cNvPr>
            <p:cNvSpPr/>
            <p:nvPr userDrawn="1"/>
          </p:nvSpPr>
          <p:spPr>
            <a:xfrm>
              <a:off x="5666200" y="4613695"/>
              <a:ext cx="14197" cy="56788"/>
            </a:xfrm>
            <a:custGeom>
              <a:avLst/>
              <a:gdLst>
                <a:gd name="connsiteX0" fmla="*/ 25555 w 14197"/>
                <a:gd name="connsiteY0" fmla="*/ 0 h 56788"/>
                <a:gd name="connsiteX1" fmla="*/ 0 w 14197"/>
                <a:gd name="connsiteY1" fmla="*/ 63887 h 56788"/>
                <a:gd name="connsiteX2" fmla="*/ 0 w 14197"/>
                <a:gd name="connsiteY2" fmla="*/ 62467 h 56788"/>
                <a:gd name="connsiteX3" fmla="*/ 2555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0"/>
                  </a:moveTo>
                  <a:lnTo>
                    <a:pt x="0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1" name="任意多边形: 形状 10170">
              <a:extLst>
                <a:ext uri="{FF2B5EF4-FFF2-40B4-BE49-F238E27FC236}">
                  <a16:creationId xmlns:a16="http://schemas.microsoft.com/office/drawing/2014/main" id="{83775633-2DE9-43C0-92A3-892724D8C3E9}"/>
                </a:ext>
              </a:extLst>
            </p:cNvPr>
            <p:cNvSpPr/>
            <p:nvPr userDrawn="1"/>
          </p:nvSpPr>
          <p:spPr>
            <a:xfrm>
              <a:off x="4973386" y="4353889"/>
              <a:ext cx="965397" cy="354926"/>
            </a:xfrm>
            <a:custGeom>
              <a:avLst/>
              <a:gdLst>
                <a:gd name="connsiteX0" fmla="*/ 56788 w 965397"/>
                <a:gd name="connsiteY0" fmla="*/ 28394 h 354925"/>
                <a:gd name="connsiteX1" fmla="*/ 0 w 965397"/>
                <a:gd name="connsiteY1" fmla="*/ 2839 h 354925"/>
                <a:gd name="connsiteX2" fmla="*/ 1420 w 965397"/>
                <a:gd name="connsiteY2" fmla="*/ 0 h 354925"/>
                <a:gd name="connsiteX3" fmla="*/ 56788 w 965397"/>
                <a:gd name="connsiteY3" fmla="*/ 25555 h 354925"/>
                <a:gd name="connsiteX4" fmla="*/ 93700 w 965397"/>
                <a:gd name="connsiteY4" fmla="*/ 29814 h 354925"/>
                <a:gd name="connsiteX5" fmla="*/ 965397 w 965397"/>
                <a:gd name="connsiteY5" fmla="*/ 363444 h 354925"/>
                <a:gd name="connsiteX6" fmla="*/ 963978 w 965397"/>
                <a:gd name="connsiteY6" fmla="*/ 366283 h 354925"/>
                <a:gd name="connsiteX7" fmla="*/ 93700 w 965397"/>
                <a:gd name="connsiteY7" fmla="*/ 31234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5397" h="354925">
                  <a:moveTo>
                    <a:pt x="56788" y="28394"/>
                  </a:moveTo>
                  <a:lnTo>
                    <a:pt x="0" y="2839"/>
                  </a:lnTo>
                  <a:lnTo>
                    <a:pt x="1420" y="0"/>
                  </a:lnTo>
                  <a:lnTo>
                    <a:pt x="56788" y="25555"/>
                  </a:lnTo>
                  <a:lnTo>
                    <a:pt x="93700" y="29814"/>
                  </a:lnTo>
                  <a:lnTo>
                    <a:pt x="965397" y="363444"/>
                  </a:lnTo>
                  <a:lnTo>
                    <a:pt x="963978" y="366283"/>
                  </a:lnTo>
                  <a:lnTo>
                    <a:pt x="93700" y="3123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2" name="任意多边形: 形状 10171">
              <a:extLst>
                <a:ext uri="{FF2B5EF4-FFF2-40B4-BE49-F238E27FC236}">
                  <a16:creationId xmlns:a16="http://schemas.microsoft.com/office/drawing/2014/main" id="{74569F8F-DAAC-4E55-9996-DE4AB727CA7D}"/>
                </a:ext>
              </a:extLst>
            </p:cNvPr>
            <p:cNvSpPr/>
            <p:nvPr userDrawn="1"/>
          </p:nvSpPr>
          <p:spPr>
            <a:xfrm>
              <a:off x="5030174" y="4379444"/>
              <a:ext cx="894412" cy="340728"/>
            </a:xfrm>
            <a:custGeom>
              <a:avLst/>
              <a:gdLst>
                <a:gd name="connsiteX0" fmla="*/ 0 w 894412"/>
                <a:gd name="connsiteY0" fmla="*/ 2839 h 340728"/>
                <a:gd name="connsiteX1" fmla="*/ 1420 w 894412"/>
                <a:gd name="connsiteY1" fmla="*/ 0 h 340728"/>
                <a:gd name="connsiteX2" fmla="*/ 34073 w 894412"/>
                <a:gd name="connsiteY2" fmla="*/ 12777 h 340728"/>
                <a:gd name="connsiteX3" fmla="*/ 902930 w 894412"/>
                <a:gd name="connsiteY3" fmla="*/ 350666 h 340728"/>
                <a:gd name="connsiteX4" fmla="*/ 902930 w 894412"/>
                <a:gd name="connsiteY4" fmla="*/ 353506 h 340728"/>
                <a:gd name="connsiteX5" fmla="*/ 32653 w 894412"/>
                <a:gd name="connsiteY5" fmla="*/ 15617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4412" h="340728">
                  <a:moveTo>
                    <a:pt x="0" y="2839"/>
                  </a:moveTo>
                  <a:lnTo>
                    <a:pt x="1420" y="0"/>
                  </a:lnTo>
                  <a:lnTo>
                    <a:pt x="34073" y="12777"/>
                  </a:lnTo>
                  <a:lnTo>
                    <a:pt x="902930" y="350666"/>
                  </a:lnTo>
                  <a:lnTo>
                    <a:pt x="902930" y="353506"/>
                  </a:lnTo>
                  <a:lnTo>
                    <a:pt x="32653" y="15617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3" name="任意多边形: 形状 10172">
              <a:extLst>
                <a:ext uri="{FF2B5EF4-FFF2-40B4-BE49-F238E27FC236}">
                  <a16:creationId xmlns:a16="http://schemas.microsoft.com/office/drawing/2014/main" id="{EFEAC487-0A0C-4376-802B-36DA9539CE0B}"/>
                </a:ext>
              </a:extLst>
            </p:cNvPr>
            <p:cNvSpPr/>
            <p:nvPr userDrawn="1"/>
          </p:nvSpPr>
          <p:spPr>
            <a:xfrm>
              <a:off x="4973386" y="4353889"/>
              <a:ext cx="951200" cy="383320"/>
            </a:xfrm>
            <a:custGeom>
              <a:avLst/>
              <a:gdLst>
                <a:gd name="connsiteX0" fmla="*/ 0 w 951200"/>
                <a:gd name="connsiteY0" fmla="*/ 2839 h 383319"/>
                <a:gd name="connsiteX1" fmla="*/ 1420 w 951200"/>
                <a:gd name="connsiteY1" fmla="*/ 0 h 383319"/>
                <a:gd name="connsiteX2" fmla="*/ 88021 w 951200"/>
                <a:gd name="connsiteY2" fmla="*/ 46850 h 383319"/>
                <a:gd name="connsiteX3" fmla="*/ 955459 w 951200"/>
                <a:gd name="connsiteY3" fmla="*/ 388998 h 383319"/>
                <a:gd name="connsiteX4" fmla="*/ 954040 w 951200"/>
                <a:gd name="connsiteY4" fmla="*/ 390418 h 383319"/>
                <a:gd name="connsiteX5" fmla="*/ 86602 w 951200"/>
                <a:gd name="connsiteY5" fmla="*/ 4969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1200" h="383319">
                  <a:moveTo>
                    <a:pt x="0" y="2839"/>
                  </a:moveTo>
                  <a:lnTo>
                    <a:pt x="1420" y="0"/>
                  </a:lnTo>
                  <a:lnTo>
                    <a:pt x="88021" y="46850"/>
                  </a:lnTo>
                  <a:lnTo>
                    <a:pt x="955459" y="388998"/>
                  </a:lnTo>
                  <a:lnTo>
                    <a:pt x="954040" y="390418"/>
                  </a:lnTo>
                  <a:lnTo>
                    <a:pt x="86602" y="49690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4" name="任意多边形: 形状 10173">
              <a:extLst>
                <a:ext uri="{FF2B5EF4-FFF2-40B4-BE49-F238E27FC236}">
                  <a16:creationId xmlns:a16="http://schemas.microsoft.com/office/drawing/2014/main" id="{79E54204-7499-4365-8021-1EB17310F3B4}"/>
                </a:ext>
              </a:extLst>
            </p:cNvPr>
            <p:cNvSpPr/>
            <p:nvPr userDrawn="1"/>
          </p:nvSpPr>
          <p:spPr>
            <a:xfrm>
              <a:off x="4981904" y="4382283"/>
              <a:ext cx="937003" cy="369123"/>
            </a:xfrm>
            <a:custGeom>
              <a:avLst/>
              <a:gdLst>
                <a:gd name="connsiteX0" fmla="*/ 0 w 937003"/>
                <a:gd name="connsiteY0" fmla="*/ 1420 h 369122"/>
                <a:gd name="connsiteX1" fmla="*/ 1420 w 937003"/>
                <a:gd name="connsiteY1" fmla="*/ 0 h 369122"/>
                <a:gd name="connsiteX2" fmla="*/ 75244 w 937003"/>
                <a:gd name="connsiteY2" fmla="*/ 26974 h 369122"/>
                <a:gd name="connsiteX3" fmla="*/ 941263 w 937003"/>
                <a:gd name="connsiteY3" fmla="*/ 373382 h 369122"/>
                <a:gd name="connsiteX4" fmla="*/ 941263 w 937003"/>
                <a:gd name="connsiteY4" fmla="*/ 374801 h 369122"/>
                <a:gd name="connsiteX5" fmla="*/ 73825 w 937003"/>
                <a:gd name="connsiteY5" fmla="*/ 2981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003" h="369122">
                  <a:moveTo>
                    <a:pt x="0" y="1420"/>
                  </a:moveTo>
                  <a:lnTo>
                    <a:pt x="1420" y="0"/>
                  </a:lnTo>
                  <a:lnTo>
                    <a:pt x="75244" y="26974"/>
                  </a:lnTo>
                  <a:lnTo>
                    <a:pt x="941263" y="373382"/>
                  </a:lnTo>
                  <a:lnTo>
                    <a:pt x="941263" y="374801"/>
                  </a:lnTo>
                  <a:lnTo>
                    <a:pt x="73825" y="2981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5" name="任意多边形: 形状 10174">
              <a:extLst>
                <a:ext uri="{FF2B5EF4-FFF2-40B4-BE49-F238E27FC236}">
                  <a16:creationId xmlns:a16="http://schemas.microsoft.com/office/drawing/2014/main" id="{BB74062A-74F9-414E-9725-0F37079A0E7E}"/>
                </a:ext>
              </a:extLst>
            </p:cNvPr>
            <p:cNvSpPr/>
            <p:nvPr userDrawn="1"/>
          </p:nvSpPr>
          <p:spPr>
            <a:xfrm>
              <a:off x="5010298" y="4393641"/>
              <a:ext cx="908609" cy="369123"/>
            </a:xfrm>
            <a:custGeom>
              <a:avLst/>
              <a:gdLst>
                <a:gd name="connsiteX0" fmla="*/ 0 w 908609"/>
                <a:gd name="connsiteY0" fmla="*/ 2839 h 369122"/>
                <a:gd name="connsiteX1" fmla="*/ 1420 w 908609"/>
                <a:gd name="connsiteY1" fmla="*/ 0 h 369122"/>
                <a:gd name="connsiteX2" fmla="*/ 44011 w 908609"/>
                <a:gd name="connsiteY2" fmla="*/ 25555 h 369122"/>
                <a:gd name="connsiteX3" fmla="*/ 908609 w 908609"/>
                <a:gd name="connsiteY3" fmla="*/ 373382 h 369122"/>
                <a:gd name="connsiteX4" fmla="*/ 907190 w 908609"/>
                <a:gd name="connsiteY4" fmla="*/ 376221 h 369122"/>
                <a:gd name="connsiteX5" fmla="*/ 42591 w 908609"/>
                <a:gd name="connsiteY5" fmla="*/ 2697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609" h="369122">
                  <a:moveTo>
                    <a:pt x="0" y="2839"/>
                  </a:moveTo>
                  <a:lnTo>
                    <a:pt x="1420" y="0"/>
                  </a:lnTo>
                  <a:lnTo>
                    <a:pt x="44011" y="25555"/>
                  </a:lnTo>
                  <a:lnTo>
                    <a:pt x="908609" y="373382"/>
                  </a:lnTo>
                  <a:lnTo>
                    <a:pt x="907190" y="376221"/>
                  </a:lnTo>
                  <a:lnTo>
                    <a:pt x="42591" y="2697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6" name="任意多边形: 形状 10175">
              <a:extLst>
                <a:ext uri="{FF2B5EF4-FFF2-40B4-BE49-F238E27FC236}">
                  <a16:creationId xmlns:a16="http://schemas.microsoft.com/office/drawing/2014/main" id="{1DEE2755-CD25-4A38-837F-533C929207B9}"/>
                </a:ext>
              </a:extLst>
            </p:cNvPr>
            <p:cNvSpPr/>
            <p:nvPr userDrawn="1"/>
          </p:nvSpPr>
          <p:spPr>
            <a:xfrm>
              <a:off x="5002813" y="4393084"/>
              <a:ext cx="14197" cy="14197"/>
            </a:xfrm>
            <a:custGeom>
              <a:avLst/>
              <a:gdLst>
                <a:gd name="connsiteX0" fmla="*/ 387 w 0"/>
                <a:gd name="connsiteY0" fmla="*/ 3396 h 0"/>
                <a:gd name="connsiteX1" fmla="*/ 8905 w 0"/>
                <a:gd name="connsiteY1" fmla="*/ 557 h 0"/>
                <a:gd name="connsiteX2" fmla="*/ 8905 w 0"/>
                <a:gd name="connsiteY2" fmla="*/ 557 h 0"/>
                <a:gd name="connsiteX3" fmla="*/ 10325 w 0"/>
                <a:gd name="connsiteY3" fmla="*/ 1977 h 0"/>
                <a:gd name="connsiteX4" fmla="*/ 11745 w 0"/>
                <a:gd name="connsiteY4" fmla="*/ 3396 h 0"/>
                <a:gd name="connsiteX5" fmla="*/ 11745 w 0"/>
                <a:gd name="connsiteY5" fmla="*/ 3396 h 0"/>
                <a:gd name="connsiteX6" fmla="*/ 11745 w 0"/>
                <a:gd name="connsiteY6" fmla="*/ 4816 h 0"/>
                <a:gd name="connsiteX7" fmla="*/ 11745 w 0"/>
                <a:gd name="connsiteY7" fmla="*/ 7655 h 0"/>
                <a:gd name="connsiteX8" fmla="*/ 11745 w 0"/>
                <a:gd name="connsiteY8" fmla="*/ 7655 h 0"/>
                <a:gd name="connsiteX9" fmla="*/ 11745 w 0"/>
                <a:gd name="connsiteY9" fmla="*/ 9075 h 0"/>
                <a:gd name="connsiteX10" fmla="*/ 3226 w 0"/>
                <a:gd name="connsiteY10" fmla="*/ 11914 h 0"/>
                <a:gd name="connsiteX11" fmla="*/ 3226 w 0"/>
                <a:gd name="connsiteY11" fmla="*/ 11914 h 0"/>
                <a:gd name="connsiteX12" fmla="*/ 387 w 0"/>
                <a:gd name="connsiteY12" fmla="*/ 339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387" y="3396"/>
                  </a:moveTo>
                  <a:cubicBezTo>
                    <a:pt x="1807" y="557"/>
                    <a:pt x="6066" y="-863"/>
                    <a:pt x="8905" y="557"/>
                  </a:cubicBezTo>
                  <a:lnTo>
                    <a:pt x="8905" y="557"/>
                  </a:lnTo>
                  <a:cubicBezTo>
                    <a:pt x="8905" y="557"/>
                    <a:pt x="10325" y="557"/>
                    <a:pt x="10325" y="1977"/>
                  </a:cubicBezTo>
                  <a:cubicBezTo>
                    <a:pt x="10325" y="1977"/>
                    <a:pt x="10325" y="1977"/>
                    <a:pt x="11745" y="3396"/>
                  </a:cubicBezTo>
                  <a:cubicBezTo>
                    <a:pt x="11745" y="3396"/>
                    <a:pt x="11745" y="3396"/>
                    <a:pt x="11745" y="3396"/>
                  </a:cubicBezTo>
                  <a:cubicBezTo>
                    <a:pt x="11745" y="3396"/>
                    <a:pt x="11745" y="3396"/>
                    <a:pt x="11745" y="4816"/>
                  </a:cubicBezTo>
                  <a:cubicBezTo>
                    <a:pt x="11745" y="6236"/>
                    <a:pt x="11745" y="6236"/>
                    <a:pt x="11745" y="7655"/>
                  </a:cubicBezTo>
                  <a:cubicBezTo>
                    <a:pt x="11745" y="7655"/>
                    <a:pt x="11745" y="7655"/>
                    <a:pt x="11745" y="7655"/>
                  </a:cubicBezTo>
                  <a:cubicBezTo>
                    <a:pt x="11745" y="7655"/>
                    <a:pt x="11745" y="9075"/>
                    <a:pt x="11745" y="9075"/>
                  </a:cubicBezTo>
                  <a:cubicBezTo>
                    <a:pt x="10325" y="11914"/>
                    <a:pt x="6066" y="13334"/>
                    <a:pt x="3226" y="11914"/>
                  </a:cubicBezTo>
                  <a:lnTo>
                    <a:pt x="3226" y="11914"/>
                  </a:lnTo>
                  <a:cubicBezTo>
                    <a:pt x="1807" y="9075"/>
                    <a:pt x="-1033" y="6236"/>
                    <a:pt x="387" y="3396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7" name="任意多边形: 形状 10176">
              <a:extLst>
                <a:ext uri="{FF2B5EF4-FFF2-40B4-BE49-F238E27FC236}">
                  <a16:creationId xmlns:a16="http://schemas.microsoft.com/office/drawing/2014/main" id="{524E60F1-6AEC-4174-B965-EA8DE7082B80}"/>
                </a:ext>
              </a:extLst>
            </p:cNvPr>
            <p:cNvSpPr/>
            <p:nvPr userDrawn="1"/>
          </p:nvSpPr>
          <p:spPr>
            <a:xfrm>
              <a:off x="4996988" y="4356172"/>
              <a:ext cx="14197" cy="14197"/>
            </a:xfrm>
            <a:custGeom>
              <a:avLst/>
              <a:gdLst>
                <a:gd name="connsiteX0" fmla="*/ 4792 w 0"/>
                <a:gd name="connsiteY0" fmla="*/ 11915 h 0"/>
                <a:gd name="connsiteX1" fmla="*/ 4792 w 0"/>
                <a:gd name="connsiteY1" fmla="*/ 11915 h 0"/>
                <a:gd name="connsiteX2" fmla="*/ 4792 w 0"/>
                <a:gd name="connsiteY2" fmla="*/ 11915 h 0"/>
                <a:gd name="connsiteX3" fmla="*/ 532 w 0"/>
                <a:gd name="connsiteY3" fmla="*/ 3396 h 0"/>
                <a:gd name="connsiteX4" fmla="*/ 9051 w 0"/>
                <a:gd name="connsiteY4" fmla="*/ 557 h 0"/>
                <a:gd name="connsiteX5" fmla="*/ 9051 w 0"/>
                <a:gd name="connsiteY5" fmla="*/ 557 h 0"/>
                <a:gd name="connsiteX6" fmla="*/ 9051 w 0"/>
                <a:gd name="connsiteY6" fmla="*/ 557 h 0"/>
                <a:gd name="connsiteX7" fmla="*/ 9051 w 0"/>
                <a:gd name="connsiteY7" fmla="*/ 557 h 0"/>
                <a:gd name="connsiteX8" fmla="*/ 10470 w 0"/>
                <a:gd name="connsiteY8" fmla="*/ 557 h 0"/>
                <a:gd name="connsiteX9" fmla="*/ 13310 w 0"/>
                <a:gd name="connsiteY9" fmla="*/ 6236 h 0"/>
                <a:gd name="connsiteX10" fmla="*/ 13310 w 0"/>
                <a:gd name="connsiteY10" fmla="*/ 6236 h 0"/>
                <a:gd name="connsiteX11" fmla="*/ 13310 w 0"/>
                <a:gd name="connsiteY11" fmla="*/ 7656 h 0"/>
                <a:gd name="connsiteX12" fmla="*/ 13310 w 0"/>
                <a:gd name="connsiteY12" fmla="*/ 7656 h 0"/>
                <a:gd name="connsiteX13" fmla="*/ 13310 w 0"/>
                <a:gd name="connsiteY13" fmla="*/ 7656 h 0"/>
                <a:gd name="connsiteX14" fmla="*/ 13310 w 0"/>
                <a:gd name="connsiteY14" fmla="*/ 9075 h 0"/>
                <a:gd name="connsiteX15" fmla="*/ 13310 w 0"/>
                <a:gd name="connsiteY15" fmla="*/ 10495 h 0"/>
                <a:gd name="connsiteX16" fmla="*/ 11890 w 0"/>
                <a:gd name="connsiteY16" fmla="*/ 11915 h 0"/>
                <a:gd name="connsiteX17" fmla="*/ 4792 w 0"/>
                <a:gd name="connsiteY17" fmla="*/ 11915 h 0"/>
                <a:gd name="connsiteX18" fmla="*/ 4792 w 0"/>
                <a:gd name="connsiteY18" fmla="*/ 119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>
                  <a:moveTo>
                    <a:pt x="4792" y="11915"/>
                  </a:moveTo>
                  <a:lnTo>
                    <a:pt x="4792" y="11915"/>
                  </a:lnTo>
                  <a:lnTo>
                    <a:pt x="4792" y="11915"/>
                  </a:lnTo>
                  <a:cubicBezTo>
                    <a:pt x="532" y="10495"/>
                    <a:pt x="-887" y="6236"/>
                    <a:pt x="532" y="3396"/>
                  </a:cubicBezTo>
                  <a:cubicBezTo>
                    <a:pt x="1952" y="557"/>
                    <a:pt x="6211" y="-863"/>
                    <a:pt x="9051" y="557"/>
                  </a:cubicBezTo>
                  <a:lnTo>
                    <a:pt x="9051" y="557"/>
                  </a:lnTo>
                  <a:lnTo>
                    <a:pt x="9051" y="557"/>
                  </a:lnTo>
                  <a:lnTo>
                    <a:pt x="9051" y="557"/>
                  </a:lnTo>
                  <a:cubicBezTo>
                    <a:pt x="9051" y="557"/>
                    <a:pt x="9051" y="557"/>
                    <a:pt x="10470" y="557"/>
                  </a:cubicBezTo>
                  <a:cubicBezTo>
                    <a:pt x="13310" y="1977"/>
                    <a:pt x="14729" y="4816"/>
                    <a:pt x="13310" y="6236"/>
                  </a:cubicBezTo>
                  <a:cubicBezTo>
                    <a:pt x="13310" y="6236"/>
                    <a:pt x="13310" y="6236"/>
                    <a:pt x="13310" y="6236"/>
                  </a:cubicBezTo>
                  <a:cubicBezTo>
                    <a:pt x="13310" y="6236"/>
                    <a:pt x="13310" y="623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9075"/>
                  </a:cubicBezTo>
                  <a:cubicBezTo>
                    <a:pt x="13310" y="9075"/>
                    <a:pt x="13310" y="9075"/>
                    <a:pt x="13310" y="10495"/>
                  </a:cubicBezTo>
                  <a:cubicBezTo>
                    <a:pt x="13310" y="10495"/>
                    <a:pt x="13310" y="10495"/>
                    <a:pt x="11890" y="11915"/>
                  </a:cubicBezTo>
                  <a:cubicBezTo>
                    <a:pt x="10470" y="11915"/>
                    <a:pt x="7631" y="13334"/>
                    <a:pt x="4792" y="11915"/>
                  </a:cubicBezTo>
                  <a:cubicBezTo>
                    <a:pt x="4792" y="11915"/>
                    <a:pt x="4792" y="11915"/>
                    <a:pt x="4792" y="11915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8" name="任意多边形: 形状 10177">
              <a:extLst>
                <a:ext uri="{FF2B5EF4-FFF2-40B4-BE49-F238E27FC236}">
                  <a16:creationId xmlns:a16="http://schemas.microsoft.com/office/drawing/2014/main" id="{C36F5B09-9C94-4B05-B0D0-8BE2844A89B0}"/>
                </a:ext>
              </a:extLst>
            </p:cNvPr>
            <p:cNvSpPr/>
            <p:nvPr userDrawn="1"/>
          </p:nvSpPr>
          <p:spPr>
            <a:xfrm>
              <a:off x="5025537" y="4368949"/>
              <a:ext cx="14197" cy="14197"/>
            </a:xfrm>
            <a:custGeom>
              <a:avLst/>
              <a:gdLst>
                <a:gd name="connsiteX0" fmla="*/ 8896 w 0"/>
                <a:gd name="connsiteY0" fmla="*/ 557 h 0"/>
                <a:gd name="connsiteX1" fmla="*/ 8896 w 0"/>
                <a:gd name="connsiteY1" fmla="*/ 557 h 0"/>
                <a:gd name="connsiteX2" fmla="*/ 13155 w 0"/>
                <a:gd name="connsiteY2" fmla="*/ 9075 h 0"/>
                <a:gd name="connsiteX3" fmla="*/ 4637 w 0"/>
                <a:gd name="connsiteY3" fmla="*/ 11915 h 0"/>
                <a:gd name="connsiteX4" fmla="*/ 4637 w 0"/>
                <a:gd name="connsiteY4" fmla="*/ 11915 h 0"/>
                <a:gd name="connsiteX5" fmla="*/ 378 w 0"/>
                <a:gd name="connsiteY5" fmla="*/ 3396 h 0"/>
                <a:gd name="connsiteX6" fmla="*/ 8896 w 0"/>
                <a:gd name="connsiteY6" fmla="*/ 5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8896" y="557"/>
                  </a:moveTo>
                  <a:lnTo>
                    <a:pt x="8896" y="557"/>
                  </a:lnTo>
                  <a:cubicBezTo>
                    <a:pt x="11735" y="1977"/>
                    <a:pt x="14575" y="6236"/>
                    <a:pt x="13155" y="9075"/>
                  </a:cubicBezTo>
                  <a:cubicBezTo>
                    <a:pt x="11735" y="11915"/>
                    <a:pt x="7476" y="13334"/>
                    <a:pt x="4637" y="11915"/>
                  </a:cubicBezTo>
                  <a:lnTo>
                    <a:pt x="4637" y="11915"/>
                  </a:lnTo>
                  <a:cubicBezTo>
                    <a:pt x="1797" y="10495"/>
                    <a:pt x="-1042" y="6236"/>
                    <a:pt x="378" y="3396"/>
                  </a:cubicBezTo>
                  <a:cubicBezTo>
                    <a:pt x="1797" y="557"/>
                    <a:pt x="6056" y="-863"/>
                    <a:pt x="8896" y="557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9" name="任意多边形: 形状 10178">
              <a:extLst>
                <a:ext uri="{FF2B5EF4-FFF2-40B4-BE49-F238E27FC236}">
                  <a16:creationId xmlns:a16="http://schemas.microsoft.com/office/drawing/2014/main" id="{3C4A996C-E52D-4BD9-8427-67F801152BD4}"/>
                </a:ext>
              </a:extLst>
            </p:cNvPr>
            <p:cNvSpPr/>
            <p:nvPr userDrawn="1"/>
          </p:nvSpPr>
          <p:spPr>
            <a:xfrm>
              <a:off x="5933967" y="4715913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0" name="任意多边形: 形状 10179">
              <a:extLst>
                <a:ext uri="{FF2B5EF4-FFF2-40B4-BE49-F238E27FC236}">
                  <a16:creationId xmlns:a16="http://schemas.microsoft.com/office/drawing/2014/main" id="{B2B9B6EA-D137-4010-AD75-DA3A3DB874C6}"/>
                </a:ext>
              </a:extLst>
            </p:cNvPr>
            <p:cNvSpPr/>
            <p:nvPr userDrawn="1"/>
          </p:nvSpPr>
          <p:spPr>
            <a:xfrm>
              <a:off x="5928288" y="4727271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1420"/>
                    <a:pt x="1049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1" name="任意多边形: 形状 10180">
              <a:extLst>
                <a:ext uri="{FF2B5EF4-FFF2-40B4-BE49-F238E27FC236}">
                  <a16:creationId xmlns:a16="http://schemas.microsoft.com/office/drawing/2014/main" id="{BAA2A823-5C3C-483A-A164-37DDD7AA836C}"/>
                </a:ext>
              </a:extLst>
            </p:cNvPr>
            <p:cNvSpPr/>
            <p:nvPr userDrawn="1"/>
          </p:nvSpPr>
          <p:spPr>
            <a:xfrm>
              <a:off x="5924029" y="4740048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2" name="任意多边形: 形状 10181">
              <a:extLst>
                <a:ext uri="{FF2B5EF4-FFF2-40B4-BE49-F238E27FC236}">
                  <a16:creationId xmlns:a16="http://schemas.microsoft.com/office/drawing/2014/main" id="{70C70E4B-DD31-4A3B-A145-E588B15AA354}"/>
                </a:ext>
              </a:extLst>
            </p:cNvPr>
            <p:cNvSpPr/>
            <p:nvPr userDrawn="1"/>
          </p:nvSpPr>
          <p:spPr>
            <a:xfrm>
              <a:off x="5918350" y="4752826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0"/>
                    <a:pt x="1049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3" name="任意多边形: 形状 10182">
              <a:extLst>
                <a:ext uri="{FF2B5EF4-FFF2-40B4-BE49-F238E27FC236}">
                  <a16:creationId xmlns:a16="http://schemas.microsoft.com/office/drawing/2014/main" id="{05316669-5ECC-4AD6-8B5A-A15B1AE6B56B}"/>
                </a:ext>
              </a:extLst>
            </p:cNvPr>
            <p:cNvSpPr/>
            <p:nvPr userDrawn="1"/>
          </p:nvSpPr>
          <p:spPr>
            <a:xfrm>
              <a:off x="5914091" y="4764183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1420"/>
                    <a:pt x="907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4" name="任意多边形: 形状 10183">
              <a:extLst>
                <a:ext uri="{FF2B5EF4-FFF2-40B4-BE49-F238E27FC236}">
                  <a16:creationId xmlns:a16="http://schemas.microsoft.com/office/drawing/2014/main" id="{27FD149A-FA9A-4C02-A647-5A13F68FB745}"/>
                </a:ext>
              </a:extLst>
            </p:cNvPr>
            <p:cNvSpPr/>
            <p:nvPr userDrawn="1"/>
          </p:nvSpPr>
          <p:spPr>
            <a:xfrm>
              <a:off x="5722661" y="4645563"/>
              <a:ext cx="156167" cy="85182"/>
            </a:xfrm>
            <a:custGeom>
              <a:avLst/>
              <a:gdLst>
                <a:gd name="connsiteX0" fmla="*/ 130940 w 156167"/>
                <a:gd name="connsiteY0" fmla="*/ 19241 h 85182"/>
                <a:gd name="connsiteX1" fmla="*/ 106805 w 156167"/>
                <a:gd name="connsiteY1" fmla="*/ 16402 h 85182"/>
                <a:gd name="connsiteX2" fmla="*/ 71313 w 156167"/>
                <a:gd name="connsiteY2" fmla="*/ 785 h 85182"/>
                <a:gd name="connsiteX3" fmla="*/ 34400 w 156167"/>
                <a:gd name="connsiteY3" fmla="*/ 12143 h 85182"/>
                <a:gd name="connsiteX4" fmla="*/ 38659 w 156167"/>
                <a:gd name="connsiteY4" fmla="*/ 22080 h 85182"/>
                <a:gd name="connsiteX5" fmla="*/ 327 w 156167"/>
                <a:gd name="connsiteY5" fmla="*/ 46215 h 85182"/>
                <a:gd name="connsiteX6" fmla="*/ 15944 w 156167"/>
                <a:gd name="connsiteY6" fmla="*/ 84547 h 85182"/>
                <a:gd name="connsiteX7" fmla="*/ 86929 w 156167"/>
                <a:gd name="connsiteY7" fmla="*/ 81708 h 85182"/>
                <a:gd name="connsiteX8" fmla="*/ 163593 w 156167"/>
                <a:gd name="connsiteY8" fmla="*/ 54734 h 85182"/>
                <a:gd name="connsiteX9" fmla="*/ 130940 w 156167"/>
                <a:gd name="connsiteY9" fmla="*/ 1924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167" h="85182">
                  <a:moveTo>
                    <a:pt x="130940" y="19241"/>
                  </a:moveTo>
                  <a:cubicBezTo>
                    <a:pt x="130940" y="19241"/>
                    <a:pt x="116743" y="22080"/>
                    <a:pt x="106805" y="16402"/>
                  </a:cubicBezTo>
                  <a:cubicBezTo>
                    <a:pt x="95448" y="10723"/>
                    <a:pt x="78411" y="-3474"/>
                    <a:pt x="71313" y="785"/>
                  </a:cubicBezTo>
                  <a:cubicBezTo>
                    <a:pt x="62794" y="6464"/>
                    <a:pt x="40079" y="12143"/>
                    <a:pt x="34400" y="12143"/>
                  </a:cubicBezTo>
                  <a:cubicBezTo>
                    <a:pt x="28721" y="12143"/>
                    <a:pt x="32981" y="16402"/>
                    <a:pt x="38659" y="22080"/>
                  </a:cubicBezTo>
                  <a:cubicBezTo>
                    <a:pt x="45758" y="26340"/>
                    <a:pt x="1747" y="33438"/>
                    <a:pt x="327" y="46215"/>
                  </a:cubicBezTo>
                  <a:cubicBezTo>
                    <a:pt x="-1092" y="58993"/>
                    <a:pt x="1747" y="73190"/>
                    <a:pt x="15944" y="84547"/>
                  </a:cubicBezTo>
                  <a:cubicBezTo>
                    <a:pt x="30141" y="94485"/>
                    <a:pt x="75572" y="85967"/>
                    <a:pt x="86929" y="81708"/>
                  </a:cubicBezTo>
                  <a:cubicBezTo>
                    <a:pt x="96867" y="76029"/>
                    <a:pt x="143717" y="53314"/>
                    <a:pt x="163593" y="54734"/>
                  </a:cubicBezTo>
                  <a:cubicBezTo>
                    <a:pt x="182049" y="53314"/>
                    <a:pt x="130940" y="19241"/>
                    <a:pt x="130940" y="19241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5" name="任意多边形: 形状 10184">
              <a:extLst>
                <a:ext uri="{FF2B5EF4-FFF2-40B4-BE49-F238E27FC236}">
                  <a16:creationId xmlns:a16="http://schemas.microsoft.com/office/drawing/2014/main" id="{B334E5C5-CAAE-45FD-95C2-5A87DFDC860D}"/>
                </a:ext>
              </a:extLst>
            </p:cNvPr>
            <p:cNvSpPr/>
            <p:nvPr userDrawn="1"/>
          </p:nvSpPr>
          <p:spPr>
            <a:xfrm>
              <a:off x="5823787" y="4485922"/>
              <a:ext cx="298137" cy="227152"/>
            </a:xfrm>
            <a:custGeom>
              <a:avLst/>
              <a:gdLst>
                <a:gd name="connsiteX0" fmla="*/ 0 w 298137"/>
                <a:gd name="connsiteY0" fmla="*/ 166105 h 227152"/>
                <a:gd name="connsiteX1" fmla="*/ 183141 w 298137"/>
                <a:gd name="connsiteY1" fmla="*/ 95120 h 227152"/>
                <a:gd name="connsiteX2" fmla="*/ 110737 w 298137"/>
                <a:gd name="connsiteY2" fmla="*/ 0 h 227152"/>
                <a:gd name="connsiteX3" fmla="*/ 242769 w 298137"/>
                <a:gd name="connsiteY3" fmla="*/ 14197 h 227152"/>
                <a:gd name="connsiteX4" fmla="*/ 308075 w 298137"/>
                <a:gd name="connsiteY4" fmla="*/ 134872 h 227152"/>
                <a:gd name="connsiteX5" fmla="*/ 29814 w 298137"/>
                <a:gd name="connsiteY5" fmla="*/ 229992 h 227152"/>
                <a:gd name="connsiteX6" fmla="*/ 0 w 298137"/>
                <a:gd name="connsiteY6" fmla="*/ 166105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137" h="227152">
                  <a:moveTo>
                    <a:pt x="0" y="166105"/>
                  </a:moveTo>
                  <a:cubicBezTo>
                    <a:pt x="0" y="166105"/>
                    <a:pt x="181722" y="109317"/>
                    <a:pt x="183141" y="95120"/>
                  </a:cubicBezTo>
                  <a:cubicBezTo>
                    <a:pt x="184561" y="80923"/>
                    <a:pt x="110737" y="0"/>
                    <a:pt x="110737" y="0"/>
                  </a:cubicBezTo>
                  <a:lnTo>
                    <a:pt x="242769" y="14197"/>
                  </a:lnTo>
                  <a:cubicBezTo>
                    <a:pt x="242769" y="14197"/>
                    <a:pt x="308075" y="106478"/>
                    <a:pt x="308075" y="134872"/>
                  </a:cubicBezTo>
                  <a:cubicBezTo>
                    <a:pt x="308075" y="166105"/>
                    <a:pt x="29814" y="229992"/>
                    <a:pt x="29814" y="229992"/>
                  </a:cubicBezTo>
                  <a:lnTo>
                    <a:pt x="0" y="166105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6" name="任意多边形: 形状 10185">
              <a:extLst>
                <a:ext uri="{FF2B5EF4-FFF2-40B4-BE49-F238E27FC236}">
                  <a16:creationId xmlns:a16="http://schemas.microsoft.com/office/drawing/2014/main" id="{32D7CF39-4ACD-4386-BC35-38831D7AA78C}"/>
                </a:ext>
              </a:extLst>
            </p:cNvPr>
            <p:cNvSpPr/>
            <p:nvPr userDrawn="1"/>
          </p:nvSpPr>
          <p:spPr>
            <a:xfrm>
              <a:off x="5687496" y="4258769"/>
              <a:ext cx="70985" cy="28394"/>
            </a:xfrm>
            <a:custGeom>
              <a:avLst/>
              <a:gdLst>
                <a:gd name="connsiteX0" fmla="*/ 15617 w 70985"/>
                <a:gd name="connsiteY0" fmla="*/ 41171 h 28394"/>
                <a:gd name="connsiteX1" fmla="*/ 26974 w 70985"/>
                <a:gd name="connsiteY1" fmla="*/ 39752 h 28394"/>
                <a:gd name="connsiteX2" fmla="*/ 70985 w 70985"/>
                <a:gd name="connsiteY2" fmla="*/ 1420 h 28394"/>
                <a:gd name="connsiteX3" fmla="*/ 68146 w 70985"/>
                <a:gd name="connsiteY3" fmla="*/ 0 h 28394"/>
                <a:gd name="connsiteX4" fmla="*/ 25555 w 70985"/>
                <a:gd name="connsiteY4" fmla="*/ 36912 h 28394"/>
                <a:gd name="connsiteX5" fmla="*/ 1420 w 70985"/>
                <a:gd name="connsiteY5" fmla="*/ 35493 h 28394"/>
                <a:gd name="connsiteX6" fmla="*/ 0 w 70985"/>
                <a:gd name="connsiteY6" fmla="*/ 38332 h 28394"/>
                <a:gd name="connsiteX7" fmla="*/ 15617 w 70985"/>
                <a:gd name="connsiteY7" fmla="*/ 41171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85" h="28394">
                  <a:moveTo>
                    <a:pt x="15617" y="41171"/>
                  </a:moveTo>
                  <a:cubicBezTo>
                    <a:pt x="18456" y="41171"/>
                    <a:pt x="22715" y="41171"/>
                    <a:pt x="26974" y="39752"/>
                  </a:cubicBezTo>
                  <a:cubicBezTo>
                    <a:pt x="39752" y="36912"/>
                    <a:pt x="58208" y="28394"/>
                    <a:pt x="70985" y="1420"/>
                  </a:cubicBezTo>
                  <a:lnTo>
                    <a:pt x="68146" y="0"/>
                  </a:lnTo>
                  <a:cubicBezTo>
                    <a:pt x="58208" y="21296"/>
                    <a:pt x="44011" y="34073"/>
                    <a:pt x="25555" y="36912"/>
                  </a:cubicBezTo>
                  <a:cubicBezTo>
                    <a:pt x="12777" y="39752"/>
                    <a:pt x="1420" y="35493"/>
                    <a:pt x="1420" y="35493"/>
                  </a:cubicBezTo>
                  <a:lnTo>
                    <a:pt x="0" y="38332"/>
                  </a:lnTo>
                  <a:cubicBezTo>
                    <a:pt x="1420" y="39752"/>
                    <a:pt x="7099" y="41171"/>
                    <a:pt x="15617" y="41171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7" name="任意多边形: 形状 10186">
              <a:extLst>
                <a:ext uri="{FF2B5EF4-FFF2-40B4-BE49-F238E27FC236}">
                  <a16:creationId xmlns:a16="http://schemas.microsoft.com/office/drawing/2014/main" id="{9012245C-E836-4438-B9F4-5861DB1C9415}"/>
                </a:ext>
              </a:extLst>
            </p:cNvPr>
            <p:cNvSpPr/>
            <p:nvPr userDrawn="1"/>
          </p:nvSpPr>
          <p:spPr>
            <a:xfrm>
              <a:off x="5211563" y="4471480"/>
              <a:ext cx="312334" cy="141970"/>
            </a:xfrm>
            <a:custGeom>
              <a:avLst/>
              <a:gdLst>
                <a:gd name="connsiteX0" fmla="*/ 325445 w 312334"/>
                <a:gd name="connsiteY0" fmla="*/ 152153 h 141970"/>
                <a:gd name="connsiteX1" fmla="*/ 177796 w 312334"/>
                <a:gd name="connsiteY1" fmla="*/ 113821 h 141970"/>
                <a:gd name="connsiteX2" fmla="*/ 30147 w 312334"/>
                <a:gd name="connsiteY2" fmla="*/ 65551 h 141970"/>
                <a:gd name="connsiteX3" fmla="*/ 3172 w 312334"/>
                <a:gd name="connsiteY3" fmla="*/ 1664 h 141970"/>
                <a:gd name="connsiteX4" fmla="*/ 84095 w 312334"/>
                <a:gd name="connsiteY4" fmla="*/ 25799 h 141970"/>
                <a:gd name="connsiteX5" fmla="*/ 106811 w 312334"/>
                <a:gd name="connsiteY5" fmla="*/ 59872 h 141970"/>
                <a:gd name="connsiteX6" fmla="*/ 325445 w 312334"/>
                <a:gd name="connsiteY6" fmla="*/ 152153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34" h="141970">
                  <a:moveTo>
                    <a:pt x="325445" y="152153"/>
                  </a:moveTo>
                  <a:cubicBezTo>
                    <a:pt x="325445" y="152153"/>
                    <a:pt x="245942" y="139375"/>
                    <a:pt x="177796" y="113821"/>
                  </a:cubicBezTo>
                  <a:cubicBezTo>
                    <a:pt x="109650" y="88266"/>
                    <a:pt x="57121" y="84007"/>
                    <a:pt x="30147" y="65551"/>
                  </a:cubicBezTo>
                  <a:cubicBezTo>
                    <a:pt x="3172" y="47095"/>
                    <a:pt x="-5346" y="8763"/>
                    <a:pt x="3172" y="1664"/>
                  </a:cubicBezTo>
                  <a:cubicBezTo>
                    <a:pt x="13110" y="-5434"/>
                    <a:pt x="72738" y="11602"/>
                    <a:pt x="84095" y="25799"/>
                  </a:cubicBezTo>
                  <a:cubicBezTo>
                    <a:pt x="96873" y="39996"/>
                    <a:pt x="84095" y="49934"/>
                    <a:pt x="106811" y="59872"/>
                  </a:cubicBezTo>
                  <a:cubicBezTo>
                    <a:pt x="128106" y="68390"/>
                    <a:pt x="325445" y="152153"/>
                    <a:pt x="325445" y="15215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8" name="任意多边形: 形状 10187">
              <a:extLst>
                <a:ext uri="{FF2B5EF4-FFF2-40B4-BE49-F238E27FC236}">
                  <a16:creationId xmlns:a16="http://schemas.microsoft.com/office/drawing/2014/main" id="{4F02B259-B0C0-445E-82F1-ABF7D8C3AAD9}"/>
                </a:ext>
              </a:extLst>
            </p:cNvPr>
            <p:cNvSpPr/>
            <p:nvPr userDrawn="1"/>
          </p:nvSpPr>
          <p:spPr>
            <a:xfrm>
              <a:off x="5318373" y="4534192"/>
              <a:ext cx="212955" cy="85182"/>
            </a:xfrm>
            <a:custGeom>
              <a:avLst/>
              <a:gdLst>
                <a:gd name="connsiteX0" fmla="*/ 8518 w 212955"/>
                <a:gd name="connsiteY0" fmla="*/ 0 h 85182"/>
                <a:gd name="connsiteX1" fmla="*/ 0 w 212955"/>
                <a:gd name="connsiteY1" fmla="*/ 46850 h 85182"/>
                <a:gd name="connsiteX2" fmla="*/ 218634 w 212955"/>
                <a:gd name="connsiteY2" fmla="*/ 89441 h 85182"/>
                <a:gd name="connsiteX3" fmla="*/ 8518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8518" y="0"/>
                  </a:moveTo>
                  <a:cubicBezTo>
                    <a:pt x="8518" y="0"/>
                    <a:pt x="7099" y="31233"/>
                    <a:pt x="0" y="46850"/>
                  </a:cubicBezTo>
                  <a:cubicBezTo>
                    <a:pt x="0" y="46850"/>
                    <a:pt x="198758" y="89441"/>
                    <a:pt x="218634" y="89441"/>
                  </a:cubicBezTo>
                  <a:lnTo>
                    <a:pt x="8518" y="0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9" name="任意多边形: 形状 10188">
              <a:extLst>
                <a:ext uri="{FF2B5EF4-FFF2-40B4-BE49-F238E27FC236}">
                  <a16:creationId xmlns:a16="http://schemas.microsoft.com/office/drawing/2014/main" id="{4D50C10C-86F2-4CE4-A43D-2CC559164BB7}"/>
                </a:ext>
              </a:extLst>
            </p:cNvPr>
            <p:cNvSpPr/>
            <p:nvPr userDrawn="1"/>
          </p:nvSpPr>
          <p:spPr>
            <a:xfrm>
              <a:off x="5525650" y="4911832"/>
              <a:ext cx="212955" cy="85182"/>
            </a:xfrm>
            <a:custGeom>
              <a:avLst/>
              <a:gdLst>
                <a:gd name="connsiteX0" fmla="*/ 0 w 212955"/>
                <a:gd name="connsiteY0" fmla="*/ 0 h 85182"/>
                <a:gd name="connsiteX1" fmla="*/ 150488 w 212955"/>
                <a:gd name="connsiteY1" fmla="*/ 93700 h 85182"/>
                <a:gd name="connsiteX2" fmla="*/ 215795 w 212955"/>
                <a:gd name="connsiteY2" fmla="*/ 93700 h 85182"/>
                <a:gd name="connsiteX3" fmla="*/ 0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0" y="0"/>
                  </a:moveTo>
                  <a:cubicBezTo>
                    <a:pt x="2839" y="2839"/>
                    <a:pt x="102219" y="78084"/>
                    <a:pt x="150488" y="93700"/>
                  </a:cubicBezTo>
                  <a:cubicBezTo>
                    <a:pt x="174623" y="93700"/>
                    <a:pt x="195919" y="93700"/>
                    <a:pt x="215795" y="93700"/>
                  </a:cubicBezTo>
                  <a:cubicBezTo>
                    <a:pt x="211536" y="93700"/>
                    <a:pt x="154747" y="80923"/>
                    <a:pt x="0" y="0"/>
                  </a:cubicBezTo>
                  <a:close/>
                </a:path>
              </a:pathLst>
            </a:custGeom>
            <a:solidFill>
              <a:srgbClr val="4D39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0" name="任意多边形: 形状 10189">
              <a:extLst>
                <a:ext uri="{FF2B5EF4-FFF2-40B4-BE49-F238E27FC236}">
                  <a16:creationId xmlns:a16="http://schemas.microsoft.com/office/drawing/2014/main" id="{B3753DFA-148D-47AA-BD5C-168087570B67}"/>
                </a:ext>
              </a:extLst>
            </p:cNvPr>
            <p:cNvSpPr/>
            <p:nvPr userDrawn="1"/>
          </p:nvSpPr>
          <p:spPr>
            <a:xfrm>
              <a:off x="7483575" y="5414407"/>
              <a:ext cx="212955" cy="184561"/>
            </a:xfrm>
            <a:custGeom>
              <a:avLst/>
              <a:gdLst>
                <a:gd name="connsiteX0" fmla="*/ 141970 w 212955"/>
                <a:gd name="connsiteY0" fmla="*/ 191660 h 184561"/>
                <a:gd name="connsiteX1" fmla="*/ 0 w 212955"/>
                <a:gd name="connsiteY1" fmla="*/ 0 h 184561"/>
                <a:gd name="connsiteX2" fmla="*/ 167525 w 212955"/>
                <a:gd name="connsiteY2" fmla="*/ 146229 h 184561"/>
                <a:gd name="connsiteX3" fmla="*/ 188820 w 212955"/>
                <a:gd name="connsiteY3" fmla="*/ 0 h 184561"/>
                <a:gd name="connsiteX4" fmla="*/ 210116 w 212955"/>
                <a:gd name="connsiteY4" fmla="*/ 146229 h 184561"/>
                <a:gd name="connsiteX5" fmla="*/ 141970 w 212955"/>
                <a:gd name="connsiteY5" fmla="*/ 191660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184561">
                  <a:moveTo>
                    <a:pt x="141970" y="191660"/>
                  </a:moveTo>
                  <a:cubicBezTo>
                    <a:pt x="141970" y="191660"/>
                    <a:pt x="122094" y="85182"/>
                    <a:pt x="0" y="0"/>
                  </a:cubicBezTo>
                  <a:cubicBezTo>
                    <a:pt x="0" y="0"/>
                    <a:pt x="126353" y="5679"/>
                    <a:pt x="167525" y="146229"/>
                  </a:cubicBezTo>
                  <a:cubicBezTo>
                    <a:pt x="167525" y="146229"/>
                    <a:pt x="173204" y="72405"/>
                    <a:pt x="188820" y="0"/>
                  </a:cubicBezTo>
                  <a:cubicBezTo>
                    <a:pt x="188820" y="0"/>
                    <a:pt x="183141" y="73824"/>
                    <a:pt x="210116" y="146229"/>
                  </a:cubicBezTo>
                  <a:cubicBezTo>
                    <a:pt x="235670" y="217214"/>
                    <a:pt x="141970" y="191660"/>
                    <a:pt x="141970" y="191660"/>
                  </a:cubicBezTo>
                  <a:close/>
                </a:path>
              </a:pathLst>
            </a:custGeom>
            <a:solidFill>
              <a:srgbClr val="D5F7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929389" y="2873441"/>
            <a:ext cx="4591100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930505" y="3768791"/>
            <a:ext cx="4591100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11B58C50-70E4-42A6-A667-2C9FE4933BD1}"/>
              </a:ext>
            </a:extLst>
          </p:cNvPr>
          <p:cNvGrpSpPr/>
          <p:nvPr userDrawn="1"/>
        </p:nvGrpSpPr>
        <p:grpSpPr>
          <a:xfrm flipH="1">
            <a:off x="0" y="2657929"/>
            <a:ext cx="4489381" cy="2137243"/>
            <a:chOff x="6474876" y="2925927"/>
            <a:chExt cx="3926438" cy="1869245"/>
          </a:xfrm>
        </p:grpSpPr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B6E26380-6920-4AF9-9C81-036AFEAB6DA1}"/>
                </a:ext>
              </a:extLst>
            </p:cNvPr>
            <p:cNvSpPr/>
            <p:nvPr userDrawn="1"/>
          </p:nvSpPr>
          <p:spPr>
            <a:xfrm>
              <a:off x="6474876" y="3803946"/>
              <a:ext cx="3926438" cy="991226"/>
            </a:xfrm>
            <a:custGeom>
              <a:avLst/>
              <a:gdLst>
                <a:gd name="connsiteX0" fmla="*/ 3294154 w 3926438"/>
                <a:gd name="connsiteY0" fmla="*/ 180 h 991226"/>
                <a:gd name="connsiteX1" fmla="*/ 3811285 w 3926438"/>
                <a:gd name="connsiteY1" fmla="*/ 1460 h 991226"/>
                <a:gd name="connsiteX2" fmla="*/ 3926438 w 3926438"/>
                <a:gd name="connsiteY2" fmla="*/ 3350 h 991226"/>
                <a:gd name="connsiteX3" fmla="*/ 3926438 w 3926438"/>
                <a:gd name="connsiteY3" fmla="*/ 858615 h 991226"/>
                <a:gd name="connsiteX4" fmla="*/ 3870387 w 3926438"/>
                <a:gd name="connsiteY4" fmla="*/ 850148 h 991226"/>
                <a:gd name="connsiteX5" fmla="*/ 2792531 w 3926438"/>
                <a:gd name="connsiteY5" fmla="*/ 798540 h 991226"/>
                <a:gd name="connsiteX6" fmla="*/ 1960224 w 3926438"/>
                <a:gd name="connsiteY6" fmla="*/ 908386 h 991226"/>
                <a:gd name="connsiteX7" fmla="*/ 865808 w 3926438"/>
                <a:gd name="connsiteY7" fmla="*/ 798540 h 991226"/>
                <a:gd name="connsiteX8" fmla="*/ 123629 w 3926438"/>
                <a:gd name="connsiteY8" fmla="*/ 515201 h 991226"/>
                <a:gd name="connsiteX9" fmla="*/ 38098 w 3926438"/>
                <a:gd name="connsiteY9" fmla="*/ 213381 h 991226"/>
                <a:gd name="connsiteX10" fmla="*/ 892478 w 3926438"/>
                <a:gd name="connsiteY10" fmla="*/ 45020 h 991226"/>
                <a:gd name="connsiteX11" fmla="*/ 3294154 w 3926438"/>
                <a:gd name="connsiteY11" fmla="*/ 180 h 99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26438" h="991226">
                  <a:moveTo>
                    <a:pt x="3294154" y="180"/>
                  </a:moveTo>
                  <a:cubicBezTo>
                    <a:pt x="3467230" y="-261"/>
                    <a:pt x="3640743" y="88"/>
                    <a:pt x="3811285" y="1460"/>
                  </a:cubicBezTo>
                  <a:lnTo>
                    <a:pt x="3926438" y="3350"/>
                  </a:lnTo>
                  <a:lnTo>
                    <a:pt x="3926438" y="858615"/>
                  </a:lnTo>
                  <a:lnTo>
                    <a:pt x="3870387" y="850148"/>
                  </a:lnTo>
                  <a:cubicBezTo>
                    <a:pt x="3566670" y="825151"/>
                    <a:pt x="3117637" y="908129"/>
                    <a:pt x="2792531" y="798540"/>
                  </a:cubicBezTo>
                  <a:cubicBezTo>
                    <a:pt x="2420982" y="673296"/>
                    <a:pt x="1985055" y="752344"/>
                    <a:pt x="1960224" y="908386"/>
                  </a:cubicBezTo>
                  <a:cubicBezTo>
                    <a:pt x="1935392" y="1064428"/>
                    <a:pt x="543921" y="984354"/>
                    <a:pt x="865808" y="798540"/>
                  </a:cubicBezTo>
                  <a:cubicBezTo>
                    <a:pt x="1187695" y="613753"/>
                    <a:pt x="417006" y="605540"/>
                    <a:pt x="123629" y="515201"/>
                  </a:cubicBezTo>
                  <a:cubicBezTo>
                    <a:pt x="-169749" y="424860"/>
                    <a:pt x="168693" y="379690"/>
                    <a:pt x="38098" y="213381"/>
                  </a:cubicBezTo>
                  <a:cubicBezTo>
                    <a:pt x="-92496" y="47074"/>
                    <a:pt x="892478" y="45020"/>
                    <a:pt x="892478" y="45020"/>
                  </a:cubicBezTo>
                  <a:cubicBezTo>
                    <a:pt x="892478" y="45020"/>
                    <a:pt x="2082619" y="3264"/>
                    <a:pt x="3294154" y="180"/>
                  </a:cubicBezTo>
                  <a:close/>
                </a:path>
              </a:pathLst>
            </a:custGeom>
            <a:solidFill>
              <a:schemeClr val="bg2"/>
            </a:solidFill>
            <a:ln w="141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E8AD406-786B-4A0C-A608-147D1DA556FA}"/>
                </a:ext>
              </a:extLst>
            </p:cNvPr>
            <p:cNvSpPr/>
            <p:nvPr userDrawn="1"/>
          </p:nvSpPr>
          <p:spPr>
            <a:xfrm>
              <a:off x="7099482" y="2936324"/>
              <a:ext cx="657020" cy="1098455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C00C07F-4E89-478D-B9D9-7B8810E05739}"/>
                </a:ext>
              </a:extLst>
            </p:cNvPr>
            <p:cNvSpPr/>
            <p:nvPr userDrawn="1"/>
          </p:nvSpPr>
          <p:spPr>
            <a:xfrm>
              <a:off x="8019309" y="3262301"/>
              <a:ext cx="205318" cy="205318"/>
            </a:xfrm>
            <a:custGeom>
              <a:avLst/>
              <a:gdLst>
                <a:gd name="connsiteX0" fmla="*/ 14197 w 283940"/>
                <a:gd name="connsiteY0" fmla="*/ 295961 h 283940"/>
                <a:gd name="connsiteX1" fmla="*/ 93700 w 283940"/>
                <a:gd name="connsiteY1" fmla="*/ 195163 h 283940"/>
                <a:gd name="connsiteX2" fmla="*/ 203017 w 283940"/>
                <a:gd name="connsiteY2" fmla="*/ 36156 h 283940"/>
                <a:gd name="connsiteX3" fmla="*/ 295298 w 283940"/>
                <a:gd name="connsiteY3" fmla="*/ 6342 h 283940"/>
                <a:gd name="connsiteX4" fmla="*/ 295298 w 283940"/>
                <a:gd name="connsiteY4" fmla="*/ 663 h 283940"/>
                <a:gd name="connsiteX5" fmla="*/ 181722 w 283940"/>
                <a:gd name="connsiteY5" fmla="*/ 36156 h 283940"/>
                <a:gd name="connsiteX6" fmla="*/ 85182 w 283940"/>
                <a:gd name="connsiteY6" fmla="*/ 173867 h 283940"/>
                <a:gd name="connsiteX7" fmla="*/ 0 w 283940"/>
                <a:gd name="connsiteY7" fmla="*/ 224976 h 283940"/>
                <a:gd name="connsiteX8" fmla="*/ 14197 w 283940"/>
                <a:gd name="connsiteY8" fmla="*/ 295961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940" h="283940">
                  <a:moveTo>
                    <a:pt x="14197" y="295961"/>
                  </a:moveTo>
                  <a:cubicBezTo>
                    <a:pt x="14197" y="295961"/>
                    <a:pt x="29814" y="200841"/>
                    <a:pt x="93700" y="195163"/>
                  </a:cubicBezTo>
                  <a:cubicBezTo>
                    <a:pt x="156167" y="189484"/>
                    <a:pt x="161846" y="61711"/>
                    <a:pt x="203017" y="36156"/>
                  </a:cubicBezTo>
                  <a:cubicBezTo>
                    <a:pt x="242769" y="10601"/>
                    <a:pt x="295298" y="6342"/>
                    <a:pt x="295298" y="6342"/>
                  </a:cubicBezTo>
                  <a:lnTo>
                    <a:pt x="295298" y="663"/>
                  </a:lnTo>
                  <a:cubicBezTo>
                    <a:pt x="295298" y="663"/>
                    <a:pt x="224313" y="-7855"/>
                    <a:pt x="181722" y="36156"/>
                  </a:cubicBezTo>
                  <a:cubicBezTo>
                    <a:pt x="139131" y="80167"/>
                    <a:pt x="141970" y="168188"/>
                    <a:pt x="85182" y="173867"/>
                  </a:cubicBezTo>
                  <a:cubicBezTo>
                    <a:pt x="28394" y="180966"/>
                    <a:pt x="0" y="224976"/>
                    <a:pt x="0" y="224976"/>
                  </a:cubicBezTo>
                  <a:lnTo>
                    <a:pt x="14197" y="295961"/>
                  </a:lnTo>
                  <a:close/>
                </a:path>
              </a:pathLst>
            </a:custGeom>
            <a:solidFill>
              <a:srgbClr val="F0E1D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20EFBE6-4D31-4068-A1CF-74327EC4C541}"/>
                </a:ext>
              </a:extLst>
            </p:cNvPr>
            <p:cNvSpPr/>
            <p:nvPr userDrawn="1"/>
          </p:nvSpPr>
          <p:spPr>
            <a:xfrm>
              <a:off x="7541380" y="3613538"/>
              <a:ext cx="821275" cy="307978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430123D-D620-4A5E-9A07-4D5CAA931EA1}"/>
                </a:ext>
              </a:extLst>
            </p:cNvPr>
            <p:cNvSpPr/>
            <p:nvPr userDrawn="1"/>
          </p:nvSpPr>
          <p:spPr>
            <a:xfrm>
              <a:off x="8633212" y="2939404"/>
              <a:ext cx="964998" cy="1067657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BE9EB2D5-1706-4CF2-B42C-53FD6DC1335D}"/>
                </a:ext>
              </a:extLst>
            </p:cNvPr>
            <p:cNvSpPr/>
            <p:nvPr userDrawn="1"/>
          </p:nvSpPr>
          <p:spPr>
            <a:xfrm>
              <a:off x="8881647" y="2939404"/>
              <a:ext cx="379840" cy="1067657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6DBFE9F4-C75C-4280-80CB-0069665FA8C5}"/>
                </a:ext>
              </a:extLst>
            </p:cNvPr>
            <p:cNvSpPr/>
            <p:nvPr userDrawn="1"/>
          </p:nvSpPr>
          <p:spPr>
            <a:xfrm>
              <a:off x="7274002" y="2936324"/>
              <a:ext cx="1837603" cy="1067657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4032314-CE39-4345-B477-F29771244E2B}"/>
                </a:ext>
              </a:extLst>
            </p:cNvPr>
            <p:cNvSpPr/>
            <p:nvPr userDrawn="1"/>
          </p:nvSpPr>
          <p:spPr>
            <a:xfrm>
              <a:off x="8488463" y="2936324"/>
              <a:ext cx="626222" cy="1098455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258D5F4-633F-4C1A-84A7-B701846BC81D}"/>
                </a:ext>
              </a:extLst>
            </p:cNvPr>
            <p:cNvSpPr/>
            <p:nvPr userDrawn="1"/>
          </p:nvSpPr>
          <p:spPr>
            <a:xfrm>
              <a:off x="9114685" y="2936324"/>
              <a:ext cx="718615" cy="1077923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34B3664-3BE2-40D8-B2A2-960EB9301029}"/>
                </a:ext>
              </a:extLst>
            </p:cNvPr>
            <p:cNvSpPr/>
            <p:nvPr userDrawn="1"/>
          </p:nvSpPr>
          <p:spPr>
            <a:xfrm>
              <a:off x="8484801" y="3925210"/>
              <a:ext cx="10266" cy="112925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954A571-3A37-44E9-9834-A8FDA5CBCFCF}"/>
                </a:ext>
              </a:extLst>
            </p:cNvPr>
            <p:cNvSpPr/>
            <p:nvPr userDrawn="1"/>
          </p:nvSpPr>
          <p:spPr>
            <a:xfrm>
              <a:off x="7097293" y="3926300"/>
              <a:ext cx="10266" cy="112925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CD0001E-ABFC-4011-84A3-C6FF0B777A7D}"/>
                </a:ext>
              </a:extLst>
            </p:cNvPr>
            <p:cNvSpPr/>
            <p:nvPr userDrawn="1"/>
          </p:nvSpPr>
          <p:spPr>
            <a:xfrm>
              <a:off x="8786691" y="3922880"/>
              <a:ext cx="71861" cy="102659"/>
            </a:xfrm>
            <a:custGeom>
              <a:avLst/>
              <a:gdLst>
                <a:gd name="connsiteX0" fmla="*/ 3545 w 99379"/>
                <a:gd name="connsiteY0" fmla="*/ 123514 h 141970"/>
                <a:gd name="connsiteX1" fmla="*/ 23421 w 99379"/>
                <a:gd name="connsiteY1" fmla="*/ 0 h 141970"/>
                <a:gd name="connsiteX2" fmla="*/ 23421 w 99379"/>
                <a:gd name="connsiteY2" fmla="*/ 97959 h 141970"/>
                <a:gd name="connsiteX3" fmla="*/ 48976 w 99379"/>
                <a:gd name="connsiteY3" fmla="*/ 62467 h 141970"/>
                <a:gd name="connsiteX4" fmla="*/ 39038 w 99379"/>
                <a:gd name="connsiteY4" fmla="*/ 124934 h 141970"/>
                <a:gd name="connsiteX5" fmla="*/ 97246 w 99379"/>
                <a:gd name="connsiteY5" fmla="*/ 7099 h 141970"/>
                <a:gd name="connsiteX6" fmla="*/ 50395 w 99379"/>
                <a:gd name="connsiteY6" fmla="*/ 144810 h 141970"/>
                <a:gd name="connsiteX7" fmla="*/ 3545 w 99379"/>
                <a:gd name="connsiteY7" fmla="*/ 123514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379" h="141970">
                  <a:moveTo>
                    <a:pt x="3545" y="123514"/>
                  </a:moveTo>
                  <a:cubicBezTo>
                    <a:pt x="3545" y="123514"/>
                    <a:pt x="-12071" y="66726"/>
                    <a:pt x="23421" y="0"/>
                  </a:cubicBezTo>
                  <a:cubicBezTo>
                    <a:pt x="23421" y="0"/>
                    <a:pt x="4965" y="59627"/>
                    <a:pt x="23421" y="97959"/>
                  </a:cubicBezTo>
                  <a:cubicBezTo>
                    <a:pt x="23421" y="97959"/>
                    <a:pt x="36198" y="105058"/>
                    <a:pt x="48976" y="62467"/>
                  </a:cubicBezTo>
                  <a:cubicBezTo>
                    <a:pt x="48976" y="62467"/>
                    <a:pt x="50395" y="105058"/>
                    <a:pt x="39038" y="124934"/>
                  </a:cubicBezTo>
                  <a:cubicBezTo>
                    <a:pt x="27680" y="144810"/>
                    <a:pt x="95826" y="100799"/>
                    <a:pt x="97246" y="7099"/>
                  </a:cubicBezTo>
                  <a:cubicBezTo>
                    <a:pt x="97246" y="7099"/>
                    <a:pt x="115702" y="117835"/>
                    <a:pt x="50395" y="144810"/>
                  </a:cubicBezTo>
                  <a:cubicBezTo>
                    <a:pt x="-19170" y="171784"/>
                    <a:pt x="3545" y="123514"/>
                    <a:pt x="3545" y="123514"/>
                  </a:cubicBezTo>
                  <a:close/>
                </a:path>
              </a:pathLst>
            </a:custGeom>
            <a:solidFill>
              <a:schemeClr val="bg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B62ED5D-61D7-4A4C-B4FC-44CFC351CF7E}"/>
                </a:ext>
              </a:extLst>
            </p:cNvPr>
            <p:cNvSpPr/>
            <p:nvPr userDrawn="1"/>
          </p:nvSpPr>
          <p:spPr>
            <a:xfrm>
              <a:off x="8128128" y="4500852"/>
              <a:ext cx="30798" cy="41064"/>
            </a:xfrm>
            <a:custGeom>
              <a:avLst/>
              <a:gdLst>
                <a:gd name="connsiteX0" fmla="*/ 0 w 42591"/>
                <a:gd name="connsiteY0" fmla="*/ 52529 h 56788"/>
                <a:gd name="connsiteX1" fmla="*/ 0 w 42591"/>
                <a:gd name="connsiteY1" fmla="*/ 4259 h 56788"/>
                <a:gd name="connsiteX2" fmla="*/ 48270 w 42591"/>
                <a:gd name="connsiteY2" fmla="*/ 0 h 56788"/>
                <a:gd name="connsiteX3" fmla="*/ 55368 w 42591"/>
                <a:gd name="connsiteY3" fmla="*/ 55368 h 56788"/>
                <a:gd name="connsiteX4" fmla="*/ 0 w 42591"/>
                <a:gd name="connsiteY4" fmla="*/ 52529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56788">
                  <a:moveTo>
                    <a:pt x="0" y="52529"/>
                  </a:moveTo>
                  <a:cubicBezTo>
                    <a:pt x="0" y="52529"/>
                    <a:pt x="0" y="9938"/>
                    <a:pt x="0" y="4259"/>
                  </a:cubicBezTo>
                  <a:cubicBezTo>
                    <a:pt x="0" y="0"/>
                    <a:pt x="48270" y="0"/>
                    <a:pt x="48270" y="0"/>
                  </a:cubicBezTo>
                  <a:cubicBezTo>
                    <a:pt x="48270" y="0"/>
                    <a:pt x="51109" y="46850"/>
                    <a:pt x="55368" y="55368"/>
                  </a:cubicBezTo>
                  <a:cubicBezTo>
                    <a:pt x="56788" y="65306"/>
                    <a:pt x="0" y="52529"/>
                    <a:pt x="0" y="5252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29145B1-7797-4291-99BB-F1D8BCF39C81}"/>
                </a:ext>
              </a:extLst>
            </p:cNvPr>
            <p:cNvSpPr/>
            <p:nvPr userDrawn="1"/>
          </p:nvSpPr>
          <p:spPr>
            <a:xfrm>
              <a:off x="8064336" y="4528299"/>
              <a:ext cx="112925" cy="92393"/>
            </a:xfrm>
            <a:custGeom>
              <a:avLst/>
              <a:gdLst>
                <a:gd name="connsiteX0" fmla="*/ 122293 w 156167"/>
                <a:gd name="connsiteY0" fmla="*/ 11733 h 127773"/>
                <a:gd name="connsiteX1" fmla="*/ 89640 w 156167"/>
                <a:gd name="connsiteY1" fmla="*/ 3215 h 127773"/>
                <a:gd name="connsiteX2" fmla="*/ 75443 w 156167"/>
                <a:gd name="connsiteY2" fmla="*/ 15992 h 127773"/>
                <a:gd name="connsiteX3" fmla="*/ 34271 w 156167"/>
                <a:gd name="connsiteY3" fmla="*/ 74200 h 127773"/>
                <a:gd name="connsiteX4" fmla="*/ 199 w 156167"/>
                <a:gd name="connsiteY4" fmla="*/ 111112 h 127773"/>
                <a:gd name="connsiteX5" fmla="*/ 86800 w 156167"/>
                <a:gd name="connsiteY5" fmla="*/ 133827 h 127773"/>
                <a:gd name="connsiteX6" fmla="*/ 162045 w 156167"/>
                <a:gd name="connsiteY6" fmla="*/ 75620 h 127773"/>
                <a:gd name="connsiteX7" fmla="*/ 137910 w 156167"/>
                <a:gd name="connsiteY7" fmla="*/ 375 h 127773"/>
                <a:gd name="connsiteX8" fmla="*/ 122293 w 156167"/>
                <a:gd name="connsiteY8" fmla="*/ 1173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167" h="127773">
                  <a:moveTo>
                    <a:pt x="122293" y="11733"/>
                  </a:moveTo>
                  <a:cubicBezTo>
                    <a:pt x="122293" y="11733"/>
                    <a:pt x="102417" y="3215"/>
                    <a:pt x="89640" y="3215"/>
                  </a:cubicBezTo>
                  <a:cubicBezTo>
                    <a:pt x="76863" y="3215"/>
                    <a:pt x="78282" y="11733"/>
                    <a:pt x="75443" y="15992"/>
                  </a:cubicBezTo>
                  <a:cubicBezTo>
                    <a:pt x="72603" y="20251"/>
                    <a:pt x="41370" y="67101"/>
                    <a:pt x="34271" y="74200"/>
                  </a:cubicBezTo>
                  <a:cubicBezTo>
                    <a:pt x="25753" y="82718"/>
                    <a:pt x="-2641" y="91236"/>
                    <a:pt x="199" y="111112"/>
                  </a:cubicBezTo>
                  <a:cubicBezTo>
                    <a:pt x="4458" y="132408"/>
                    <a:pt x="41370" y="139506"/>
                    <a:pt x="86800" y="133827"/>
                  </a:cubicBezTo>
                  <a:cubicBezTo>
                    <a:pt x="132231" y="128149"/>
                    <a:pt x="154946" y="85558"/>
                    <a:pt x="162045" y="75620"/>
                  </a:cubicBezTo>
                  <a:cubicBezTo>
                    <a:pt x="169143" y="65682"/>
                    <a:pt x="145008" y="4635"/>
                    <a:pt x="137910" y="375"/>
                  </a:cubicBezTo>
                  <a:cubicBezTo>
                    <a:pt x="130811" y="-2464"/>
                    <a:pt x="122293" y="11733"/>
                    <a:pt x="122293" y="11733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616FFB5-4C94-4B3B-A454-1199474382D4}"/>
                </a:ext>
              </a:extLst>
            </p:cNvPr>
            <p:cNvSpPr/>
            <p:nvPr userDrawn="1"/>
          </p:nvSpPr>
          <p:spPr>
            <a:xfrm>
              <a:off x="7840682" y="4504959"/>
              <a:ext cx="41064" cy="41064"/>
            </a:xfrm>
            <a:custGeom>
              <a:avLst/>
              <a:gdLst>
                <a:gd name="connsiteX0" fmla="*/ 0 w 56788"/>
                <a:gd name="connsiteY0" fmla="*/ 39752 h 56788"/>
                <a:gd name="connsiteX1" fmla="*/ 11358 w 56788"/>
                <a:gd name="connsiteY1" fmla="*/ 0 h 56788"/>
                <a:gd name="connsiteX2" fmla="*/ 62467 w 56788"/>
                <a:gd name="connsiteY2" fmla="*/ 7099 h 56788"/>
                <a:gd name="connsiteX3" fmla="*/ 53949 w 56788"/>
                <a:gd name="connsiteY3" fmla="*/ 68146 h 56788"/>
                <a:gd name="connsiteX4" fmla="*/ 0 w 56788"/>
                <a:gd name="connsiteY4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0" y="39752"/>
                  </a:moveTo>
                  <a:lnTo>
                    <a:pt x="11358" y="0"/>
                  </a:lnTo>
                  <a:lnTo>
                    <a:pt x="62467" y="7099"/>
                  </a:lnTo>
                  <a:cubicBezTo>
                    <a:pt x="62467" y="7099"/>
                    <a:pt x="51109" y="61047"/>
                    <a:pt x="53949" y="68146"/>
                  </a:cubicBezTo>
                  <a:cubicBezTo>
                    <a:pt x="55368" y="73824"/>
                    <a:pt x="0" y="39752"/>
                    <a:pt x="0" y="3975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524160B-6216-40F3-BD61-34D0F83259F7}"/>
                </a:ext>
              </a:extLst>
            </p:cNvPr>
            <p:cNvSpPr/>
            <p:nvPr userDrawn="1"/>
          </p:nvSpPr>
          <p:spPr>
            <a:xfrm>
              <a:off x="7928969" y="3378786"/>
              <a:ext cx="112925" cy="472233"/>
            </a:xfrm>
            <a:custGeom>
              <a:avLst/>
              <a:gdLst>
                <a:gd name="connsiteX0" fmla="*/ 28394 w 156167"/>
                <a:gd name="connsiteY0" fmla="*/ 0 h 653062"/>
                <a:gd name="connsiteX1" fmla="*/ 15617 w 156167"/>
                <a:gd name="connsiteY1" fmla="*/ 288200 h 653062"/>
                <a:gd name="connsiteX2" fmla="*/ 0 w 156167"/>
                <a:gd name="connsiteY2" fmla="*/ 661581 h 653062"/>
                <a:gd name="connsiteX3" fmla="*/ 161846 w 156167"/>
                <a:gd name="connsiteY3" fmla="*/ 424491 h 653062"/>
                <a:gd name="connsiteX4" fmla="*/ 28394 w 156167"/>
                <a:gd name="connsiteY4" fmla="*/ 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167" h="653062">
                  <a:moveTo>
                    <a:pt x="28394" y="0"/>
                  </a:moveTo>
                  <a:cubicBezTo>
                    <a:pt x="28394" y="0"/>
                    <a:pt x="-1420" y="144810"/>
                    <a:pt x="15617" y="288200"/>
                  </a:cubicBezTo>
                  <a:cubicBezTo>
                    <a:pt x="32653" y="431589"/>
                    <a:pt x="0" y="661581"/>
                    <a:pt x="0" y="661581"/>
                  </a:cubicBezTo>
                  <a:lnTo>
                    <a:pt x="161846" y="424491"/>
                  </a:lnTo>
                  <a:lnTo>
                    <a:pt x="28394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F0C22E3-7487-4B2A-AC51-719065737815}"/>
                </a:ext>
              </a:extLst>
            </p:cNvPr>
            <p:cNvSpPr/>
            <p:nvPr userDrawn="1"/>
          </p:nvSpPr>
          <p:spPr>
            <a:xfrm>
              <a:off x="7830416" y="3691340"/>
              <a:ext cx="369574" cy="821275"/>
            </a:xfrm>
            <a:custGeom>
              <a:avLst/>
              <a:gdLst>
                <a:gd name="connsiteX0" fmla="*/ 187401 w 511092"/>
                <a:gd name="connsiteY0" fmla="*/ 132802 h 1135761"/>
                <a:gd name="connsiteX1" fmla="*/ 139131 w 511092"/>
                <a:gd name="connsiteY1" fmla="*/ 361374 h 1135761"/>
                <a:gd name="connsiteX2" fmla="*/ 102219 w 511092"/>
                <a:gd name="connsiteY2" fmla="*/ 666610 h 1135761"/>
                <a:gd name="connsiteX3" fmla="*/ 62467 w 511092"/>
                <a:gd name="connsiteY3" fmla="*/ 859689 h 1135761"/>
                <a:gd name="connsiteX4" fmla="*/ 0 w 511092"/>
                <a:gd name="connsiteY4" fmla="*/ 1140790 h 1135761"/>
                <a:gd name="connsiteX5" fmla="*/ 86602 w 511092"/>
                <a:gd name="connsiteY5" fmla="*/ 1142210 h 1135761"/>
                <a:gd name="connsiteX6" fmla="*/ 176043 w 511092"/>
                <a:gd name="connsiteY6" fmla="*/ 825617 h 1135761"/>
                <a:gd name="connsiteX7" fmla="*/ 238510 w 511092"/>
                <a:gd name="connsiteY7" fmla="*/ 589946 h 1135761"/>
                <a:gd name="connsiteX8" fmla="*/ 342148 w 511092"/>
                <a:gd name="connsiteY8" fmla="*/ 318783 h 1135761"/>
                <a:gd name="connsiteX9" fmla="*/ 347827 w 511092"/>
                <a:gd name="connsiteY9" fmla="*/ 364213 h 1135761"/>
                <a:gd name="connsiteX10" fmla="*/ 379060 w 511092"/>
                <a:gd name="connsiteY10" fmla="*/ 659511 h 1135761"/>
                <a:gd name="connsiteX11" fmla="*/ 384739 w 511092"/>
                <a:gd name="connsiteY11" fmla="*/ 845492 h 1135761"/>
                <a:gd name="connsiteX12" fmla="*/ 397517 w 511092"/>
                <a:gd name="connsiteY12" fmla="*/ 1135111 h 1135761"/>
                <a:gd name="connsiteX13" fmla="*/ 478440 w 511092"/>
                <a:gd name="connsiteY13" fmla="*/ 1126593 h 1135761"/>
                <a:gd name="connsiteX14" fmla="*/ 484118 w 511092"/>
                <a:gd name="connsiteY14" fmla="*/ 808580 h 1135761"/>
                <a:gd name="connsiteX15" fmla="*/ 488377 w 511092"/>
                <a:gd name="connsiteY15" fmla="*/ 633957 h 1135761"/>
                <a:gd name="connsiteX16" fmla="*/ 481279 w 511092"/>
                <a:gd name="connsiteY16" fmla="*/ 158356 h 1135761"/>
                <a:gd name="connsiteX17" fmla="*/ 187401 w 511092"/>
                <a:gd name="connsiteY17" fmla="*/ 132802 h 11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092" h="1135761">
                  <a:moveTo>
                    <a:pt x="187401" y="132802"/>
                  </a:moveTo>
                  <a:cubicBezTo>
                    <a:pt x="187401" y="132802"/>
                    <a:pt x="147649" y="314524"/>
                    <a:pt x="139131" y="361374"/>
                  </a:cubicBezTo>
                  <a:cubicBezTo>
                    <a:pt x="130613" y="406804"/>
                    <a:pt x="105058" y="629698"/>
                    <a:pt x="102219" y="666610"/>
                  </a:cubicBezTo>
                  <a:cubicBezTo>
                    <a:pt x="99379" y="704942"/>
                    <a:pt x="61047" y="846912"/>
                    <a:pt x="62467" y="859689"/>
                  </a:cubicBezTo>
                  <a:cubicBezTo>
                    <a:pt x="63887" y="873886"/>
                    <a:pt x="0" y="1140790"/>
                    <a:pt x="0" y="1140790"/>
                  </a:cubicBezTo>
                  <a:cubicBezTo>
                    <a:pt x="0" y="1140790"/>
                    <a:pt x="68146" y="1149308"/>
                    <a:pt x="86602" y="1142210"/>
                  </a:cubicBezTo>
                  <a:cubicBezTo>
                    <a:pt x="99379" y="1137951"/>
                    <a:pt x="176043" y="892342"/>
                    <a:pt x="176043" y="825617"/>
                  </a:cubicBezTo>
                  <a:cubicBezTo>
                    <a:pt x="176043" y="731916"/>
                    <a:pt x="231411" y="611241"/>
                    <a:pt x="238510" y="589946"/>
                  </a:cubicBezTo>
                  <a:cubicBezTo>
                    <a:pt x="316594" y="381250"/>
                    <a:pt x="330791" y="331560"/>
                    <a:pt x="342148" y="318783"/>
                  </a:cubicBezTo>
                  <a:cubicBezTo>
                    <a:pt x="342148" y="318783"/>
                    <a:pt x="343568" y="335819"/>
                    <a:pt x="347827" y="364213"/>
                  </a:cubicBezTo>
                  <a:cubicBezTo>
                    <a:pt x="352086" y="396866"/>
                    <a:pt x="370542" y="629698"/>
                    <a:pt x="379060" y="659511"/>
                  </a:cubicBezTo>
                  <a:cubicBezTo>
                    <a:pt x="387579" y="690745"/>
                    <a:pt x="380480" y="792963"/>
                    <a:pt x="384739" y="845492"/>
                  </a:cubicBezTo>
                  <a:cubicBezTo>
                    <a:pt x="388998" y="898021"/>
                    <a:pt x="397517" y="1135111"/>
                    <a:pt x="397517" y="1135111"/>
                  </a:cubicBezTo>
                  <a:cubicBezTo>
                    <a:pt x="397517" y="1135111"/>
                    <a:pt x="459983" y="1136531"/>
                    <a:pt x="478440" y="1126593"/>
                  </a:cubicBezTo>
                  <a:cubicBezTo>
                    <a:pt x="484118" y="1123754"/>
                    <a:pt x="484118" y="871047"/>
                    <a:pt x="484118" y="808580"/>
                  </a:cubicBezTo>
                  <a:cubicBezTo>
                    <a:pt x="485538" y="746113"/>
                    <a:pt x="485538" y="660931"/>
                    <a:pt x="488377" y="633957"/>
                  </a:cubicBezTo>
                  <a:cubicBezTo>
                    <a:pt x="505414" y="376991"/>
                    <a:pt x="546585" y="340078"/>
                    <a:pt x="481279" y="158356"/>
                  </a:cubicBezTo>
                  <a:cubicBezTo>
                    <a:pt x="359185" y="-182372"/>
                    <a:pt x="187401" y="132802"/>
                    <a:pt x="187401" y="132802"/>
                  </a:cubicBezTo>
                  <a:close/>
                </a:path>
              </a:pathLst>
            </a:custGeom>
            <a:solidFill>
              <a:schemeClr val="tx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13B4D03-5A6C-4882-9613-36F27E51D5B4}"/>
                </a:ext>
              </a:extLst>
            </p:cNvPr>
            <p:cNvSpPr/>
            <p:nvPr userDrawn="1"/>
          </p:nvSpPr>
          <p:spPr>
            <a:xfrm>
              <a:off x="7918643" y="3343015"/>
              <a:ext cx="266915" cy="472233"/>
            </a:xfrm>
            <a:custGeom>
              <a:avLst/>
              <a:gdLst>
                <a:gd name="connsiteX0" fmla="*/ 34156 w 369122"/>
                <a:gd name="connsiteY0" fmla="*/ 82120 h 653062"/>
                <a:gd name="connsiteX1" fmla="*/ 1503 w 369122"/>
                <a:gd name="connsiteY1" fmla="*/ 287977 h 653062"/>
                <a:gd name="connsiteX2" fmla="*/ 62550 w 369122"/>
                <a:gd name="connsiteY2" fmla="*/ 360382 h 653062"/>
                <a:gd name="connsiteX3" fmla="*/ 95204 w 369122"/>
                <a:gd name="connsiteY3" fmla="*/ 481057 h 653062"/>
                <a:gd name="connsiteX4" fmla="*/ 65390 w 369122"/>
                <a:gd name="connsiteY4" fmla="*/ 614509 h 653062"/>
                <a:gd name="connsiteX5" fmla="*/ 373465 w 369122"/>
                <a:gd name="connsiteY5" fmla="*/ 581856 h 653062"/>
                <a:gd name="connsiteX6" fmla="*/ 316677 w 369122"/>
                <a:gd name="connsiteY6" fmla="*/ 404393 h 653062"/>
                <a:gd name="connsiteX7" fmla="*/ 316677 w 369122"/>
                <a:gd name="connsiteY7" fmla="*/ 248226 h 653062"/>
                <a:gd name="connsiteX8" fmla="*/ 325195 w 369122"/>
                <a:gd name="connsiteY8" fmla="*/ 69343 h 653062"/>
                <a:gd name="connsiteX9" fmla="*/ 176127 w 369122"/>
                <a:gd name="connsiteY9" fmla="*/ 1197 h 653062"/>
                <a:gd name="connsiteX10" fmla="*/ 34156 w 369122"/>
                <a:gd name="connsiteY10" fmla="*/ 8212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122" h="653062">
                  <a:moveTo>
                    <a:pt x="34156" y="82120"/>
                  </a:moveTo>
                  <a:cubicBezTo>
                    <a:pt x="34156" y="82120"/>
                    <a:pt x="-8435" y="253904"/>
                    <a:pt x="1503" y="287977"/>
                  </a:cubicBezTo>
                  <a:cubicBezTo>
                    <a:pt x="11441" y="322050"/>
                    <a:pt x="61131" y="356123"/>
                    <a:pt x="62550" y="360382"/>
                  </a:cubicBezTo>
                  <a:cubicBezTo>
                    <a:pt x="63970" y="364641"/>
                    <a:pt x="95204" y="464020"/>
                    <a:pt x="95204" y="481057"/>
                  </a:cubicBezTo>
                  <a:cubicBezTo>
                    <a:pt x="93784" y="498093"/>
                    <a:pt x="65390" y="614509"/>
                    <a:pt x="65390" y="614509"/>
                  </a:cubicBezTo>
                  <a:cubicBezTo>
                    <a:pt x="65390" y="614509"/>
                    <a:pt x="214458" y="722406"/>
                    <a:pt x="373465" y="581856"/>
                  </a:cubicBezTo>
                  <a:cubicBezTo>
                    <a:pt x="373465" y="581856"/>
                    <a:pt x="318097" y="420009"/>
                    <a:pt x="316677" y="404393"/>
                  </a:cubicBezTo>
                  <a:cubicBezTo>
                    <a:pt x="315257" y="387356"/>
                    <a:pt x="310998" y="263842"/>
                    <a:pt x="316677" y="248226"/>
                  </a:cubicBezTo>
                  <a:cubicBezTo>
                    <a:pt x="322356" y="232609"/>
                    <a:pt x="332294" y="83540"/>
                    <a:pt x="325195" y="69343"/>
                  </a:cubicBezTo>
                  <a:cubicBezTo>
                    <a:pt x="318097" y="55146"/>
                    <a:pt x="237174" y="13975"/>
                    <a:pt x="176127" y="1197"/>
                  </a:cubicBezTo>
                  <a:cubicBezTo>
                    <a:pt x="115079" y="-11580"/>
                    <a:pt x="34156" y="82120"/>
                    <a:pt x="34156" y="82120"/>
                  </a:cubicBezTo>
                  <a:close/>
                </a:path>
              </a:pathLst>
            </a:custGeom>
            <a:solidFill>
              <a:srgbClr val="FFF8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F0E20C01-3332-437A-B480-982B81CA2EB6}"/>
                </a:ext>
              </a:extLst>
            </p:cNvPr>
            <p:cNvSpPr/>
            <p:nvPr userDrawn="1"/>
          </p:nvSpPr>
          <p:spPr>
            <a:xfrm>
              <a:off x="8048885" y="3345935"/>
              <a:ext cx="195052" cy="605690"/>
            </a:xfrm>
            <a:custGeom>
              <a:avLst/>
              <a:gdLst>
                <a:gd name="connsiteX0" fmla="*/ 245879 w 269743"/>
                <a:gd name="connsiteY0" fmla="*/ 848982 h 837624"/>
                <a:gd name="connsiteX1" fmla="*/ 176313 w 269743"/>
                <a:gd name="connsiteY1" fmla="*/ 667260 h 837624"/>
                <a:gd name="connsiteX2" fmla="*/ 149339 w 269743"/>
                <a:gd name="connsiteY2" fmla="*/ 609052 h 837624"/>
                <a:gd name="connsiteX3" fmla="*/ 128043 w 269743"/>
                <a:gd name="connsiteY3" fmla="*/ 563622 h 837624"/>
                <a:gd name="connsiteX4" fmla="*/ 17307 w 269743"/>
                <a:gd name="connsiteY4" fmla="*/ 303816 h 837624"/>
                <a:gd name="connsiteX5" fmla="*/ 18726 w 269743"/>
                <a:gd name="connsiteY5" fmla="*/ 0 h 837624"/>
                <a:gd name="connsiteX6" fmla="*/ 18726 w 269743"/>
                <a:gd name="connsiteY6" fmla="*/ 0 h 837624"/>
                <a:gd name="connsiteX7" fmla="*/ 143660 w 269743"/>
                <a:gd name="connsiteY7" fmla="*/ 53949 h 837624"/>
                <a:gd name="connsiteX8" fmla="*/ 143660 w 269743"/>
                <a:gd name="connsiteY8" fmla="*/ 53949 h 837624"/>
                <a:gd name="connsiteX9" fmla="*/ 145080 w 269743"/>
                <a:gd name="connsiteY9" fmla="*/ 56788 h 837624"/>
                <a:gd name="connsiteX10" fmla="*/ 180572 w 269743"/>
                <a:gd name="connsiteY10" fmla="*/ 140551 h 837624"/>
                <a:gd name="connsiteX11" fmla="*/ 143660 w 269743"/>
                <a:gd name="connsiteY11" fmla="*/ 191660 h 837624"/>
                <a:gd name="connsiteX12" fmla="*/ 132303 w 269743"/>
                <a:gd name="connsiteY12" fmla="*/ 238510 h 837624"/>
                <a:gd name="connsiteX13" fmla="*/ 133722 w 269743"/>
                <a:gd name="connsiteY13" fmla="*/ 259805 h 837624"/>
                <a:gd name="connsiteX14" fmla="*/ 135142 w 269743"/>
                <a:gd name="connsiteY14" fmla="*/ 266904 h 837624"/>
                <a:gd name="connsiteX15" fmla="*/ 176313 w 269743"/>
                <a:gd name="connsiteY15" fmla="*/ 396097 h 837624"/>
                <a:gd name="connsiteX16" fmla="*/ 179153 w 269743"/>
                <a:gd name="connsiteY16" fmla="*/ 414553 h 837624"/>
                <a:gd name="connsiteX17" fmla="*/ 179153 w 269743"/>
                <a:gd name="connsiteY17" fmla="*/ 414553 h 837624"/>
                <a:gd name="connsiteX18" fmla="*/ 179153 w 269743"/>
                <a:gd name="connsiteY18" fmla="*/ 414553 h 837624"/>
                <a:gd name="connsiteX19" fmla="*/ 193350 w 269743"/>
                <a:gd name="connsiteY19" fmla="*/ 458564 h 837624"/>
                <a:gd name="connsiteX20" fmla="*/ 196189 w 269743"/>
                <a:gd name="connsiteY20" fmla="*/ 464243 h 837624"/>
                <a:gd name="connsiteX21" fmla="*/ 196189 w 269743"/>
                <a:gd name="connsiteY21" fmla="*/ 464243 h 837624"/>
                <a:gd name="connsiteX22" fmla="*/ 234521 w 269743"/>
                <a:gd name="connsiteY22" fmla="*/ 549425 h 837624"/>
                <a:gd name="connsiteX23" fmla="*/ 282791 w 269743"/>
                <a:gd name="connsiteY23" fmla="*/ 685716 h 837624"/>
                <a:gd name="connsiteX24" fmla="*/ 245879 w 269743"/>
                <a:gd name="connsiteY24" fmla="*/ 848982 h 83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9743" h="837624">
                  <a:moveTo>
                    <a:pt x="245879" y="848982"/>
                  </a:moveTo>
                  <a:cubicBezTo>
                    <a:pt x="244459" y="819168"/>
                    <a:pt x="214645" y="749603"/>
                    <a:pt x="176313" y="667260"/>
                  </a:cubicBezTo>
                  <a:cubicBezTo>
                    <a:pt x="167795" y="648804"/>
                    <a:pt x="157857" y="628928"/>
                    <a:pt x="149339" y="609052"/>
                  </a:cubicBezTo>
                  <a:cubicBezTo>
                    <a:pt x="142241" y="593435"/>
                    <a:pt x="135142" y="579238"/>
                    <a:pt x="128043" y="563622"/>
                  </a:cubicBezTo>
                  <a:cubicBezTo>
                    <a:pt x="81193" y="464243"/>
                    <a:pt x="34343" y="364863"/>
                    <a:pt x="17307" y="303816"/>
                  </a:cubicBezTo>
                  <a:cubicBezTo>
                    <a:pt x="-22445" y="167525"/>
                    <a:pt x="18726" y="0"/>
                    <a:pt x="18726" y="0"/>
                  </a:cubicBezTo>
                  <a:cubicBezTo>
                    <a:pt x="18726" y="0"/>
                    <a:pt x="18726" y="0"/>
                    <a:pt x="18726" y="0"/>
                  </a:cubicBezTo>
                  <a:cubicBezTo>
                    <a:pt x="64157" y="8518"/>
                    <a:pt x="128043" y="34073"/>
                    <a:pt x="143660" y="53949"/>
                  </a:cubicBezTo>
                  <a:cubicBezTo>
                    <a:pt x="143660" y="53949"/>
                    <a:pt x="143660" y="53949"/>
                    <a:pt x="143660" y="53949"/>
                  </a:cubicBezTo>
                  <a:cubicBezTo>
                    <a:pt x="143660" y="55368"/>
                    <a:pt x="145080" y="55368"/>
                    <a:pt x="145080" y="56788"/>
                  </a:cubicBezTo>
                  <a:cubicBezTo>
                    <a:pt x="150759" y="66726"/>
                    <a:pt x="164956" y="109317"/>
                    <a:pt x="180572" y="140551"/>
                  </a:cubicBezTo>
                  <a:cubicBezTo>
                    <a:pt x="180572" y="140551"/>
                    <a:pt x="159277" y="156167"/>
                    <a:pt x="143660" y="191660"/>
                  </a:cubicBezTo>
                  <a:cubicBezTo>
                    <a:pt x="137981" y="205857"/>
                    <a:pt x="132303" y="222893"/>
                    <a:pt x="132303" y="238510"/>
                  </a:cubicBezTo>
                  <a:cubicBezTo>
                    <a:pt x="132303" y="245608"/>
                    <a:pt x="132303" y="252707"/>
                    <a:pt x="133722" y="259805"/>
                  </a:cubicBezTo>
                  <a:cubicBezTo>
                    <a:pt x="133722" y="262645"/>
                    <a:pt x="135142" y="264065"/>
                    <a:pt x="135142" y="266904"/>
                  </a:cubicBezTo>
                  <a:cubicBezTo>
                    <a:pt x="155018" y="327951"/>
                    <a:pt x="176313" y="396097"/>
                    <a:pt x="176313" y="396097"/>
                  </a:cubicBezTo>
                  <a:cubicBezTo>
                    <a:pt x="176313" y="401776"/>
                    <a:pt x="177733" y="408874"/>
                    <a:pt x="179153" y="414553"/>
                  </a:cubicBezTo>
                  <a:cubicBezTo>
                    <a:pt x="179153" y="414553"/>
                    <a:pt x="179153" y="414553"/>
                    <a:pt x="179153" y="414553"/>
                  </a:cubicBezTo>
                  <a:lnTo>
                    <a:pt x="179153" y="414553"/>
                  </a:lnTo>
                  <a:cubicBezTo>
                    <a:pt x="181992" y="428750"/>
                    <a:pt x="187671" y="442947"/>
                    <a:pt x="193350" y="458564"/>
                  </a:cubicBezTo>
                  <a:cubicBezTo>
                    <a:pt x="194769" y="459983"/>
                    <a:pt x="194769" y="462823"/>
                    <a:pt x="196189" y="464243"/>
                  </a:cubicBezTo>
                  <a:cubicBezTo>
                    <a:pt x="196189" y="464243"/>
                    <a:pt x="196189" y="464243"/>
                    <a:pt x="196189" y="464243"/>
                  </a:cubicBezTo>
                  <a:cubicBezTo>
                    <a:pt x="207547" y="491217"/>
                    <a:pt x="221744" y="519611"/>
                    <a:pt x="234521" y="549425"/>
                  </a:cubicBezTo>
                  <a:cubicBezTo>
                    <a:pt x="257236" y="597695"/>
                    <a:pt x="278532" y="645965"/>
                    <a:pt x="282791" y="685716"/>
                  </a:cubicBezTo>
                  <a:cubicBezTo>
                    <a:pt x="289889" y="777997"/>
                    <a:pt x="245879" y="848982"/>
                    <a:pt x="245879" y="848982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D8BF4A5-1D16-4E17-BE55-68CA03F62CD5}"/>
                </a:ext>
              </a:extLst>
            </p:cNvPr>
            <p:cNvSpPr/>
            <p:nvPr userDrawn="1"/>
          </p:nvSpPr>
          <p:spPr>
            <a:xfrm>
              <a:off x="8121969" y="3505954"/>
              <a:ext cx="61596" cy="174521"/>
            </a:xfrm>
            <a:custGeom>
              <a:avLst/>
              <a:gdLst>
                <a:gd name="connsiteX0" fmla="*/ 93700 w 85182"/>
                <a:gd name="connsiteY0" fmla="*/ 245788 h 241349"/>
                <a:gd name="connsiteX1" fmla="*/ 0 w 85182"/>
                <a:gd name="connsiteY1" fmla="*/ 179 h 241349"/>
                <a:gd name="connsiteX2" fmla="*/ 29814 w 85182"/>
                <a:gd name="connsiteY2" fmla="*/ 18635 h 241349"/>
                <a:gd name="connsiteX3" fmla="*/ 76664 w 85182"/>
                <a:gd name="connsiteY3" fmla="*/ 196098 h 241349"/>
                <a:gd name="connsiteX4" fmla="*/ 76664 w 85182"/>
                <a:gd name="connsiteY4" fmla="*/ 196098 h 241349"/>
                <a:gd name="connsiteX5" fmla="*/ 76664 w 85182"/>
                <a:gd name="connsiteY5" fmla="*/ 196098 h 241349"/>
                <a:gd name="connsiteX6" fmla="*/ 90861 w 85182"/>
                <a:gd name="connsiteY6" fmla="*/ 240109 h 241349"/>
                <a:gd name="connsiteX7" fmla="*/ 93700 w 85182"/>
                <a:gd name="connsiteY7" fmla="*/ 245788 h 241349"/>
                <a:gd name="connsiteX8" fmla="*/ 93700 w 85182"/>
                <a:gd name="connsiteY8" fmla="*/ 24578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241349">
                  <a:moveTo>
                    <a:pt x="93700" y="245788"/>
                  </a:moveTo>
                  <a:cubicBezTo>
                    <a:pt x="53949" y="203196"/>
                    <a:pt x="0" y="179"/>
                    <a:pt x="0" y="179"/>
                  </a:cubicBezTo>
                  <a:cubicBezTo>
                    <a:pt x="11358" y="-1241"/>
                    <a:pt x="21296" y="5858"/>
                    <a:pt x="29814" y="18635"/>
                  </a:cubicBezTo>
                  <a:cubicBezTo>
                    <a:pt x="62467" y="65485"/>
                    <a:pt x="76664" y="190419"/>
                    <a:pt x="76664" y="196098"/>
                  </a:cubicBezTo>
                  <a:cubicBezTo>
                    <a:pt x="76664" y="196098"/>
                    <a:pt x="76664" y="196098"/>
                    <a:pt x="76664" y="196098"/>
                  </a:cubicBezTo>
                  <a:lnTo>
                    <a:pt x="76664" y="196098"/>
                  </a:lnTo>
                  <a:cubicBezTo>
                    <a:pt x="79503" y="210295"/>
                    <a:pt x="85182" y="224492"/>
                    <a:pt x="90861" y="240109"/>
                  </a:cubicBezTo>
                  <a:cubicBezTo>
                    <a:pt x="90861" y="241528"/>
                    <a:pt x="92281" y="242948"/>
                    <a:pt x="93700" y="245788"/>
                  </a:cubicBezTo>
                  <a:cubicBezTo>
                    <a:pt x="93700" y="245788"/>
                    <a:pt x="93700" y="245788"/>
                    <a:pt x="93700" y="245788"/>
                  </a:cubicBez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06FBCD7-95F1-4F79-B3A4-74394546FCE1}"/>
                </a:ext>
              </a:extLst>
            </p:cNvPr>
            <p:cNvSpPr/>
            <p:nvPr userDrawn="1"/>
          </p:nvSpPr>
          <p:spPr>
            <a:xfrm>
              <a:off x="8322154" y="3679930"/>
              <a:ext cx="71861" cy="92393"/>
            </a:xfrm>
            <a:custGeom>
              <a:avLst/>
              <a:gdLst>
                <a:gd name="connsiteX0" fmla="*/ 18456 w 99379"/>
                <a:gd name="connsiteY0" fmla="*/ 46363 h 127773"/>
                <a:gd name="connsiteX1" fmla="*/ 51109 w 99379"/>
                <a:gd name="connsiteY1" fmla="*/ 43524 h 127773"/>
                <a:gd name="connsiteX2" fmla="*/ 75244 w 99379"/>
                <a:gd name="connsiteY2" fmla="*/ 15130 h 127773"/>
                <a:gd name="connsiteX3" fmla="*/ 92281 w 99379"/>
                <a:gd name="connsiteY3" fmla="*/ 2352 h 127773"/>
                <a:gd name="connsiteX4" fmla="*/ 75244 w 99379"/>
                <a:gd name="connsiteY4" fmla="*/ 54881 h 127773"/>
                <a:gd name="connsiteX5" fmla="*/ 106478 w 99379"/>
                <a:gd name="connsiteY5" fmla="*/ 73337 h 127773"/>
                <a:gd name="connsiteX6" fmla="*/ 72405 w 99379"/>
                <a:gd name="connsiteY6" fmla="*/ 127286 h 127773"/>
                <a:gd name="connsiteX7" fmla="*/ 31234 w 99379"/>
                <a:gd name="connsiteY7" fmla="*/ 94633 h 127773"/>
                <a:gd name="connsiteX8" fmla="*/ 0 w 99379"/>
                <a:gd name="connsiteY8" fmla="*/ 81856 h 127773"/>
                <a:gd name="connsiteX9" fmla="*/ 18456 w 99379"/>
                <a:gd name="connsiteY9" fmla="*/ 4636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79" h="127773">
                  <a:moveTo>
                    <a:pt x="18456" y="46363"/>
                  </a:moveTo>
                  <a:cubicBezTo>
                    <a:pt x="18456" y="46363"/>
                    <a:pt x="41171" y="54881"/>
                    <a:pt x="51109" y="43524"/>
                  </a:cubicBezTo>
                  <a:cubicBezTo>
                    <a:pt x="59628" y="35005"/>
                    <a:pt x="73825" y="19389"/>
                    <a:pt x="75244" y="15130"/>
                  </a:cubicBezTo>
                  <a:cubicBezTo>
                    <a:pt x="76664" y="10870"/>
                    <a:pt x="89441" y="-6166"/>
                    <a:pt x="92281" y="2352"/>
                  </a:cubicBezTo>
                  <a:cubicBezTo>
                    <a:pt x="95120" y="10870"/>
                    <a:pt x="80923" y="49202"/>
                    <a:pt x="75244" y="54881"/>
                  </a:cubicBezTo>
                  <a:cubicBezTo>
                    <a:pt x="69566" y="59140"/>
                    <a:pt x="102219" y="67659"/>
                    <a:pt x="106478" y="73337"/>
                  </a:cubicBezTo>
                  <a:cubicBezTo>
                    <a:pt x="110737" y="79016"/>
                    <a:pt x="93700" y="135804"/>
                    <a:pt x="72405" y="127286"/>
                  </a:cubicBezTo>
                  <a:cubicBezTo>
                    <a:pt x="51109" y="118768"/>
                    <a:pt x="34073" y="96053"/>
                    <a:pt x="31234" y="94633"/>
                  </a:cubicBezTo>
                  <a:cubicBezTo>
                    <a:pt x="25555" y="91794"/>
                    <a:pt x="0" y="81856"/>
                    <a:pt x="0" y="81856"/>
                  </a:cubicBezTo>
                  <a:lnTo>
                    <a:pt x="18456" y="46363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2CAC3AA-1893-4C77-86B3-875F4D6D04F9}"/>
                </a:ext>
              </a:extLst>
            </p:cNvPr>
            <p:cNvSpPr/>
            <p:nvPr userDrawn="1"/>
          </p:nvSpPr>
          <p:spPr>
            <a:xfrm>
              <a:off x="8375538" y="3730907"/>
              <a:ext cx="71861" cy="61596"/>
            </a:xfrm>
            <a:custGeom>
              <a:avLst/>
              <a:gdLst>
                <a:gd name="connsiteX0" fmla="*/ 26974 w 99379"/>
                <a:gd name="connsiteY0" fmla="*/ 0 h 85182"/>
                <a:gd name="connsiteX1" fmla="*/ 95120 w 99379"/>
                <a:gd name="connsiteY1" fmla="*/ 35493 h 85182"/>
                <a:gd name="connsiteX2" fmla="*/ 89441 w 99379"/>
                <a:gd name="connsiteY2" fmla="*/ 42591 h 85182"/>
                <a:gd name="connsiteX3" fmla="*/ 25554 w 99379"/>
                <a:gd name="connsiteY3" fmla="*/ 15617 h 85182"/>
                <a:gd name="connsiteX4" fmla="*/ 100799 w 99379"/>
                <a:gd name="connsiteY4" fmla="*/ 68146 h 85182"/>
                <a:gd name="connsiteX5" fmla="*/ 96540 w 99379"/>
                <a:gd name="connsiteY5" fmla="*/ 76664 h 85182"/>
                <a:gd name="connsiteX6" fmla="*/ 19876 w 99379"/>
                <a:gd name="connsiteY6" fmla="*/ 32653 h 85182"/>
                <a:gd name="connsiteX7" fmla="*/ 88021 w 99379"/>
                <a:gd name="connsiteY7" fmla="*/ 82343 h 85182"/>
                <a:gd name="connsiteX8" fmla="*/ 79503 w 99379"/>
                <a:gd name="connsiteY8" fmla="*/ 89441 h 85182"/>
                <a:gd name="connsiteX9" fmla="*/ 9938 w 99379"/>
                <a:gd name="connsiteY9" fmla="*/ 48270 h 85182"/>
                <a:gd name="connsiteX10" fmla="*/ 55368 w 99379"/>
                <a:gd name="connsiteY10" fmla="*/ 89441 h 85182"/>
                <a:gd name="connsiteX11" fmla="*/ 41171 w 99379"/>
                <a:gd name="connsiteY11" fmla="*/ 89441 h 85182"/>
                <a:gd name="connsiteX12" fmla="*/ 0 w 99379"/>
                <a:gd name="connsiteY12" fmla="*/ 59627 h 85182"/>
                <a:gd name="connsiteX13" fmla="*/ 26974 w 99379"/>
                <a:gd name="connsiteY1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379" h="85182">
                  <a:moveTo>
                    <a:pt x="26974" y="0"/>
                  </a:moveTo>
                  <a:cubicBezTo>
                    <a:pt x="26974" y="0"/>
                    <a:pt x="92281" y="29814"/>
                    <a:pt x="95120" y="35493"/>
                  </a:cubicBezTo>
                  <a:cubicBezTo>
                    <a:pt x="97959" y="41171"/>
                    <a:pt x="96540" y="45430"/>
                    <a:pt x="89441" y="42591"/>
                  </a:cubicBezTo>
                  <a:cubicBezTo>
                    <a:pt x="83762" y="39752"/>
                    <a:pt x="25554" y="15617"/>
                    <a:pt x="25554" y="15617"/>
                  </a:cubicBezTo>
                  <a:cubicBezTo>
                    <a:pt x="25554" y="15617"/>
                    <a:pt x="96540" y="63887"/>
                    <a:pt x="100799" y="68146"/>
                  </a:cubicBezTo>
                  <a:cubicBezTo>
                    <a:pt x="102219" y="70985"/>
                    <a:pt x="99379" y="78084"/>
                    <a:pt x="96540" y="76664"/>
                  </a:cubicBezTo>
                  <a:cubicBezTo>
                    <a:pt x="93700" y="75244"/>
                    <a:pt x="19876" y="32653"/>
                    <a:pt x="19876" y="32653"/>
                  </a:cubicBezTo>
                  <a:cubicBezTo>
                    <a:pt x="19876" y="32653"/>
                    <a:pt x="86602" y="78084"/>
                    <a:pt x="88021" y="82343"/>
                  </a:cubicBezTo>
                  <a:cubicBezTo>
                    <a:pt x="89441" y="86602"/>
                    <a:pt x="85182" y="92281"/>
                    <a:pt x="79503" y="89441"/>
                  </a:cubicBezTo>
                  <a:cubicBezTo>
                    <a:pt x="73824" y="86602"/>
                    <a:pt x="9938" y="48270"/>
                    <a:pt x="9938" y="48270"/>
                  </a:cubicBezTo>
                  <a:cubicBezTo>
                    <a:pt x="9938" y="48270"/>
                    <a:pt x="55368" y="83762"/>
                    <a:pt x="55368" y="89441"/>
                  </a:cubicBezTo>
                  <a:cubicBezTo>
                    <a:pt x="55368" y="93700"/>
                    <a:pt x="52529" y="97959"/>
                    <a:pt x="41171" y="89441"/>
                  </a:cubicBezTo>
                  <a:cubicBezTo>
                    <a:pt x="29814" y="79503"/>
                    <a:pt x="0" y="59627"/>
                    <a:pt x="0" y="59627"/>
                  </a:cubicBezTo>
                  <a:lnTo>
                    <a:pt x="26974" y="0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20299BCE-5B21-4FF8-BFE9-7671CFF25D25}"/>
                </a:ext>
              </a:extLst>
            </p:cNvPr>
            <p:cNvSpPr/>
            <p:nvPr userDrawn="1"/>
          </p:nvSpPr>
          <p:spPr>
            <a:xfrm>
              <a:off x="8096303" y="3371213"/>
              <a:ext cx="246382" cy="369574"/>
            </a:xfrm>
            <a:custGeom>
              <a:avLst/>
              <a:gdLst>
                <a:gd name="connsiteX0" fmla="*/ 134872 w 340728"/>
                <a:gd name="connsiteY0" fmla="*/ 179417 h 511092"/>
                <a:gd name="connsiteX1" fmla="*/ 178883 w 340728"/>
                <a:gd name="connsiteY1" fmla="*/ 344102 h 511092"/>
                <a:gd name="connsiteX2" fmla="*/ 207277 w 340728"/>
                <a:gd name="connsiteY2" fmla="*/ 369657 h 511092"/>
                <a:gd name="connsiteX3" fmla="*/ 349247 w 340728"/>
                <a:gd name="connsiteY3" fmla="*/ 473295 h 511092"/>
                <a:gd name="connsiteX4" fmla="*/ 320853 w 340728"/>
                <a:gd name="connsiteY4" fmla="*/ 524404 h 511092"/>
                <a:gd name="connsiteX5" fmla="*/ 217214 w 340728"/>
                <a:gd name="connsiteY5" fmla="*/ 464777 h 511092"/>
                <a:gd name="connsiteX6" fmla="*/ 120675 w 340728"/>
                <a:gd name="connsiteY6" fmla="*/ 396631 h 511092"/>
                <a:gd name="connsiteX7" fmla="*/ 29814 w 340728"/>
                <a:gd name="connsiteY7" fmla="*/ 168059 h 511092"/>
                <a:gd name="connsiteX8" fmla="*/ 14197 w 340728"/>
                <a:gd name="connsiteY8" fmla="*/ 99914 h 511092"/>
                <a:gd name="connsiteX9" fmla="*/ 0 w 340728"/>
                <a:gd name="connsiteY9" fmla="*/ 18991 h 511092"/>
                <a:gd name="connsiteX10" fmla="*/ 0 w 340728"/>
                <a:gd name="connsiteY10" fmla="*/ 14731 h 511092"/>
                <a:gd name="connsiteX11" fmla="*/ 0 w 340728"/>
                <a:gd name="connsiteY11" fmla="*/ 14731 h 511092"/>
                <a:gd name="connsiteX12" fmla="*/ 73825 w 340728"/>
                <a:gd name="connsiteY12" fmla="*/ 16151 h 511092"/>
                <a:gd name="connsiteX13" fmla="*/ 134872 w 340728"/>
                <a:gd name="connsiteY13" fmla="*/ 17941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0728" h="511092">
                  <a:moveTo>
                    <a:pt x="134872" y="179417"/>
                  </a:moveTo>
                  <a:cubicBezTo>
                    <a:pt x="147649" y="241884"/>
                    <a:pt x="173204" y="332745"/>
                    <a:pt x="178883" y="344102"/>
                  </a:cubicBezTo>
                  <a:cubicBezTo>
                    <a:pt x="181722" y="349781"/>
                    <a:pt x="193080" y="358299"/>
                    <a:pt x="207277" y="369657"/>
                  </a:cubicBezTo>
                  <a:cubicBezTo>
                    <a:pt x="228572" y="388113"/>
                    <a:pt x="349247" y="473295"/>
                    <a:pt x="349247" y="473295"/>
                  </a:cubicBezTo>
                  <a:cubicBezTo>
                    <a:pt x="349247" y="494591"/>
                    <a:pt x="320853" y="524404"/>
                    <a:pt x="320853" y="524404"/>
                  </a:cubicBezTo>
                  <a:cubicBezTo>
                    <a:pt x="300977" y="511627"/>
                    <a:pt x="261225" y="488912"/>
                    <a:pt x="217214" y="464777"/>
                  </a:cubicBezTo>
                  <a:cubicBezTo>
                    <a:pt x="167525" y="437803"/>
                    <a:pt x="130613" y="410828"/>
                    <a:pt x="120675" y="396631"/>
                  </a:cubicBezTo>
                  <a:cubicBezTo>
                    <a:pt x="103638" y="369657"/>
                    <a:pt x="41171" y="207811"/>
                    <a:pt x="29814" y="168059"/>
                  </a:cubicBezTo>
                  <a:cubicBezTo>
                    <a:pt x="25555" y="152443"/>
                    <a:pt x="19876" y="125468"/>
                    <a:pt x="14197" y="99914"/>
                  </a:cubicBezTo>
                  <a:cubicBezTo>
                    <a:pt x="8518" y="65841"/>
                    <a:pt x="2840" y="30348"/>
                    <a:pt x="0" y="18991"/>
                  </a:cubicBezTo>
                  <a:cubicBezTo>
                    <a:pt x="0" y="16151"/>
                    <a:pt x="0" y="16151"/>
                    <a:pt x="0" y="14731"/>
                  </a:cubicBezTo>
                  <a:cubicBezTo>
                    <a:pt x="0" y="14731"/>
                    <a:pt x="0" y="14731"/>
                    <a:pt x="0" y="14731"/>
                  </a:cubicBezTo>
                  <a:cubicBezTo>
                    <a:pt x="0" y="14731"/>
                    <a:pt x="25555" y="-19341"/>
                    <a:pt x="73825" y="16151"/>
                  </a:cubicBezTo>
                  <a:cubicBezTo>
                    <a:pt x="73825" y="16151"/>
                    <a:pt x="107897" y="50224"/>
                    <a:pt x="134872" y="179417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AE3DA38-5266-4C2C-BD62-4FB846F6B0DC}"/>
                </a:ext>
              </a:extLst>
            </p:cNvPr>
            <p:cNvSpPr/>
            <p:nvPr userDrawn="1"/>
          </p:nvSpPr>
          <p:spPr>
            <a:xfrm>
              <a:off x="8213336" y="4275002"/>
              <a:ext cx="92393" cy="82127"/>
            </a:xfrm>
            <a:custGeom>
              <a:avLst/>
              <a:gdLst>
                <a:gd name="connsiteX0" fmla="*/ 68146 w 127773"/>
                <a:gd name="connsiteY0" fmla="*/ 124934 h 113576"/>
                <a:gd name="connsiteX1" fmla="*/ 0 w 127773"/>
                <a:gd name="connsiteY1" fmla="*/ 62467 h 113576"/>
                <a:gd name="connsiteX2" fmla="*/ 68146 w 127773"/>
                <a:gd name="connsiteY2" fmla="*/ 0 h 113576"/>
                <a:gd name="connsiteX3" fmla="*/ 136291 w 127773"/>
                <a:gd name="connsiteY3" fmla="*/ 62467 h 113576"/>
                <a:gd name="connsiteX4" fmla="*/ 68146 w 127773"/>
                <a:gd name="connsiteY4" fmla="*/ 124934 h 113576"/>
                <a:gd name="connsiteX5" fmla="*/ 68146 w 127773"/>
                <a:gd name="connsiteY5" fmla="*/ 14197 h 113576"/>
                <a:gd name="connsiteX6" fmla="*/ 15617 w 127773"/>
                <a:gd name="connsiteY6" fmla="*/ 62467 h 113576"/>
                <a:gd name="connsiteX7" fmla="*/ 68146 w 127773"/>
                <a:gd name="connsiteY7" fmla="*/ 110737 h 113576"/>
                <a:gd name="connsiteX8" fmla="*/ 120675 w 127773"/>
                <a:gd name="connsiteY8" fmla="*/ 62467 h 113576"/>
                <a:gd name="connsiteX9" fmla="*/ 68146 w 127773"/>
                <a:gd name="connsiteY9" fmla="*/ 14197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773" h="113576">
                  <a:moveTo>
                    <a:pt x="68146" y="124934"/>
                  </a:moveTo>
                  <a:cubicBezTo>
                    <a:pt x="31233" y="124934"/>
                    <a:pt x="0" y="96540"/>
                    <a:pt x="0" y="62467"/>
                  </a:cubicBezTo>
                  <a:cubicBezTo>
                    <a:pt x="0" y="28394"/>
                    <a:pt x="29814" y="0"/>
                    <a:pt x="68146" y="0"/>
                  </a:cubicBezTo>
                  <a:cubicBezTo>
                    <a:pt x="105058" y="0"/>
                    <a:pt x="136291" y="28394"/>
                    <a:pt x="136291" y="62467"/>
                  </a:cubicBezTo>
                  <a:cubicBezTo>
                    <a:pt x="136291" y="97959"/>
                    <a:pt x="105058" y="124934"/>
                    <a:pt x="68146" y="124934"/>
                  </a:cubicBezTo>
                  <a:close/>
                  <a:moveTo>
                    <a:pt x="68146" y="14197"/>
                  </a:moveTo>
                  <a:cubicBezTo>
                    <a:pt x="39752" y="14197"/>
                    <a:pt x="15617" y="35493"/>
                    <a:pt x="15617" y="62467"/>
                  </a:cubicBezTo>
                  <a:cubicBezTo>
                    <a:pt x="15617" y="89441"/>
                    <a:pt x="39752" y="110737"/>
                    <a:pt x="68146" y="110737"/>
                  </a:cubicBezTo>
                  <a:cubicBezTo>
                    <a:pt x="96540" y="110737"/>
                    <a:pt x="120675" y="89441"/>
                    <a:pt x="120675" y="62467"/>
                  </a:cubicBezTo>
                  <a:cubicBezTo>
                    <a:pt x="120675" y="35493"/>
                    <a:pt x="96540" y="14197"/>
                    <a:pt x="68146" y="14197"/>
                  </a:cubicBezTo>
                  <a:close/>
                </a:path>
              </a:pathLst>
            </a:custGeom>
            <a:solidFill>
              <a:srgbClr val="E8586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AF8FA3E-52A5-4E0E-AE29-3C49289383F8}"/>
                </a:ext>
              </a:extLst>
            </p:cNvPr>
            <p:cNvSpPr/>
            <p:nvPr userDrawn="1"/>
          </p:nvSpPr>
          <p:spPr>
            <a:xfrm>
              <a:off x="8139421" y="4480321"/>
              <a:ext cx="236116" cy="112925"/>
            </a:xfrm>
            <a:custGeom>
              <a:avLst/>
              <a:gdLst>
                <a:gd name="connsiteX0" fmla="*/ 0 w 326531"/>
                <a:gd name="connsiteY0" fmla="*/ 0 h 156167"/>
                <a:gd name="connsiteX1" fmla="*/ 339309 w 326531"/>
                <a:gd name="connsiteY1" fmla="*/ 0 h 156167"/>
                <a:gd name="connsiteX2" fmla="*/ 339309 w 326531"/>
                <a:gd name="connsiteY2" fmla="*/ 168945 h 156167"/>
                <a:gd name="connsiteX3" fmla="*/ 0 w 326531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31" h="156167">
                  <a:moveTo>
                    <a:pt x="0" y="0"/>
                  </a:moveTo>
                  <a:lnTo>
                    <a:pt x="339309" y="0"/>
                  </a:lnTo>
                  <a:lnTo>
                    <a:pt x="33930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AD425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D0BB133-6CAB-498D-A1B4-05C8817039E0}"/>
                </a:ext>
              </a:extLst>
            </p:cNvPr>
            <p:cNvSpPr/>
            <p:nvPr userDrawn="1"/>
          </p:nvSpPr>
          <p:spPr>
            <a:xfrm>
              <a:off x="8150257" y="4299635"/>
              <a:ext cx="225850" cy="318244"/>
            </a:xfrm>
            <a:custGeom>
              <a:avLst/>
              <a:gdLst>
                <a:gd name="connsiteX0" fmla="*/ 631 w 312334"/>
                <a:gd name="connsiteY0" fmla="*/ 451472 h 440107"/>
                <a:gd name="connsiteX1" fmla="*/ 631 w 312334"/>
                <a:gd name="connsiteY1" fmla="*/ 208702 h 440107"/>
                <a:gd name="connsiteX2" fmla="*/ 156798 w 312334"/>
                <a:gd name="connsiteY2" fmla="*/ 6 h 440107"/>
                <a:gd name="connsiteX3" fmla="*/ 312965 w 312334"/>
                <a:gd name="connsiteY3" fmla="*/ 208702 h 440107"/>
                <a:gd name="connsiteX4" fmla="*/ 312965 w 312334"/>
                <a:gd name="connsiteY4" fmla="*/ 451472 h 440107"/>
                <a:gd name="connsiteX5" fmla="*/ 631 w 312334"/>
                <a:gd name="connsiteY5" fmla="*/ 45147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34" h="440107">
                  <a:moveTo>
                    <a:pt x="631" y="451472"/>
                  </a:moveTo>
                  <a:cubicBezTo>
                    <a:pt x="631" y="451472"/>
                    <a:pt x="-789" y="413140"/>
                    <a:pt x="631" y="208702"/>
                  </a:cubicBezTo>
                  <a:cubicBezTo>
                    <a:pt x="2051" y="-4253"/>
                    <a:pt x="156798" y="6"/>
                    <a:pt x="156798" y="6"/>
                  </a:cubicBezTo>
                  <a:cubicBezTo>
                    <a:pt x="156798" y="6"/>
                    <a:pt x="311546" y="-2833"/>
                    <a:pt x="312965" y="208702"/>
                  </a:cubicBezTo>
                  <a:cubicBezTo>
                    <a:pt x="314385" y="413140"/>
                    <a:pt x="312965" y="451472"/>
                    <a:pt x="312965" y="451472"/>
                  </a:cubicBezTo>
                  <a:lnTo>
                    <a:pt x="631" y="451472"/>
                  </a:lnTo>
                  <a:close/>
                </a:path>
              </a:pathLst>
            </a:custGeom>
            <a:solidFill>
              <a:srgbClr val="F55D7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50C0D70-35D5-4A90-857E-6E2D29D474FF}"/>
                </a:ext>
              </a:extLst>
            </p:cNvPr>
            <p:cNvSpPr/>
            <p:nvPr userDrawn="1"/>
          </p:nvSpPr>
          <p:spPr>
            <a:xfrm>
              <a:off x="8176378" y="4480321"/>
              <a:ext cx="174521" cy="112925"/>
            </a:xfrm>
            <a:custGeom>
              <a:avLst/>
              <a:gdLst>
                <a:gd name="connsiteX0" fmla="*/ 0 w 241349"/>
                <a:gd name="connsiteY0" fmla="*/ 0 h 156167"/>
                <a:gd name="connsiteX1" fmla="*/ 241349 w 241349"/>
                <a:gd name="connsiteY1" fmla="*/ 0 h 156167"/>
                <a:gd name="connsiteX2" fmla="*/ 241349 w 241349"/>
                <a:gd name="connsiteY2" fmla="*/ 168945 h 156167"/>
                <a:gd name="connsiteX3" fmla="*/ 0 w 241349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156167">
                  <a:moveTo>
                    <a:pt x="0" y="0"/>
                  </a:moveTo>
                  <a:lnTo>
                    <a:pt x="241349" y="0"/>
                  </a:lnTo>
                  <a:lnTo>
                    <a:pt x="24134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FF61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D7F6C1AD-2973-469E-B278-4A93E5823DCE}"/>
                </a:ext>
              </a:extLst>
            </p:cNvPr>
            <p:cNvSpPr/>
            <p:nvPr userDrawn="1"/>
          </p:nvSpPr>
          <p:spPr>
            <a:xfrm>
              <a:off x="8176378" y="4480321"/>
              <a:ext cx="174521" cy="30798"/>
            </a:xfrm>
            <a:custGeom>
              <a:avLst/>
              <a:gdLst>
                <a:gd name="connsiteX0" fmla="*/ 0 w 241349"/>
                <a:gd name="connsiteY0" fmla="*/ 0 h 42591"/>
                <a:gd name="connsiteX1" fmla="*/ 241349 w 241349"/>
                <a:gd name="connsiteY1" fmla="*/ 0 h 42591"/>
                <a:gd name="connsiteX2" fmla="*/ 241349 w 241349"/>
                <a:gd name="connsiteY2" fmla="*/ 46850 h 42591"/>
                <a:gd name="connsiteX3" fmla="*/ 0 w 241349"/>
                <a:gd name="connsiteY3" fmla="*/ 4685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42591">
                  <a:moveTo>
                    <a:pt x="0" y="0"/>
                  </a:moveTo>
                  <a:lnTo>
                    <a:pt x="241349" y="0"/>
                  </a:lnTo>
                  <a:lnTo>
                    <a:pt x="241349" y="46850"/>
                  </a:lnTo>
                  <a:lnTo>
                    <a:pt x="0" y="46850"/>
                  </a:lnTo>
                  <a:close/>
                </a:path>
              </a:pathLst>
            </a:custGeom>
            <a:solidFill>
              <a:srgbClr val="C24A5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5E245622-8944-4B78-8176-BAC4B149B654}"/>
                </a:ext>
              </a:extLst>
            </p:cNvPr>
            <p:cNvSpPr/>
            <p:nvPr userDrawn="1"/>
          </p:nvSpPr>
          <p:spPr>
            <a:xfrm>
              <a:off x="7748187" y="4531036"/>
              <a:ext cx="153989" cy="92393"/>
            </a:xfrm>
            <a:custGeom>
              <a:avLst/>
              <a:gdLst>
                <a:gd name="connsiteX0" fmla="*/ 169084 w 212955"/>
                <a:gd name="connsiteY0" fmla="*/ 17886 h 127773"/>
                <a:gd name="connsiteX1" fmla="*/ 143530 w 212955"/>
                <a:gd name="connsiteY1" fmla="*/ 849 h 127773"/>
                <a:gd name="connsiteX2" fmla="*/ 123654 w 212955"/>
                <a:gd name="connsiteY2" fmla="*/ 3689 h 127773"/>
                <a:gd name="connsiteX3" fmla="*/ 103778 w 212955"/>
                <a:gd name="connsiteY3" fmla="*/ 29243 h 127773"/>
                <a:gd name="connsiteX4" fmla="*/ 48410 w 212955"/>
                <a:gd name="connsiteY4" fmla="*/ 76093 h 127773"/>
                <a:gd name="connsiteX5" fmla="*/ 140 w 212955"/>
                <a:gd name="connsiteY5" fmla="*/ 100228 h 127773"/>
                <a:gd name="connsiteX6" fmla="*/ 96680 w 212955"/>
                <a:gd name="connsiteY6" fmla="*/ 130042 h 127773"/>
                <a:gd name="connsiteX7" fmla="*/ 183282 w 212955"/>
                <a:gd name="connsiteY7" fmla="*/ 103068 h 127773"/>
                <a:gd name="connsiteX8" fmla="*/ 213095 w 212955"/>
                <a:gd name="connsiteY8" fmla="*/ 59057 h 127773"/>
                <a:gd name="connsiteX9" fmla="*/ 186121 w 212955"/>
                <a:gd name="connsiteY9" fmla="*/ 12207 h 127773"/>
                <a:gd name="connsiteX10" fmla="*/ 169084 w 212955"/>
                <a:gd name="connsiteY10" fmla="*/ 1788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955" h="127773">
                  <a:moveTo>
                    <a:pt x="169084" y="17886"/>
                  </a:moveTo>
                  <a:cubicBezTo>
                    <a:pt x="169084" y="17886"/>
                    <a:pt x="152048" y="2269"/>
                    <a:pt x="143530" y="849"/>
                  </a:cubicBezTo>
                  <a:cubicBezTo>
                    <a:pt x="135012" y="-571"/>
                    <a:pt x="126493" y="-571"/>
                    <a:pt x="123654" y="3689"/>
                  </a:cubicBezTo>
                  <a:cubicBezTo>
                    <a:pt x="119395" y="7948"/>
                    <a:pt x="109457" y="23564"/>
                    <a:pt x="103778" y="29243"/>
                  </a:cubicBezTo>
                  <a:cubicBezTo>
                    <a:pt x="98099" y="34922"/>
                    <a:pt x="56928" y="73254"/>
                    <a:pt x="48410" y="76093"/>
                  </a:cubicBezTo>
                  <a:cubicBezTo>
                    <a:pt x="38472" y="78933"/>
                    <a:pt x="-2699" y="76093"/>
                    <a:pt x="140" y="100228"/>
                  </a:cubicBezTo>
                  <a:cubicBezTo>
                    <a:pt x="2979" y="124363"/>
                    <a:pt x="35633" y="134301"/>
                    <a:pt x="96680" y="130042"/>
                  </a:cubicBezTo>
                  <a:cubicBezTo>
                    <a:pt x="156307" y="124363"/>
                    <a:pt x="149209" y="110166"/>
                    <a:pt x="183282" y="103068"/>
                  </a:cubicBezTo>
                  <a:cubicBezTo>
                    <a:pt x="217354" y="95969"/>
                    <a:pt x="218774" y="78933"/>
                    <a:pt x="213095" y="59057"/>
                  </a:cubicBezTo>
                  <a:cubicBezTo>
                    <a:pt x="207417" y="39181"/>
                    <a:pt x="183282" y="17886"/>
                    <a:pt x="186121" y="12207"/>
                  </a:cubicBezTo>
                  <a:cubicBezTo>
                    <a:pt x="186121" y="6528"/>
                    <a:pt x="169084" y="17886"/>
                    <a:pt x="169084" y="17886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562448EE-F96C-4191-A37E-7D1348B14EE0}"/>
                </a:ext>
              </a:extLst>
            </p:cNvPr>
            <p:cNvSpPr/>
            <p:nvPr userDrawn="1"/>
          </p:nvSpPr>
          <p:spPr>
            <a:xfrm>
              <a:off x="7834522" y="3227876"/>
              <a:ext cx="92393" cy="102659"/>
            </a:xfrm>
            <a:custGeom>
              <a:avLst/>
              <a:gdLst>
                <a:gd name="connsiteX0" fmla="*/ 58208 w 127773"/>
                <a:gd name="connsiteY0" fmla="*/ 149069 h 141970"/>
                <a:gd name="connsiteX1" fmla="*/ 136291 w 127773"/>
                <a:gd name="connsiteY1" fmla="*/ 32653 h 141970"/>
                <a:gd name="connsiteX2" fmla="*/ 66726 w 127773"/>
                <a:gd name="connsiteY2" fmla="*/ 0 h 141970"/>
                <a:gd name="connsiteX3" fmla="*/ 0 w 127773"/>
                <a:gd name="connsiteY3" fmla="*/ 116416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773" h="141970">
                  <a:moveTo>
                    <a:pt x="58208" y="149069"/>
                  </a:moveTo>
                  <a:lnTo>
                    <a:pt x="136291" y="32653"/>
                  </a:lnTo>
                  <a:lnTo>
                    <a:pt x="66726" y="0"/>
                  </a:lnTo>
                  <a:lnTo>
                    <a:pt x="0" y="116416"/>
                  </a:lnTo>
                  <a:close/>
                </a:path>
              </a:pathLst>
            </a:custGeom>
            <a:solidFill>
              <a:srgbClr val="5157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E6B7CD5-3B67-42C8-9207-16041745900C}"/>
                </a:ext>
              </a:extLst>
            </p:cNvPr>
            <p:cNvSpPr/>
            <p:nvPr userDrawn="1"/>
          </p:nvSpPr>
          <p:spPr>
            <a:xfrm>
              <a:off x="7839655" y="3235062"/>
              <a:ext cx="82127" cy="92393"/>
            </a:xfrm>
            <a:custGeom>
              <a:avLst/>
              <a:gdLst>
                <a:gd name="connsiteX0" fmla="*/ 51109 w 113576"/>
                <a:gd name="connsiteY0" fmla="*/ 129193 h 127773"/>
                <a:gd name="connsiteX1" fmla="*/ 119255 w 113576"/>
                <a:gd name="connsiteY1" fmla="*/ 28394 h 127773"/>
                <a:gd name="connsiteX2" fmla="*/ 58208 w 113576"/>
                <a:gd name="connsiteY2" fmla="*/ 0 h 127773"/>
                <a:gd name="connsiteX3" fmla="*/ 0 w 113576"/>
                <a:gd name="connsiteY3" fmla="*/ 100799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51109" y="129193"/>
                  </a:moveTo>
                  <a:lnTo>
                    <a:pt x="119255" y="28394"/>
                  </a:lnTo>
                  <a:lnTo>
                    <a:pt x="58208" y="0"/>
                  </a:lnTo>
                  <a:lnTo>
                    <a:pt x="0" y="100799"/>
                  </a:lnTo>
                  <a:close/>
                </a:path>
              </a:pathLst>
            </a:custGeom>
            <a:solidFill>
              <a:srgbClr val="D5CAE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CB25FC11-1BC8-4215-8562-E9511552A791}"/>
                </a:ext>
              </a:extLst>
            </p:cNvPr>
            <p:cNvSpPr/>
            <p:nvPr userDrawn="1"/>
          </p:nvSpPr>
          <p:spPr>
            <a:xfrm>
              <a:off x="7835136" y="3315137"/>
              <a:ext cx="41064" cy="41064"/>
            </a:xfrm>
            <a:custGeom>
              <a:avLst/>
              <a:gdLst>
                <a:gd name="connsiteX0" fmla="*/ 571 w 56788"/>
                <a:gd name="connsiteY0" fmla="*/ 44011 h 56788"/>
                <a:gd name="connsiteX1" fmla="*/ 6250 w 56788"/>
                <a:gd name="connsiteY1" fmla="*/ 21296 h 56788"/>
                <a:gd name="connsiteX2" fmla="*/ 3411 w 56788"/>
                <a:gd name="connsiteY2" fmla="*/ 0 h 56788"/>
                <a:gd name="connsiteX3" fmla="*/ 68717 w 56788"/>
                <a:gd name="connsiteY3" fmla="*/ 35493 h 56788"/>
                <a:gd name="connsiteX4" fmla="*/ 41742 w 56788"/>
                <a:gd name="connsiteY4" fmla="*/ 68146 h 56788"/>
                <a:gd name="connsiteX5" fmla="*/ 571 w 56788"/>
                <a:gd name="connsiteY5" fmla="*/ 44011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571" y="44011"/>
                  </a:moveTo>
                  <a:cubicBezTo>
                    <a:pt x="571" y="44011"/>
                    <a:pt x="14768" y="36912"/>
                    <a:pt x="6250" y="21296"/>
                  </a:cubicBezTo>
                  <a:cubicBezTo>
                    <a:pt x="-2268" y="5679"/>
                    <a:pt x="3411" y="0"/>
                    <a:pt x="3411" y="0"/>
                  </a:cubicBezTo>
                  <a:lnTo>
                    <a:pt x="68717" y="35493"/>
                  </a:lnTo>
                  <a:cubicBezTo>
                    <a:pt x="68717" y="35493"/>
                    <a:pt x="48841" y="65306"/>
                    <a:pt x="41742" y="68146"/>
                  </a:cubicBezTo>
                  <a:cubicBezTo>
                    <a:pt x="33224" y="69565"/>
                    <a:pt x="-5108" y="55368"/>
                    <a:pt x="571" y="44011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8196BB7-DD9A-4439-95A5-3BC4C952583D}"/>
                </a:ext>
              </a:extLst>
            </p:cNvPr>
            <p:cNvSpPr/>
            <p:nvPr userDrawn="1"/>
          </p:nvSpPr>
          <p:spPr>
            <a:xfrm>
              <a:off x="7865031" y="3292883"/>
              <a:ext cx="51330" cy="41064"/>
            </a:xfrm>
            <a:custGeom>
              <a:avLst/>
              <a:gdLst>
                <a:gd name="connsiteX0" fmla="*/ 27374 w 70985"/>
                <a:gd name="connsiteY0" fmla="*/ 64848 h 56788"/>
                <a:gd name="connsiteX1" fmla="*/ 57187 w 70985"/>
                <a:gd name="connsiteY1" fmla="*/ 33614 h 56788"/>
                <a:gd name="connsiteX2" fmla="*/ 74224 w 70985"/>
                <a:gd name="connsiteY2" fmla="*/ 3801 h 56788"/>
                <a:gd name="connsiteX3" fmla="*/ 50089 w 70985"/>
                <a:gd name="connsiteY3" fmla="*/ 12319 h 56788"/>
                <a:gd name="connsiteX4" fmla="*/ 35892 w 70985"/>
                <a:gd name="connsiteY4" fmla="*/ 29355 h 56788"/>
                <a:gd name="connsiteX5" fmla="*/ 399 w 70985"/>
                <a:gd name="connsiteY5" fmla="*/ 50651 h 56788"/>
                <a:gd name="connsiteX6" fmla="*/ 27374 w 70985"/>
                <a:gd name="connsiteY6" fmla="*/ 6484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56788">
                  <a:moveTo>
                    <a:pt x="27374" y="64848"/>
                  </a:moveTo>
                  <a:cubicBezTo>
                    <a:pt x="27374" y="64848"/>
                    <a:pt x="54348" y="37873"/>
                    <a:pt x="57187" y="33614"/>
                  </a:cubicBezTo>
                  <a:cubicBezTo>
                    <a:pt x="60027" y="29355"/>
                    <a:pt x="69965" y="13738"/>
                    <a:pt x="74224" y="3801"/>
                  </a:cubicBezTo>
                  <a:cubicBezTo>
                    <a:pt x="78483" y="-4718"/>
                    <a:pt x="55768" y="2381"/>
                    <a:pt x="50089" y="12319"/>
                  </a:cubicBezTo>
                  <a:cubicBezTo>
                    <a:pt x="45830" y="22257"/>
                    <a:pt x="40151" y="26516"/>
                    <a:pt x="35892" y="29355"/>
                  </a:cubicBezTo>
                  <a:cubicBezTo>
                    <a:pt x="31633" y="32195"/>
                    <a:pt x="3239" y="40713"/>
                    <a:pt x="399" y="50651"/>
                  </a:cubicBezTo>
                  <a:cubicBezTo>
                    <a:pt x="-3860" y="59169"/>
                    <a:pt x="27374" y="64848"/>
                    <a:pt x="27374" y="64848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99FF35B1-C83C-4530-BFF8-8012A03E9268}"/>
                </a:ext>
              </a:extLst>
            </p:cNvPr>
            <p:cNvSpPr/>
            <p:nvPr userDrawn="1"/>
          </p:nvSpPr>
          <p:spPr>
            <a:xfrm>
              <a:off x="7839214" y="3291935"/>
              <a:ext cx="10266" cy="10266"/>
            </a:xfrm>
            <a:custGeom>
              <a:avLst/>
              <a:gdLst>
                <a:gd name="connsiteX0" fmla="*/ 4870 w 0"/>
                <a:gd name="connsiteY0" fmla="*/ 17890 h 14197"/>
                <a:gd name="connsiteX1" fmla="*/ 11968 w 0"/>
                <a:gd name="connsiteY1" fmla="*/ 15050 h 14197"/>
                <a:gd name="connsiteX2" fmla="*/ 3450 w 0"/>
                <a:gd name="connsiteY2" fmla="*/ 853 h 14197"/>
                <a:gd name="connsiteX3" fmla="*/ 4870 w 0"/>
                <a:gd name="connsiteY3" fmla="*/ 17890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4870" y="17890"/>
                  </a:moveTo>
                  <a:cubicBezTo>
                    <a:pt x="4870" y="17890"/>
                    <a:pt x="10548" y="22149"/>
                    <a:pt x="11968" y="15050"/>
                  </a:cubicBezTo>
                  <a:cubicBezTo>
                    <a:pt x="13388" y="9372"/>
                    <a:pt x="10548" y="-3406"/>
                    <a:pt x="3450" y="853"/>
                  </a:cubicBezTo>
                  <a:cubicBezTo>
                    <a:pt x="-5068" y="6532"/>
                    <a:pt x="4870" y="17890"/>
                    <a:pt x="4870" y="17890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025B89CA-1B26-4949-BE5F-46941C7A0883}"/>
                </a:ext>
              </a:extLst>
            </p:cNvPr>
            <p:cNvSpPr/>
            <p:nvPr userDrawn="1"/>
          </p:nvSpPr>
          <p:spPr>
            <a:xfrm>
              <a:off x="7845925" y="3278977"/>
              <a:ext cx="10266" cy="10266"/>
            </a:xfrm>
            <a:custGeom>
              <a:avLst/>
              <a:gdLst>
                <a:gd name="connsiteX0" fmla="*/ 1267 w 0"/>
                <a:gd name="connsiteY0" fmla="*/ 15933 h 14197"/>
                <a:gd name="connsiteX1" fmla="*/ 8366 w 0"/>
                <a:gd name="connsiteY1" fmla="*/ 20193 h 14197"/>
                <a:gd name="connsiteX2" fmla="*/ 4107 w 0"/>
                <a:gd name="connsiteY2" fmla="*/ 317 h 14197"/>
                <a:gd name="connsiteX3" fmla="*/ 1267 w 0"/>
                <a:gd name="connsiteY3" fmla="*/ 15933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933"/>
                  </a:moveTo>
                  <a:cubicBezTo>
                    <a:pt x="1267" y="15933"/>
                    <a:pt x="5526" y="24452"/>
                    <a:pt x="8366" y="20193"/>
                  </a:cubicBezTo>
                  <a:cubicBezTo>
                    <a:pt x="12625" y="14514"/>
                    <a:pt x="12625" y="-2523"/>
                    <a:pt x="4107" y="317"/>
                  </a:cubicBezTo>
                  <a:cubicBezTo>
                    <a:pt x="-2992" y="3156"/>
                    <a:pt x="1267" y="15933"/>
                    <a:pt x="1267" y="15933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1087F16A-651C-4582-87DB-CFC3F71DBDB4}"/>
                </a:ext>
              </a:extLst>
            </p:cNvPr>
            <p:cNvSpPr/>
            <p:nvPr userDrawn="1"/>
          </p:nvSpPr>
          <p:spPr>
            <a:xfrm>
              <a:off x="7853112" y="3266699"/>
              <a:ext cx="10266" cy="10266"/>
            </a:xfrm>
            <a:custGeom>
              <a:avLst/>
              <a:gdLst>
                <a:gd name="connsiteX0" fmla="*/ 1267 w 0"/>
                <a:gd name="connsiteY0" fmla="*/ 15876 h 14197"/>
                <a:gd name="connsiteX1" fmla="*/ 8366 w 0"/>
                <a:gd name="connsiteY1" fmla="*/ 22975 h 14197"/>
                <a:gd name="connsiteX2" fmla="*/ 4107 w 0"/>
                <a:gd name="connsiteY2" fmla="*/ 260 h 14197"/>
                <a:gd name="connsiteX3" fmla="*/ 1267 w 0"/>
                <a:gd name="connsiteY3" fmla="*/ 1587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876"/>
                  </a:moveTo>
                  <a:cubicBezTo>
                    <a:pt x="1267" y="15876"/>
                    <a:pt x="4107" y="27234"/>
                    <a:pt x="8366" y="22975"/>
                  </a:cubicBezTo>
                  <a:cubicBezTo>
                    <a:pt x="12625" y="18716"/>
                    <a:pt x="12625" y="-2580"/>
                    <a:pt x="4107" y="260"/>
                  </a:cubicBezTo>
                  <a:cubicBezTo>
                    <a:pt x="-2992" y="3099"/>
                    <a:pt x="1267" y="15876"/>
                    <a:pt x="1267" y="15876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6D82B12C-2EF1-4D6B-8960-BDB5EC3C3DFB}"/>
                </a:ext>
              </a:extLst>
            </p:cNvPr>
            <p:cNvSpPr/>
            <p:nvPr userDrawn="1"/>
          </p:nvSpPr>
          <p:spPr>
            <a:xfrm>
              <a:off x="7767691" y="3346436"/>
              <a:ext cx="195052" cy="215584"/>
            </a:xfrm>
            <a:custGeom>
              <a:avLst/>
              <a:gdLst>
                <a:gd name="connsiteX0" fmla="*/ 278405 w 269743"/>
                <a:gd name="connsiteY0" fmla="*/ 19183 h 298137"/>
                <a:gd name="connsiteX1" fmla="*/ 265627 w 269743"/>
                <a:gd name="connsiteY1" fmla="*/ 64614 h 298137"/>
                <a:gd name="connsiteX2" fmla="*/ 230135 w 269743"/>
                <a:gd name="connsiteY2" fmla="*/ 193807 h 298137"/>
                <a:gd name="connsiteX3" fmla="*/ 201741 w 269743"/>
                <a:gd name="connsiteY3" fmla="*/ 216522 h 298137"/>
                <a:gd name="connsiteX4" fmla="*/ 73968 w 269743"/>
                <a:gd name="connsiteY4" fmla="*/ 304544 h 298137"/>
                <a:gd name="connsiteX5" fmla="*/ 143 w 269743"/>
                <a:gd name="connsiteY5" fmla="*/ 270471 h 298137"/>
                <a:gd name="connsiteX6" fmla="*/ 88165 w 269743"/>
                <a:gd name="connsiteY6" fmla="*/ 2147 h 298137"/>
                <a:gd name="connsiteX7" fmla="*/ 146372 w 269743"/>
                <a:gd name="connsiteY7" fmla="*/ 7826 h 298137"/>
                <a:gd name="connsiteX8" fmla="*/ 99522 w 269743"/>
                <a:gd name="connsiteY8" fmla="*/ 190967 h 298137"/>
                <a:gd name="connsiteX9" fmla="*/ 159150 w 269743"/>
                <a:gd name="connsiteY9" fmla="*/ 129920 h 298137"/>
                <a:gd name="connsiteX10" fmla="*/ 230135 w 269743"/>
                <a:gd name="connsiteY10" fmla="*/ 57515 h 298137"/>
                <a:gd name="connsiteX11" fmla="*/ 271306 w 269743"/>
                <a:gd name="connsiteY11" fmla="*/ 22023 h 298137"/>
                <a:gd name="connsiteX12" fmla="*/ 278405 w 269743"/>
                <a:gd name="connsiteY12" fmla="*/ 19183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9743" h="298137">
                  <a:moveTo>
                    <a:pt x="278405" y="19183"/>
                  </a:moveTo>
                  <a:lnTo>
                    <a:pt x="265627" y="64614"/>
                  </a:lnTo>
                  <a:lnTo>
                    <a:pt x="230135" y="193807"/>
                  </a:lnTo>
                  <a:cubicBezTo>
                    <a:pt x="230135" y="193807"/>
                    <a:pt x="218777" y="203745"/>
                    <a:pt x="201741" y="216522"/>
                  </a:cubicBezTo>
                  <a:cubicBezTo>
                    <a:pt x="164828" y="246336"/>
                    <a:pt x="83905" y="300284"/>
                    <a:pt x="73968" y="304544"/>
                  </a:cubicBezTo>
                  <a:cubicBezTo>
                    <a:pt x="62610" y="308803"/>
                    <a:pt x="4402" y="310222"/>
                    <a:pt x="143" y="270471"/>
                  </a:cubicBezTo>
                  <a:cubicBezTo>
                    <a:pt x="-4116" y="230719"/>
                    <a:pt x="88165" y="2147"/>
                    <a:pt x="88165" y="2147"/>
                  </a:cubicBezTo>
                  <a:cubicBezTo>
                    <a:pt x="116559" y="-4952"/>
                    <a:pt x="146372" y="7826"/>
                    <a:pt x="146372" y="7826"/>
                  </a:cubicBezTo>
                  <a:lnTo>
                    <a:pt x="99522" y="190967"/>
                  </a:lnTo>
                  <a:cubicBezTo>
                    <a:pt x="99522" y="190967"/>
                    <a:pt x="132175" y="169672"/>
                    <a:pt x="159150" y="129920"/>
                  </a:cubicBezTo>
                  <a:cubicBezTo>
                    <a:pt x="173347" y="110044"/>
                    <a:pt x="203160" y="80231"/>
                    <a:pt x="230135" y="57515"/>
                  </a:cubicBezTo>
                  <a:cubicBezTo>
                    <a:pt x="248591" y="41899"/>
                    <a:pt x="264208" y="29121"/>
                    <a:pt x="271306" y="22023"/>
                  </a:cubicBezTo>
                  <a:cubicBezTo>
                    <a:pt x="276985" y="20603"/>
                    <a:pt x="278405" y="19183"/>
                    <a:pt x="278405" y="19183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9F2C7FE5-F5D9-4AE6-A569-3AE0A5F58ECA}"/>
                </a:ext>
              </a:extLst>
            </p:cNvPr>
            <p:cNvSpPr/>
            <p:nvPr userDrawn="1"/>
          </p:nvSpPr>
          <p:spPr>
            <a:xfrm>
              <a:off x="7854095" y="3160121"/>
              <a:ext cx="123191" cy="256649"/>
            </a:xfrm>
            <a:custGeom>
              <a:avLst/>
              <a:gdLst>
                <a:gd name="connsiteX0" fmla="*/ 55275 w 170364"/>
                <a:gd name="connsiteY0" fmla="*/ 0 h 354925"/>
                <a:gd name="connsiteX1" fmla="*/ 1327 w 170364"/>
                <a:gd name="connsiteY1" fmla="*/ 100799 h 354925"/>
                <a:gd name="connsiteX2" fmla="*/ 92188 w 170364"/>
                <a:gd name="connsiteY2" fmla="*/ 275422 h 354925"/>
                <a:gd name="connsiteX3" fmla="*/ 72312 w 170364"/>
                <a:gd name="connsiteY3" fmla="*/ 354926 h 354925"/>
                <a:gd name="connsiteX4" fmla="*/ 173111 w 170364"/>
                <a:gd name="connsiteY4" fmla="*/ 265484 h 354925"/>
                <a:gd name="connsiteX5" fmla="*/ 55275 w 170364"/>
                <a:gd name="connsiteY5" fmla="*/ 0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64" h="354925">
                  <a:moveTo>
                    <a:pt x="55275" y="0"/>
                  </a:moveTo>
                  <a:cubicBezTo>
                    <a:pt x="55275" y="0"/>
                    <a:pt x="-10031" y="41171"/>
                    <a:pt x="1327" y="100799"/>
                  </a:cubicBezTo>
                  <a:cubicBezTo>
                    <a:pt x="19783" y="191660"/>
                    <a:pt x="86509" y="217214"/>
                    <a:pt x="92188" y="275422"/>
                  </a:cubicBezTo>
                  <a:cubicBezTo>
                    <a:pt x="97866" y="333630"/>
                    <a:pt x="72312" y="354926"/>
                    <a:pt x="72312" y="354926"/>
                  </a:cubicBezTo>
                  <a:lnTo>
                    <a:pt x="173111" y="265484"/>
                  </a:lnTo>
                  <a:lnTo>
                    <a:pt x="55275" y="0"/>
                  </a:ln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E06A3AD2-901B-4CE7-8B25-EC5E3FF3CDB6}"/>
                </a:ext>
              </a:extLst>
            </p:cNvPr>
            <p:cNvSpPr/>
            <p:nvPr userDrawn="1"/>
          </p:nvSpPr>
          <p:spPr>
            <a:xfrm>
              <a:off x="7956687" y="3275069"/>
              <a:ext cx="82127" cy="184787"/>
            </a:xfrm>
            <a:custGeom>
              <a:avLst/>
              <a:gdLst>
                <a:gd name="connsiteX0" fmla="*/ 119255 w 113576"/>
                <a:gd name="connsiteY0" fmla="*/ 90904 h 255546"/>
                <a:gd name="connsiteX1" fmla="*/ 41171 w 113576"/>
                <a:gd name="connsiteY1" fmla="*/ 261268 h 255546"/>
                <a:gd name="connsiteX2" fmla="*/ 11358 w 113576"/>
                <a:gd name="connsiteY2" fmla="*/ 146272 h 255546"/>
                <a:gd name="connsiteX3" fmla="*/ 14197 w 113576"/>
                <a:gd name="connsiteY3" fmla="*/ 126396 h 255546"/>
                <a:gd name="connsiteX4" fmla="*/ 2839 w 113576"/>
                <a:gd name="connsiteY4" fmla="*/ 83805 h 255546"/>
                <a:gd name="connsiteX5" fmla="*/ 0 w 113576"/>
                <a:gd name="connsiteY5" fmla="*/ 76707 h 255546"/>
                <a:gd name="connsiteX6" fmla="*/ 75244 w 113576"/>
                <a:gd name="connsiteY6" fmla="*/ 18499 h 255546"/>
                <a:gd name="connsiteX7" fmla="*/ 119255 w 113576"/>
                <a:gd name="connsiteY7" fmla="*/ 9090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" h="255546">
                  <a:moveTo>
                    <a:pt x="119255" y="90904"/>
                  </a:moveTo>
                  <a:cubicBezTo>
                    <a:pt x="110737" y="183184"/>
                    <a:pt x="61047" y="251330"/>
                    <a:pt x="41171" y="261268"/>
                  </a:cubicBezTo>
                  <a:cubicBezTo>
                    <a:pt x="21296" y="271206"/>
                    <a:pt x="0" y="164728"/>
                    <a:pt x="11358" y="146272"/>
                  </a:cubicBezTo>
                  <a:cubicBezTo>
                    <a:pt x="14197" y="140593"/>
                    <a:pt x="14197" y="133495"/>
                    <a:pt x="14197" y="126396"/>
                  </a:cubicBezTo>
                  <a:cubicBezTo>
                    <a:pt x="12777" y="110780"/>
                    <a:pt x="5679" y="93743"/>
                    <a:pt x="2839" y="83805"/>
                  </a:cubicBezTo>
                  <a:cubicBezTo>
                    <a:pt x="1420" y="79546"/>
                    <a:pt x="0" y="76707"/>
                    <a:pt x="0" y="76707"/>
                  </a:cubicBezTo>
                  <a:cubicBezTo>
                    <a:pt x="0" y="76707"/>
                    <a:pt x="62467" y="-45388"/>
                    <a:pt x="75244" y="18499"/>
                  </a:cubicBezTo>
                  <a:cubicBezTo>
                    <a:pt x="88021" y="82385"/>
                    <a:pt x="119255" y="90904"/>
                    <a:pt x="119255" y="90904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7E2EE75E-655C-4122-8FCE-24E35A89AE58}"/>
                </a:ext>
              </a:extLst>
            </p:cNvPr>
            <p:cNvSpPr/>
            <p:nvPr userDrawn="1"/>
          </p:nvSpPr>
          <p:spPr>
            <a:xfrm>
              <a:off x="7957714" y="3316164"/>
              <a:ext cx="41064" cy="41064"/>
            </a:xfrm>
            <a:custGeom>
              <a:avLst/>
              <a:gdLst>
                <a:gd name="connsiteX0" fmla="*/ 56788 w 56788"/>
                <a:gd name="connsiteY0" fmla="*/ 0 h 56788"/>
                <a:gd name="connsiteX1" fmla="*/ 11358 w 56788"/>
                <a:gd name="connsiteY1" fmla="*/ 68146 h 56788"/>
                <a:gd name="connsiteX2" fmla="*/ 0 w 56788"/>
                <a:gd name="connsiteY2" fmla="*/ 25555 h 56788"/>
                <a:gd name="connsiteX3" fmla="*/ 56788 w 56788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788" h="56788">
                  <a:moveTo>
                    <a:pt x="56788" y="0"/>
                  </a:moveTo>
                  <a:cubicBezTo>
                    <a:pt x="56788" y="1420"/>
                    <a:pt x="41171" y="49690"/>
                    <a:pt x="11358" y="68146"/>
                  </a:cubicBezTo>
                  <a:cubicBezTo>
                    <a:pt x="9938" y="52529"/>
                    <a:pt x="2840" y="35493"/>
                    <a:pt x="0" y="25555"/>
                  </a:cubicBezTo>
                  <a:lnTo>
                    <a:pt x="56788" y="0"/>
                  </a:lnTo>
                  <a:close/>
                </a:path>
              </a:pathLst>
            </a:custGeom>
            <a:solidFill>
              <a:srgbClr val="C48A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CA6787D6-4C01-4150-9F92-27E512A1C21E}"/>
                </a:ext>
              </a:extLst>
            </p:cNvPr>
            <p:cNvSpPr/>
            <p:nvPr userDrawn="1"/>
          </p:nvSpPr>
          <p:spPr>
            <a:xfrm>
              <a:off x="7872507" y="3163201"/>
              <a:ext cx="133457" cy="184787"/>
            </a:xfrm>
            <a:custGeom>
              <a:avLst/>
              <a:gdLst>
                <a:gd name="connsiteX0" fmla="*/ 0 w 184561"/>
                <a:gd name="connsiteY0" fmla="*/ 26974 h 255546"/>
                <a:gd name="connsiteX1" fmla="*/ 44011 w 184561"/>
                <a:gd name="connsiteY1" fmla="*/ 205857 h 255546"/>
                <a:gd name="connsiteX2" fmla="*/ 168944 w 184561"/>
                <a:gd name="connsiteY2" fmla="*/ 221474 h 255546"/>
                <a:gd name="connsiteX3" fmla="*/ 149069 w 184561"/>
                <a:gd name="connsiteY3" fmla="*/ 0 h 255546"/>
                <a:gd name="connsiteX4" fmla="*/ 0 w 184561"/>
                <a:gd name="connsiteY4" fmla="*/ 2697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61" h="255546">
                  <a:moveTo>
                    <a:pt x="0" y="26974"/>
                  </a:moveTo>
                  <a:cubicBezTo>
                    <a:pt x="0" y="26974"/>
                    <a:pt x="7099" y="150488"/>
                    <a:pt x="44011" y="205857"/>
                  </a:cubicBezTo>
                  <a:cubicBezTo>
                    <a:pt x="103638" y="293878"/>
                    <a:pt x="130613" y="264065"/>
                    <a:pt x="168944" y="221474"/>
                  </a:cubicBezTo>
                  <a:cubicBezTo>
                    <a:pt x="222893" y="159007"/>
                    <a:pt x="149069" y="0"/>
                    <a:pt x="149069" y="0"/>
                  </a:cubicBezTo>
                  <a:lnTo>
                    <a:pt x="0" y="26974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DC21228C-93F3-4D59-922D-4C83C51036F8}"/>
                </a:ext>
              </a:extLst>
            </p:cNvPr>
            <p:cNvSpPr/>
            <p:nvPr userDrawn="1"/>
          </p:nvSpPr>
          <p:spPr>
            <a:xfrm>
              <a:off x="7859087" y="3144104"/>
              <a:ext cx="153989" cy="164255"/>
            </a:xfrm>
            <a:custGeom>
              <a:avLst/>
              <a:gdLst>
                <a:gd name="connsiteX0" fmla="*/ 15718 w 212955"/>
                <a:gd name="connsiteY0" fmla="*/ 152763 h 227152"/>
                <a:gd name="connsiteX1" fmla="*/ 110839 w 212955"/>
                <a:gd name="connsiteY1" fmla="*/ 128628 h 227152"/>
                <a:gd name="connsiteX2" fmla="*/ 203119 w 212955"/>
                <a:gd name="connsiteY2" fmla="*/ 228007 h 227152"/>
                <a:gd name="connsiteX3" fmla="*/ 193181 w 212955"/>
                <a:gd name="connsiteY3" fmla="*/ 53384 h 227152"/>
                <a:gd name="connsiteX4" fmla="*/ 54051 w 212955"/>
                <a:gd name="connsiteY4" fmla="*/ 13632 h 227152"/>
                <a:gd name="connsiteX5" fmla="*/ 15718 w 212955"/>
                <a:gd name="connsiteY5" fmla="*/ 152763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227152">
                  <a:moveTo>
                    <a:pt x="15718" y="152763"/>
                  </a:moveTo>
                  <a:cubicBezTo>
                    <a:pt x="15718" y="152763"/>
                    <a:pt x="55470" y="162701"/>
                    <a:pt x="110839" y="128628"/>
                  </a:cubicBezTo>
                  <a:cubicBezTo>
                    <a:pt x="166207" y="94555"/>
                    <a:pt x="188922" y="223748"/>
                    <a:pt x="203119" y="228007"/>
                  </a:cubicBezTo>
                  <a:cubicBezTo>
                    <a:pt x="215896" y="230846"/>
                    <a:pt x="224415" y="87456"/>
                    <a:pt x="193181" y="53384"/>
                  </a:cubicBezTo>
                  <a:cubicBezTo>
                    <a:pt x="163368" y="19311"/>
                    <a:pt x="107999" y="-21861"/>
                    <a:pt x="54051" y="13632"/>
                  </a:cubicBezTo>
                  <a:cubicBezTo>
                    <a:pt x="-4157" y="49124"/>
                    <a:pt x="-12676" y="100234"/>
                    <a:pt x="15718" y="152763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4D4BA449-4817-4C2E-809F-BBF3026AA5CC}"/>
                </a:ext>
              </a:extLst>
            </p:cNvPr>
            <p:cNvSpPr/>
            <p:nvPr userDrawn="1"/>
          </p:nvSpPr>
          <p:spPr>
            <a:xfrm>
              <a:off x="7881390" y="3140530"/>
              <a:ext cx="215584" cy="215584"/>
            </a:xfrm>
            <a:custGeom>
              <a:avLst/>
              <a:gdLst>
                <a:gd name="connsiteX0" fmla="*/ 492 w 298137"/>
                <a:gd name="connsiteY0" fmla="*/ 37031 h 298137"/>
                <a:gd name="connsiteX1" fmla="*/ 81415 w 298137"/>
                <a:gd name="connsiteY1" fmla="*/ 118 h 298137"/>
                <a:gd name="connsiteX2" fmla="*/ 209188 w 298137"/>
                <a:gd name="connsiteY2" fmla="*/ 140669 h 298137"/>
                <a:gd name="connsiteX3" fmla="*/ 301468 w 298137"/>
                <a:gd name="connsiteY3" fmla="*/ 296836 h 298137"/>
                <a:gd name="connsiteX4" fmla="*/ 179374 w 298137"/>
                <a:gd name="connsiteY4" fmla="*/ 248566 h 298137"/>
                <a:gd name="connsiteX5" fmla="*/ 135363 w 298137"/>
                <a:gd name="connsiteY5" fmla="*/ 163384 h 298137"/>
                <a:gd name="connsiteX6" fmla="*/ 33145 w 298137"/>
                <a:gd name="connsiteY6" fmla="*/ 61166 h 298137"/>
                <a:gd name="connsiteX7" fmla="*/ 492 w 298137"/>
                <a:gd name="connsiteY7" fmla="*/ 37031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137" h="298137">
                  <a:moveTo>
                    <a:pt x="492" y="37031"/>
                  </a:moveTo>
                  <a:cubicBezTo>
                    <a:pt x="492" y="37031"/>
                    <a:pt x="20367" y="2958"/>
                    <a:pt x="81415" y="118"/>
                  </a:cubicBezTo>
                  <a:cubicBezTo>
                    <a:pt x="128265" y="-2721"/>
                    <a:pt x="200670" y="45549"/>
                    <a:pt x="209188" y="140669"/>
                  </a:cubicBezTo>
                  <a:cubicBezTo>
                    <a:pt x="219126" y="262763"/>
                    <a:pt x="275914" y="285479"/>
                    <a:pt x="301468" y="296836"/>
                  </a:cubicBezTo>
                  <a:cubicBezTo>
                    <a:pt x="327023" y="308194"/>
                    <a:pt x="213447" y="301095"/>
                    <a:pt x="179374" y="248566"/>
                  </a:cubicBezTo>
                  <a:cubicBezTo>
                    <a:pt x="163757" y="224431"/>
                    <a:pt x="142462" y="188939"/>
                    <a:pt x="135363" y="163384"/>
                  </a:cubicBezTo>
                  <a:cubicBezTo>
                    <a:pt x="128265" y="137830"/>
                    <a:pt x="72896" y="42709"/>
                    <a:pt x="33145" y="61166"/>
                  </a:cubicBezTo>
                  <a:cubicBezTo>
                    <a:pt x="-6607" y="79622"/>
                    <a:pt x="492" y="37031"/>
                    <a:pt x="492" y="37031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CF7D7AC4-0A98-4FC4-B2F4-402CAF0A2675}"/>
                </a:ext>
              </a:extLst>
            </p:cNvPr>
            <p:cNvSpPr/>
            <p:nvPr userDrawn="1"/>
          </p:nvSpPr>
          <p:spPr>
            <a:xfrm>
              <a:off x="7971467" y="3244141"/>
              <a:ext cx="20532" cy="30798"/>
            </a:xfrm>
            <a:custGeom>
              <a:avLst/>
              <a:gdLst>
                <a:gd name="connsiteX0" fmla="*/ 856 w 28394"/>
                <a:gd name="connsiteY0" fmla="*/ 24358 h 42591"/>
                <a:gd name="connsiteX1" fmla="*/ 27830 w 28394"/>
                <a:gd name="connsiteY1" fmla="*/ 4482 h 42591"/>
                <a:gd name="connsiteX2" fmla="*/ 19312 w 28394"/>
                <a:gd name="connsiteY2" fmla="*/ 54172 h 42591"/>
                <a:gd name="connsiteX3" fmla="*/ 856 w 28394"/>
                <a:gd name="connsiteY3" fmla="*/ 24358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856" y="24358"/>
                  </a:moveTo>
                  <a:cubicBezTo>
                    <a:pt x="-4823" y="8741"/>
                    <a:pt x="19312" y="-8295"/>
                    <a:pt x="27830" y="4482"/>
                  </a:cubicBezTo>
                  <a:cubicBezTo>
                    <a:pt x="36348" y="15840"/>
                    <a:pt x="33509" y="58431"/>
                    <a:pt x="19312" y="54172"/>
                  </a:cubicBezTo>
                  <a:cubicBezTo>
                    <a:pt x="5115" y="48493"/>
                    <a:pt x="856" y="24358"/>
                    <a:pt x="856" y="24358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F4828A41-3BC6-4453-AACE-1F9FE29A5910}"/>
                </a:ext>
              </a:extLst>
            </p:cNvPr>
            <p:cNvSpPr/>
            <p:nvPr userDrawn="1"/>
          </p:nvSpPr>
          <p:spPr>
            <a:xfrm>
              <a:off x="7914789" y="3363387"/>
              <a:ext cx="51330" cy="503031"/>
            </a:xfrm>
            <a:custGeom>
              <a:avLst/>
              <a:gdLst>
                <a:gd name="connsiteX0" fmla="*/ 70719 w 70985"/>
                <a:gd name="connsiteY0" fmla="*/ 0 h 695654"/>
                <a:gd name="connsiteX1" fmla="*/ 69299 w 70985"/>
                <a:gd name="connsiteY1" fmla="*/ 39752 h 695654"/>
                <a:gd name="connsiteX2" fmla="*/ 45164 w 70985"/>
                <a:gd name="connsiteY2" fmla="*/ 184561 h 695654"/>
                <a:gd name="connsiteX3" fmla="*/ 35226 w 70985"/>
                <a:gd name="connsiteY3" fmla="*/ 657322 h 695654"/>
                <a:gd name="connsiteX4" fmla="*/ 9672 w 70985"/>
                <a:gd name="connsiteY4" fmla="*/ 701333 h 695654"/>
                <a:gd name="connsiteX5" fmla="*/ 16770 w 70985"/>
                <a:gd name="connsiteY5" fmla="*/ 296718 h 695654"/>
                <a:gd name="connsiteX6" fmla="*/ 1154 w 70985"/>
                <a:gd name="connsiteY6" fmla="*/ 195919 h 695654"/>
                <a:gd name="connsiteX7" fmla="*/ 22449 w 70985"/>
                <a:gd name="connsiteY7" fmla="*/ 46850 h 695654"/>
                <a:gd name="connsiteX8" fmla="*/ 70719 w 70985"/>
                <a:gd name="connsiteY8" fmla="*/ 0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85" h="695654">
                  <a:moveTo>
                    <a:pt x="70719" y="0"/>
                  </a:moveTo>
                  <a:cubicBezTo>
                    <a:pt x="70719" y="0"/>
                    <a:pt x="73558" y="14197"/>
                    <a:pt x="69299" y="39752"/>
                  </a:cubicBezTo>
                  <a:cubicBezTo>
                    <a:pt x="62201" y="79503"/>
                    <a:pt x="46584" y="140551"/>
                    <a:pt x="45164" y="184561"/>
                  </a:cubicBezTo>
                  <a:cubicBezTo>
                    <a:pt x="42325" y="256966"/>
                    <a:pt x="84916" y="380480"/>
                    <a:pt x="35226" y="657322"/>
                  </a:cubicBezTo>
                  <a:cubicBezTo>
                    <a:pt x="26708" y="671519"/>
                    <a:pt x="18190" y="685716"/>
                    <a:pt x="9672" y="701333"/>
                  </a:cubicBezTo>
                  <a:cubicBezTo>
                    <a:pt x="9672" y="698493"/>
                    <a:pt x="46584" y="376221"/>
                    <a:pt x="16770" y="296718"/>
                  </a:cubicBezTo>
                  <a:cubicBezTo>
                    <a:pt x="-266" y="252707"/>
                    <a:pt x="-1686" y="254127"/>
                    <a:pt x="1154" y="195919"/>
                  </a:cubicBezTo>
                  <a:cubicBezTo>
                    <a:pt x="2573" y="150488"/>
                    <a:pt x="3993" y="107897"/>
                    <a:pt x="22449" y="46850"/>
                  </a:cubicBezTo>
                  <a:cubicBezTo>
                    <a:pt x="39485" y="28394"/>
                    <a:pt x="63620" y="5679"/>
                    <a:pt x="70719" y="0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45B2F10-F311-47B8-B892-15128EBCD59F}"/>
                </a:ext>
              </a:extLst>
            </p:cNvPr>
            <p:cNvSpPr/>
            <p:nvPr userDrawn="1"/>
          </p:nvSpPr>
          <p:spPr>
            <a:xfrm>
              <a:off x="7827337" y="3471179"/>
              <a:ext cx="30798" cy="51330"/>
            </a:xfrm>
            <a:custGeom>
              <a:avLst/>
              <a:gdLst>
                <a:gd name="connsiteX0" fmla="*/ 19876 w 42591"/>
                <a:gd name="connsiteY0" fmla="*/ 18456 h 70985"/>
                <a:gd name="connsiteX1" fmla="*/ 0 w 42591"/>
                <a:gd name="connsiteY1" fmla="*/ 79503 h 70985"/>
                <a:gd name="connsiteX2" fmla="*/ 42591 w 42591"/>
                <a:gd name="connsiteY2" fmla="*/ 0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91" h="70985">
                  <a:moveTo>
                    <a:pt x="19876" y="18456"/>
                  </a:moveTo>
                  <a:lnTo>
                    <a:pt x="0" y="79503"/>
                  </a:lnTo>
                  <a:lnTo>
                    <a:pt x="42591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8982B852-C18A-41CE-979C-BDC6B4EFBB68}"/>
                </a:ext>
              </a:extLst>
            </p:cNvPr>
            <p:cNvSpPr/>
            <p:nvPr userDrawn="1"/>
          </p:nvSpPr>
          <p:spPr>
            <a:xfrm>
              <a:off x="8052160" y="3019478"/>
              <a:ext cx="195052" cy="174521"/>
            </a:xfrm>
            <a:custGeom>
              <a:avLst/>
              <a:gdLst>
                <a:gd name="connsiteX0" fmla="*/ 278261 w 269743"/>
                <a:gd name="connsiteY0" fmla="*/ 0 h 241349"/>
                <a:gd name="connsiteX1" fmla="*/ 0 w 269743"/>
                <a:gd name="connsiteY1" fmla="*/ 0 h 241349"/>
                <a:gd name="connsiteX2" fmla="*/ 0 w 269743"/>
                <a:gd name="connsiteY2" fmla="*/ 201598 h 241349"/>
                <a:gd name="connsiteX3" fmla="*/ 0 w 269743"/>
                <a:gd name="connsiteY3" fmla="*/ 244189 h 241349"/>
                <a:gd name="connsiteX4" fmla="*/ 42591 w 269743"/>
                <a:gd name="connsiteY4" fmla="*/ 201598 h 241349"/>
                <a:gd name="connsiteX5" fmla="*/ 278261 w 269743"/>
                <a:gd name="connsiteY5" fmla="*/ 20159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43" h="241349">
                  <a:moveTo>
                    <a:pt x="278261" y="0"/>
                  </a:moveTo>
                  <a:lnTo>
                    <a:pt x="0" y="0"/>
                  </a:lnTo>
                  <a:lnTo>
                    <a:pt x="0" y="201598"/>
                  </a:lnTo>
                  <a:lnTo>
                    <a:pt x="0" y="244189"/>
                  </a:lnTo>
                  <a:lnTo>
                    <a:pt x="42591" y="201598"/>
                  </a:lnTo>
                  <a:lnTo>
                    <a:pt x="278261" y="201598"/>
                  </a:lnTo>
                  <a:close/>
                </a:path>
              </a:pathLst>
            </a:custGeom>
            <a:solidFill>
              <a:srgbClr val="FFFFF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7AA84027-6442-41C0-817A-36B307D6DAFC}"/>
                </a:ext>
              </a:extLst>
            </p:cNvPr>
            <p:cNvSpPr/>
            <p:nvPr userDrawn="1"/>
          </p:nvSpPr>
          <p:spPr>
            <a:xfrm>
              <a:off x="9684033" y="4339936"/>
              <a:ext cx="143723" cy="71861"/>
            </a:xfrm>
            <a:custGeom>
              <a:avLst/>
              <a:gdLst>
                <a:gd name="connsiteX0" fmla="*/ 84330 w 198758"/>
                <a:gd name="connsiteY0" fmla="*/ 6740 h 99379"/>
                <a:gd name="connsiteX1" fmla="*/ 152476 w 198758"/>
                <a:gd name="connsiteY1" fmla="*/ 49331 h 99379"/>
                <a:gd name="connsiteX2" fmla="*/ 210684 w 198758"/>
                <a:gd name="connsiteY2" fmla="*/ 86243 h 99379"/>
                <a:gd name="connsiteX3" fmla="*/ 72973 w 198758"/>
                <a:gd name="connsiteY3" fmla="*/ 99021 h 99379"/>
                <a:gd name="connsiteX4" fmla="*/ 1988 w 198758"/>
                <a:gd name="connsiteY4" fmla="*/ 62108 h 99379"/>
                <a:gd name="connsiteX5" fmla="*/ 9086 w 198758"/>
                <a:gd name="connsiteY5" fmla="*/ 1061 h 99379"/>
                <a:gd name="connsiteX6" fmla="*/ 84330 w 198758"/>
                <a:gd name="connsiteY6" fmla="*/ 6740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58" h="99379">
                  <a:moveTo>
                    <a:pt x="84330" y="6740"/>
                  </a:moveTo>
                  <a:cubicBezTo>
                    <a:pt x="84330" y="6740"/>
                    <a:pt x="118403" y="42233"/>
                    <a:pt x="152476" y="49331"/>
                  </a:cubicBezTo>
                  <a:cubicBezTo>
                    <a:pt x="186549" y="56430"/>
                    <a:pt x="210684" y="66367"/>
                    <a:pt x="210684" y="86243"/>
                  </a:cubicBezTo>
                  <a:cubicBezTo>
                    <a:pt x="210684" y="106119"/>
                    <a:pt x="111304" y="120316"/>
                    <a:pt x="72973" y="99021"/>
                  </a:cubicBezTo>
                  <a:cubicBezTo>
                    <a:pt x="14765" y="67787"/>
                    <a:pt x="9086" y="77725"/>
                    <a:pt x="1988" y="62108"/>
                  </a:cubicBezTo>
                  <a:cubicBezTo>
                    <a:pt x="-5111" y="46492"/>
                    <a:pt x="9086" y="5320"/>
                    <a:pt x="9086" y="1061"/>
                  </a:cubicBezTo>
                  <a:cubicBezTo>
                    <a:pt x="9086" y="-3198"/>
                    <a:pt x="84330" y="6740"/>
                    <a:pt x="84330" y="674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69C275B-3D01-4724-B4FF-9AE143383078}"/>
                </a:ext>
              </a:extLst>
            </p:cNvPr>
            <p:cNvSpPr/>
            <p:nvPr userDrawn="1"/>
          </p:nvSpPr>
          <p:spPr>
            <a:xfrm>
              <a:off x="9691616" y="4325305"/>
              <a:ext cx="51330" cy="20532"/>
            </a:xfrm>
            <a:custGeom>
              <a:avLst/>
              <a:gdLst>
                <a:gd name="connsiteX0" fmla="*/ 71005 w 70985"/>
                <a:gd name="connsiteY0" fmla="*/ 9938 h 28394"/>
                <a:gd name="connsiteX1" fmla="*/ 75264 w 70985"/>
                <a:gd name="connsiteY1" fmla="*/ 26974 h 28394"/>
                <a:gd name="connsiteX2" fmla="*/ 19 w 70985"/>
                <a:gd name="connsiteY2" fmla="*/ 22715 h 28394"/>
                <a:gd name="connsiteX3" fmla="*/ 4279 w 70985"/>
                <a:gd name="connsiteY3" fmla="*/ 0 h 28394"/>
                <a:gd name="connsiteX4" fmla="*/ 71005 w 70985"/>
                <a:gd name="connsiteY4" fmla="*/ 993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1005" y="9938"/>
                  </a:moveTo>
                  <a:cubicBezTo>
                    <a:pt x="71005" y="9938"/>
                    <a:pt x="75264" y="26974"/>
                    <a:pt x="75264" y="26974"/>
                  </a:cubicBezTo>
                  <a:cubicBezTo>
                    <a:pt x="75264" y="26974"/>
                    <a:pt x="-1400" y="35493"/>
                    <a:pt x="19" y="22715"/>
                  </a:cubicBezTo>
                  <a:cubicBezTo>
                    <a:pt x="1439" y="11358"/>
                    <a:pt x="4279" y="0"/>
                    <a:pt x="4279" y="0"/>
                  </a:cubicBezTo>
                  <a:lnTo>
                    <a:pt x="71005" y="9938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45949817-503B-457F-A81A-0D7C59DCBECA}"/>
                </a:ext>
              </a:extLst>
            </p:cNvPr>
            <p:cNvSpPr/>
            <p:nvPr userDrawn="1"/>
          </p:nvSpPr>
          <p:spPr>
            <a:xfrm>
              <a:off x="9411722" y="4349415"/>
              <a:ext cx="133457" cy="82127"/>
            </a:xfrm>
            <a:custGeom>
              <a:avLst/>
              <a:gdLst>
                <a:gd name="connsiteX0" fmla="*/ 79017 w 184561"/>
                <a:gd name="connsiteY0" fmla="*/ 2150 h 113576"/>
                <a:gd name="connsiteX1" fmla="*/ 137225 w 184561"/>
                <a:gd name="connsiteY1" fmla="*/ 44742 h 113576"/>
                <a:gd name="connsiteX2" fmla="*/ 192594 w 184561"/>
                <a:gd name="connsiteY2" fmla="*/ 87333 h 113576"/>
                <a:gd name="connsiteX3" fmla="*/ 59142 w 184561"/>
                <a:gd name="connsiteY3" fmla="*/ 98690 h 113576"/>
                <a:gd name="connsiteX4" fmla="*/ 2354 w 184561"/>
                <a:gd name="connsiteY4" fmla="*/ 63198 h 113576"/>
                <a:gd name="connsiteX5" fmla="*/ 5193 w 184561"/>
                <a:gd name="connsiteY5" fmla="*/ 3570 h 113576"/>
                <a:gd name="connsiteX6" fmla="*/ 79017 w 184561"/>
                <a:gd name="connsiteY6" fmla="*/ 215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13576">
                  <a:moveTo>
                    <a:pt x="79017" y="2150"/>
                  </a:moveTo>
                  <a:cubicBezTo>
                    <a:pt x="79017" y="2150"/>
                    <a:pt x="104572" y="36223"/>
                    <a:pt x="137225" y="44742"/>
                  </a:cubicBezTo>
                  <a:cubicBezTo>
                    <a:pt x="169878" y="53260"/>
                    <a:pt x="191174" y="67457"/>
                    <a:pt x="192594" y="87333"/>
                  </a:cubicBezTo>
                  <a:cubicBezTo>
                    <a:pt x="194013" y="107209"/>
                    <a:pt x="115930" y="132763"/>
                    <a:pt x="59142" y="98690"/>
                  </a:cubicBezTo>
                  <a:cubicBezTo>
                    <a:pt x="22229" y="75975"/>
                    <a:pt x="9452" y="77395"/>
                    <a:pt x="2354" y="63198"/>
                  </a:cubicBezTo>
                  <a:cubicBezTo>
                    <a:pt x="-4745" y="49001"/>
                    <a:pt x="6613" y="7829"/>
                    <a:pt x="5193" y="3570"/>
                  </a:cubicBezTo>
                  <a:cubicBezTo>
                    <a:pt x="5193" y="-3528"/>
                    <a:pt x="79017" y="2150"/>
                    <a:pt x="79017" y="215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6B01E2F-F572-4A10-AA3E-1C76C9CCDB47}"/>
                </a:ext>
              </a:extLst>
            </p:cNvPr>
            <p:cNvSpPr/>
            <p:nvPr userDrawn="1"/>
          </p:nvSpPr>
          <p:spPr>
            <a:xfrm>
              <a:off x="9416503" y="4333518"/>
              <a:ext cx="51330" cy="20532"/>
            </a:xfrm>
            <a:custGeom>
              <a:avLst/>
              <a:gdLst>
                <a:gd name="connsiteX0" fmla="*/ 72405 w 70985"/>
                <a:gd name="connsiteY0" fmla="*/ 7099 h 28394"/>
                <a:gd name="connsiteX1" fmla="*/ 73825 w 70985"/>
                <a:gd name="connsiteY1" fmla="*/ 24135 h 28394"/>
                <a:gd name="connsiteX2" fmla="*/ 0 w 70985"/>
                <a:gd name="connsiteY2" fmla="*/ 24135 h 28394"/>
                <a:gd name="connsiteX3" fmla="*/ 4259 w 70985"/>
                <a:gd name="connsiteY3" fmla="*/ 0 h 28394"/>
                <a:gd name="connsiteX4" fmla="*/ 72405 w 70985"/>
                <a:gd name="connsiteY4" fmla="*/ 7099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2405" y="7099"/>
                  </a:moveTo>
                  <a:cubicBezTo>
                    <a:pt x="72405" y="7099"/>
                    <a:pt x="73825" y="24135"/>
                    <a:pt x="73825" y="24135"/>
                  </a:cubicBezTo>
                  <a:cubicBezTo>
                    <a:pt x="73825" y="24135"/>
                    <a:pt x="0" y="36912"/>
                    <a:pt x="0" y="24135"/>
                  </a:cubicBezTo>
                  <a:cubicBezTo>
                    <a:pt x="0" y="14197"/>
                    <a:pt x="4259" y="0"/>
                    <a:pt x="4259" y="0"/>
                  </a:cubicBezTo>
                  <a:lnTo>
                    <a:pt x="72405" y="7099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70A4762F-B06E-4A1D-ACAD-D8B700E28375}"/>
                </a:ext>
              </a:extLst>
            </p:cNvPr>
            <p:cNvSpPr/>
            <p:nvPr userDrawn="1"/>
          </p:nvSpPr>
          <p:spPr>
            <a:xfrm>
              <a:off x="9399051" y="3556931"/>
              <a:ext cx="349042" cy="790477"/>
            </a:xfrm>
            <a:custGeom>
              <a:avLst/>
              <a:gdLst>
                <a:gd name="connsiteX0" fmla="*/ 397517 w 482698"/>
                <a:gd name="connsiteY0" fmla="*/ 73072 h 1093170"/>
                <a:gd name="connsiteX1" fmla="*/ 447206 w 482698"/>
                <a:gd name="connsiteY1" fmla="*/ 418060 h 1093170"/>
                <a:gd name="connsiteX2" fmla="*/ 474181 w 482698"/>
                <a:gd name="connsiteY2" fmla="*/ 656569 h 1093170"/>
                <a:gd name="connsiteX3" fmla="*/ 492637 w 482698"/>
                <a:gd name="connsiteY3" fmla="*/ 1082480 h 1093170"/>
                <a:gd name="connsiteX4" fmla="*/ 388999 w 482698"/>
                <a:gd name="connsiteY4" fmla="*/ 1092418 h 1093170"/>
                <a:gd name="connsiteX5" fmla="*/ 336470 w 482698"/>
                <a:gd name="connsiteY5" fmla="*/ 587004 h 1093170"/>
                <a:gd name="connsiteX6" fmla="*/ 235671 w 482698"/>
                <a:gd name="connsiteY6" fmla="*/ 247695 h 1093170"/>
                <a:gd name="connsiteX7" fmla="*/ 163266 w 482698"/>
                <a:gd name="connsiteY7" fmla="*/ 639533 h 1093170"/>
                <a:gd name="connsiteX8" fmla="*/ 122094 w 482698"/>
                <a:gd name="connsiteY8" fmla="*/ 1099517 h 1093170"/>
                <a:gd name="connsiteX9" fmla="*/ 0 w 482698"/>
                <a:gd name="connsiteY9" fmla="*/ 1099517 h 1093170"/>
                <a:gd name="connsiteX10" fmla="*/ 22715 w 482698"/>
                <a:gd name="connsiteY10" fmla="*/ 638113 h 1093170"/>
                <a:gd name="connsiteX11" fmla="*/ 62467 w 482698"/>
                <a:gd name="connsiteY11" fmla="*/ 30481 h 1093170"/>
                <a:gd name="connsiteX12" fmla="*/ 397517 w 482698"/>
                <a:gd name="connsiteY12" fmla="*/ 73072 h 109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2698" h="1093170">
                  <a:moveTo>
                    <a:pt x="397517" y="73072"/>
                  </a:moveTo>
                  <a:cubicBezTo>
                    <a:pt x="397517" y="73072"/>
                    <a:pt x="433009" y="331458"/>
                    <a:pt x="447206" y="418060"/>
                  </a:cubicBezTo>
                  <a:cubicBezTo>
                    <a:pt x="464243" y="520278"/>
                    <a:pt x="469921" y="604041"/>
                    <a:pt x="474181" y="656569"/>
                  </a:cubicBezTo>
                  <a:cubicBezTo>
                    <a:pt x="479860" y="723296"/>
                    <a:pt x="488378" y="1062604"/>
                    <a:pt x="492637" y="1082480"/>
                  </a:cubicBezTo>
                  <a:cubicBezTo>
                    <a:pt x="496896" y="1102356"/>
                    <a:pt x="388999" y="1092418"/>
                    <a:pt x="388999" y="1092418"/>
                  </a:cubicBezTo>
                  <a:cubicBezTo>
                    <a:pt x="388999" y="1092418"/>
                    <a:pt x="353506" y="657989"/>
                    <a:pt x="336470" y="587004"/>
                  </a:cubicBezTo>
                  <a:cubicBezTo>
                    <a:pt x="319433" y="521698"/>
                    <a:pt x="258386" y="240597"/>
                    <a:pt x="235671" y="247695"/>
                  </a:cubicBezTo>
                  <a:cubicBezTo>
                    <a:pt x="188821" y="261892"/>
                    <a:pt x="174624" y="588424"/>
                    <a:pt x="163266" y="639533"/>
                  </a:cubicBezTo>
                  <a:cubicBezTo>
                    <a:pt x="151908" y="692062"/>
                    <a:pt x="122094" y="1099517"/>
                    <a:pt x="122094" y="1099517"/>
                  </a:cubicBezTo>
                  <a:cubicBezTo>
                    <a:pt x="122094" y="1099517"/>
                    <a:pt x="21296" y="1115133"/>
                    <a:pt x="0" y="1099517"/>
                  </a:cubicBezTo>
                  <a:cubicBezTo>
                    <a:pt x="0" y="1099517"/>
                    <a:pt x="15617" y="734653"/>
                    <a:pt x="22715" y="638113"/>
                  </a:cubicBezTo>
                  <a:cubicBezTo>
                    <a:pt x="25555" y="601201"/>
                    <a:pt x="-1419" y="193747"/>
                    <a:pt x="62467" y="30481"/>
                  </a:cubicBezTo>
                  <a:cubicBezTo>
                    <a:pt x="96540" y="-57541"/>
                    <a:pt x="397517" y="73072"/>
                    <a:pt x="397517" y="73072"/>
                  </a:cubicBezTo>
                  <a:close/>
                </a:path>
              </a:pathLst>
            </a:custGeom>
            <a:solidFill>
              <a:srgbClr val="2F324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DCF2B67-4FC6-4EF2-B06A-99DF65791431}"/>
                </a:ext>
              </a:extLst>
            </p:cNvPr>
            <p:cNvSpPr/>
            <p:nvPr userDrawn="1"/>
          </p:nvSpPr>
          <p:spPr>
            <a:xfrm>
              <a:off x="9623723" y="3149855"/>
              <a:ext cx="256649" cy="307978"/>
            </a:xfrm>
            <a:custGeom>
              <a:avLst/>
              <a:gdLst>
                <a:gd name="connsiteX0" fmla="*/ 352296 w 354925"/>
                <a:gd name="connsiteY0" fmla="*/ 433009 h 425910"/>
                <a:gd name="connsiteX1" fmla="*/ 92491 w 354925"/>
                <a:gd name="connsiteY1" fmla="*/ 379060 h 425910"/>
                <a:gd name="connsiteX2" fmla="*/ 47060 w 354925"/>
                <a:gd name="connsiteY2" fmla="*/ 292459 h 425910"/>
                <a:gd name="connsiteX3" fmla="*/ 35703 w 354925"/>
                <a:gd name="connsiteY3" fmla="*/ 252707 h 425910"/>
                <a:gd name="connsiteX4" fmla="*/ 35703 w 354925"/>
                <a:gd name="connsiteY4" fmla="*/ 252707 h 425910"/>
                <a:gd name="connsiteX5" fmla="*/ 14407 w 354925"/>
                <a:gd name="connsiteY5" fmla="*/ 151908 h 425910"/>
                <a:gd name="connsiteX6" fmla="*/ 49900 w 354925"/>
                <a:gd name="connsiteY6" fmla="*/ 0 h 425910"/>
                <a:gd name="connsiteX7" fmla="*/ 96750 w 354925"/>
                <a:gd name="connsiteY7" fmla="*/ 41171 h 425910"/>
                <a:gd name="connsiteX8" fmla="*/ 137921 w 354925"/>
                <a:gd name="connsiteY8" fmla="*/ 143390 h 425910"/>
                <a:gd name="connsiteX9" fmla="*/ 181932 w 354925"/>
                <a:gd name="connsiteY9" fmla="*/ 302397 h 425910"/>
                <a:gd name="connsiteX10" fmla="*/ 234461 w 354925"/>
                <a:gd name="connsiteY10" fmla="*/ 330791 h 425910"/>
                <a:gd name="connsiteX11" fmla="*/ 365073 w 354925"/>
                <a:gd name="connsiteY11" fmla="*/ 346407 h 425910"/>
                <a:gd name="connsiteX12" fmla="*/ 352296 w 354925"/>
                <a:gd name="connsiteY12" fmla="*/ 433009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925" h="425910">
                  <a:moveTo>
                    <a:pt x="352296" y="433009"/>
                  </a:moveTo>
                  <a:cubicBezTo>
                    <a:pt x="352296" y="433009"/>
                    <a:pt x="130822" y="403195"/>
                    <a:pt x="92491" y="379060"/>
                  </a:cubicBezTo>
                  <a:cubicBezTo>
                    <a:pt x="75454" y="367703"/>
                    <a:pt x="59837" y="332210"/>
                    <a:pt x="47060" y="292459"/>
                  </a:cubicBezTo>
                  <a:cubicBezTo>
                    <a:pt x="42801" y="279681"/>
                    <a:pt x="38542" y="265484"/>
                    <a:pt x="35703" y="252707"/>
                  </a:cubicBezTo>
                  <a:cubicBezTo>
                    <a:pt x="35703" y="252707"/>
                    <a:pt x="35703" y="252707"/>
                    <a:pt x="35703" y="252707"/>
                  </a:cubicBezTo>
                  <a:cubicBezTo>
                    <a:pt x="21506" y="200178"/>
                    <a:pt x="14407" y="151908"/>
                    <a:pt x="14407" y="151908"/>
                  </a:cubicBezTo>
                  <a:cubicBezTo>
                    <a:pt x="14407" y="151908"/>
                    <a:pt x="-35283" y="19876"/>
                    <a:pt x="49900" y="0"/>
                  </a:cubicBezTo>
                  <a:cubicBezTo>
                    <a:pt x="49900" y="0"/>
                    <a:pt x="82553" y="8518"/>
                    <a:pt x="96750" y="41171"/>
                  </a:cubicBezTo>
                  <a:cubicBezTo>
                    <a:pt x="110947" y="73825"/>
                    <a:pt x="130822" y="122094"/>
                    <a:pt x="137921" y="143390"/>
                  </a:cubicBezTo>
                  <a:cubicBezTo>
                    <a:pt x="142180" y="157587"/>
                    <a:pt x="179092" y="298137"/>
                    <a:pt x="181932" y="302397"/>
                  </a:cubicBezTo>
                  <a:cubicBezTo>
                    <a:pt x="184771" y="306656"/>
                    <a:pt x="203227" y="322272"/>
                    <a:pt x="234461" y="330791"/>
                  </a:cubicBezTo>
                  <a:cubicBezTo>
                    <a:pt x="284150" y="344988"/>
                    <a:pt x="365073" y="346407"/>
                    <a:pt x="365073" y="346407"/>
                  </a:cubicBezTo>
                  <a:lnTo>
                    <a:pt x="352296" y="433009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D251ABF-7A0F-488B-AAAA-FF879E567ACE}"/>
                </a:ext>
              </a:extLst>
            </p:cNvPr>
            <p:cNvSpPr/>
            <p:nvPr userDrawn="1"/>
          </p:nvSpPr>
          <p:spPr>
            <a:xfrm>
              <a:off x="9528731" y="2928965"/>
              <a:ext cx="133457" cy="184787"/>
            </a:xfrm>
            <a:custGeom>
              <a:avLst/>
              <a:gdLst>
                <a:gd name="connsiteX0" fmla="*/ 6643 w 184561"/>
                <a:gd name="connsiteY0" fmla="*/ 160666 h 255546"/>
                <a:gd name="connsiteX1" fmla="*/ 6643 w 184561"/>
                <a:gd name="connsiteY1" fmla="*/ 160666 h 255546"/>
                <a:gd name="connsiteX2" fmla="*/ 25099 w 184561"/>
                <a:gd name="connsiteY2" fmla="*/ 218874 h 255546"/>
                <a:gd name="connsiteX3" fmla="*/ 179847 w 184561"/>
                <a:gd name="connsiteY3" fmla="*/ 163505 h 255546"/>
                <a:gd name="connsiteX4" fmla="*/ 186945 w 184561"/>
                <a:gd name="connsiteY4" fmla="*/ 95360 h 255546"/>
                <a:gd name="connsiteX5" fmla="*/ 140095 w 184561"/>
                <a:gd name="connsiteY5" fmla="*/ 7338 h 255546"/>
                <a:gd name="connsiteX6" fmla="*/ 18001 w 184561"/>
                <a:gd name="connsiteY6" fmla="*/ 30053 h 255546"/>
                <a:gd name="connsiteX7" fmla="*/ 6643 w 184561"/>
                <a:gd name="connsiteY7" fmla="*/ 160666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561" h="255546">
                  <a:moveTo>
                    <a:pt x="6643" y="160666"/>
                  </a:moveTo>
                  <a:cubicBezTo>
                    <a:pt x="6643" y="160666"/>
                    <a:pt x="6643" y="160666"/>
                    <a:pt x="6643" y="160666"/>
                  </a:cubicBezTo>
                  <a:cubicBezTo>
                    <a:pt x="10902" y="180542"/>
                    <a:pt x="16581" y="200418"/>
                    <a:pt x="25099" y="218874"/>
                  </a:cubicBezTo>
                  <a:cubicBezTo>
                    <a:pt x="52074" y="279921"/>
                    <a:pt x="145774" y="302636"/>
                    <a:pt x="179847" y="163505"/>
                  </a:cubicBezTo>
                  <a:cubicBezTo>
                    <a:pt x="186945" y="136531"/>
                    <a:pt x="188365" y="115235"/>
                    <a:pt x="186945" y="95360"/>
                  </a:cubicBezTo>
                  <a:cubicBezTo>
                    <a:pt x="182686" y="28634"/>
                    <a:pt x="140095" y="7338"/>
                    <a:pt x="140095" y="7338"/>
                  </a:cubicBezTo>
                  <a:cubicBezTo>
                    <a:pt x="107442" y="-2600"/>
                    <a:pt x="47814" y="-8279"/>
                    <a:pt x="18001" y="30053"/>
                  </a:cubicBezTo>
                  <a:cubicBezTo>
                    <a:pt x="-1875" y="57028"/>
                    <a:pt x="-4715" y="110976"/>
                    <a:pt x="6643" y="160666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0AAA7634-80B1-420B-B91A-6B8004D46D73}"/>
                </a:ext>
              </a:extLst>
            </p:cNvPr>
            <p:cNvSpPr/>
            <p:nvPr userDrawn="1"/>
          </p:nvSpPr>
          <p:spPr>
            <a:xfrm>
              <a:off x="9524052" y="2925927"/>
              <a:ext cx="143723" cy="112925"/>
            </a:xfrm>
            <a:custGeom>
              <a:avLst/>
              <a:gdLst>
                <a:gd name="connsiteX0" fmla="*/ 13115 w 198758"/>
                <a:gd name="connsiteY0" fmla="*/ 164866 h 156167"/>
                <a:gd name="connsiteX1" fmla="*/ 13115 w 198758"/>
                <a:gd name="connsiteY1" fmla="*/ 164866 h 156167"/>
                <a:gd name="connsiteX2" fmla="*/ 42928 w 198758"/>
                <a:gd name="connsiteY2" fmla="*/ 136472 h 156167"/>
                <a:gd name="connsiteX3" fmla="*/ 51447 w 198758"/>
                <a:gd name="connsiteY3" fmla="*/ 133633 h 156167"/>
                <a:gd name="connsiteX4" fmla="*/ 81261 w 198758"/>
                <a:gd name="connsiteY4" fmla="*/ 129374 h 156167"/>
                <a:gd name="connsiteX5" fmla="*/ 103975 w 198758"/>
                <a:gd name="connsiteY5" fmla="*/ 74005 h 156167"/>
                <a:gd name="connsiteX6" fmla="*/ 194837 w 198758"/>
                <a:gd name="connsiteY6" fmla="*/ 99560 h 156167"/>
                <a:gd name="connsiteX7" fmla="*/ 170702 w 198758"/>
                <a:gd name="connsiteY7" fmla="*/ 15798 h 156167"/>
                <a:gd name="connsiteX8" fmla="*/ 13115 w 198758"/>
                <a:gd name="connsiteY8" fmla="*/ 25735 h 156167"/>
                <a:gd name="connsiteX9" fmla="*/ 13115 w 198758"/>
                <a:gd name="connsiteY9" fmla="*/ 164866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758" h="156167">
                  <a:moveTo>
                    <a:pt x="13115" y="164866"/>
                  </a:moveTo>
                  <a:cubicBezTo>
                    <a:pt x="13115" y="164866"/>
                    <a:pt x="13115" y="164866"/>
                    <a:pt x="13115" y="164866"/>
                  </a:cubicBezTo>
                  <a:cubicBezTo>
                    <a:pt x="13115" y="164866"/>
                    <a:pt x="17374" y="167706"/>
                    <a:pt x="42928" y="136472"/>
                  </a:cubicBezTo>
                  <a:cubicBezTo>
                    <a:pt x="48607" y="130793"/>
                    <a:pt x="50027" y="136472"/>
                    <a:pt x="51447" y="133633"/>
                  </a:cubicBezTo>
                  <a:lnTo>
                    <a:pt x="81261" y="129374"/>
                  </a:lnTo>
                  <a:cubicBezTo>
                    <a:pt x="81261" y="129374"/>
                    <a:pt x="65644" y="78264"/>
                    <a:pt x="103975" y="74005"/>
                  </a:cubicBezTo>
                  <a:cubicBezTo>
                    <a:pt x="143727" y="69746"/>
                    <a:pt x="194837" y="99560"/>
                    <a:pt x="194837" y="99560"/>
                  </a:cubicBezTo>
                  <a:cubicBezTo>
                    <a:pt x="218971" y="-1239"/>
                    <a:pt x="170702" y="15798"/>
                    <a:pt x="170702" y="15798"/>
                  </a:cubicBezTo>
                  <a:cubicBezTo>
                    <a:pt x="146567" y="-1239"/>
                    <a:pt x="42928" y="-12596"/>
                    <a:pt x="13115" y="25735"/>
                  </a:cubicBezTo>
                  <a:cubicBezTo>
                    <a:pt x="-9601" y="54130"/>
                    <a:pt x="1757" y="115177"/>
                    <a:pt x="13115" y="164866"/>
                  </a:cubicBezTo>
                  <a:close/>
                </a:path>
              </a:pathLst>
            </a:custGeom>
            <a:solidFill>
              <a:srgbClr val="66524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C488960-A31D-4C8E-85D1-8475F48462F4}"/>
                </a:ext>
              </a:extLst>
            </p:cNvPr>
            <p:cNvSpPr/>
            <p:nvPr userDrawn="1"/>
          </p:nvSpPr>
          <p:spPr>
            <a:xfrm>
              <a:off x="9545025" y="2998319"/>
              <a:ext cx="20532" cy="30798"/>
            </a:xfrm>
            <a:custGeom>
              <a:avLst/>
              <a:gdLst>
                <a:gd name="connsiteX0" fmla="*/ 32379 w 28394"/>
                <a:gd name="connsiteY0" fmla="*/ 13644 h 42591"/>
                <a:gd name="connsiteX1" fmla="*/ 3985 w 28394"/>
                <a:gd name="connsiteY1" fmla="*/ 9385 h 42591"/>
                <a:gd name="connsiteX2" fmla="*/ 21021 w 28394"/>
                <a:gd name="connsiteY2" fmla="*/ 51976 h 42591"/>
                <a:gd name="connsiteX3" fmla="*/ 32379 w 28394"/>
                <a:gd name="connsiteY3" fmla="*/ 13644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32379" y="13644"/>
                  </a:moveTo>
                  <a:cubicBezTo>
                    <a:pt x="32379" y="3706"/>
                    <a:pt x="15342" y="-9072"/>
                    <a:pt x="3985" y="9385"/>
                  </a:cubicBezTo>
                  <a:cubicBezTo>
                    <a:pt x="-8793" y="27841"/>
                    <a:pt x="12503" y="54815"/>
                    <a:pt x="21021" y="51976"/>
                  </a:cubicBezTo>
                  <a:cubicBezTo>
                    <a:pt x="28120" y="50556"/>
                    <a:pt x="32379" y="30680"/>
                    <a:pt x="32379" y="13644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329FB3DE-9F73-4F5F-9D25-89C2AA914DD7}"/>
                </a:ext>
              </a:extLst>
            </p:cNvPr>
            <p:cNvSpPr/>
            <p:nvPr userDrawn="1"/>
          </p:nvSpPr>
          <p:spPr>
            <a:xfrm>
              <a:off x="9417530" y="3135473"/>
              <a:ext cx="277181" cy="503031"/>
            </a:xfrm>
            <a:custGeom>
              <a:avLst/>
              <a:gdLst>
                <a:gd name="connsiteX0" fmla="*/ 254127 w 383319"/>
                <a:gd name="connsiteY0" fmla="*/ 13 h 695654"/>
                <a:gd name="connsiteX1" fmla="*/ 344987 w 383319"/>
                <a:gd name="connsiteY1" fmla="*/ 25568 h 695654"/>
                <a:gd name="connsiteX2" fmla="*/ 380480 w 383319"/>
                <a:gd name="connsiteY2" fmla="*/ 161859 h 695654"/>
                <a:gd name="connsiteX3" fmla="*/ 363444 w 383319"/>
                <a:gd name="connsiteY3" fmla="*/ 340741 h 695654"/>
                <a:gd name="connsiteX4" fmla="*/ 386159 w 383319"/>
                <a:gd name="connsiteY4" fmla="*/ 674371 h 695654"/>
                <a:gd name="connsiteX5" fmla="*/ 0 w 383319"/>
                <a:gd name="connsiteY5" fmla="*/ 702765 h 695654"/>
                <a:gd name="connsiteX6" fmla="*/ 41171 w 383319"/>
                <a:gd name="connsiteY6" fmla="*/ 390431 h 695654"/>
                <a:gd name="connsiteX7" fmla="*/ 2839 w 383319"/>
                <a:gd name="connsiteY7" fmla="*/ 157600 h 695654"/>
                <a:gd name="connsiteX8" fmla="*/ 41171 w 383319"/>
                <a:gd name="connsiteY8" fmla="*/ 25568 h 695654"/>
                <a:gd name="connsiteX9" fmla="*/ 154747 w 383319"/>
                <a:gd name="connsiteY9" fmla="*/ 13 h 695654"/>
                <a:gd name="connsiteX10" fmla="*/ 254127 w 383319"/>
                <a:gd name="connsiteY10" fmla="*/ 13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3319" h="695654">
                  <a:moveTo>
                    <a:pt x="254127" y="13"/>
                  </a:moveTo>
                  <a:cubicBezTo>
                    <a:pt x="254127" y="13"/>
                    <a:pt x="335050" y="17049"/>
                    <a:pt x="344987" y="25568"/>
                  </a:cubicBezTo>
                  <a:cubicBezTo>
                    <a:pt x="356345" y="35505"/>
                    <a:pt x="379060" y="134885"/>
                    <a:pt x="380480" y="161859"/>
                  </a:cubicBezTo>
                  <a:cubicBezTo>
                    <a:pt x="381900" y="188833"/>
                    <a:pt x="374801" y="299570"/>
                    <a:pt x="363444" y="340741"/>
                  </a:cubicBezTo>
                  <a:cubicBezTo>
                    <a:pt x="352086" y="381913"/>
                    <a:pt x="379060" y="616164"/>
                    <a:pt x="386159" y="674371"/>
                  </a:cubicBezTo>
                  <a:cubicBezTo>
                    <a:pt x="386159" y="674371"/>
                    <a:pt x="173203" y="725481"/>
                    <a:pt x="0" y="702765"/>
                  </a:cubicBezTo>
                  <a:cubicBezTo>
                    <a:pt x="0" y="702765"/>
                    <a:pt x="46850" y="448639"/>
                    <a:pt x="41171" y="390431"/>
                  </a:cubicBezTo>
                  <a:cubicBezTo>
                    <a:pt x="32653" y="316606"/>
                    <a:pt x="2839" y="157600"/>
                    <a:pt x="2839" y="157600"/>
                  </a:cubicBezTo>
                  <a:cubicBezTo>
                    <a:pt x="2839" y="157600"/>
                    <a:pt x="22715" y="34086"/>
                    <a:pt x="41171" y="25568"/>
                  </a:cubicBezTo>
                  <a:cubicBezTo>
                    <a:pt x="102218" y="-1407"/>
                    <a:pt x="154747" y="13"/>
                    <a:pt x="154747" y="13"/>
                  </a:cubicBezTo>
                  <a:lnTo>
                    <a:pt x="254127" y="13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38A84C33-02B4-460F-9BBC-84C6262D5046}"/>
                </a:ext>
              </a:extLst>
            </p:cNvPr>
            <p:cNvSpPr/>
            <p:nvPr userDrawn="1"/>
          </p:nvSpPr>
          <p:spPr>
            <a:xfrm>
              <a:off x="9531481" y="3049937"/>
              <a:ext cx="71861" cy="102659"/>
            </a:xfrm>
            <a:custGeom>
              <a:avLst/>
              <a:gdLst>
                <a:gd name="connsiteX0" fmla="*/ 106478 w 99379"/>
                <a:gd name="connsiteY0" fmla="*/ 136759 h 141970"/>
                <a:gd name="connsiteX1" fmla="*/ 0 w 99379"/>
                <a:gd name="connsiteY1" fmla="*/ 119723 h 141970"/>
                <a:gd name="connsiteX2" fmla="*/ 8518 w 99379"/>
                <a:gd name="connsiteY2" fmla="*/ 14665 h 141970"/>
                <a:gd name="connsiteX3" fmla="*/ 106478 w 99379"/>
                <a:gd name="connsiteY3" fmla="*/ 78551 h 141970"/>
                <a:gd name="connsiteX4" fmla="*/ 106478 w 99379"/>
                <a:gd name="connsiteY4" fmla="*/ 99847 h 141970"/>
                <a:gd name="connsiteX5" fmla="*/ 106478 w 99379"/>
                <a:gd name="connsiteY5" fmla="*/ 118303 h 141970"/>
                <a:gd name="connsiteX6" fmla="*/ 106478 w 99379"/>
                <a:gd name="connsiteY6" fmla="*/ 136759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79" h="141970">
                  <a:moveTo>
                    <a:pt x="106478" y="136759"/>
                  </a:moveTo>
                  <a:cubicBezTo>
                    <a:pt x="106478" y="136759"/>
                    <a:pt x="82343" y="156635"/>
                    <a:pt x="0" y="119723"/>
                  </a:cubicBezTo>
                  <a:cubicBezTo>
                    <a:pt x="0" y="119723"/>
                    <a:pt x="12777" y="71453"/>
                    <a:pt x="8518" y="14665"/>
                  </a:cubicBezTo>
                  <a:cubicBezTo>
                    <a:pt x="4259" y="-40703"/>
                    <a:pt x="106478" y="78551"/>
                    <a:pt x="106478" y="78551"/>
                  </a:cubicBezTo>
                  <a:cubicBezTo>
                    <a:pt x="106478" y="87070"/>
                    <a:pt x="106478" y="94168"/>
                    <a:pt x="106478" y="99847"/>
                  </a:cubicBezTo>
                  <a:cubicBezTo>
                    <a:pt x="106478" y="106946"/>
                    <a:pt x="106478" y="114044"/>
                    <a:pt x="106478" y="118303"/>
                  </a:cubicBezTo>
                  <a:cubicBezTo>
                    <a:pt x="105058" y="129661"/>
                    <a:pt x="106478" y="136759"/>
                    <a:pt x="106478" y="13675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A4EDF5B6-C578-44A0-AAC1-F947BB8BDDEF}"/>
                </a:ext>
              </a:extLst>
            </p:cNvPr>
            <p:cNvSpPr/>
            <p:nvPr userDrawn="1"/>
          </p:nvSpPr>
          <p:spPr>
            <a:xfrm>
              <a:off x="9528402" y="3134734"/>
              <a:ext cx="82127" cy="20532"/>
            </a:xfrm>
            <a:custGeom>
              <a:avLst/>
              <a:gdLst>
                <a:gd name="connsiteX0" fmla="*/ 117836 w 113576"/>
                <a:gd name="connsiteY0" fmla="*/ 5296 h 28394"/>
                <a:gd name="connsiteX1" fmla="*/ 110737 w 113576"/>
                <a:gd name="connsiteY1" fmla="*/ 37949 h 28394"/>
                <a:gd name="connsiteX2" fmla="*/ 0 w 113576"/>
                <a:gd name="connsiteY2" fmla="*/ 2456 h 28394"/>
                <a:gd name="connsiteX3" fmla="*/ 117836 w 113576"/>
                <a:gd name="connsiteY3" fmla="*/ 5296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28394">
                  <a:moveTo>
                    <a:pt x="117836" y="5296"/>
                  </a:moveTo>
                  <a:cubicBezTo>
                    <a:pt x="117836" y="5296"/>
                    <a:pt x="136291" y="33690"/>
                    <a:pt x="110737" y="37949"/>
                  </a:cubicBezTo>
                  <a:cubicBezTo>
                    <a:pt x="83762" y="42208"/>
                    <a:pt x="29814" y="37949"/>
                    <a:pt x="0" y="2456"/>
                  </a:cubicBezTo>
                  <a:cubicBezTo>
                    <a:pt x="0" y="2456"/>
                    <a:pt x="80923" y="-4642"/>
                    <a:pt x="117836" y="529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D557EF0F-FE3B-4BEB-A513-2806B0308742}"/>
                </a:ext>
              </a:extLst>
            </p:cNvPr>
            <p:cNvSpPr/>
            <p:nvPr userDrawn="1"/>
          </p:nvSpPr>
          <p:spPr>
            <a:xfrm>
              <a:off x="9542773" y="3254568"/>
              <a:ext cx="472233" cy="410638"/>
            </a:xfrm>
            <a:custGeom>
              <a:avLst/>
              <a:gdLst>
                <a:gd name="connsiteX0" fmla="*/ 221474 w 653062"/>
                <a:gd name="connsiteY0" fmla="*/ 0 h 567880"/>
                <a:gd name="connsiteX1" fmla="*/ 0 w 653062"/>
                <a:gd name="connsiteY1" fmla="*/ 545166 h 567880"/>
                <a:gd name="connsiteX2" fmla="*/ 444367 w 653062"/>
                <a:gd name="connsiteY2" fmla="*/ 545166 h 567880"/>
                <a:gd name="connsiteX3" fmla="*/ 663001 w 653062"/>
                <a:gd name="connsiteY3" fmla="*/ 14197 h 567880"/>
                <a:gd name="connsiteX4" fmla="*/ 221474 w 653062"/>
                <a:gd name="connsiteY4" fmla="*/ 0 h 56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062" h="567880">
                  <a:moveTo>
                    <a:pt x="221474" y="0"/>
                  </a:moveTo>
                  <a:cubicBezTo>
                    <a:pt x="221474" y="0"/>
                    <a:pt x="156167" y="346407"/>
                    <a:pt x="0" y="545166"/>
                  </a:cubicBezTo>
                  <a:cubicBezTo>
                    <a:pt x="0" y="545166"/>
                    <a:pt x="159007" y="617570"/>
                    <a:pt x="444367" y="545166"/>
                  </a:cubicBezTo>
                  <a:cubicBezTo>
                    <a:pt x="444367" y="545166"/>
                    <a:pt x="643125" y="205857"/>
                    <a:pt x="663001" y="14197"/>
                  </a:cubicBezTo>
                  <a:cubicBezTo>
                    <a:pt x="663001" y="14197"/>
                    <a:pt x="465663" y="53949"/>
                    <a:pt x="221474" y="0"/>
                  </a:cubicBezTo>
                  <a:close/>
                </a:path>
              </a:pathLst>
            </a:custGeom>
            <a:solidFill>
              <a:srgbClr val="DBDFF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EB05022-BAB3-4E67-81A4-C5EF4CEB72B2}"/>
                </a:ext>
              </a:extLst>
            </p:cNvPr>
            <p:cNvSpPr/>
            <p:nvPr userDrawn="1"/>
          </p:nvSpPr>
          <p:spPr>
            <a:xfrm>
              <a:off x="9565359" y="3282286"/>
              <a:ext cx="431169" cy="369574"/>
            </a:xfrm>
            <a:custGeom>
              <a:avLst/>
              <a:gdLst>
                <a:gd name="connsiteX0" fmla="*/ 201598 w 596274"/>
                <a:gd name="connsiteY0" fmla="*/ 0 h 511092"/>
                <a:gd name="connsiteX1" fmla="*/ 0 w 596274"/>
                <a:gd name="connsiteY1" fmla="*/ 494056 h 511092"/>
                <a:gd name="connsiteX2" fmla="*/ 401776 w 596274"/>
                <a:gd name="connsiteY2" fmla="*/ 494056 h 511092"/>
                <a:gd name="connsiteX3" fmla="*/ 599114 w 596274"/>
                <a:gd name="connsiteY3" fmla="*/ 14197 h 511092"/>
                <a:gd name="connsiteX4" fmla="*/ 201598 w 596274"/>
                <a:gd name="connsiteY4" fmla="*/ 0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274" h="511092">
                  <a:moveTo>
                    <a:pt x="201598" y="0"/>
                  </a:moveTo>
                  <a:cubicBezTo>
                    <a:pt x="201598" y="0"/>
                    <a:pt x="143390" y="313754"/>
                    <a:pt x="0" y="494056"/>
                  </a:cubicBezTo>
                  <a:cubicBezTo>
                    <a:pt x="0" y="494056"/>
                    <a:pt x="143390" y="560782"/>
                    <a:pt x="401776" y="494056"/>
                  </a:cubicBezTo>
                  <a:cubicBezTo>
                    <a:pt x="401776" y="494056"/>
                    <a:pt x="580658" y="185981"/>
                    <a:pt x="599114" y="14197"/>
                  </a:cubicBezTo>
                  <a:cubicBezTo>
                    <a:pt x="600534" y="12777"/>
                    <a:pt x="421652" y="48270"/>
                    <a:pt x="201598" y="0"/>
                  </a:cubicBezTo>
                  <a:close/>
                </a:path>
              </a:pathLst>
            </a:custGeom>
            <a:solidFill>
              <a:srgbClr val="BDC9F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87C4A8BF-8116-42F1-A1FD-0FF7BF8C4C36}"/>
                </a:ext>
              </a:extLst>
            </p:cNvPr>
            <p:cNvSpPr/>
            <p:nvPr userDrawn="1"/>
          </p:nvSpPr>
          <p:spPr>
            <a:xfrm>
              <a:off x="9552013" y="3097499"/>
              <a:ext cx="51330" cy="30798"/>
            </a:xfrm>
            <a:custGeom>
              <a:avLst/>
              <a:gdLst>
                <a:gd name="connsiteX0" fmla="*/ 76664 w 70985"/>
                <a:gd name="connsiteY0" fmla="*/ 51109 h 42591"/>
                <a:gd name="connsiteX1" fmla="*/ 0 w 70985"/>
                <a:gd name="connsiteY1" fmla="*/ 0 h 42591"/>
                <a:gd name="connsiteX2" fmla="*/ 76664 w 70985"/>
                <a:gd name="connsiteY2" fmla="*/ 31233 h 42591"/>
                <a:gd name="connsiteX3" fmla="*/ 76664 w 70985"/>
                <a:gd name="connsiteY3" fmla="*/ 32653 h 42591"/>
                <a:gd name="connsiteX4" fmla="*/ 76664 w 70985"/>
                <a:gd name="connsiteY4" fmla="*/ 51109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42591">
                  <a:moveTo>
                    <a:pt x="76664" y="51109"/>
                  </a:moveTo>
                  <a:cubicBezTo>
                    <a:pt x="19876" y="48270"/>
                    <a:pt x="0" y="0"/>
                    <a:pt x="0" y="0"/>
                  </a:cubicBezTo>
                  <a:cubicBezTo>
                    <a:pt x="28394" y="39752"/>
                    <a:pt x="76664" y="31233"/>
                    <a:pt x="76664" y="31233"/>
                  </a:cubicBezTo>
                  <a:lnTo>
                    <a:pt x="76664" y="32653"/>
                  </a:lnTo>
                  <a:cubicBezTo>
                    <a:pt x="76664" y="39752"/>
                    <a:pt x="76664" y="45430"/>
                    <a:pt x="76664" y="51109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E9F5CFE4-0940-4C0E-A26B-504FE08379E2}"/>
                </a:ext>
              </a:extLst>
            </p:cNvPr>
            <p:cNvSpPr/>
            <p:nvPr userDrawn="1"/>
          </p:nvSpPr>
          <p:spPr>
            <a:xfrm>
              <a:off x="9552939" y="3498415"/>
              <a:ext cx="51330" cy="51330"/>
            </a:xfrm>
            <a:custGeom>
              <a:avLst/>
              <a:gdLst>
                <a:gd name="connsiteX0" fmla="*/ 28534 w 70985"/>
                <a:gd name="connsiteY0" fmla="*/ 4926 h 70985"/>
                <a:gd name="connsiteX1" fmla="*/ 41311 w 70985"/>
                <a:gd name="connsiteY1" fmla="*/ 9185 h 70985"/>
                <a:gd name="connsiteX2" fmla="*/ 76804 w 70985"/>
                <a:gd name="connsiteY2" fmla="*/ 3507 h 70985"/>
                <a:gd name="connsiteX3" fmla="*/ 59767 w 70985"/>
                <a:gd name="connsiteY3" fmla="*/ 75911 h 70985"/>
                <a:gd name="connsiteX4" fmla="*/ 5819 w 70985"/>
                <a:gd name="connsiteY4" fmla="*/ 47517 h 70985"/>
                <a:gd name="connsiteX5" fmla="*/ 28534 w 70985"/>
                <a:gd name="connsiteY5" fmla="*/ 4926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70985">
                  <a:moveTo>
                    <a:pt x="28534" y="4926"/>
                  </a:moveTo>
                  <a:cubicBezTo>
                    <a:pt x="28534" y="4926"/>
                    <a:pt x="35632" y="10605"/>
                    <a:pt x="41311" y="9185"/>
                  </a:cubicBezTo>
                  <a:cubicBezTo>
                    <a:pt x="52669" y="7766"/>
                    <a:pt x="64026" y="-6431"/>
                    <a:pt x="76804" y="3507"/>
                  </a:cubicBezTo>
                  <a:cubicBezTo>
                    <a:pt x="89581" y="14864"/>
                    <a:pt x="68285" y="68813"/>
                    <a:pt x="59767" y="75911"/>
                  </a:cubicBezTo>
                  <a:cubicBezTo>
                    <a:pt x="51249" y="83010"/>
                    <a:pt x="29953" y="74492"/>
                    <a:pt x="5819" y="47517"/>
                  </a:cubicBezTo>
                  <a:cubicBezTo>
                    <a:pt x="-15477" y="21963"/>
                    <a:pt x="28534" y="4926"/>
                    <a:pt x="28534" y="492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F997AAB1-C278-477A-91EC-47A80B369CB5}"/>
                </a:ext>
              </a:extLst>
            </p:cNvPr>
            <p:cNvSpPr/>
            <p:nvPr userDrawn="1"/>
          </p:nvSpPr>
          <p:spPr>
            <a:xfrm>
              <a:off x="9578186" y="3498897"/>
              <a:ext cx="92393" cy="61596"/>
            </a:xfrm>
            <a:custGeom>
              <a:avLst/>
              <a:gdLst>
                <a:gd name="connsiteX0" fmla="*/ 37629 w 127773"/>
                <a:gd name="connsiteY0" fmla="*/ 0 h 85182"/>
                <a:gd name="connsiteX1" fmla="*/ 85899 w 127773"/>
                <a:gd name="connsiteY1" fmla="*/ 17036 h 85182"/>
                <a:gd name="connsiteX2" fmla="*/ 132749 w 127773"/>
                <a:gd name="connsiteY2" fmla="*/ 46850 h 85182"/>
                <a:gd name="connsiteX3" fmla="*/ 87319 w 127773"/>
                <a:gd name="connsiteY3" fmla="*/ 34073 h 85182"/>
                <a:gd name="connsiteX4" fmla="*/ 70282 w 127773"/>
                <a:gd name="connsiteY4" fmla="*/ 32653 h 85182"/>
                <a:gd name="connsiteX5" fmla="*/ 90158 w 127773"/>
                <a:gd name="connsiteY5" fmla="*/ 44011 h 85182"/>
                <a:gd name="connsiteX6" fmla="*/ 134169 w 127773"/>
                <a:gd name="connsiteY6" fmla="*/ 79503 h 85182"/>
                <a:gd name="connsiteX7" fmla="*/ 122811 w 127773"/>
                <a:gd name="connsiteY7" fmla="*/ 80923 h 85182"/>
                <a:gd name="connsiteX8" fmla="*/ 127071 w 127773"/>
                <a:gd name="connsiteY8" fmla="*/ 88022 h 85182"/>
                <a:gd name="connsiteX9" fmla="*/ 71702 w 127773"/>
                <a:gd name="connsiteY9" fmla="*/ 80923 h 85182"/>
                <a:gd name="connsiteX10" fmla="*/ 83060 w 127773"/>
                <a:gd name="connsiteY10" fmla="*/ 95120 h 85182"/>
                <a:gd name="connsiteX11" fmla="*/ 4976 w 127773"/>
                <a:gd name="connsiteY11" fmla="*/ 73825 h 85182"/>
                <a:gd name="connsiteX12" fmla="*/ 37629 w 127773"/>
                <a:gd name="connsiteY12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73" h="85182">
                  <a:moveTo>
                    <a:pt x="37629" y="0"/>
                  </a:moveTo>
                  <a:cubicBezTo>
                    <a:pt x="37629" y="0"/>
                    <a:pt x="60344" y="5679"/>
                    <a:pt x="85899" y="17036"/>
                  </a:cubicBezTo>
                  <a:cubicBezTo>
                    <a:pt x="108614" y="25555"/>
                    <a:pt x="132749" y="41171"/>
                    <a:pt x="132749" y="46850"/>
                  </a:cubicBezTo>
                  <a:cubicBezTo>
                    <a:pt x="132749" y="52529"/>
                    <a:pt x="110034" y="41171"/>
                    <a:pt x="87319" y="34073"/>
                  </a:cubicBezTo>
                  <a:cubicBezTo>
                    <a:pt x="66023" y="26974"/>
                    <a:pt x="70282" y="32653"/>
                    <a:pt x="70282" y="32653"/>
                  </a:cubicBezTo>
                  <a:cubicBezTo>
                    <a:pt x="70282" y="32653"/>
                    <a:pt x="68863" y="31234"/>
                    <a:pt x="90158" y="44011"/>
                  </a:cubicBezTo>
                  <a:cubicBezTo>
                    <a:pt x="112874" y="56788"/>
                    <a:pt x="135588" y="73825"/>
                    <a:pt x="134169" y="79503"/>
                  </a:cubicBezTo>
                  <a:cubicBezTo>
                    <a:pt x="134169" y="82343"/>
                    <a:pt x="132749" y="83762"/>
                    <a:pt x="122811" y="80923"/>
                  </a:cubicBezTo>
                  <a:cubicBezTo>
                    <a:pt x="127071" y="83762"/>
                    <a:pt x="127071" y="86602"/>
                    <a:pt x="127071" y="88022"/>
                  </a:cubicBezTo>
                  <a:cubicBezTo>
                    <a:pt x="121391" y="100799"/>
                    <a:pt x="85899" y="86602"/>
                    <a:pt x="71702" y="80923"/>
                  </a:cubicBezTo>
                  <a:cubicBezTo>
                    <a:pt x="83060" y="85182"/>
                    <a:pt x="90158" y="89441"/>
                    <a:pt x="83060" y="95120"/>
                  </a:cubicBezTo>
                  <a:cubicBezTo>
                    <a:pt x="74541" y="100799"/>
                    <a:pt x="23432" y="79503"/>
                    <a:pt x="4976" y="73825"/>
                  </a:cubicBezTo>
                  <a:cubicBezTo>
                    <a:pt x="-16319" y="66726"/>
                    <a:pt x="37629" y="0"/>
                    <a:pt x="37629" y="0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F1134C3-F623-4A93-8EE4-759AA0169ED5}"/>
                </a:ext>
              </a:extLst>
            </p:cNvPr>
            <p:cNvSpPr/>
            <p:nvPr userDrawn="1"/>
          </p:nvSpPr>
          <p:spPr>
            <a:xfrm>
              <a:off x="9429655" y="3260728"/>
              <a:ext cx="123191" cy="205318"/>
            </a:xfrm>
            <a:custGeom>
              <a:avLst/>
              <a:gdLst>
                <a:gd name="connsiteX0" fmla="*/ 81191 w 170364"/>
                <a:gd name="connsiteY0" fmla="*/ 0 h 283940"/>
                <a:gd name="connsiteX1" fmla="*/ 59895 w 170364"/>
                <a:gd name="connsiteY1" fmla="*/ 168945 h 283940"/>
                <a:gd name="connsiteX2" fmla="*/ 170632 w 170364"/>
                <a:gd name="connsiteY2" fmla="*/ 291039 h 283940"/>
                <a:gd name="connsiteX3" fmla="*/ 268 w 170364"/>
                <a:gd name="connsiteY3" fmla="*/ 168945 h 283940"/>
                <a:gd name="connsiteX4" fmla="*/ 81191 w 170364"/>
                <a:gd name="connsiteY4" fmla="*/ 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83940">
                  <a:moveTo>
                    <a:pt x="81191" y="0"/>
                  </a:moveTo>
                  <a:cubicBezTo>
                    <a:pt x="81191" y="0"/>
                    <a:pt x="47118" y="159007"/>
                    <a:pt x="59895" y="168945"/>
                  </a:cubicBezTo>
                  <a:cubicBezTo>
                    <a:pt x="72672" y="178882"/>
                    <a:pt x="153596" y="278262"/>
                    <a:pt x="170632" y="291039"/>
                  </a:cubicBezTo>
                  <a:cubicBezTo>
                    <a:pt x="187668" y="303816"/>
                    <a:pt x="5947" y="193079"/>
                    <a:pt x="268" y="168945"/>
                  </a:cubicBezTo>
                  <a:cubicBezTo>
                    <a:pt x="-5411" y="144810"/>
                    <a:pt x="81191" y="0"/>
                    <a:pt x="81191" y="0"/>
                  </a:cubicBezTo>
                  <a:close/>
                </a:path>
              </a:pathLst>
            </a:custGeom>
            <a:solidFill>
              <a:srgbClr val="A87F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DEA5401-6FB5-4C5F-BF9C-9B9F3636E6A7}"/>
                </a:ext>
              </a:extLst>
            </p:cNvPr>
            <p:cNvSpPr/>
            <p:nvPr userDrawn="1"/>
          </p:nvSpPr>
          <p:spPr>
            <a:xfrm>
              <a:off x="9371090" y="3150905"/>
              <a:ext cx="215584" cy="390106"/>
            </a:xfrm>
            <a:custGeom>
              <a:avLst/>
              <a:gdLst>
                <a:gd name="connsiteX0" fmla="*/ 149405 w 298137"/>
                <a:gd name="connsiteY0" fmla="*/ 2807 h 539486"/>
                <a:gd name="connsiteX1" fmla="*/ 169281 w 298137"/>
                <a:gd name="connsiteY1" fmla="*/ 90828 h 539486"/>
                <a:gd name="connsiteX2" fmla="*/ 143726 w 298137"/>
                <a:gd name="connsiteY2" fmla="*/ 201565 h 539486"/>
                <a:gd name="connsiteX3" fmla="*/ 108234 w 298137"/>
                <a:gd name="connsiteY3" fmla="*/ 322240 h 539486"/>
                <a:gd name="connsiteX4" fmla="*/ 207613 w 298137"/>
                <a:gd name="connsiteY4" fmla="*/ 408842 h 539486"/>
                <a:gd name="connsiteX5" fmla="*/ 306992 w 298137"/>
                <a:gd name="connsiteY5" fmla="*/ 485506 h 539486"/>
                <a:gd name="connsiteX6" fmla="*/ 268660 w 298137"/>
                <a:gd name="connsiteY6" fmla="*/ 550812 h 539486"/>
                <a:gd name="connsiteX7" fmla="*/ 52865 w 298137"/>
                <a:gd name="connsiteY7" fmla="*/ 408842 h 539486"/>
                <a:gd name="connsiteX8" fmla="*/ 1756 w 298137"/>
                <a:gd name="connsiteY8" fmla="*/ 316561 h 539486"/>
                <a:gd name="connsiteX9" fmla="*/ 35829 w 298137"/>
                <a:gd name="connsiteY9" fmla="*/ 129160 h 539486"/>
                <a:gd name="connsiteX10" fmla="*/ 149405 w 298137"/>
                <a:gd name="connsiteY10" fmla="*/ 2807 h 53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137" h="539486">
                  <a:moveTo>
                    <a:pt x="149405" y="2807"/>
                  </a:moveTo>
                  <a:cubicBezTo>
                    <a:pt x="162182" y="7066"/>
                    <a:pt x="169281" y="28361"/>
                    <a:pt x="169281" y="90828"/>
                  </a:cubicBezTo>
                  <a:cubicBezTo>
                    <a:pt x="170701" y="154715"/>
                    <a:pt x="150825" y="185948"/>
                    <a:pt x="143726" y="201565"/>
                  </a:cubicBezTo>
                  <a:cubicBezTo>
                    <a:pt x="136628" y="217182"/>
                    <a:pt x="99716" y="310882"/>
                    <a:pt x="108234" y="322240"/>
                  </a:cubicBezTo>
                  <a:cubicBezTo>
                    <a:pt x="118172" y="333597"/>
                    <a:pt x="201934" y="403163"/>
                    <a:pt x="207613" y="408842"/>
                  </a:cubicBezTo>
                  <a:cubicBezTo>
                    <a:pt x="213292" y="414520"/>
                    <a:pt x="306992" y="485506"/>
                    <a:pt x="306992" y="485506"/>
                  </a:cubicBezTo>
                  <a:lnTo>
                    <a:pt x="268660" y="550812"/>
                  </a:lnTo>
                  <a:cubicBezTo>
                    <a:pt x="268660" y="550812"/>
                    <a:pt x="68482" y="421619"/>
                    <a:pt x="52865" y="408842"/>
                  </a:cubicBezTo>
                  <a:cubicBezTo>
                    <a:pt x="37249" y="396064"/>
                    <a:pt x="-9602" y="369090"/>
                    <a:pt x="1756" y="316561"/>
                  </a:cubicBezTo>
                  <a:cubicBezTo>
                    <a:pt x="13114" y="264032"/>
                    <a:pt x="31570" y="139098"/>
                    <a:pt x="35829" y="129160"/>
                  </a:cubicBezTo>
                  <a:cubicBezTo>
                    <a:pt x="38668" y="117803"/>
                    <a:pt x="64223" y="-21328"/>
                    <a:pt x="149405" y="2807"/>
                  </a:cubicBez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CE2DF257-9223-42F5-90E6-8DF512302CAB}"/>
                </a:ext>
              </a:extLst>
            </p:cNvPr>
            <p:cNvSpPr/>
            <p:nvPr userDrawn="1"/>
          </p:nvSpPr>
          <p:spPr>
            <a:xfrm>
              <a:off x="6882706" y="4139492"/>
              <a:ext cx="184787" cy="82127"/>
            </a:xfrm>
            <a:custGeom>
              <a:avLst/>
              <a:gdLst>
                <a:gd name="connsiteX0" fmla="*/ 200405 w 255546"/>
                <a:gd name="connsiteY0" fmla="*/ 0 h 113576"/>
                <a:gd name="connsiteX1" fmla="*/ 137938 w 255546"/>
                <a:gd name="connsiteY1" fmla="*/ 36912 h 113576"/>
                <a:gd name="connsiteX2" fmla="*/ 3067 w 255546"/>
                <a:gd name="connsiteY2" fmla="*/ 53949 h 113576"/>
                <a:gd name="connsiteX3" fmla="*/ 227 w 255546"/>
                <a:gd name="connsiteY3" fmla="*/ 89441 h 113576"/>
                <a:gd name="connsiteX4" fmla="*/ 193307 w 255546"/>
                <a:gd name="connsiteY4" fmla="*/ 102219 h 113576"/>
                <a:gd name="connsiteX5" fmla="*/ 196146 w 255546"/>
                <a:gd name="connsiteY5" fmla="*/ 112156 h 113576"/>
                <a:gd name="connsiteX6" fmla="*/ 261452 w 255546"/>
                <a:gd name="connsiteY6" fmla="*/ 116416 h 113576"/>
                <a:gd name="connsiteX7" fmla="*/ 262872 w 255546"/>
                <a:gd name="connsiteY7" fmla="*/ 32653 h 113576"/>
                <a:gd name="connsiteX8" fmla="*/ 200405 w 255546"/>
                <a:gd name="connsiteY8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46" h="113576">
                  <a:moveTo>
                    <a:pt x="200405" y="0"/>
                  </a:moveTo>
                  <a:cubicBezTo>
                    <a:pt x="200405" y="0"/>
                    <a:pt x="160653" y="35493"/>
                    <a:pt x="137938" y="36912"/>
                  </a:cubicBezTo>
                  <a:cubicBezTo>
                    <a:pt x="115223" y="38332"/>
                    <a:pt x="8745" y="52529"/>
                    <a:pt x="3067" y="53949"/>
                  </a:cubicBezTo>
                  <a:cubicBezTo>
                    <a:pt x="-1193" y="55368"/>
                    <a:pt x="227" y="89441"/>
                    <a:pt x="227" y="89441"/>
                  </a:cubicBezTo>
                  <a:cubicBezTo>
                    <a:pt x="227" y="89441"/>
                    <a:pt x="140778" y="124934"/>
                    <a:pt x="193307" y="102219"/>
                  </a:cubicBezTo>
                  <a:lnTo>
                    <a:pt x="196146" y="112156"/>
                  </a:lnTo>
                  <a:cubicBezTo>
                    <a:pt x="196146" y="112156"/>
                    <a:pt x="258613" y="122094"/>
                    <a:pt x="261452" y="116416"/>
                  </a:cubicBezTo>
                  <a:cubicBezTo>
                    <a:pt x="264292" y="110737"/>
                    <a:pt x="268551" y="52529"/>
                    <a:pt x="262872" y="32653"/>
                  </a:cubicBezTo>
                  <a:cubicBezTo>
                    <a:pt x="255774" y="14197"/>
                    <a:pt x="200405" y="0"/>
                    <a:pt x="200405" y="0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AFC4B1AB-599B-4361-A9F7-79C417986B68}"/>
                </a:ext>
              </a:extLst>
            </p:cNvPr>
            <p:cNvSpPr/>
            <p:nvPr userDrawn="1"/>
          </p:nvSpPr>
          <p:spPr>
            <a:xfrm>
              <a:off x="7027620" y="4122039"/>
              <a:ext cx="51330" cy="30798"/>
            </a:xfrm>
            <a:custGeom>
              <a:avLst/>
              <a:gdLst>
                <a:gd name="connsiteX0" fmla="*/ 12777 w 70985"/>
                <a:gd name="connsiteY0" fmla="*/ 0 h 42591"/>
                <a:gd name="connsiteX1" fmla="*/ 0 w 70985"/>
                <a:gd name="connsiteY1" fmla="*/ 24135 h 42591"/>
                <a:gd name="connsiteX2" fmla="*/ 62467 w 70985"/>
                <a:gd name="connsiteY2" fmla="*/ 56788 h 42591"/>
                <a:gd name="connsiteX3" fmla="*/ 79503 w 70985"/>
                <a:gd name="connsiteY3" fmla="*/ 34073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85" h="42591">
                  <a:moveTo>
                    <a:pt x="12777" y="0"/>
                  </a:moveTo>
                  <a:lnTo>
                    <a:pt x="0" y="24135"/>
                  </a:lnTo>
                  <a:lnTo>
                    <a:pt x="62467" y="56788"/>
                  </a:lnTo>
                  <a:lnTo>
                    <a:pt x="79503" y="34073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2346721F-481B-4B5E-97BD-82B1B86E19E9}"/>
                </a:ext>
              </a:extLst>
            </p:cNvPr>
            <p:cNvSpPr/>
            <p:nvPr userDrawn="1"/>
          </p:nvSpPr>
          <p:spPr>
            <a:xfrm>
              <a:off x="6686791" y="3969889"/>
              <a:ext cx="133457" cy="174521"/>
            </a:xfrm>
            <a:custGeom>
              <a:avLst/>
              <a:gdLst>
                <a:gd name="connsiteX0" fmla="*/ 178882 w 184561"/>
                <a:gd name="connsiteY0" fmla="*/ 142267 h 241349"/>
                <a:gd name="connsiteX1" fmla="*/ 117835 w 184561"/>
                <a:gd name="connsiteY1" fmla="*/ 112453 h 241349"/>
                <a:gd name="connsiteX2" fmla="*/ 31233 w 184561"/>
                <a:gd name="connsiteY2" fmla="*/ 297 h 241349"/>
                <a:gd name="connsiteX3" fmla="*/ 0 w 184561"/>
                <a:gd name="connsiteY3" fmla="*/ 15914 h 241349"/>
                <a:gd name="connsiteX4" fmla="*/ 88022 w 184561"/>
                <a:gd name="connsiteY4" fmla="*/ 187698 h 241349"/>
                <a:gd name="connsiteX5" fmla="*/ 80923 w 184561"/>
                <a:gd name="connsiteY5" fmla="*/ 196216 h 241349"/>
                <a:gd name="connsiteX6" fmla="*/ 110737 w 184561"/>
                <a:gd name="connsiteY6" fmla="*/ 254424 h 241349"/>
                <a:gd name="connsiteX7" fmla="*/ 183142 w 184561"/>
                <a:gd name="connsiteY7" fmla="*/ 211833 h 241349"/>
                <a:gd name="connsiteX8" fmla="*/ 178882 w 184561"/>
                <a:gd name="connsiteY8" fmla="*/ 142267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561" h="241349">
                  <a:moveTo>
                    <a:pt x="178882" y="142267"/>
                  </a:moveTo>
                  <a:cubicBezTo>
                    <a:pt x="178882" y="142267"/>
                    <a:pt x="130613" y="130910"/>
                    <a:pt x="117835" y="112453"/>
                  </a:cubicBezTo>
                  <a:cubicBezTo>
                    <a:pt x="105058" y="93997"/>
                    <a:pt x="35493" y="4556"/>
                    <a:pt x="31233" y="297"/>
                  </a:cubicBezTo>
                  <a:cubicBezTo>
                    <a:pt x="26974" y="-2542"/>
                    <a:pt x="0" y="15914"/>
                    <a:pt x="0" y="15914"/>
                  </a:cubicBezTo>
                  <a:cubicBezTo>
                    <a:pt x="0" y="15914"/>
                    <a:pt x="41171" y="155045"/>
                    <a:pt x="88022" y="187698"/>
                  </a:cubicBezTo>
                  <a:lnTo>
                    <a:pt x="80923" y="196216"/>
                  </a:lnTo>
                  <a:cubicBezTo>
                    <a:pt x="80923" y="196216"/>
                    <a:pt x="105058" y="254424"/>
                    <a:pt x="110737" y="254424"/>
                  </a:cubicBezTo>
                  <a:cubicBezTo>
                    <a:pt x="116416" y="254424"/>
                    <a:pt x="168945" y="227449"/>
                    <a:pt x="183142" y="211833"/>
                  </a:cubicBezTo>
                  <a:cubicBezTo>
                    <a:pt x="197339" y="197636"/>
                    <a:pt x="178882" y="142267"/>
                    <a:pt x="178882" y="142267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FE1FCCCD-50C0-4E8A-9674-79F57E0D859A}"/>
                </a:ext>
              </a:extLst>
            </p:cNvPr>
            <p:cNvSpPr/>
            <p:nvPr userDrawn="1"/>
          </p:nvSpPr>
          <p:spPr>
            <a:xfrm>
              <a:off x="6816142" y="4071737"/>
              <a:ext cx="20532" cy="51330"/>
            </a:xfrm>
            <a:custGeom>
              <a:avLst/>
              <a:gdLst>
                <a:gd name="connsiteX0" fmla="*/ 28394 w 28394"/>
                <a:gd name="connsiteY0" fmla="*/ 0 h 70985"/>
                <a:gd name="connsiteX1" fmla="*/ 0 w 28394"/>
                <a:gd name="connsiteY1" fmla="*/ 1420 h 70985"/>
                <a:gd name="connsiteX2" fmla="*/ 4259 w 28394"/>
                <a:gd name="connsiteY2" fmla="*/ 72405 h 70985"/>
                <a:gd name="connsiteX3" fmla="*/ 34073 w 28394"/>
                <a:gd name="connsiteY3" fmla="*/ 75244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70985">
                  <a:moveTo>
                    <a:pt x="28394" y="0"/>
                  </a:moveTo>
                  <a:lnTo>
                    <a:pt x="0" y="1420"/>
                  </a:lnTo>
                  <a:lnTo>
                    <a:pt x="4259" y="72405"/>
                  </a:lnTo>
                  <a:lnTo>
                    <a:pt x="34073" y="75244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BCF98E3C-9C0A-4059-8277-40D7BB3697E0}"/>
                </a:ext>
              </a:extLst>
            </p:cNvPr>
            <p:cNvSpPr/>
            <p:nvPr userDrawn="1"/>
          </p:nvSpPr>
          <p:spPr>
            <a:xfrm>
              <a:off x="6823328" y="3988582"/>
              <a:ext cx="759679" cy="143723"/>
            </a:xfrm>
            <a:custGeom>
              <a:avLst/>
              <a:gdLst>
                <a:gd name="connsiteX0" fmla="*/ 0 w 1050579"/>
                <a:gd name="connsiteY0" fmla="*/ 106478 h 198758"/>
                <a:gd name="connsiteX1" fmla="*/ 9938 w 1050579"/>
                <a:gd name="connsiteY1" fmla="*/ 207276 h 198758"/>
                <a:gd name="connsiteX2" fmla="*/ 364863 w 1050579"/>
                <a:gd name="connsiteY2" fmla="*/ 180302 h 198758"/>
                <a:gd name="connsiteX3" fmla="*/ 552264 w 1050579"/>
                <a:gd name="connsiteY3" fmla="*/ 168945 h 198758"/>
                <a:gd name="connsiteX4" fmla="*/ 908609 w 1050579"/>
                <a:gd name="connsiteY4" fmla="*/ 173204 h 198758"/>
                <a:gd name="connsiteX5" fmla="*/ 973916 w 1050579"/>
                <a:gd name="connsiteY5" fmla="*/ 173204 h 198758"/>
                <a:gd name="connsiteX6" fmla="*/ 973916 w 1050579"/>
                <a:gd name="connsiteY6" fmla="*/ 173204 h 198758"/>
                <a:gd name="connsiteX7" fmla="*/ 1047740 w 1050579"/>
                <a:gd name="connsiteY7" fmla="*/ 173204 h 198758"/>
                <a:gd name="connsiteX8" fmla="*/ 769478 w 1050579"/>
                <a:gd name="connsiteY8" fmla="*/ 0 h 198758"/>
                <a:gd name="connsiteX9" fmla="*/ 492637 w 1050579"/>
                <a:gd name="connsiteY9" fmla="*/ 51109 h 198758"/>
                <a:gd name="connsiteX10" fmla="*/ 208696 w 1050579"/>
                <a:gd name="connsiteY10" fmla="*/ 92281 h 198758"/>
                <a:gd name="connsiteX11" fmla="*/ 0 w 1050579"/>
                <a:gd name="connsiteY11" fmla="*/ 106478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579" h="198758">
                  <a:moveTo>
                    <a:pt x="0" y="106478"/>
                  </a:moveTo>
                  <a:lnTo>
                    <a:pt x="9938" y="207276"/>
                  </a:lnTo>
                  <a:cubicBezTo>
                    <a:pt x="9938" y="207276"/>
                    <a:pt x="306656" y="184561"/>
                    <a:pt x="364863" y="180302"/>
                  </a:cubicBezTo>
                  <a:cubicBezTo>
                    <a:pt x="421651" y="177463"/>
                    <a:pt x="498315" y="166105"/>
                    <a:pt x="552264" y="168945"/>
                  </a:cubicBezTo>
                  <a:cubicBezTo>
                    <a:pt x="586337" y="170364"/>
                    <a:pt x="775157" y="171784"/>
                    <a:pt x="908609" y="173204"/>
                  </a:cubicBezTo>
                  <a:cubicBezTo>
                    <a:pt x="932744" y="173204"/>
                    <a:pt x="954040" y="173204"/>
                    <a:pt x="973916" y="173204"/>
                  </a:cubicBezTo>
                  <a:cubicBezTo>
                    <a:pt x="973916" y="173204"/>
                    <a:pt x="973916" y="173204"/>
                    <a:pt x="973916" y="173204"/>
                  </a:cubicBezTo>
                  <a:cubicBezTo>
                    <a:pt x="1016507" y="173204"/>
                    <a:pt x="1044901" y="173204"/>
                    <a:pt x="1047740" y="173204"/>
                  </a:cubicBezTo>
                  <a:cubicBezTo>
                    <a:pt x="1057678" y="171784"/>
                    <a:pt x="1140021" y="28394"/>
                    <a:pt x="769478" y="0"/>
                  </a:cubicBezTo>
                  <a:cubicBezTo>
                    <a:pt x="769478" y="0"/>
                    <a:pt x="535228" y="44011"/>
                    <a:pt x="492637" y="51109"/>
                  </a:cubicBezTo>
                  <a:cubicBezTo>
                    <a:pt x="450046" y="56788"/>
                    <a:pt x="256966" y="90861"/>
                    <a:pt x="208696" y="92281"/>
                  </a:cubicBezTo>
                  <a:cubicBezTo>
                    <a:pt x="157587" y="92281"/>
                    <a:pt x="0" y="106478"/>
                    <a:pt x="0" y="106478"/>
                  </a:cubicBezTo>
                  <a:close/>
                </a:path>
              </a:pathLst>
            </a:custGeom>
            <a:solidFill>
              <a:srgbClr val="995D3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5067A0F4-DF37-4C19-A2E1-F95C5C64BD3B}"/>
                </a:ext>
              </a:extLst>
            </p:cNvPr>
            <p:cNvSpPr/>
            <p:nvPr userDrawn="1"/>
          </p:nvSpPr>
          <p:spPr>
            <a:xfrm>
              <a:off x="7592247" y="3818168"/>
              <a:ext cx="174521" cy="20532"/>
            </a:xfrm>
            <a:custGeom>
              <a:avLst/>
              <a:gdLst>
                <a:gd name="connsiteX0" fmla="*/ 0 w 241349"/>
                <a:gd name="connsiteY0" fmla="*/ 38332 h 28394"/>
                <a:gd name="connsiteX1" fmla="*/ 249868 w 241349"/>
                <a:gd name="connsiteY1" fmla="*/ 38332 h 28394"/>
                <a:gd name="connsiteX2" fmla="*/ 237090 w 241349"/>
                <a:gd name="connsiteY2" fmla="*/ 8518 h 28394"/>
                <a:gd name="connsiteX3" fmla="*/ 234251 w 241349"/>
                <a:gd name="connsiteY3" fmla="*/ 0 h 28394"/>
                <a:gd name="connsiteX4" fmla="*/ 1420 w 241349"/>
                <a:gd name="connsiteY4" fmla="*/ 0 h 28394"/>
                <a:gd name="connsiteX5" fmla="*/ 0 w 241349"/>
                <a:gd name="connsiteY5" fmla="*/ 38332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49" h="28394">
                  <a:moveTo>
                    <a:pt x="0" y="38332"/>
                  </a:moveTo>
                  <a:lnTo>
                    <a:pt x="249868" y="38332"/>
                  </a:lnTo>
                  <a:cubicBezTo>
                    <a:pt x="242769" y="19876"/>
                    <a:pt x="237090" y="8518"/>
                    <a:pt x="237090" y="8518"/>
                  </a:cubicBezTo>
                  <a:cubicBezTo>
                    <a:pt x="235671" y="5679"/>
                    <a:pt x="235671" y="2839"/>
                    <a:pt x="234251" y="0"/>
                  </a:cubicBezTo>
                  <a:lnTo>
                    <a:pt x="1420" y="0"/>
                  </a:lnTo>
                  <a:lnTo>
                    <a:pt x="0" y="38332"/>
                  </a:lnTo>
                  <a:close/>
                </a:path>
              </a:pathLst>
            </a:custGeom>
            <a:solidFill>
              <a:srgbClr val="3C639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9415437B-6606-4EE7-B4EC-8994142C5578}"/>
                </a:ext>
              </a:extLst>
            </p:cNvPr>
            <p:cNvSpPr/>
            <p:nvPr userDrawn="1"/>
          </p:nvSpPr>
          <p:spPr>
            <a:xfrm>
              <a:off x="7409683" y="3602451"/>
              <a:ext cx="256649" cy="420903"/>
            </a:xfrm>
            <a:custGeom>
              <a:avLst/>
              <a:gdLst>
                <a:gd name="connsiteX0" fmla="*/ 106242 w 354925"/>
                <a:gd name="connsiteY0" fmla="*/ 28577 h 582077"/>
                <a:gd name="connsiteX1" fmla="*/ 5444 w 354925"/>
                <a:gd name="connsiteY1" fmla="*/ 79686 h 582077"/>
                <a:gd name="connsiteX2" fmla="*/ 16801 w 354925"/>
                <a:gd name="connsiteY2" fmla="*/ 294061 h 582077"/>
                <a:gd name="connsiteX3" fmla="*/ 15381 w 354925"/>
                <a:gd name="connsiteY3" fmla="*/ 485721 h 582077"/>
                <a:gd name="connsiteX4" fmla="*/ 317778 w 354925"/>
                <a:gd name="connsiteY4" fmla="*/ 592198 h 582077"/>
                <a:gd name="connsiteX5" fmla="*/ 346172 w 354925"/>
                <a:gd name="connsiteY5" fmla="*/ 379243 h 582077"/>
                <a:gd name="connsiteX6" fmla="*/ 356110 w 354925"/>
                <a:gd name="connsiteY6" fmla="*/ 177645 h 582077"/>
                <a:gd name="connsiteX7" fmla="*/ 366048 w 354925"/>
                <a:gd name="connsiteY7" fmla="*/ 41354 h 582077"/>
                <a:gd name="connsiteX8" fmla="*/ 209881 w 354925"/>
                <a:gd name="connsiteY8" fmla="*/ 183 h 582077"/>
                <a:gd name="connsiteX9" fmla="*/ 106242 w 354925"/>
                <a:gd name="connsiteY9" fmla="*/ 28577 h 58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4925" h="582077">
                  <a:moveTo>
                    <a:pt x="106242" y="28577"/>
                  </a:moveTo>
                  <a:cubicBezTo>
                    <a:pt x="106242" y="28577"/>
                    <a:pt x="22480" y="56971"/>
                    <a:pt x="5444" y="79686"/>
                  </a:cubicBezTo>
                  <a:cubicBezTo>
                    <a:pt x="-11593" y="100981"/>
                    <a:pt x="16801" y="294061"/>
                    <a:pt x="16801" y="294061"/>
                  </a:cubicBezTo>
                  <a:lnTo>
                    <a:pt x="15381" y="485721"/>
                  </a:lnTo>
                  <a:cubicBezTo>
                    <a:pt x="15381" y="485721"/>
                    <a:pt x="211300" y="586519"/>
                    <a:pt x="317778" y="592198"/>
                  </a:cubicBezTo>
                  <a:cubicBezTo>
                    <a:pt x="317778" y="592198"/>
                    <a:pt x="347592" y="444549"/>
                    <a:pt x="346172" y="379243"/>
                  </a:cubicBezTo>
                  <a:cubicBezTo>
                    <a:pt x="344752" y="313937"/>
                    <a:pt x="356110" y="177645"/>
                    <a:pt x="356110" y="177645"/>
                  </a:cubicBezTo>
                  <a:cubicBezTo>
                    <a:pt x="356110" y="177645"/>
                    <a:pt x="346172" y="72587"/>
                    <a:pt x="366048" y="41354"/>
                  </a:cubicBezTo>
                  <a:cubicBezTo>
                    <a:pt x="366048" y="41354"/>
                    <a:pt x="251052" y="1602"/>
                    <a:pt x="209881" y="183"/>
                  </a:cubicBezTo>
                  <a:cubicBezTo>
                    <a:pt x="170129" y="-2657"/>
                    <a:pt x="106242" y="28577"/>
                    <a:pt x="106242" y="28577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3FCC613F-15E7-48B7-B7D9-2A59482CEBC5}"/>
                </a:ext>
              </a:extLst>
            </p:cNvPr>
            <p:cNvSpPr/>
            <p:nvPr userDrawn="1"/>
          </p:nvSpPr>
          <p:spPr>
            <a:xfrm>
              <a:off x="7588140" y="3630301"/>
              <a:ext cx="215584" cy="266915"/>
            </a:xfrm>
            <a:custGeom>
              <a:avLst/>
              <a:gdLst>
                <a:gd name="connsiteX0" fmla="*/ 120675 w 298137"/>
                <a:gd name="connsiteY0" fmla="*/ 0 h 369122"/>
                <a:gd name="connsiteX1" fmla="*/ 184561 w 298137"/>
                <a:gd name="connsiteY1" fmla="*/ 69565 h 369122"/>
                <a:gd name="connsiteX2" fmla="*/ 300977 w 298137"/>
                <a:gd name="connsiteY2" fmla="*/ 271163 h 369122"/>
                <a:gd name="connsiteX3" fmla="*/ 235671 w 298137"/>
                <a:gd name="connsiteY3" fmla="*/ 318013 h 369122"/>
                <a:gd name="connsiteX4" fmla="*/ 28394 w 298137"/>
                <a:gd name="connsiteY4" fmla="*/ 376221 h 369122"/>
                <a:gd name="connsiteX5" fmla="*/ 0 w 298137"/>
                <a:gd name="connsiteY5" fmla="*/ 312334 h 369122"/>
                <a:gd name="connsiteX6" fmla="*/ 184561 w 298137"/>
                <a:gd name="connsiteY6" fmla="*/ 254127 h 369122"/>
                <a:gd name="connsiteX7" fmla="*/ 110737 w 298137"/>
                <a:gd name="connsiteY7" fmla="*/ 146229 h 369122"/>
                <a:gd name="connsiteX8" fmla="*/ 120675 w 298137"/>
                <a:gd name="connsiteY8" fmla="*/ 0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137" h="369122">
                  <a:moveTo>
                    <a:pt x="120675" y="0"/>
                  </a:moveTo>
                  <a:cubicBezTo>
                    <a:pt x="120675" y="0"/>
                    <a:pt x="170364" y="48270"/>
                    <a:pt x="184561" y="69565"/>
                  </a:cubicBezTo>
                  <a:cubicBezTo>
                    <a:pt x="201598" y="93700"/>
                    <a:pt x="305236" y="254127"/>
                    <a:pt x="300977" y="271163"/>
                  </a:cubicBezTo>
                  <a:cubicBezTo>
                    <a:pt x="298137" y="289619"/>
                    <a:pt x="282521" y="303816"/>
                    <a:pt x="235671" y="318013"/>
                  </a:cubicBezTo>
                  <a:cubicBezTo>
                    <a:pt x="187401" y="330791"/>
                    <a:pt x="28394" y="376221"/>
                    <a:pt x="28394" y="376221"/>
                  </a:cubicBezTo>
                  <a:lnTo>
                    <a:pt x="0" y="312334"/>
                  </a:lnTo>
                  <a:cubicBezTo>
                    <a:pt x="0" y="312334"/>
                    <a:pt x="166105" y="266904"/>
                    <a:pt x="184561" y="254127"/>
                  </a:cubicBezTo>
                  <a:cubicBezTo>
                    <a:pt x="203017" y="242769"/>
                    <a:pt x="110737" y="146229"/>
                    <a:pt x="110737" y="146229"/>
                  </a:cubicBezTo>
                  <a:cubicBezTo>
                    <a:pt x="110737" y="146229"/>
                    <a:pt x="70985" y="28394"/>
                    <a:pt x="120675" y="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82C29A4D-3448-4D2D-8A70-68942D18235A}"/>
                </a:ext>
              </a:extLst>
            </p:cNvPr>
            <p:cNvSpPr/>
            <p:nvPr userDrawn="1"/>
          </p:nvSpPr>
          <p:spPr>
            <a:xfrm>
              <a:off x="7327546" y="3660029"/>
              <a:ext cx="102659" cy="143723"/>
            </a:xfrm>
            <a:custGeom>
              <a:avLst/>
              <a:gdLst>
                <a:gd name="connsiteX0" fmla="*/ 119033 w 141970"/>
                <a:gd name="connsiteY0" fmla="*/ 60 h 198758"/>
                <a:gd name="connsiteX1" fmla="*/ 1197 w 141970"/>
                <a:gd name="connsiteY1" fmla="*/ 164745 h 198758"/>
                <a:gd name="connsiteX2" fmla="*/ 82120 w 141970"/>
                <a:gd name="connsiteY2" fmla="*/ 207336 h 198758"/>
                <a:gd name="connsiteX3" fmla="*/ 143168 w 141970"/>
                <a:gd name="connsiteY3" fmla="*/ 103698 h 198758"/>
                <a:gd name="connsiteX4" fmla="*/ 119033 w 141970"/>
                <a:gd name="connsiteY4" fmla="*/ 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70" h="198758">
                  <a:moveTo>
                    <a:pt x="119033" y="60"/>
                  </a:moveTo>
                  <a:cubicBezTo>
                    <a:pt x="119033" y="60"/>
                    <a:pt x="13975" y="150548"/>
                    <a:pt x="1197" y="164745"/>
                  </a:cubicBezTo>
                  <a:cubicBezTo>
                    <a:pt x="-11580" y="178942"/>
                    <a:pt x="82120" y="207336"/>
                    <a:pt x="82120" y="207336"/>
                  </a:cubicBezTo>
                  <a:cubicBezTo>
                    <a:pt x="82120" y="207336"/>
                    <a:pt x="130390" y="110796"/>
                    <a:pt x="143168" y="103698"/>
                  </a:cubicBezTo>
                  <a:cubicBezTo>
                    <a:pt x="157365" y="96599"/>
                    <a:pt x="161624" y="-2780"/>
                    <a:pt x="119033" y="6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DF525D87-7925-4382-A1B8-7CA40E5C0489}"/>
                </a:ext>
              </a:extLst>
            </p:cNvPr>
            <p:cNvSpPr/>
            <p:nvPr userDrawn="1"/>
          </p:nvSpPr>
          <p:spPr>
            <a:xfrm>
              <a:off x="7021460" y="3870374"/>
              <a:ext cx="615956" cy="287446"/>
            </a:xfrm>
            <a:custGeom>
              <a:avLst/>
              <a:gdLst>
                <a:gd name="connsiteX0" fmla="*/ 854661 w 851821"/>
                <a:gd name="connsiteY0" fmla="*/ 245816 h 397516"/>
                <a:gd name="connsiteX1" fmla="*/ 793613 w 851821"/>
                <a:gd name="connsiteY1" fmla="*/ 343775 h 397516"/>
                <a:gd name="connsiteX2" fmla="*/ 552264 w 851821"/>
                <a:gd name="connsiteY2" fmla="*/ 278469 h 397516"/>
                <a:gd name="connsiteX3" fmla="*/ 300977 w 851821"/>
                <a:gd name="connsiteY3" fmla="*/ 177670 h 397516"/>
                <a:gd name="connsiteX4" fmla="*/ 102219 w 851821"/>
                <a:gd name="connsiteY4" fmla="*/ 407662 h 397516"/>
                <a:gd name="connsiteX5" fmla="*/ 0 w 851821"/>
                <a:gd name="connsiteY5" fmla="*/ 360812 h 397516"/>
                <a:gd name="connsiteX6" fmla="*/ 198758 w 851821"/>
                <a:gd name="connsiteY6" fmla="*/ 79711 h 397516"/>
                <a:gd name="connsiteX7" fmla="*/ 283940 w 851821"/>
                <a:gd name="connsiteY7" fmla="*/ 208 h 397516"/>
                <a:gd name="connsiteX8" fmla="*/ 854661 w 851821"/>
                <a:gd name="connsiteY8" fmla="*/ 200386 h 397516"/>
                <a:gd name="connsiteX9" fmla="*/ 854661 w 851821"/>
                <a:gd name="connsiteY9" fmla="*/ 245816 h 39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1821" h="397516">
                  <a:moveTo>
                    <a:pt x="854661" y="245816"/>
                  </a:moveTo>
                  <a:cubicBezTo>
                    <a:pt x="854661" y="245816"/>
                    <a:pt x="861759" y="335257"/>
                    <a:pt x="793613" y="343775"/>
                  </a:cubicBezTo>
                  <a:cubicBezTo>
                    <a:pt x="725468" y="350874"/>
                    <a:pt x="650224" y="329578"/>
                    <a:pt x="552264" y="278469"/>
                  </a:cubicBezTo>
                  <a:cubicBezTo>
                    <a:pt x="454305" y="225940"/>
                    <a:pt x="323692" y="167732"/>
                    <a:pt x="300977" y="177670"/>
                  </a:cubicBezTo>
                  <a:cubicBezTo>
                    <a:pt x="278262" y="187608"/>
                    <a:pt x="102219" y="407662"/>
                    <a:pt x="102219" y="407662"/>
                  </a:cubicBezTo>
                  <a:lnTo>
                    <a:pt x="0" y="360812"/>
                  </a:lnTo>
                  <a:cubicBezTo>
                    <a:pt x="0" y="360812"/>
                    <a:pt x="190240" y="102426"/>
                    <a:pt x="198758" y="79711"/>
                  </a:cubicBezTo>
                  <a:cubicBezTo>
                    <a:pt x="207277" y="58415"/>
                    <a:pt x="244189" y="-4052"/>
                    <a:pt x="283940" y="208"/>
                  </a:cubicBezTo>
                  <a:cubicBezTo>
                    <a:pt x="322272" y="4467"/>
                    <a:pt x="854661" y="200386"/>
                    <a:pt x="854661" y="200386"/>
                  </a:cubicBezTo>
                  <a:lnTo>
                    <a:pt x="854661" y="245816"/>
                  </a:lnTo>
                  <a:close/>
                </a:path>
              </a:pathLst>
            </a:custGeom>
            <a:solidFill>
              <a:srgbClr val="A3633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7354BE27-EC32-4B37-8800-50B4ADA19F7A}"/>
                </a:ext>
              </a:extLst>
            </p:cNvPr>
            <p:cNvSpPr/>
            <p:nvPr userDrawn="1"/>
          </p:nvSpPr>
          <p:spPr>
            <a:xfrm>
              <a:off x="7426085" y="3404463"/>
              <a:ext cx="133457" cy="195052"/>
            </a:xfrm>
            <a:custGeom>
              <a:avLst/>
              <a:gdLst>
                <a:gd name="connsiteX0" fmla="*/ 65104 w 184561"/>
                <a:gd name="connsiteY0" fmla="*/ 1403 h 269743"/>
                <a:gd name="connsiteX1" fmla="*/ 4057 w 184561"/>
                <a:gd name="connsiteY1" fmla="*/ 141953 h 269743"/>
                <a:gd name="connsiteX2" fmla="*/ 104855 w 184561"/>
                <a:gd name="connsiteY2" fmla="*/ 272566 h 269743"/>
                <a:gd name="connsiteX3" fmla="*/ 177260 w 184561"/>
                <a:gd name="connsiteY3" fmla="*/ 183125 h 269743"/>
                <a:gd name="connsiteX4" fmla="*/ 177260 w 184561"/>
                <a:gd name="connsiteY4" fmla="*/ 32636 h 269743"/>
                <a:gd name="connsiteX5" fmla="*/ 65104 w 184561"/>
                <a:gd name="connsiteY5" fmla="*/ 1403 h 26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561" h="269743">
                  <a:moveTo>
                    <a:pt x="65104" y="1403"/>
                  </a:moveTo>
                  <a:cubicBezTo>
                    <a:pt x="26772" y="5662"/>
                    <a:pt x="-12980" y="55352"/>
                    <a:pt x="4057" y="141953"/>
                  </a:cubicBezTo>
                  <a:cubicBezTo>
                    <a:pt x="21093" y="228555"/>
                    <a:pt x="65104" y="276825"/>
                    <a:pt x="104855" y="272566"/>
                  </a:cubicBezTo>
                  <a:cubicBezTo>
                    <a:pt x="144607" y="266887"/>
                    <a:pt x="155965" y="232814"/>
                    <a:pt x="177260" y="183125"/>
                  </a:cubicBezTo>
                  <a:cubicBezTo>
                    <a:pt x="197136" y="133435"/>
                    <a:pt x="197136" y="46833"/>
                    <a:pt x="177260" y="32636"/>
                  </a:cubicBezTo>
                  <a:cubicBezTo>
                    <a:pt x="155965" y="15600"/>
                    <a:pt x="138928" y="-5696"/>
                    <a:pt x="65104" y="140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6DE5F0BF-E457-46C5-849A-45C045CED530}"/>
                </a:ext>
              </a:extLst>
            </p:cNvPr>
            <p:cNvSpPr/>
            <p:nvPr userDrawn="1"/>
          </p:nvSpPr>
          <p:spPr>
            <a:xfrm>
              <a:off x="7483427" y="3514034"/>
              <a:ext cx="71861" cy="123191"/>
            </a:xfrm>
            <a:custGeom>
              <a:avLst/>
              <a:gdLst>
                <a:gd name="connsiteX0" fmla="*/ 0 w 99379"/>
                <a:gd name="connsiteY0" fmla="*/ 106840 h 170364"/>
                <a:gd name="connsiteX1" fmla="*/ 8518 w 99379"/>
                <a:gd name="connsiteY1" fmla="*/ 166468 h 170364"/>
                <a:gd name="connsiteX2" fmla="*/ 109317 w 99379"/>
                <a:gd name="connsiteY2" fmla="*/ 140913 h 170364"/>
                <a:gd name="connsiteX3" fmla="*/ 106478 w 99379"/>
                <a:gd name="connsiteY3" fmla="*/ 10300 h 170364"/>
                <a:gd name="connsiteX4" fmla="*/ 0 w 99379"/>
                <a:gd name="connsiteY4" fmla="*/ 106840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170364">
                  <a:moveTo>
                    <a:pt x="0" y="106840"/>
                  </a:moveTo>
                  <a:cubicBezTo>
                    <a:pt x="0" y="106840"/>
                    <a:pt x="9938" y="145172"/>
                    <a:pt x="8518" y="166468"/>
                  </a:cubicBezTo>
                  <a:cubicBezTo>
                    <a:pt x="8518" y="166468"/>
                    <a:pt x="68146" y="192022"/>
                    <a:pt x="109317" y="140913"/>
                  </a:cubicBezTo>
                  <a:cubicBezTo>
                    <a:pt x="109317" y="140913"/>
                    <a:pt x="93700" y="59990"/>
                    <a:pt x="106478" y="10300"/>
                  </a:cubicBezTo>
                  <a:cubicBezTo>
                    <a:pt x="117835" y="-39389"/>
                    <a:pt x="0" y="106840"/>
                    <a:pt x="0" y="10684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68E52F7C-44F4-4DCD-ABD1-0D4DF6C17555}"/>
                </a:ext>
              </a:extLst>
            </p:cNvPr>
            <p:cNvSpPr/>
            <p:nvPr userDrawn="1"/>
          </p:nvSpPr>
          <p:spPr>
            <a:xfrm>
              <a:off x="7423933" y="3401902"/>
              <a:ext cx="143723" cy="133457"/>
            </a:xfrm>
            <a:custGeom>
              <a:avLst/>
              <a:gdLst>
                <a:gd name="connsiteX0" fmla="*/ 2773 w 198758"/>
                <a:gd name="connsiteY0" fmla="*/ 141236 h 184561"/>
                <a:gd name="connsiteX1" fmla="*/ 83696 w 198758"/>
                <a:gd name="connsiteY1" fmla="*/ 110002 h 184561"/>
                <a:gd name="connsiteX2" fmla="*/ 130546 w 198758"/>
                <a:gd name="connsiteY2" fmla="*/ 144075 h 184561"/>
                <a:gd name="connsiteX3" fmla="*/ 147583 w 198758"/>
                <a:gd name="connsiteY3" fmla="*/ 151174 h 184561"/>
                <a:gd name="connsiteX4" fmla="*/ 183075 w 198758"/>
                <a:gd name="connsiteY4" fmla="*/ 185246 h 184561"/>
                <a:gd name="connsiteX5" fmla="*/ 204371 w 198758"/>
                <a:gd name="connsiteY5" fmla="*/ 74510 h 184561"/>
                <a:gd name="connsiteX6" fmla="*/ 73758 w 198758"/>
                <a:gd name="connsiteY6" fmla="*/ 685 h 184561"/>
                <a:gd name="connsiteX7" fmla="*/ 2773 w 198758"/>
                <a:gd name="connsiteY7" fmla="*/ 141236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758" h="184561">
                  <a:moveTo>
                    <a:pt x="2773" y="141236"/>
                  </a:moveTo>
                  <a:cubicBezTo>
                    <a:pt x="2773" y="141236"/>
                    <a:pt x="56722" y="114261"/>
                    <a:pt x="83696" y="110002"/>
                  </a:cubicBezTo>
                  <a:cubicBezTo>
                    <a:pt x="112090" y="105743"/>
                    <a:pt x="137645" y="117101"/>
                    <a:pt x="130546" y="144075"/>
                  </a:cubicBezTo>
                  <a:lnTo>
                    <a:pt x="147583" y="151174"/>
                  </a:lnTo>
                  <a:cubicBezTo>
                    <a:pt x="147583" y="151174"/>
                    <a:pt x="178816" y="166790"/>
                    <a:pt x="183075" y="185246"/>
                  </a:cubicBezTo>
                  <a:cubicBezTo>
                    <a:pt x="183075" y="185246"/>
                    <a:pt x="202951" y="102904"/>
                    <a:pt x="204371" y="74510"/>
                  </a:cubicBezTo>
                  <a:cubicBezTo>
                    <a:pt x="205791" y="43276"/>
                    <a:pt x="173137" y="-6413"/>
                    <a:pt x="73758" y="685"/>
                  </a:cubicBezTo>
                  <a:cubicBezTo>
                    <a:pt x="-24201" y="4944"/>
                    <a:pt x="4193" y="128458"/>
                    <a:pt x="2773" y="141236"/>
                  </a:cubicBezTo>
                  <a:close/>
                </a:path>
              </a:pathLst>
            </a:custGeom>
            <a:solidFill>
              <a:srgbClr val="283B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86380B97-4FC7-45B9-ADC0-6F7F9B67EF50}"/>
                </a:ext>
              </a:extLst>
            </p:cNvPr>
            <p:cNvSpPr/>
            <p:nvPr userDrawn="1"/>
          </p:nvSpPr>
          <p:spPr>
            <a:xfrm>
              <a:off x="7525676" y="3482966"/>
              <a:ext cx="20532" cy="41064"/>
            </a:xfrm>
            <a:custGeom>
              <a:avLst/>
              <a:gdLst>
                <a:gd name="connsiteX0" fmla="*/ 2621 w 28394"/>
                <a:gd name="connsiteY0" fmla="*/ 19192 h 56788"/>
                <a:gd name="connsiteX1" fmla="*/ 32435 w 28394"/>
                <a:gd name="connsiteY1" fmla="*/ 7835 h 56788"/>
                <a:gd name="connsiteX2" fmla="*/ 9719 w 28394"/>
                <a:gd name="connsiteY2" fmla="*/ 57524 h 56788"/>
                <a:gd name="connsiteX3" fmla="*/ 2621 w 28394"/>
                <a:gd name="connsiteY3" fmla="*/ 1919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621" y="19192"/>
                  </a:moveTo>
                  <a:cubicBezTo>
                    <a:pt x="5460" y="7835"/>
                    <a:pt x="22497" y="-10621"/>
                    <a:pt x="32435" y="7835"/>
                  </a:cubicBezTo>
                  <a:cubicBezTo>
                    <a:pt x="42373" y="26291"/>
                    <a:pt x="21077" y="57524"/>
                    <a:pt x="9719" y="57524"/>
                  </a:cubicBezTo>
                  <a:cubicBezTo>
                    <a:pt x="-1638" y="57524"/>
                    <a:pt x="-1638" y="34809"/>
                    <a:pt x="2621" y="191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95F56CF8-1250-4CF6-8033-5FF8C9714611}"/>
                </a:ext>
              </a:extLst>
            </p:cNvPr>
            <p:cNvSpPr/>
            <p:nvPr userDrawn="1"/>
          </p:nvSpPr>
          <p:spPr>
            <a:xfrm>
              <a:off x="7340731" y="3716605"/>
              <a:ext cx="420903" cy="328510"/>
            </a:xfrm>
            <a:custGeom>
              <a:avLst/>
              <a:gdLst>
                <a:gd name="connsiteX0" fmla="*/ 15617 w 582077"/>
                <a:gd name="connsiteY0" fmla="*/ 68049 h 454304"/>
                <a:gd name="connsiteX1" fmla="*/ 173204 w 582077"/>
                <a:gd name="connsiteY1" fmla="*/ 28297 h 454304"/>
                <a:gd name="connsiteX2" fmla="*/ 454305 w 582077"/>
                <a:gd name="connsiteY2" fmla="*/ 70888 h 454304"/>
                <a:gd name="connsiteX3" fmla="*/ 572140 w 582077"/>
                <a:gd name="connsiteY3" fmla="*/ 337792 h 454304"/>
                <a:gd name="connsiteX4" fmla="*/ 570720 w 582077"/>
                <a:gd name="connsiteY4" fmla="*/ 342051 h 454304"/>
                <a:gd name="connsiteX5" fmla="*/ 549425 w 582077"/>
                <a:gd name="connsiteY5" fmla="*/ 381803 h 454304"/>
                <a:gd name="connsiteX6" fmla="*/ 299557 w 582077"/>
                <a:gd name="connsiteY6" fmla="*/ 451368 h 454304"/>
                <a:gd name="connsiteX7" fmla="*/ 69565 w 582077"/>
                <a:gd name="connsiteY7" fmla="*/ 282424 h 454304"/>
                <a:gd name="connsiteX8" fmla="*/ 89441 w 582077"/>
                <a:gd name="connsiteY8" fmla="*/ 166008 h 454304"/>
                <a:gd name="connsiteX9" fmla="*/ 0 w 582077"/>
                <a:gd name="connsiteY9" fmla="*/ 102122 h 454304"/>
                <a:gd name="connsiteX10" fmla="*/ 15617 w 582077"/>
                <a:gd name="connsiteY10" fmla="*/ 68049 h 45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2077" h="454304">
                  <a:moveTo>
                    <a:pt x="15617" y="68049"/>
                  </a:moveTo>
                  <a:cubicBezTo>
                    <a:pt x="38332" y="25458"/>
                    <a:pt x="89441" y="-37009"/>
                    <a:pt x="173204" y="28297"/>
                  </a:cubicBezTo>
                  <a:cubicBezTo>
                    <a:pt x="292459" y="119158"/>
                    <a:pt x="305236" y="11261"/>
                    <a:pt x="454305" y="70888"/>
                  </a:cubicBezTo>
                  <a:cubicBezTo>
                    <a:pt x="559363" y="112060"/>
                    <a:pt x="618990" y="224216"/>
                    <a:pt x="572140" y="337792"/>
                  </a:cubicBezTo>
                  <a:lnTo>
                    <a:pt x="570720" y="342051"/>
                  </a:lnTo>
                  <a:cubicBezTo>
                    <a:pt x="565041" y="356248"/>
                    <a:pt x="557943" y="369026"/>
                    <a:pt x="549425" y="381803"/>
                  </a:cubicBezTo>
                  <a:cubicBezTo>
                    <a:pt x="494056" y="464146"/>
                    <a:pt x="391838" y="488281"/>
                    <a:pt x="299557" y="451368"/>
                  </a:cubicBezTo>
                  <a:cubicBezTo>
                    <a:pt x="150488" y="393161"/>
                    <a:pt x="185981" y="298041"/>
                    <a:pt x="69565" y="282424"/>
                  </a:cubicBezTo>
                  <a:cubicBezTo>
                    <a:pt x="-61047" y="265387"/>
                    <a:pt x="89441" y="166008"/>
                    <a:pt x="89441" y="166008"/>
                  </a:cubicBezTo>
                  <a:lnTo>
                    <a:pt x="0" y="102122"/>
                  </a:lnTo>
                  <a:cubicBezTo>
                    <a:pt x="1420" y="100702"/>
                    <a:pt x="7099" y="86505"/>
                    <a:pt x="15617" y="68049"/>
                  </a:cubicBezTo>
                  <a:close/>
                </a:path>
              </a:pathLst>
            </a:custGeom>
            <a:solidFill>
              <a:srgbClr val="FCBC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27A8F782-BA09-40E1-8534-68B88AA40D49}"/>
                </a:ext>
              </a:extLst>
            </p:cNvPr>
            <p:cNvSpPr/>
            <p:nvPr userDrawn="1"/>
          </p:nvSpPr>
          <p:spPr>
            <a:xfrm>
              <a:off x="7336625" y="3710706"/>
              <a:ext cx="431169" cy="338776"/>
            </a:xfrm>
            <a:custGeom>
              <a:avLst/>
              <a:gdLst>
                <a:gd name="connsiteX0" fmla="*/ 2839 w 596274"/>
                <a:gd name="connsiteY0" fmla="*/ 100342 h 468501"/>
                <a:gd name="connsiteX1" fmla="*/ 1420 w 596274"/>
                <a:gd name="connsiteY1" fmla="*/ 106021 h 468501"/>
                <a:gd name="connsiteX2" fmla="*/ 0 w 596274"/>
                <a:gd name="connsiteY2" fmla="*/ 110280 h 468501"/>
                <a:gd name="connsiteX3" fmla="*/ 85182 w 596274"/>
                <a:gd name="connsiteY3" fmla="*/ 171327 h 468501"/>
                <a:gd name="connsiteX4" fmla="*/ 18456 w 596274"/>
                <a:gd name="connsiteY4" fmla="*/ 263608 h 468501"/>
                <a:gd name="connsiteX5" fmla="*/ 78084 w 596274"/>
                <a:gd name="connsiteY5" fmla="*/ 296261 h 468501"/>
                <a:gd name="connsiteX6" fmla="*/ 174623 w 596274"/>
                <a:gd name="connsiteY6" fmla="*/ 361568 h 468501"/>
                <a:gd name="connsiteX7" fmla="*/ 306656 w 596274"/>
                <a:gd name="connsiteY7" fmla="*/ 465206 h 468501"/>
                <a:gd name="connsiteX8" fmla="*/ 565041 w 596274"/>
                <a:gd name="connsiteY8" fmla="*/ 392801 h 468501"/>
                <a:gd name="connsiteX9" fmla="*/ 583498 w 596274"/>
                <a:gd name="connsiteY9" fmla="*/ 357308 h 468501"/>
                <a:gd name="connsiteX10" fmla="*/ 586337 w 596274"/>
                <a:gd name="connsiteY10" fmla="*/ 351630 h 468501"/>
                <a:gd name="connsiteX11" fmla="*/ 587757 w 596274"/>
                <a:gd name="connsiteY11" fmla="*/ 347371 h 468501"/>
                <a:gd name="connsiteX12" fmla="*/ 584917 w 596274"/>
                <a:gd name="connsiteY12" fmla="*/ 181265 h 468501"/>
                <a:gd name="connsiteX13" fmla="*/ 464243 w 596274"/>
                <a:gd name="connsiteY13" fmla="*/ 70529 h 468501"/>
                <a:gd name="connsiteX14" fmla="*/ 313754 w 596274"/>
                <a:gd name="connsiteY14" fmla="*/ 59171 h 468501"/>
                <a:gd name="connsiteX15" fmla="*/ 184561 w 596274"/>
                <a:gd name="connsiteY15" fmla="*/ 29357 h 468501"/>
                <a:gd name="connsiteX16" fmla="*/ 96540 w 596274"/>
                <a:gd name="connsiteY16" fmla="*/ 963 h 468501"/>
                <a:gd name="connsiteX17" fmla="*/ 14197 w 596274"/>
                <a:gd name="connsiteY17" fmla="*/ 71948 h 468501"/>
                <a:gd name="connsiteX18" fmla="*/ 2839 w 596274"/>
                <a:gd name="connsiteY18" fmla="*/ 100342 h 468501"/>
                <a:gd name="connsiteX19" fmla="*/ 51109 w 596274"/>
                <a:gd name="connsiteY19" fmla="*/ 131576 h 468501"/>
                <a:gd name="connsiteX20" fmla="*/ 15617 w 596274"/>
                <a:gd name="connsiteY20" fmla="*/ 106021 h 468501"/>
                <a:gd name="connsiteX21" fmla="*/ 17036 w 596274"/>
                <a:gd name="connsiteY21" fmla="*/ 101762 h 468501"/>
                <a:gd name="connsiteX22" fmla="*/ 26974 w 596274"/>
                <a:gd name="connsiteY22" fmla="*/ 79047 h 468501"/>
                <a:gd name="connsiteX23" fmla="*/ 99379 w 596274"/>
                <a:gd name="connsiteY23" fmla="*/ 15160 h 468501"/>
                <a:gd name="connsiteX24" fmla="*/ 174623 w 596274"/>
                <a:gd name="connsiteY24" fmla="*/ 40715 h 468501"/>
                <a:gd name="connsiteX25" fmla="*/ 318013 w 596274"/>
                <a:gd name="connsiteY25" fmla="*/ 73368 h 468501"/>
                <a:gd name="connsiteX26" fmla="*/ 458564 w 596274"/>
                <a:gd name="connsiteY26" fmla="*/ 83306 h 468501"/>
                <a:gd name="connsiteX27" fmla="*/ 572140 w 596274"/>
                <a:gd name="connsiteY27" fmla="*/ 341692 h 468501"/>
                <a:gd name="connsiteX28" fmla="*/ 570720 w 596274"/>
                <a:gd name="connsiteY28" fmla="*/ 345951 h 468501"/>
                <a:gd name="connsiteX29" fmla="*/ 569301 w 596274"/>
                <a:gd name="connsiteY29" fmla="*/ 348790 h 468501"/>
                <a:gd name="connsiteX30" fmla="*/ 549425 w 596274"/>
                <a:gd name="connsiteY30" fmla="*/ 384283 h 468501"/>
                <a:gd name="connsiteX31" fmla="*/ 309495 w 596274"/>
                <a:gd name="connsiteY31" fmla="*/ 451009 h 468501"/>
                <a:gd name="connsiteX32" fmla="*/ 184561 w 596274"/>
                <a:gd name="connsiteY32" fmla="*/ 353049 h 468501"/>
                <a:gd name="connsiteX33" fmla="*/ 76664 w 596274"/>
                <a:gd name="connsiteY33" fmla="*/ 282064 h 468501"/>
                <a:gd name="connsiteX34" fmla="*/ 29814 w 596274"/>
                <a:gd name="connsiteY34" fmla="*/ 260769 h 468501"/>
                <a:gd name="connsiteX35" fmla="*/ 99379 w 596274"/>
                <a:gd name="connsiteY35" fmla="*/ 178426 h 468501"/>
                <a:gd name="connsiteX36" fmla="*/ 107897 w 596274"/>
                <a:gd name="connsiteY36" fmla="*/ 172747 h 468501"/>
                <a:gd name="connsiteX37" fmla="*/ 51109 w 596274"/>
                <a:gd name="connsiteY37" fmla="*/ 131576 h 46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6274" h="468501">
                  <a:moveTo>
                    <a:pt x="2839" y="100342"/>
                  </a:moveTo>
                  <a:cubicBezTo>
                    <a:pt x="1420" y="103182"/>
                    <a:pt x="1420" y="106021"/>
                    <a:pt x="1420" y="106021"/>
                  </a:cubicBezTo>
                  <a:lnTo>
                    <a:pt x="0" y="110280"/>
                  </a:lnTo>
                  <a:lnTo>
                    <a:pt x="85182" y="171327"/>
                  </a:lnTo>
                  <a:cubicBezTo>
                    <a:pt x="62467" y="186944"/>
                    <a:pt x="8518" y="229535"/>
                    <a:pt x="18456" y="263608"/>
                  </a:cubicBezTo>
                  <a:cubicBezTo>
                    <a:pt x="24135" y="280644"/>
                    <a:pt x="44011" y="290582"/>
                    <a:pt x="78084" y="296261"/>
                  </a:cubicBezTo>
                  <a:cubicBezTo>
                    <a:pt x="132032" y="303360"/>
                    <a:pt x="151908" y="328914"/>
                    <a:pt x="174623" y="361568"/>
                  </a:cubicBezTo>
                  <a:cubicBezTo>
                    <a:pt x="198758" y="394221"/>
                    <a:pt x="228572" y="435392"/>
                    <a:pt x="306656" y="465206"/>
                  </a:cubicBezTo>
                  <a:cubicBezTo>
                    <a:pt x="406035" y="504957"/>
                    <a:pt x="509673" y="475144"/>
                    <a:pt x="565041" y="392801"/>
                  </a:cubicBezTo>
                  <a:cubicBezTo>
                    <a:pt x="572140" y="381443"/>
                    <a:pt x="579238" y="370086"/>
                    <a:pt x="583498" y="357308"/>
                  </a:cubicBezTo>
                  <a:cubicBezTo>
                    <a:pt x="584917" y="355889"/>
                    <a:pt x="584917" y="353049"/>
                    <a:pt x="586337" y="351630"/>
                  </a:cubicBezTo>
                  <a:lnTo>
                    <a:pt x="587757" y="347371"/>
                  </a:lnTo>
                  <a:cubicBezTo>
                    <a:pt x="610472" y="292002"/>
                    <a:pt x="609052" y="232375"/>
                    <a:pt x="584917" y="181265"/>
                  </a:cubicBezTo>
                  <a:cubicBezTo>
                    <a:pt x="562202" y="131576"/>
                    <a:pt x="519611" y="91824"/>
                    <a:pt x="464243" y="70529"/>
                  </a:cubicBezTo>
                  <a:cubicBezTo>
                    <a:pt x="391838" y="42135"/>
                    <a:pt x="350666" y="52072"/>
                    <a:pt x="313754" y="59171"/>
                  </a:cubicBezTo>
                  <a:cubicBezTo>
                    <a:pt x="275422" y="67689"/>
                    <a:pt x="244189" y="74788"/>
                    <a:pt x="184561" y="29357"/>
                  </a:cubicBezTo>
                  <a:cubicBezTo>
                    <a:pt x="153328" y="6642"/>
                    <a:pt x="124934" y="-3296"/>
                    <a:pt x="96540" y="963"/>
                  </a:cubicBezTo>
                  <a:cubicBezTo>
                    <a:pt x="56788" y="8062"/>
                    <a:pt x="29814" y="43554"/>
                    <a:pt x="14197" y="71948"/>
                  </a:cubicBezTo>
                  <a:cubicBezTo>
                    <a:pt x="8518" y="84726"/>
                    <a:pt x="4259" y="94663"/>
                    <a:pt x="2839" y="100342"/>
                  </a:cubicBezTo>
                  <a:close/>
                  <a:moveTo>
                    <a:pt x="51109" y="131576"/>
                  </a:moveTo>
                  <a:lnTo>
                    <a:pt x="15617" y="106021"/>
                  </a:lnTo>
                  <a:cubicBezTo>
                    <a:pt x="15617" y="104601"/>
                    <a:pt x="17036" y="103182"/>
                    <a:pt x="17036" y="101762"/>
                  </a:cubicBezTo>
                  <a:cubicBezTo>
                    <a:pt x="19876" y="96083"/>
                    <a:pt x="22715" y="87565"/>
                    <a:pt x="26974" y="79047"/>
                  </a:cubicBezTo>
                  <a:cubicBezTo>
                    <a:pt x="41171" y="53492"/>
                    <a:pt x="65306" y="20839"/>
                    <a:pt x="99379" y="15160"/>
                  </a:cubicBezTo>
                  <a:cubicBezTo>
                    <a:pt x="122094" y="10901"/>
                    <a:pt x="147649" y="19419"/>
                    <a:pt x="174623" y="40715"/>
                  </a:cubicBezTo>
                  <a:cubicBezTo>
                    <a:pt x="241349" y="91824"/>
                    <a:pt x="278262" y="83306"/>
                    <a:pt x="318013" y="73368"/>
                  </a:cubicBezTo>
                  <a:cubicBezTo>
                    <a:pt x="352086" y="64850"/>
                    <a:pt x="390418" y="56332"/>
                    <a:pt x="458564" y="83306"/>
                  </a:cubicBezTo>
                  <a:cubicBezTo>
                    <a:pt x="565041" y="125897"/>
                    <a:pt x="614731" y="236634"/>
                    <a:pt x="572140" y="341692"/>
                  </a:cubicBezTo>
                  <a:lnTo>
                    <a:pt x="570720" y="345951"/>
                  </a:lnTo>
                  <a:cubicBezTo>
                    <a:pt x="570720" y="347371"/>
                    <a:pt x="570720" y="347371"/>
                    <a:pt x="569301" y="348790"/>
                  </a:cubicBezTo>
                  <a:cubicBezTo>
                    <a:pt x="563622" y="361568"/>
                    <a:pt x="557943" y="374345"/>
                    <a:pt x="549425" y="384283"/>
                  </a:cubicBezTo>
                  <a:cubicBezTo>
                    <a:pt x="498315" y="460947"/>
                    <a:pt x="401776" y="487921"/>
                    <a:pt x="309495" y="451009"/>
                  </a:cubicBezTo>
                  <a:cubicBezTo>
                    <a:pt x="237090" y="422615"/>
                    <a:pt x="208696" y="385702"/>
                    <a:pt x="184561" y="353049"/>
                  </a:cubicBezTo>
                  <a:cubicBezTo>
                    <a:pt x="159007" y="318976"/>
                    <a:pt x="137711" y="290582"/>
                    <a:pt x="76664" y="282064"/>
                  </a:cubicBezTo>
                  <a:cubicBezTo>
                    <a:pt x="58208" y="279225"/>
                    <a:pt x="34073" y="273546"/>
                    <a:pt x="29814" y="260769"/>
                  </a:cubicBezTo>
                  <a:cubicBezTo>
                    <a:pt x="22715" y="238053"/>
                    <a:pt x="69565" y="198302"/>
                    <a:pt x="99379" y="178426"/>
                  </a:cubicBezTo>
                  <a:lnTo>
                    <a:pt x="107897" y="172747"/>
                  </a:lnTo>
                  <a:lnTo>
                    <a:pt x="51109" y="131576"/>
                  </a:lnTo>
                  <a:close/>
                </a:path>
              </a:pathLst>
            </a:custGeom>
            <a:solidFill>
              <a:srgbClr val="E0A76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7DAFBD11-14C4-4494-9C8D-E52C9C4FF1F0}"/>
                </a:ext>
              </a:extLst>
            </p:cNvPr>
            <p:cNvSpPr/>
            <p:nvPr userDrawn="1"/>
          </p:nvSpPr>
          <p:spPr>
            <a:xfrm>
              <a:off x="7626124" y="3857178"/>
              <a:ext cx="61596" cy="123191"/>
            </a:xfrm>
            <a:custGeom>
              <a:avLst/>
              <a:gdLst>
                <a:gd name="connsiteX0" fmla="*/ 14197 w 85182"/>
                <a:gd name="connsiteY0" fmla="*/ 134872 h 170364"/>
                <a:gd name="connsiteX1" fmla="*/ 69565 w 85182"/>
                <a:gd name="connsiteY1" fmla="*/ 0 h 170364"/>
                <a:gd name="connsiteX2" fmla="*/ 93700 w 85182"/>
                <a:gd name="connsiteY2" fmla="*/ 9938 h 170364"/>
                <a:gd name="connsiteX3" fmla="*/ 86602 w 85182"/>
                <a:gd name="connsiteY3" fmla="*/ 29814 h 170364"/>
                <a:gd name="connsiteX4" fmla="*/ 92281 w 85182"/>
                <a:gd name="connsiteY4" fmla="*/ 32653 h 170364"/>
                <a:gd name="connsiteX5" fmla="*/ 51109 w 85182"/>
                <a:gd name="connsiteY5" fmla="*/ 133452 h 170364"/>
                <a:gd name="connsiteX6" fmla="*/ 51109 w 85182"/>
                <a:gd name="connsiteY6" fmla="*/ 133452 h 170364"/>
                <a:gd name="connsiteX7" fmla="*/ 39752 w 85182"/>
                <a:gd name="connsiteY7" fmla="*/ 163266 h 170364"/>
                <a:gd name="connsiteX8" fmla="*/ 34073 w 85182"/>
                <a:gd name="connsiteY8" fmla="*/ 160426 h 170364"/>
                <a:gd name="connsiteX9" fmla="*/ 25555 w 85182"/>
                <a:gd name="connsiteY9" fmla="*/ 180302 h 170364"/>
                <a:gd name="connsiteX10" fmla="*/ 0 w 85182"/>
                <a:gd name="connsiteY10" fmla="*/ 170364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182" h="170364">
                  <a:moveTo>
                    <a:pt x="14197" y="134872"/>
                  </a:moveTo>
                  <a:lnTo>
                    <a:pt x="69565" y="0"/>
                  </a:lnTo>
                  <a:lnTo>
                    <a:pt x="93700" y="9938"/>
                  </a:lnTo>
                  <a:lnTo>
                    <a:pt x="86602" y="29814"/>
                  </a:lnTo>
                  <a:lnTo>
                    <a:pt x="92281" y="32653"/>
                  </a:lnTo>
                  <a:lnTo>
                    <a:pt x="51109" y="133452"/>
                  </a:lnTo>
                  <a:lnTo>
                    <a:pt x="51109" y="133452"/>
                  </a:lnTo>
                  <a:lnTo>
                    <a:pt x="39752" y="163266"/>
                  </a:lnTo>
                  <a:lnTo>
                    <a:pt x="34073" y="160426"/>
                  </a:lnTo>
                  <a:lnTo>
                    <a:pt x="25555" y="180302"/>
                  </a:lnTo>
                  <a:lnTo>
                    <a:pt x="0" y="170364"/>
                  </a:lnTo>
                  <a:close/>
                </a:path>
              </a:pathLst>
            </a:custGeom>
            <a:solidFill>
              <a:srgbClr val="56361B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14343FA0-085B-4A39-B25A-A51B522E1141}"/>
                </a:ext>
              </a:extLst>
            </p:cNvPr>
            <p:cNvSpPr/>
            <p:nvPr userDrawn="1"/>
          </p:nvSpPr>
          <p:spPr>
            <a:xfrm>
              <a:off x="6973210" y="3612849"/>
              <a:ext cx="10266" cy="10266"/>
            </a:xfrm>
            <a:custGeom>
              <a:avLst/>
              <a:gdLst>
                <a:gd name="connsiteX0" fmla="*/ 4259 w 14197"/>
                <a:gd name="connsiteY0" fmla="*/ 25555 h 14197"/>
                <a:gd name="connsiteX1" fmla="*/ 7099 w 14197"/>
                <a:gd name="connsiteY1" fmla="*/ 17036 h 14197"/>
                <a:gd name="connsiteX2" fmla="*/ 7099 w 14197"/>
                <a:gd name="connsiteY2" fmla="*/ 17036 h 14197"/>
                <a:gd name="connsiteX3" fmla="*/ 0 w 14197"/>
                <a:gd name="connsiteY3" fmla="*/ 9938 h 14197"/>
                <a:gd name="connsiteX4" fmla="*/ 4259 w 14197"/>
                <a:gd name="connsiteY4" fmla="*/ 0 h 14197"/>
                <a:gd name="connsiteX5" fmla="*/ 15617 w 14197"/>
                <a:gd name="connsiteY5" fmla="*/ 0 h 14197"/>
                <a:gd name="connsiteX6" fmla="*/ 24135 w 14197"/>
                <a:gd name="connsiteY6" fmla="*/ 7099 h 14197"/>
                <a:gd name="connsiteX7" fmla="*/ 19876 w 14197"/>
                <a:gd name="connsiteY7" fmla="*/ 18456 h 14197"/>
                <a:gd name="connsiteX8" fmla="*/ 9938 w 14197"/>
                <a:gd name="connsiteY8" fmla="*/ 17036 h 14197"/>
                <a:gd name="connsiteX9" fmla="*/ 5679 w 14197"/>
                <a:gd name="connsiteY9" fmla="*/ 26974 h 14197"/>
                <a:gd name="connsiteX10" fmla="*/ 5679 w 14197"/>
                <a:gd name="connsiteY10" fmla="*/ 26974 h 14197"/>
                <a:gd name="connsiteX11" fmla="*/ 5679 w 14197"/>
                <a:gd name="connsiteY11" fmla="*/ 26974 h 14197"/>
                <a:gd name="connsiteX12" fmla="*/ 4259 w 14197"/>
                <a:gd name="connsiteY12" fmla="*/ 25555 h 14197"/>
                <a:gd name="connsiteX13" fmla="*/ 4259 w 14197"/>
                <a:gd name="connsiteY13" fmla="*/ 25555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197" h="14197">
                  <a:moveTo>
                    <a:pt x="4259" y="25555"/>
                  </a:moveTo>
                  <a:lnTo>
                    <a:pt x="7099" y="17036"/>
                  </a:lnTo>
                  <a:lnTo>
                    <a:pt x="7099" y="17036"/>
                  </a:lnTo>
                  <a:lnTo>
                    <a:pt x="0" y="9938"/>
                  </a:lnTo>
                  <a:lnTo>
                    <a:pt x="4259" y="0"/>
                  </a:lnTo>
                  <a:lnTo>
                    <a:pt x="15617" y="0"/>
                  </a:lnTo>
                  <a:lnTo>
                    <a:pt x="24135" y="7099"/>
                  </a:lnTo>
                  <a:lnTo>
                    <a:pt x="19876" y="18456"/>
                  </a:lnTo>
                  <a:lnTo>
                    <a:pt x="9938" y="17036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4259" y="25555"/>
                  </a:lnTo>
                  <a:lnTo>
                    <a:pt x="4259" y="25555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6E2F4DA1-7480-408C-BD80-B10D90D1F8FA}"/>
                </a:ext>
              </a:extLst>
            </p:cNvPr>
            <p:cNvSpPr/>
            <p:nvPr userDrawn="1"/>
          </p:nvSpPr>
          <p:spPr>
            <a:xfrm>
              <a:off x="6993743" y="3621062"/>
              <a:ext cx="10266" cy="10266"/>
            </a:xfrm>
            <a:custGeom>
              <a:avLst/>
              <a:gdLst>
                <a:gd name="connsiteX0" fmla="*/ 0 w 14197"/>
                <a:gd name="connsiteY0" fmla="*/ 11358 h 14197"/>
                <a:gd name="connsiteX1" fmla="*/ 4259 w 14197"/>
                <a:gd name="connsiteY1" fmla="*/ 0 h 14197"/>
                <a:gd name="connsiteX2" fmla="*/ 15617 w 14197"/>
                <a:gd name="connsiteY2" fmla="*/ 1420 h 14197"/>
                <a:gd name="connsiteX3" fmla="*/ 15617 w 14197"/>
                <a:gd name="connsiteY3" fmla="*/ 1420 h 14197"/>
                <a:gd name="connsiteX4" fmla="*/ 24135 w 14197"/>
                <a:gd name="connsiteY4" fmla="*/ 8518 h 14197"/>
                <a:gd name="connsiteX5" fmla="*/ 19876 w 14197"/>
                <a:gd name="connsiteY5" fmla="*/ 19876 h 14197"/>
                <a:gd name="connsiteX6" fmla="*/ 9938 w 14197"/>
                <a:gd name="connsiteY6" fmla="*/ 18456 h 14197"/>
                <a:gd name="connsiteX7" fmla="*/ 7099 w 14197"/>
                <a:gd name="connsiteY7" fmla="*/ 26974 h 14197"/>
                <a:gd name="connsiteX8" fmla="*/ 5679 w 14197"/>
                <a:gd name="connsiteY8" fmla="*/ 26974 h 14197"/>
                <a:gd name="connsiteX9" fmla="*/ 4259 w 14197"/>
                <a:gd name="connsiteY9" fmla="*/ 26974 h 14197"/>
                <a:gd name="connsiteX10" fmla="*/ 7099 w 14197"/>
                <a:gd name="connsiteY10" fmla="*/ 1845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4259" y="0"/>
                  </a:lnTo>
                  <a:lnTo>
                    <a:pt x="15617" y="1420"/>
                  </a:lnTo>
                  <a:lnTo>
                    <a:pt x="15617" y="1420"/>
                  </a:lnTo>
                  <a:lnTo>
                    <a:pt x="24135" y="8518"/>
                  </a:lnTo>
                  <a:lnTo>
                    <a:pt x="19876" y="19876"/>
                  </a:lnTo>
                  <a:lnTo>
                    <a:pt x="9938" y="18456"/>
                  </a:lnTo>
                  <a:lnTo>
                    <a:pt x="7099" y="26974"/>
                  </a:lnTo>
                  <a:lnTo>
                    <a:pt x="5679" y="26974"/>
                  </a:lnTo>
                  <a:lnTo>
                    <a:pt x="4259" y="26974"/>
                  </a:lnTo>
                  <a:lnTo>
                    <a:pt x="7099" y="1845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AC434346-59CA-46CD-97DA-BCDE683E1A06}"/>
                </a:ext>
              </a:extLst>
            </p:cNvPr>
            <p:cNvSpPr/>
            <p:nvPr userDrawn="1"/>
          </p:nvSpPr>
          <p:spPr>
            <a:xfrm>
              <a:off x="7013248" y="3630301"/>
              <a:ext cx="10266" cy="10266"/>
            </a:xfrm>
            <a:custGeom>
              <a:avLst/>
              <a:gdLst>
                <a:gd name="connsiteX0" fmla="*/ 0 w 14197"/>
                <a:gd name="connsiteY0" fmla="*/ 11358 h 14197"/>
                <a:gd name="connsiteX1" fmla="*/ 5679 w 14197"/>
                <a:gd name="connsiteY1" fmla="*/ 0 h 14197"/>
                <a:gd name="connsiteX2" fmla="*/ 17036 w 14197"/>
                <a:gd name="connsiteY2" fmla="*/ 1420 h 14197"/>
                <a:gd name="connsiteX3" fmla="*/ 17036 w 14197"/>
                <a:gd name="connsiteY3" fmla="*/ 1420 h 14197"/>
                <a:gd name="connsiteX4" fmla="*/ 25555 w 14197"/>
                <a:gd name="connsiteY4" fmla="*/ 8518 h 14197"/>
                <a:gd name="connsiteX5" fmla="*/ 21296 w 14197"/>
                <a:gd name="connsiteY5" fmla="*/ 19876 h 14197"/>
                <a:gd name="connsiteX6" fmla="*/ 11358 w 14197"/>
                <a:gd name="connsiteY6" fmla="*/ 18456 h 14197"/>
                <a:gd name="connsiteX7" fmla="*/ 8518 w 14197"/>
                <a:gd name="connsiteY7" fmla="*/ 26974 h 14197"/>
                <a:gd name="connsiteX8" fmla="*/ 5679 w 14197"/>
                <a:gd name="connsiteY8" fmla="*/ 25555 h 14197"/>
                <a:gd name="connsiteX9" fmla="*/ 8518 w 14197"/>
                <a:gd name="connsiteY9" fmla="*/ 1703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5679" y="0"/>
                  </a:lnTo>
                  <a:lnTo>
                    <a:pt x="17036" y="1420"/>
                  </a:lnTo>
                  <a:lnTo>
                    <a:pt x="17036" y="1420"/>
                  </a:lnTo>
                  <a:lnTo>
                    <a:pt x="25555" y="8518"/>
                  </a:lnTo>
                  <a:lnTo>
                    <a:pt x="21296" y="19876"/>
                  </a:lnTo>
                  <a:lnTo>
                    <a:pt x="11358" y="18456"/>
                  </a:lnTo>
                  <a:lnTo>
                    <a:pt x="8518" y="26974"/>
                  </a:lnTo>
                  <a:lnTo>
                    <a:pt x="5679" y="25555"/>
                  </a:lnTo>
                  <a:lnTo>
                    <a:pt x="8518" y="1703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A5ACB597-C071-4FA8-A6E8-0672F3C87E58}"/>
                </a:ext>
              </a:extLst>
            </p:cNvPr>
            <p:cNvSpPr/>
            <p:nvPr userDrawn="1"/>
          </p:nvSpPr>
          <p:spPr>
            <a:xfrm>
              <a:off x="7468822" y="3824558"/>
              <a:ext cx="71861" cy="71861"/>
            </a:xfrm>
            <a:custGeom>
              <a:avLst/>
              <a:gdLst>
                <a:gd name="connsiteX0" fmla="*/ 3162 w 99379"/>
                <a:gd name="connsiteY0" fmla="*/ 33753 h 99379"/>
                <a:gd name="connsiteX1" fmla="*/ 75567 w 99379"/>
                <a:gd name="connsiteY1" fmla="*/ 3939 h 99379"/>
                <a:gd name="connsiteX2" fmla="*/ 108220 w 99379"/>
                <a:gd name="connsiteY2" fmla="*/ 74924 h 99379"/>
                <a:gd name="connsiteX3" fmla="*/ 35815 w 99379"/>
                <a:gd name="connsiteY3" fmla="*/ 104738 h 99379"/>
                <a:gd name="connsiteX4" fmla="*/ 3162 w 99379"/>
                <a:gd name="connsiteY4" fmla="*/ 33753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99379">
                  <a:moveTo>
                    <a:pt x="3162" y="33753"/>
                  </a:moveTo>
                  <a:cubicBezTo>
                    <a:pt x="15939" y="6779"/>
                    <a:pt x="47173" y="-7418"/>
                    <a:pt x="75567" y="3939"/>
                  </a:cubicBezTo>
                  <a:cubicBezTo>
                    <a:pt x="103961" y="15297"/>
                    <a:pt x="118158" y="46530"/>
                    <a:pt x="108220" y="74924"/>
                  </a:cubicBezTo>
                  <a:cubicBezTo>
                    <a:pt x="95442" y="101899"/>
                    <a:pt x="64209" y="116096"/>
                    <a:pt x="35815" y="104738"/>
                  </a:cubicBezTo>
                  <a:cubicBezTo>
                    <a:pt x="7421" y="93381"/>
                    <a:pt x="-6776" y="62147"/>
                    <a:pt x="3162" y="33753"/>
                  </a:cubicBezTo>
                  <a:close/>
                </a:path>
              </a:pathLst>
            </a:custGeom>
            <a:solidFill>
              <a:srgbClr val="39241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657348BB-4959-4008-9DF2-1B4A6510B7BA}"/>
                </a:ext>
              </a:extLst>
            </p:cNvPr>
            <p:cNvSpPr/>
            <p:nvPr userDrawn="1"/>
          </p:nvSpPr>
          <p:spPr>
            <a:xfrm>
              <a:off x="6944424" y="3624906"/>
              <a:ext cx="544094" cy="246382"/>
            </a:xfrm>
            <a:custGeom>
              <a:avLst/>
              <a:gdLst>
                <a:gd name="connsiteX0" fmla="*/ 4317 w 752442"/>
                <a:gd name="connsiteY0" fmla="*/ 54311 h 340728"/>
                <a:gd name="connsiteX1" fmla="*/ 103696 w 752442"/>
                <a:gd name="connsiteY1" fmla="*/ 91223 h 340728"/>
                <a:gd name="connsiteX2" fmla="*/ 106535 w 752442"/>
                <a:gd name="connsiteY2" fmla="*/ 91223 h 340728"/>
                <a:gd name="connsiteX3" fmla="*/ 109375 w 752442"/>
                <a:gd name="connsiteY3" fmla="*/ 91223 h 340728"/>
                <a:gd name="connsiteX4" fmla="*/ 113634 w 752442"/>
                <a:gd name="connsiteY4" fmla="*/ 91223 h 340728"/>
                <a:gd name="connsiteX5" fmla="*/ 115053 w 752442"/>
                <a:gd name="connsiteY5" fmla="*/ 91223 h 340728"/>
                <a:gd name="connsiteX6" fmla="*/ 116473 w 752442"/>
                <a:gd name="connsiteY6" fmla="*/ 91223 h 340728"/>
                <a:gd name="connsiteX7" fmla="*/ 117893 w 752442"/>
                <a:gd name="connsiteY7" fmla="*/ 91223 h 340728"/>
                <a:gd name="connsiteX8" fmla="*/ 119312 w 752442"/>
                <a:gd name="connsiteY8" fmla="*/ 91223 h 340728"/>
                <a:gd name="connsiteX9" fmla="*/ 146287 w 752442"/>
                <a:gd name="connsiteY9" fmla="*/ 102580 h 340728"/>
                <a:gd name="connsiteX10" fmla="*/ 149126 w 752442"/>
                <a:gd name="connsiteY10" fmla="*/ 104000 h 340728"/>
                <a:gd name="connsiteX11" fmla="*/ 169002 w 752442"/>
                <a:gd name="connsiteY11" fmla="*/ 112518 h 340728"/>
                <a:gd name="connsiteX12" fmla="*/ 171841 w 752442"/>
                <a:gd name="connsiteY12" fmla="*/ 113938 h 340728"/>
                <a:gd name="connsiteX13" fmla="*/ 183199 w 752442"/>
                <a:gd name="connsiteY13" fmla="*/ 118197 h 340728"/>
                <a:gd name="connsiteX14" fmla="*/ 186038 w 752442"/>
                <a:gd name="connsiteY14" fmla="*/ 119617 h 340728"/>
                <a:gd name="connsiteX15" fmla="*/ 215852 w 752442"/>
                <a:gd name="connsiteY15" fmla="*/ 132394 h 340728"/>
                <a:gd name="connsiteX16" fmla="*/ 218692 w 752442"/>
                <a:gd name="connsiteY16" fmla="*/ 133814 h 340728"/>
                <a:gd name="connsiteX17" fmla="*/ 218692 w 752442"/>
                <a:gd name="connsiteY17" fmla="*/ 133814 h 340728"/>
                <a:gd name="connsiteX18" fmla="*/ 221531 w 752442"/>
                <a:gd name="connsiteY18" fmla="*/ 135233 h 340728"/>
                <a:gd name="connsiteX19" fmla="*/ 254184 w 752442"/>
                <a:gd name="connsiteY19" fmla="*/ 148011 h 340728"/>
                <a:gd name="connsiteX20" fmla="*/ 257024 w 752442"/>
                <a:gd name="connsiteY20" fmla="*/ 149431 h 340728"/>
                <a:gd name="connsiteX21" fmla="*/ 289677 w 752442"/>
                <a:gd name="connsiteY21" fmla="*/ 163628 h 340728"/>
                <a:gd name="connsiteX22" fmla="*/ 292516 w 752442"/>
                <a:gd name="connsiteY22" fmla="*/ 165047 h 340728"/>
                <a:gd name="connsiteX23" fmla="*/ 325169 w 752442"/>
                <a:gd name="connsiteY23" fmla="*/ 179244 h 340728"/>
                <a:gd name="connsiteX24" fmla="*/ 328009 w 752442"/>
                <a:gd name="connsiteY24" fmla="*/ 180664 h 340728"/>
                <a:gd name="connsiteX25" fmla="*/ 359242 w 752442"/>
                <a:gd name="connsiteY25" fmla="*/ 192022 h 340728"/>
                <a:gd name="connsiteX26" fmla="*/ 362082 w 752442"/>
                <a:gd name="connsiteY26" fmla="*/ 193441 h 340728"/>
                <a:gd name="connsiteX27" fmla="*/ 396154 w 752442"/>
                <a:gd name="connsiteY27" fmla="*/ 207638 h 340728"/>
                <a:gd name="connsiteX28" fmla="*/ 398994 w 752442"/>
                <a:gd name="connsiteY28" fmla="*/ 209058 h 340728"/>
                <a:gd name="connsiteX29" fmla="*/ 433067 w 752442"/>
                <a:gd name="connsiteY29" fmla="*/ 223255 h 340728"/>
                <a:gd name="connsiteX30" fmla="*/ 435906 w 752442"/>
                <a:gd name="connsiteY30" fmla="*/ 224675 h 340728"/>
                <a:gd name="connsiteX31" fmla="*/ 474238 w 752442"/>
                <a:gd name="connsiteY31" fmla="*/ 240291 h 340728"/>
                <a:gd name="connsiteX32" fmla="*/ 477077 w 752442"/>
                <a:gd name="connsiteY32" fmla="*/ 241711 h 340728"/>
                <a:gd name="connsiteX33" fmla="*/ 515409 w 752442"/>
                <a:gd name="connsiteY33" fmla="*/ 257328 h 340728"/>
                <a:gd name="connsiteX34" fmla="*/ 518249 w 752442"/>
                <a:gd name="connsiteY34" fmla="*/ 258748 h 340728"/>
                <a:gd name="connsiteX35" fmla="*/ 546643 w 752442"/>
                <a:gd name="connsiteY35" fmla="*/ 270105 h 340728"/>
                <a:gd name="connsiteX36" fmla="*/ 549482 w 752442"/>
                <a:gd name="connsiteY36" fmla="*/ 271525 h 340728"/>
                <a:gd name="connsiteX37" fmla="*/ 577876 w 752442"/>
                <a:gd name="connsiteY37" fmla="*/ 282883 h 340728"/>
                <a:gd name="connsiteX38" fmla="*/ 580716 w 752442"/>
                <a:gd name="connsiteY38" fmla="*/ 284302 h 340728"/>
                <a:gd name="connsiteX39" fmla="*/ 600592 w 752442"/>
                <a:gd name="connsiteY39" fmla="*/ 291401 h 340728"/>
                <a:gd name="connsiteX40" fmla="*/ 603431 w 752442"/>
                <a:gd name="connsiteY40" fmla="*/ 292820 h 340728"/>
                <a:gd name="connsiteX41" fmla="*/ 623307 w 752442"/>
                <a:gd name="connsiteY41" fmla="*/ 301339 h 340728"/>
                <a:gd name="connsiteX42" fmla="*/ 626146 w 752442"/>
                <a:gd name="connsiteY42" fmla="*/ 302758 h 340728"/>
                <a:gd name="connsiteX43" fmla="*/ 646022 w 752442"/>
                <a:gd name="connsiteY43" fmla="*/ 311277 h 340728"/>
                <a:gd name="connsiteX44" fmla="*/ 648861 w 752442"/>
                <a:gd name="connsiteY44" fmla="*/ 312696 h 340728"/>
                <a:gd name="connsiteX45" fmla="*/ 667317 w 752442"/>
                <a:gd name="connsiteY45" fmla="*/ 319795 h 340728"/>
                <a:gd name="connsiteX46" fmla="*/ 670157 w 752442"/>
                <a:gd name="connsiteY46" fmla="*/ 321214 h 340728"/>
                <a:gd name="connsiteX47" fmla="*/ 688613 w 752442"/>
                <a:gd name="connsiteY47" fmla="*/ 328313 h 340728"/>
                <a:gd name="connsiteX48" fmla="*/ 691452 w 752442"/>
                <a:gd name="connsiteY48" fmla="*/ 329733 h 340728"/>
                <a:gd name="connsiteX49" fmla="*/ 709909 w 752442"/>
                <a:gd name="connsiteY49" fmla="*/ 336831 h 340728"/>
                <a:gd name="connsiteX50" fmla="*/ 712748 w 752442"/>
                <a:gd name="connsiteY50" fmla="*/ 338251 h 340728"/>
                <a:gd name="connsiteX51" fmla="*/ 732624 w 752442"/>
                <a:gd name="connsiteY51" fmla="*/ 346769 h 340728"/>
                <a:gd name="connsiteX52" fmla="*/ 732624 w 752442"/>
                <a:gd name="connsiteY52" fmla="*/ 346769 h 340728"/>
                <a:gd name="connsiteX53" fmla="*/ 758178 w 752442"/>
                <a:gd name="connsiteY53" fmla="*/ 284302 h 340728"/>
                <a:gd name="connsiteX54" fmla="*/ 758178 w 752442"/>
                <a:gd name="connsiteY54" fmla="*/ 284302 h 340728"/>
                <a:gd name="connsiteX55" fmla="*/ 738303 w 752442"/>
                <a:gd name="connsiteY55" fmla="*/ 277204 h 340728"/>
                <a:gd name="connsiteX56" fmla="*/ 735463 w 752442"/>
                <a:gd name="connsiteY56" fmla="*/ 275784 h 340728"/>
                <a:gd name="connsiteX57" fmla="*/ 717007 w 752442"/>
                <a:gd name="connsiteY57" fmla="*/ 268686 h 340728"/>
                <a:gd name="connsiteX58" fmla="*/ 714168 w 752442"/>
                <a:gd name="connsiteY58" fmla="*/ 267266 h 340728"/>
                <a:gd name="connsiteX59" fmla="*/ 695712 w 752442"/>
                <a:gd name="connsiteY59" fmla="*/ 260167 h 340728"/>
                <a:gd name="connsiteX60" fmla="*/ 692872 w 752442"/>
                <a:gd name="connsiteY60" fmla="*/ 258748 h 340728"/>
                <a:gd name="connsiteX61" fmla="*/ 674416 w 752442"/>
                <a:gd name="connsiteY61" fmla="*/ 251649 h 340728"/>
                <a:gd name="connsiteX62" fmla="*/ 671577 w 752442"/>
                <a:gd name="connsiteY62" fmla="*/ 250229 h 340728"/>
                <a:gd name="connsiteX63" fmla="*/ 651701 w 752442"/>
                <a:gd name="connsiteY63" fmla="*/ 243131 h 340728"/>
                <a:gd name="connsiteX64" fmla="*/ 648861 w 752442"/>
                <a:gd name="connsiteY64" fmla="*/ 241711 h 340728"/>
                <a:gd name="connsiteX65" fmla="*/ 626146 w 752442"/>
                <a:gd name="connsiteY65" fmla="*/ 234613 h 340728"/>
                <a:gd name="connsiteX66" fmla="*/ 623307 w 752442"/>
                <a:gd name="connsiteY66" fmla="*/ 233193 h 340728"/>
                <a:gd name="connsiteX67" fmla="*/ 602011 w 752442"/>
                <a:gd name="connsiteY67" fmla="*/ 226094 h 340728"/>
                <a:gd name="connsiteX68" fmla="*/ 600592 w 752442"/>
                <a:gd name="connsiteY68" fmla="*/ 224675 h 340728"/>
                <a:gd name="connsiteX69" fmla="*/ 572197 w 752442"/>
                <a:gd name="connsiteY69" fmla="*/ 214737 h 340728"/>
                <a:gd name="connsiteX70" fmla="*/ 569358 w 752442"/>
                <a:gd name="connsiteY70" fmla="*/ 213317 h 340728"/>
                <a:gd name="connsiteX71" fmla="*/ 540964 w 752442"/>
                <a:gd name="connsiteY71" fmla="*/ 203379 h 340728"/>
                <a:gd name="connsiteX72" fmla="*/ 538125 w 752442"/>
                <a:gd name="connsiteY72" fmla="*/ 201959 h 340728"/>
                <a:gd name="connsiteX73" fmla="*/ 498373 w 752442"/>
                <a:gd name="connsiteY73" fmla="*/ 187762 h 340728"/>
                <a:gd name="connsiteX74" fmla="*/ 495534 w 752442"/>
                <a:gd name="connsiteY74" fmla="*/ 186343 h 340728"/>
                <a:gd name="connsiteX75" fmla="*/ 455782 w 752442"/>
                <a:gd name="connsiteY75" fmla="*/ 172146 h 340728"/>
                <a:gd name="connsiteX76" fmla="*/ 452942 w 752442"/>
                <a:gd name="connsiteY76" fmla="*/ 170726 h 340728"/>
                <a:gd name="connsiteX77" fmla="*/ 418870 w 752442"/>
                <a:gd name="connsiteY77" fmla="*/ 157949 h 340728"/>
                <a:gd name="connsiteX78" fmla="*/ 416030 w 752442"/>
                <a:gd name="connsiteY78" fmla="*/ 156529 h 340728"/>
                <a:gd name="connsiteX79" fmla="*/ 381957 w 752442"/>
                <a:gd name="connsiteY79" fmla="*/ 143752 h 340728"/>
                <a:gd name="connsiteX80" fmla="*/ 379118 w 752442"/>
                <a:gd name="connsiteY80" fmla="*/ 142332 h 340728"/>
                <a:gd name="connsiteX81" fmla="*/ 346465 w 752442"/>
                <a:gd name="connsiteY81" fmla="*/ 129555 h 340728"/>
                <a:gd name="connsiteX82" fmla="*/ 343625 w 752442"/>
                <a:gd name="connsiteY82" fmla="*/ 128135 h 340728"/>
                <a:gd name="connsiteX83" fmla="*/ 310972 w 752442"/>
                <a:gd name="connsiteY83" fmla="*/ 115358 h 340728"/>
                <a:gd name="connsiteX84" fmla="*/ 308133 w 752442"/>
                <a:gd name="connsiteY84" fmla="*/ 113938 h 340728"/>
                <a:gd name="connsiteX85" fmla="*/ 274060 w 752442"/>
                <a:gd name="connsiteY85" fmla="*/ 102580 h 340728"/>
                <a:gd name="connsiteX86" fmla="*/ 271221 w 752442"/>
                <a:gd name="connsiteY86" fmla="*/ 101161 h 340728"/>
                <a:gd name="connsiteX87" fmla="*/ 238567 w 752442"/>
                <a:gd name="connsiteY87" fmla="*/ 88383 h 340728"/>
                <a:gd name="connsiteX88" fmla="*/ 235728 w 752442"/>
                <a:gd name="connsiteY88" fmla="*/ 86964 h 340728"/>
                <a:gd name="connsiteX89" fmla="*/ 235728 w 752442"/>
                <a:gd name="connsiteY89" fmla="*/ 86964 h 340728"/>
                <a:gd name="connsiteX90" fmla="*/ 232889 w 752442"/>
                <a:gd name="connsiteY90" fmla="*/ 85544 h 340728"/>
                <a:gd name="connsiteX91" fmla="*/ 203075 w 752442"/>
                <a:gd name="connsiteY91" fmla="*/ 77026 h 340728"/>
                <a:gd name="connsiteX92" fmla="*/ 200236 w 752442"/>
                <a:gd name="connsiteY92" fmla="*/ 75606 h 340728"/>
                <a:gd name="connsiteX93" fmla="*/ 188878 w 752442"/>
                <a:gd name="connsiteY93" fmla="*/ 71347 h 340728"/>
                <a:gd name="connsiteX94" fmla="*/ 186038 w 752442"/>
                <a:gd name="connsiteY94" fmla="*/ 69927 h 340728"/>
                <a:gd name="connsiteX95" fmla="*/ 166163 w 752442"/>
                <a:gd name="connsiteY95" fmla="*/ 62829 h 340728"/>
                <a:gd name="connsiteX96" fmla="*/ 163323 w 752442"/>
                <a:gd name="connsiteY96" fmla="*/ 61409 h 340728"/>
                <a:gd name="connsiteX97" fmla="*/ 136349 w 752442"/>
                <a:gd name="connsiteY97" fmla="*/ 51471 h 340728"/>
                <a:gd name="connsiteX98" fmla="*/ 134929 w 752442"/>
                <a:gd name="connsiteY98" fmla="*/ 51471 h 340728"/>
                <a:gd name="connsiteX99" fmla="*/ 133510 w 752442"/>
                <a:gd name="connsiteY99" fmla="*/ 51471 h 340728"/>
                <a:gd name="connsiteX100" fmla="*/ 132090 w 752442"/>
                <a:gd name="connsiteY100" fmla="*/ 51471 h 340728"/>
                <a:gd name="connsiteX101" fmla="*/ 132090 w 752442"/>
                <a:gd name="connsiteY101" fmla="*/ 48632 h 340728"/>
                <a:gd name="connsiteX102" fmla="*/ 129250 w 752442"/>
                <a:gd name="connsiteY102" fmla="*/ 45792 h 340728"/>
                <a:gd name="connsiteX103" fmla="*/ 126411 w 752442"/>
                <a:gd name="connsiteY103" fmla="*/ 42953 h 340728"/>
                <a:gd name="connsiteX104" fmla="*/ 124991 w 752442"/>
                <a:gd name="connsiteY104" fmla="*/ 41533 h 340728"/>
                <a:gd name="connsiteX105" fmla="*/ 27032 w 752442"/>
                <a:gd name="connsiteY105" fmla="*/ 362 h 340728"/>
                <a:gd name="connsiteX106" fmla="*/ 14255 w 752442"/>
                <a:gd name="connsiteY106" fmla="*/ 7460 h 340728"/>
                <a:gd name="connsiteX107" fmla="*/ 1477 w 752442"/>
                <a:gd name="connsiteY107" fmla="*/ 40113 h 340728"/>
                <a:gd name="connsiteX108" fmla="*/ 4317 w 752442"/>
                <a:gd name="connsiteY108" fmla="*/ 54311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52442" h="340728">
                  <a:moveTo>
                    <a:pt x="4317" y="54311"/>
                  </a:moveTo>
                  <a:lnTo>
                    <a:pt x="103696" y="91223"/>
                  </a:lnTo>
                  <a:cubicBezTo>
                    <a:pt x="105115" y="91223"/>
                    <a:pt x="105115" y="91223"/>
                    <a:pt x="106535" y="91223"/>
                  </a:cubicBezTo>
                  <a:lnTo>
                    <a:pt x="109375" y="91223"/>
                  </a:lnTo>
                  <a:lnTo>
                    <a:pt x="113634" y="91223"/>
                  </a:lnTo>
                  <a:lnTo>
                    <a:pt x="115053" y="91223"/>
                  </a:lnTo>
                  <a:cubicBezTo>
                    <a:pt x="115053" y="91223"/>
                    <a:pt x="115053" y="91223"/>
                    <a:pt x="116473" y="91223"/>
                  </a:cubicBezTo>
                  <a:cubicBezTo>
                    <a:pt x="116473" y="91223"/>
                    <a:pt x="116473" y="91223"/>
                    <a:pt x="117893" y="91223"/>
                  </a:cubicBezTo>
                  <a:cubicBezTo>
                    <a:pt x="117893" y="91223"/>
                    <a:pt x="117893" y="91223"/>
                    <a:pt x="119312" y="91223"/>
                  </a:cubicBezTo>
                  <a:lnTo>
                    <a:pt x="146287" y="102580"/>
                  </a:lnTo>
                  <a:lnTo>
                    <a:pt x="149126" y="104000"/>
                  </a:lnTo>
                  <a:lnTo>
                    <a:pt x="169002" y="112518"/>
                  </a:lnTo>
                  <a:lnTo>
                    <a:pt x="171841" y="113938"/>
                  </a:lnTo>
                  <a:lnTo>
                    <a:pt x="183199" y="118197"/>
                  </a:lnTo>
                  <a:lnTo>
                    <a:pt x="186038" y="119617"/>
                  </a:lnTo>
                  <a:lnTo>
                    <a:pt x="215852" y="132394"/>
                  </a:lnTo>
                  <a:lnTo>
                    <a:pt x="218692" y="133814"/>
                  </a:lnTo>
                  <a:lnTo>
                    <a:pt x="218692" y="133814"/>
                  </a:lnTo>
                  <a:lnTo>
                    <a:pt x="221531" y="135233"/>
                  </a:lnTo>
                  <a:lnTo>
                    <a:pt x="254184" y="148011"/>
                  </a:lnTo>
                  <a:lnTo>
                    <a:pt x="257024" y="149431"/>
                  </a:lnTo>
                  <a:lnTo>
                    <a:pt x="289677" y="163628"/>
                  </a:lnTo>
                  <a:lnTo>
                    <a:pt x="292516" y="165047"/>
                  </a:lnTo>
                  <a:lnTo>
                    <a:pt x="325169" y="179244"/>
                  </a:lnTo>
                  <a:lnTo>
                    <a:pt x="328009" y="180664"/>
                  </a:lnTo>
                  <a:lnTo>
                    <a:pt x="359242" y="192022"/>
                  </a:lnTo>
                  <a:lnTo>
                    <a:pt x="362082" y="193441"/>
                  </a:lnTo>
                  <a:lnTo>
                    <a:pt x="396154" y="207638"/>
                  </a:lnTo>
                  <a:lnTo>
                    <a:pt x="398994" y="209058"/>
                  </a:lnTo>
                  <a:lnTo>
                    <a:pt x="433067" y="223255"/>
                  </a:lnTo>
                  <a:lnTo>
                    <a:pt x="435906" y="224675"/>
                  </a:lnTo>
                  <a:lnTo>
                    <a:pt x="474238" y="240291"/>
                  </a:lnTo>
                  <a:lnTo>
                    <a:pt x="477077" y="241711"/>
                  </a:lnTo>
                  <a:lnTo>
                    <a:pt x="515409" y="257328"/>
                  </a:lnTo>
                  <a:lnTo>
                    <a:pt x="518249" y="258748"/>
                  </a:lnTo>
                  <a:lnTo>
                    <a:pt x="546643" y="270105"/>
                  </a:lnTo>
                  <a:lnTo>
                    <a:pt x="549482" y="271525"/>
                  </a:lnTo>
                  <a:lnTo>
                    <a:pt x="577876" y="282883"/>
                  </a:lnTo>
                  <a:lnTo>
                    <a:pt x="580716" y="284302"/>
                  </a:lnTo>
                  <a:lnTo>
                    <a:pt x="600592" y="291401"/>
                  </a:lnTo>
                  <a:lnTo>
                    <a:pt x="603431" y="292820"/>
                  </a:lnTo>
                  <a:lnTo>
                    <a:pt x="623307" y="301339"/>
                  </a:lnTo>
                  <a:lnTo>
                    <a:pt x="626146" y="302758"/>
                  </a:lnTo>
                  <a:lnTo>
                    <a:pt x="646022" y="311277"/>
                  </a:lnTo>
                  <a:lnTo>
                    <a:pt x="648861" y="312696"/>
                  </a:lnTo>
                  <a:lnTo>
                    <a:pt x="667317" y="319795"/>
                  </a:lnTo>
                  <a:lnTo>
                    <a:pt x="670157" y="321214"/>
                  </a:lnTo>
                  <a:lnTo>
                    <a:pt x="688613" y="328313"/>
                  </a:lnTo>
                  <a:lnTo>
                    <a:pt x="691452" y="329733"/>
                  </a:lnTo>
                  <a:lnTo>
                    <a:pt x="709909" y="336831"/>
                  </a:lnTo>
                  <a:lnTo>
                    <a:pt x="712748" y="338251"/>
                  </a:lnTo>
                  <a:lnTo>
                    <a:pt x="732624" y="346769"/>
                  </a:lnTo>
                  <a:lnTo>
                    <a:pt x="732624" y="346769"/>
                  </a:lnTo>
                  <a:lnTo>
                    <a:pt x="758178" y="284302"/>
                  </a:lnTo>
                  <a:lnTo>
                    <a:pt x="758178" y="284302"/>
                  </a:lnTo>
                  <a:lnTo>
                    <a:pt x="738303" y="277204"/>
                  </a:lnTo>
                  <a:lnTo>
                    <a:pt x="735463" y="275784"/>
                  </a:lnTo>
                  <a:lnTo>
                    <a:pt x="717007" y="268686"/>
                  </a:lnTo>
                  <a:lnTo>
                    <a:pt x="714168" y="267266"/>
                  </a:lnTo>
                  <a:lnTo>
                    <a:pt x="695712" y="260167"/>
                  </a:lnTo>
                  <a:lnTo>
                    <a:pt x="692872" y="258748"/>
                  </a:lnTo>
                  <a:lnTo>
                    <a:pt x="674416" y="251649"/>
                  </a:lnTo>
                  <a:lnTo>
                    <a:pt x="671577" y="250229"/>
                  </a:lnTo>
                  <a:lnTo>
                    <a:pt x="651701" y="243131"/>
                  </a:lnTo>
                  <a:lnTo>
                    <a:pt x="648861" y="241711"/>
                  </a:lnTo>
                  <a:lnTo>
                    <a:pt x="626146" y="234613"/>
                  </a:lnTo>
                  <a:lnTo>
                    <a:pt x="623307" y="233193"/>
                  </a:lnTo>
                  <a:lnTo>
                    <a:pt x="602011" y="226094"/>
                  </a:lnTo>
                  <a:lnTo>
                    <a:pt x="600592" y="224675"/>
                  </a:lnTo>
                  <a:lnTo>
                    <a:pt x="572197" y="214737"/>
                  </a:lnTo>
                  <a:lnTo>
                    <a:pt x="569358" y="213317"/>
                  </a:lnTo>
                  <a:lnTo>
                    <a:pt x="540964" y="203379"/>
                  </a:lnTo>
                  <a:lnTo>
                    <a:pt x="538125" y="201959"/>
                  </a:lnTo>
                  <a:lnTo>
                    <a:pt x="498373" y="187762"/>
                  </a:lnTo>
                  <a:lnTo>
                    <a:pt x="495534" y="186343"/>
                  </a:lnTo>
                  <a:lnTo>
                    <a:pt x="455782" y="172146"/>
                  </a:lnTo>
                  <a:lnTo>
                    <a:pt x="452942" y="170726"/>
                  </a:lnTo>
                  <a:lnTo>
                    <a:pt x="418870" y="157949"/>
                  </a:lnTo>
                  <a:lnTo>
                    <a:pt x="416030" y="156529"/>
                  </a:lnTo>
                  <a:lnTo>
                    <a:pt x="381957" y="143752"/>
                  </a:lnTo>
                  <a:lnTo>
                    <a:pt x="379118" y="142332"/>
                  </a:lnTo>
                  <a:lnTo>
                    <a:pt x="346465" y="129555"/>
                  </a:lnTo>
                  <a:lnTo>
                    <a:pt x="343625" y="128135"/>
                  </a:lnTo>
                  <a:lnTo>
                    <a:pt x="310972" y="115358"/>
                  </a:lnTo>
                  <a:lnTo>
                    <a:pt x="308133" y="113938"/>
                  </a:lnTo>
                  <a:lnTo>
                    <a:pt x="274060" y="102580"/>
                  </a:lnTo>
                  <a:lnTo>
                    <a:pt x="271221" y="101161"/>
                  </a:lnTo>
                  <a:lnTo>
                    <a:pt x="238567" y="88383"/>
                  </a:lnTo>
                  <a:lnTo>
                    <a:pt x="235728" y="86964"/>
                  </a:lnTo>
                  <a:lnTo>
                    <a:pt x="235728" y="86964"/>
                  </a:lnTo>
                  <a:lnTo>
                    <a:pt x="232889" y="85544"/>
                  </a:lnTo>
                  <a:lnTo>
                    <a:pt x="203075" y="77026"/>
                  </a:lnTo>
                  <a:lnTo>
                    <a:pt x="200236" y="75606"/>
                  </a:lnTo>
                  <a:lnTo>
                    <a:pt x="188878" y="71347"/>
                  </a:lnTo>
                  <a:lnTo>
                    <a:pt x="186038" y="69927"/>
                  </a:lnTo>
                  <a:lnTo>
                    <a:pt x="166163" y="62829"/>
                  </a:lnTo>
                  <a:lnTo>
                    <a:pt x="163323" y="61409"/>
                  </a:lnTo>
                  <a:lnTo>
                    <a:pt x="136349" y="51471"/>
                  </a:lnTo>
                  <a:cubicBezTo>
                    <a:pt x="136349" y="51471"/>
                    <a:pt x="136349" y="51471"/>
                    <a:pt x="134929" y="51471"/>
                  </a:cubicBezTo>
                  <a:cubicBezTo>
                    <a:pt x="134929" y="51471"/>
                    <a:pt x="134929" y="51471"/>
                    <a:pt x="133510" y="51471"/>
                  </a:cubicBezTo>
                  <a:cubicBezTo>
                    <a:pt x="133510" y="51471"/>
                    <a:pt x="133510" y="51471"/>
                    <a:pt x="132090" y="51471"/>
                  </a:cubicBezTo>
                  <a:lnTo>
                    <a:pt x="132090" y="48632"/>
                  </a:lnTo>
                  <a:lnTo>
                    <a:pt x="129250" y="45792"/>
                  </a:lnTo>
                  <a:lnTo>
                    <a:pt x="126411" y="42953"/>
                  </a:lnTo>
                  <a:cubicBezTo>
                    <a:pt x="126411" y="42953"/>
                    <a:pt x="124991" y="41533"/>
                    <a:pt x="124991" y="41533"/>
                  </a:cubicBezTo>
                  <a:lnTo>
                    <a:pt x="27032" y="362"/>
                  </a:lnTo>
                  <a:cubicBezTo>
                    <a:pt x="22773" y="-1058"/>
                    <a:pt x="17094" y="1781"/>
                    <a:pt x="14255" y="7460"/>
                  </a:cubicBezTo>
                  <a:lnTo>
                    <a:pt x="1477" y="40113"/>
                  </a:lnTo>
                  <a:cubicBezTo>
                    <a:pt x="-1362" y="45792"/>
                    <a:pt x="58" y="52891"/>
                    <a:pt x="4317" y="54311"/>
                  </a:cubicBezTo>
                  <a:close/>
                </a:path>
              </a:pathLst>
            </a:custGeom>
            <a:solidFill>
              <a:srgbClr val="63402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298DD9DF-7364-4A24-B5A0-CD75B33C304A}"/>
                </a:ext>
              </a:extLst>
            </p:cNvPr>
            <p:cNvSpPr/>
            <p:nvPr userDrawn="1"/>
          </p:nvSpPr>
          <p:spPr>
            <a:xfrm>
              <a:off x="7127200" y="3699083"/>
              <a:ext cx="10266" cy="30798"/>
            </a:xfrm>
            <a:custGeom>
              <a:avLst/>
              <a:gdLst>
                <a:gd name="connsiteX0" fmla="*/ 21296 w 14197"/>
                <a:gd name="connsiteY0" fmla="*/ 0 h 42591"/>
                <a:gd name="connsiteX1" fmla="*/ 2839 w 14197"/>
                <a:gd name="connsiteY1" fmla="*/ 46850 h 42591"/>
                <a:gd name="connsiteX2" fmla="*/ 0 w 14197"/>
                <a:gd name="connsiteY2" fmla="*/ 45431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1296" y="0"/>
                  </a:moveTo>
                  <a:lnTo>
                    <a:pt x="2839" y="46850"/>
                  </a:lnTo>
                  <a:lnTo>
                    <a:pt x="0" y="45431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CF675AAD-8211-4B29-A620-E39005D58F1A}"/>
                </a:ext>
              </a:extLst>
            </p:cNvPr>
            <p:cNvSpPr/>
            <p:nvPr userDrawn="1"/>
          </p:nvSpPr>
          <p:spPr>
            <a:xfrm>
              <a:off x="7099482" y="3687790"/>
              <a:ext cx="10266" cy="30798"/>
            </a:xfrm>
            <a:custGeom>
              <a:avLst/>
              <a:gdLst>
                <a:gd name="connsiteX0" fmla="*/ 0 w 14197"/>
                <a:gd name="connsiteY0" fmla="*/ 45431 h 42591"/>
                <a:gd name="connsiteX1" fmla="*/ 2839 w 14197"/>
                <a:gd name="connsiteY1" fmla="*/ 45431 h 42591"/>
                <a:gd name="connsiteX2" fmla="*/ 21296 w 14197"/>
                <a:gd name="connsiteY2" fmla="*/ 142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5431"/>
                  </a:moveTo>
                  <a:lnTo>
                    <a:pt x="2839" y="45431"/>
                  </a:lnTo>
                  <a:lnTo>
                    <a:pt x="21296" y="142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28A66D56-484D-4262-8BD4-67423DD716E2}"/>
                </a:ext>
              </a:extLst>
            </p:cNvPr>
            <p:cNvSpPr/>
            <p:nvPr userDrawn="1"/>
          </p:nvSpPr>
          <p:spPr>
            <a:xfrm>
              <a:off x="7066630" y="3675472"/>
              <a:ext cx="10266" cy="30798"/>
            </a:xfrm>
            <a:custGeom>
              <a:avLst/>
              <a:gdLst>
                <a:gd name="connsiteX0" fmla="*/ 0 w 14197"/>
                <a:gd name="connsiteY0" fmla="*/ 42591 h 42591"/>
                <a:gd name="connsiteX1" fmla="*/ 2839 w 14197"/>
                <a:gd name="connsiteY1" fmla="*/ 44011 h 42591"/>
                <a:gd name="connsiteX2" fmla="*/ 19876 w 14197"/>
                <a:gd name="connsiteY2" fmla="*/ 1420 h 42591"/>
                <a:gd name="connsiteX3" fmla="*/ 1703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2839" y="44011"/>
                  </a:lnTo>
                  <a:lnTo>
                    <a:pt x="19876" y="1420"/>
                  </a:lnTo>
                  <a:lnTo>
                    <a:pt x="1703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A425B245-E0B2-43BA-ADAB-3B18ACAC93EA}"/>
                </a:ext>
              </a:extLst>
            </p:cNvPr>
            <p:cNvSpPr/>
            <p:nvPr userDrawn="1"/>
          </p:nvSpPr>
          <p:spPr>
            <a:xfrm>
              <a:off x="7027620" y="3660072"/>
              <a:ext cx="10266" cy="30798"/>
            </a:xfrm>
            <a:custGeom>
              <a:avLst/>
              <a:gdLst>
                <a:gd name="connsiteX0" fmla="*/ 0 w 14197"/>
                <a:gd name="connsiteY0" fmla="*/ 42591 h 42591"/>
                <a:gd name="connsiteX1" fmla="*/ 1420 w 14197"/>
                <a:gd name="connsiteY1" fmla="*/ 42591 h 42591"/>
                <a:gd name="connsiteX2" fmla="*/ 2839 w 14197"/>
                <a:gd name="connsiteY2" fmla="*/ 42591 h 42591"/>
                <a:gd name="connsiteX3" fmla="*/ 4259 w 14197"/>
                <a:gd name="connsiteY3" fmla="*/ 42591 h 42591"/>
                <a:gd name="connsiteX4" fmla="*/ 21296 w 14197"/>
                <a:gd name="connsiteY4" fmla="*/ 1420 h 42591"/>
                <a:gd name="connsiteX5" fmla="*/ 19876 w 14197"/>
                <a:gd name="connsiteY5" fmla="*/ 1420 h 42591"/>
                <a:gd name="connsiteX6" fmla="*/ 18456 w 14197"/>
                <a:gd name="connsiteY6" fmla="*/ 1420 h 42591"/>
                <a:gd name="connsiteX7" fmla="*/ 17036 w 14197"/>
                <a:gd name="connsiteY7" fmla="*/ 0 h 42591"/>
                <a:gd name="connsiteX8" fmla="*/ 0 w 14197"/>
                <a:gd name="connsiteY8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1420" y="42591"/>
                  </a:lnTo>
                  <a:cubicBezTo>
                    <a:pt x="1420" y="42591"/>
                    <a:pt x="1420" y="42591"/>
                    <a:pt x="2839" y="42591"/>
                  </a:cubicBezTo>
                  <a:cubicBezTo>
                    <a:pt x="2839" y="42591"/>
                    <a:pt x="2839" y="42591"/>
                    <a:pt x="4259" y="42591"/>
                  </a:cubicBezTo>
                  <a:lnTo>
                    <a:pt x="21296" y="1420"/>
                  </a:lnTo>
                  <a:cubicBezTo>
                    <a:pt x="21296" y="1420"/>
                    <a:pt x="21296" y="1420"/>
                    <a:pt x="19876" y="1420"/>
                  </a:cubicBezTo>
                  <a:cubicBezTo>
                    <a:pt x="19876" y="1420"/>
                    <a:pt x="19876" y="1420"/>
                    <a:pt x="18456" y="1420"/>
                  </a:cubicBezTo>
                  <a:lnTo>
                    <a:pt x="17036" y="0"/>
                  </a:lnTo>
                  <a:lnTo>
                    <a:pt x="0" y="42591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BC6D5F3B-B6A6-4CC4-AAA7-6515E24C20B4}"/>
                </a:ext>
              </a:extLst>
            </p:cNvPr>
            <p:cNvSpPr/>
            <p:nvPr userDrawn="1"/>
          </p:nvSpPr>
          <p:spPr>
            <a:xfrm>
              <a:off x="7152864" y="3708322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8270 h 42591"/>
                <a:gd name="connsiteX2" fmla="*/ 0 w 14197"/>
                <a:gd name="connsiteY2" fmla="*/ 4685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8270"/>
                  </a:lnTo>
                  <a:lnTo>
                    <a:pt x="0" y="4685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F4BF2EE8-703F-4075-A4A2-CC49B9E567A0}"/>
                </a:ext>
              </a:extLst>
            </p:cNvPr>
            <p:cNvSpPr/>
            <p:nvPr userDrawn="1"/>
          </p:nvSpPr>
          <p:spPr>
            <a:xfrm>
              <a:off x="7178529" y="3717561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9690 h 42591"/>
                <a:gd name="connsiteX2" fmla="*/ 0 w 14197"/>
                <a:gd name="connsiteY2" fmla="*/ 4827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9690"/>
                  </a:lnTo>
                  <a:lnTo>
                    <a:pt x="0" y="4827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B5A1FDA6-50C6-47D4-8FDE-E74A3F691261}"/>
                </a:ext>
              </a:extLst>
            </p:cNvPr>
            <p:cNvSpPr/>
            <p:nvPr userDrawn="1"/>
          </p:nvSpPr>
          <p:spPr>
            <a:xfrm>
              <a:off x="7204194" y="3727827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4CBD3A44-69B8-4F51-990F-33975B953DF4}"/>
                </a:ext>
              </a:extLst>
            </p:cNvPr>
            <p:cNvSpPr/>
            <p:nvPr userDrawn="1"/>
          </p:nvSpPr>
          <p:spPr>
            <a:xfrm>
              <a:off x="7230886" y="3738093"/>
              <a:ext cx="10266" cy="30798"/>
            </a:xfrm>
            <a:custGeom>
              <a:avLst/>
              <a:gdLst>
                <a:gd name="connsiteX0" fmla="*/ 22715 w 14197"/>
                <a:gd name="connsiteY0" fmla="*/ 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D55FB064-028B-482C-A686-0FA993B3E97C}"/>
                </a:ext>
              </a:extLst>
            </p:cNvPr>
            <p:cNvSpPr/>
            <p:nvPr userDrawn="1"/>
          </p:nvSpPr>
          <p:spPr>
            <a:xfrm>
              <a:off x="7257577" y="3747333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2455D774-A2AC-46E5-A831-5F089C5C6F8E}"/>
                </a:ext>
              </a:extLst>
            </p:cNvPr>
            <p:cNvSpPr/>
            <p:nvPr userDrawn="1"/>
          </p:nvSpPr>
          <p:spPr>
            <a:xfrm>
              <a:off x="7287348" y="3759652"/>
              <a:ext cx="10266" cy="30798"/>
            </a:xfrm>
            <a:custGeom>
              <a:avLst/>
              <a:gdLst>
                <a:gd name="connsiteX0" fmla="*/ 24135 w 14197"/>
                <a:gd name="connsiteY0" fmla="*/ 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2129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4135" y="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2129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867B8A04-E079-422E-AE6A-1ABDC6F567A2}"/>
                </a:ext>
              </a:extLst>
            </p:cNvPr>
            <p:cNvSpPr/>
            <p:nvPr userDrawn="1"/>
          </p:nvSpPr>
          <p:spPr>
            <a:xfrm>
              <a:off x="7317120" y="3770945"/>
              <a:ext cx="10266" cy="30798"/>
            </a:xfrm>
            <a:custGeom>
              <a:avLst/>
              <a:gdLst>
                <a:gd name="connsiteX0" fmla="*/ 25555 w 14197"/>
                <a:gd name="connsiteY0" fmla="*/ 0 h 42591"/>
                <a:gd name="connsiteX1" fmla="*/ 2839 w 14197"/>
                <a:gd name="connsiteY1" fmla="*/ 55368 h 42591"/>
                <a:gd name="connsiteX2" fmla="*/ 0 w 14197"/>
                <a:gd name="connsiteY2" fmla="*/ 55368 h 42591"/>
                <a:gd name="connsiteX3" fmla="*/ 22715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5555" y="0"/>
                  </a:moveTo>
                  <a:lnTo>
                    <a:pt x="2839" y="5536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41F483DA-E6E3-42D6-B680-38F3D6D1E77F}"/>
                </a:ext>
              </a:extLst>
            </p:cNvPr>
            <p:cNvSpPr/>
            <p:nvPr userDrawn="1"/>
          </p:nvSpPr>
          <p:spPr>
            <a:xfrm>
              <a:off x="7339704" y="3779157"/>
              <a:ext cx="10266" cy="41064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6788 h 56788"/>
                <a:gd name="connsiteX2" fmla="*/ 0 w 14197"/>
                <a:gd name="connsiteY2" fmla="*/ 5536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678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AF1A2C65-8AFC-4027-801C-0189BC49A4C8}"/>
                </a:ext>
              </a:extLst>
            </p:cNvPr>
            <p:cNvSpPr/>
            <p:nvPr userDrawn="1"/>
          </p:nvSpPr>
          <p:spPr>
            <a:xfrm>
              <a:off x="7362290" y="3787370"/>
              <a:ext cx="10266" cy="41064"/>
            </a:xfrm>
            <a:custGeom>
              <a:avLst/>
              <a:gdLst>
                <a:gd name="connsiteX0" fmla="*/ 22715 w 14197"/>
                <a:gd name="connsiteY0" fmla="*/ 0 h 56788"/>
                <a:gd name="connsiteX1" fmla="*/ 25555 w 14197"/>
                <a:gd name="connsiteY1" fmla="*/ 1420 h 56788"/>
                <a:gd name="connsiteX2" fmla="*/ 2839 w 14197"/>
                <a:gd name="connsiteY2" fmla="*/ 58208 h 56788"/>
                <a:gd name="connsiteX3" fmla="*/ 0 w 14197"/>
                <a:gd name="connsiteY3" fmla="*/ 5678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2715" y="0"/>
                  </a:moveTo>
                  <a:lnTo>
                    <a:pt x="25555" y="1420"/>
                  </a:lnTo>
                  <a:lnTo>
                    <a:pt x="2839" y="58208"/>
                  </a:lnTo>
                  <a:lnTo>
                    <a:pt x="0" y="56788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B3D6F2B8-590B-44C7-8667-553FC25768D0}"/>
                </a:ext>
              </a:extLst>
            </p:cNvPr>
            <p:cNvSpPr/>
            <p:nvPr userDrawn="1"/>
          </p:nvSpPr>
          <p:spPr>
            <a:xfrm>
              <a:off x="7378715" y="3793529"/>
              <a:ext cx="10266" cy="41064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9627 h 56788"/>
                <a:gd name="connsiteX2" fmla="*/ 0 w 14197"/>
                <a:gd name="connsiteY2" fmla="*/ 5820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9627"/>
                  </a:lnTo>
                  <a:lnTo>
                    <a:pt x="0" y="5820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467D7AA6-BEA7-47F8-B3A9-F33A5BAD7299}"/>
                </a:ext>
              </a:extLst>
            </p:cNvPr>
            <p:cNvSpPr/>
            <p:nvPr userDrawn="1"/>
          </p:nvSpPr>
          <p:spPr>
            <a:xfrm>
              <a:off x="7394114" y="3799689"/>
              <a:ext cx="10266" cy="41064"/>
            </a:xfrm>
            <a:custGeom>
              <a:avLst/>
              <a:gdLst>
                <a:gd name="connsiteX0" fmla="*/ 26974 w 14197"/>
                <a:gd name="connsiteY0" fmla="*/ 1420 h 56788"/>
                <a:gd name="connsiteX1" fmla="*/ 2839 w 14197"/>
                <a:gd name="connsiteY1" fmla="*/ 61047 h 56788"/>
                <a:gd name="connsiteX2" fmla="*/ 0 w 14197"/>
                <a:gd name="connsiteY2" fmla="*/ 59627 h 56788"/>
                <a:gd name="connsiteX3" fmla="*/ 2413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6974" y="1420"/>
                  </a:moveTo>
                  <a:lnTo>
                    <a:pt x="2839" y="61047"/>
                  </a:lnTo>
                  <a:lnTo>
                    <a:pt x="0" y="59627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2CB2C04E-3FE5-44D9-9E8D-499D09C7604F}"/>
                </a:ext>
              </a:extLst>
            </p:cNvPr>
            <p:cNvSpPr/>
            <p:nvPr userDrawn="1"/>
          </p:nvSpPr>
          <p:spPr>
            <a:xfrm>
              <a:off x="7410540" y="3805849"/>
              <a:ext cx="20532" cy="41064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1047 h 56788"/>
                <a:gd name="connsiteX2" fmla="*/ 0 w 28394"/>
                <a:gd name="connsiteY2" fmla="*/ 59628 h 56788"/>
                <a:gd name="connsiteX3" fmla="*/ 2413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1047"/>
                  </a:lnTo>
                  <a:lnTo>
                    <a:pt x="0" y="59628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33207A1C-DB54-4C01-9051-98007015E777}"/>
                </a:ext>
              </a:extLst>
            </p:cNvPr>
            <p:cNvSpPr/>
            <p:nvPr userDrawn="1"/>
          </p:nvSpPr>
          <p:spPr>
            <a:xfrm>
              <a:off x="7426794" y="3811989"/>
              <a:ext cx="10266" cy="41064"/>
            </a:xfrm>
            <a:custGeom>
              <a:avLst/>
              <a:gdLst>
                <a:gd name="connsiteX0" fmla="*/ 0 w 14197"/>
                <a:gd name="connsiteY0" fmla="*/ 60552 h 56788"/>
                <a:gd name="connsiteX1" fmla="*/ 24464 w 14197"/>
                <a:gd name="connsiteY1" fmla="*/ 0 h 56788"/>
                <a:gd name="connsiteX2" fmla="*/ 27096 w 14197"/>
                <a:gd name="connsiteY2" fmla="*/ 1064 h 56788"/>
                <a:gd name="connsiteX3" fmla="*/ 2633 w 14197"/>
                <a:gd name="connsiteY3" fmla="*/ 61616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0" y="60552"/>
                  </a:moveTo>
                  <a:lnTo>
                    <a:pt x="24464" y="0"/>
                  </a:lnTo>
                  <a:lnTo>
                    <a:pt x="27096" y="1064"/>
                  </a:lnTo>
                  <a:lnTo>
                    <a:pt x="2633" y="61616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E323791F-E47B-4147-94A1-69BD98F75948}"/>
                </a:ext>
              </a:extLst>
            </p:cNvPr>
            <p:cNvSpPr/>
            <p:nvPr userDrawn="1"/>
          </p:nvSpPr>
          <p:spPr>
            <a:xfrm>
              <a:off x="7441337" y="3818168"/>
              <a:ext cx="20532" cy="41064"/>
            </a:xfrm>
            <a:custGeom>
              <a:avLst/>
              <a:gdLst>
                <a:gd name="connsiteX0" fmla="*/ 25555 w 28394"/>
                <a:gd name="connsiteY0" fmla="*/ 0 h 56788"/>
                <a:gd name="connsiteX1" fmla="*/ 28394 w 28394"/>
                <a:gd name="connsiteY1" fmla="*/ 0 h 56788"/>
                <a:gd name="connsiteX2" fmla="*/ 2839 w 28394"/>
                <a:gd name="connsiteY2" fmla="*/ 62467 h 56788"/>
                <a:gd name="connsiteX3" fmla="*/ 0 w 28394"/>
                <a:gd name="connsiteY3" fmla="*/ 61047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5555" y="0"/>
                  </a:moveTo>
                  <a:lnTo>
                    <a:pt x="28394" y="0"/>
                  </a:lnTo>
                  <a:lnTo>
                    <a:pt x="2839" y="62467"/>
                  </a:lnTo>
                  <a:lnTo>
                    <a:pt x="0" y="61047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EB90517A-A3FF-4CD2-858D-4FEF1D58B918}"/>
                </a:ext>
              </a:extLst>
            </p:cNvPr>
            <p:cNvSpPr/>
            <p:nvPr userDrawn="1"/>
          </p:nvSpPr>
          <p:spPr>
            <a:xfrm>
              <a:off x="7456736" y="3823301"/>
              <a:ext cx="20532" cy="41064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3887 h 56788"/>
                <a:gd name="connsiteX2" fmla="*/ 0 w 28394"/>
                <a:gd name="connsiteY2" fmla="*/ 62467 h 56788"/>
                <a:gd name="connsiteX3" fmla="*/ 2555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13FE9E53-6F6A-4809-845C-3AFBB038E1B8}"/>
                </a:ext>
              </a:extLst>
            </p:cNvPr>
            <p:cNvSpPr/>
            <p:nvPr userDrawn="1"/>
          </p:nvSpPr>
          <p:spPr>
            <a:xfrm>
              <a:off x="7473161" y="3829460"/>
              <a:ext cx="10266" cy="41064"/>
            </a:xfrm>
            <a:custGeom>
              <a:avLst/>
              <a:gdLst>
                <a:gd name="connsiteX0" fmla="*/ 25555 w 14197"/>
                <a:gd name="connsiteY0" fmla="*/ 0 h 56788"/>
                <a:gd name="connsiteX1" fmla="*/ 0 w 14197"/>
                <a:gd name="connsiteY1" fmla="*/ 63887 h 56788"/>
                <a:gd name="connsiteX2" fmla="*/ 0 w 14197"/>
                <a:gd name="connsiteY2" fmla="*/ 62467 h 56788"/>
                <a:gd name="connsiteX3" fmla="*/ 2555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0"/>
                  </a:moveTo>
                  <a:lnTo>
                    <a:pt x="0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CA566C09-0CE4-48E6-9951-02BC112799DA}"/>
                </a:ext>
              </a:extLst>
            </p:cNvPr>
            <p:cNvSpPr/>
            <p:nvPr userDrawn="1"/>
          </p:nvSpPr>
          <p:spPr>
            <a:xfrm>
              <a:off x="6972184" y="3641593"/>
              <a:ext cx="698083" cy="256649"/>
            </a:xfrm>
            <a:custGeom>
              <a:avLst/>
              <a:gdLst>
                <a:gd name="connsiteX0" fmla="*/ 56788 w 965397"/>
                <a:gd name="connsiteY0" fmla="*/ 28394 h 354925"/>
                <a:gd name="connsiteX1" fmla="*/ 0 w 965397"/>
                <a:gd name="connsiteY1" fmla="*/ 2839 h 354925"/>
                <a:gd name="connsiteX2" fmla="*/ 1420 w 965397"/>
                <a:gd name="connsiteY2" fmla="*/ 0 h 354925"/>
                <a:gd name="connsiteX3" fmla="*/ 56788 w 965397"/>
                <a:gd name="connsiteY3" fmla="*/ 25555 h 354925"/>
                <a:gd name="connsiteX4" fmla="*/ 93700 w 965397"/>
                <a:gd name="connsiteY4" fmla="*/ 29814 h 354925"/>
                <a:gd name="connsiteX5" fmla="*/ 965397 w 965397"/>
                <a:gd name="connsiteY5" fmla="*/ 363444 h 354925"/>
                <a:gd name="connsiteX6" fmla="*/ 963978 w 965397"/>
                <a:gd name="connsiteY6" fmla="*/ 366283 h 354925"/>
                <a:gd name="connsiteX7" fmla="*/ 93700 w 965397"/>
                <a:gd name="connsiteY7" fmla="*/ 31234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5397" h="354925">
                  <a:moveTo>
                    <a:pt x="56788" y="28394"/>
                  </a:moveTo>
                  <a:lnTo>
                    <a:pt x="0" y="2839"/>
                  </a:lnTo>
                  <a:lnTo>
                    <a:pt x="1420" y="0"/>
                  </a:lnTo>
                  <a:lnTo>
                    <a:pt x="56788" y="25555"/>
                  </a:lnTo>
                  <a:lnTo>
                    <a:pt x="93700" y="29814"/>
                  </a:lnTo>
                  <a:lnTo>
                    <a:pt x="965397" y="363444"/>
                  </a:lnTo>
                  <a:lnTo>
                    <a:pt x="963978" y="366283"/>
                  </a:lnTo>
                  <a:lnTo>
                    <a:pt x="93700" y="3123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D1EA5632-3FBA-475C-B9A4-52E8E5E1466E}"/>
                </a:ext>
              </a:extLst>
            </p:cNvPr>
            <p:cNvSpPr/>
            <p:nvPr userDrawn="1"/>
          </p:nvSpPr>
          <p:spPr>
            <a:xfrm>
              <a:off x="7013248" y="3660072"/>
              <a:ext cx="646754" cy="246382"/>
            </a:xfrm>
            <a:custGeom>
              <a:avLst/>
              <a:gdLst>
                <a:gd name="connsiteX0" fmla="*/ 0 w 894412"/>
                <a:gd name="connsiteY0" fmla="*/ 2839 h 340728"/>
                <a:gd name="connsiteX1" fmla="*/ 1420 w 894412"/>
                <a:gd name="connsiteY1" fmla="*/ 0 h 340728"/>
                <a:gd name="connsiteX2" fmla="*/ 34073 w 894412"/>
                <a:gd name="connsiteY2" fmla="*/ 12777 h 340728"/>
                <a:gd name="connsiteX3" fmla="*/ 902930 w 894412"/>
                <a:gd name="connsiteY3" fmla="*/ 350666 h 340728"/>
                <a:gd name="connsiteX4" fmla="*/ 902930 w 894412"/>
                <a:gd name="connsiteY4" fmla="*/ 353506 h 340728"/>
                <a:gd name="connsiteX5" fmla="*/ 32653 w 894412"/>
                <a:gd name="connsiteY5" fmla="*/ 15617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4412" h="340728">
                  <a:moveTo>
                    <a:pt x="0" y="2839"/>
                  </a:moveTo>
                  <a:lnTo>
                    <a:pt x="1420" y="0"/>
                  </a:lnTo>
                  <a:lnTo>
                    <a:pt x="34073" y="12777"/>
                  </a:lnTo>
                  <a:lnTo>
                    <a:pt x="902930" y="350666"/>
                  </a:lnTo>
                  <a:lnTo>
                    <a:pt x="902930" y="353506"/>
                  </a:lnTo>
                  <a:lnTo>
                    <a:pt x="32653" y="15617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28F90DE0-37F7-497A-BBDF-02219FBB6A62}"/>
                </a:ext>
              </a:extLst>
            </p:cNvPr>
            <p:cNvSpPr/>
            <p:nvPr userDrawn="1"/>
          </p:nvSpPr>
          <p:spPr>
            <a:xfrm>
              <a:off x="6972184" y="3641593"/>
              <a:ext cx="687817" cy="277181"/>
            </a:xfrm>
            <a:custGeom>
              <a:avLst/>
              <a:gdLst>
                <a:gd name="connsiteX0" fmla="*/ 0 w 951200"/>
                <a:gd name="connsiteY0" fmla="*/ 2839 h 383319"/>
                <a:gd name="connsiteX1" fmla="*/ 1420 w 951200"/>
                <a:gd name="connsiteY1" fmla="*/ 0 h 383319"/>
                <a:gd name="connsiteX2" fmla="*/ 88021 w 951200"/>
                <a:gd name="connsiteY2" fmla="*/ 46850 h 383319"/>
                <a:gd name="connsiteX3" fmla="*/ 955459 w 951200"/>
                <a:gd name="connsiteY3" fmla="*/ 388998 h 383319"/>
                <a:gd name="connsiteX4" fmla="*/ 954040 w 951200"/>
                <a:gd name="connsiteY4" fmla="*/ 390418 h 383319"/>
                <a:gd name="connsiteX5" fmla="*/ 86602 w 951200"/>
                <a:gd name="connsiteY5" fmla="*/ 4969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1200" h="383319">
                  <a:moveTo>
                    <a:pt x="0" y="2839"/>
                  </a:moveTo>
                  <a:lnTo>
                    <a:pt x="1420" y="0"/>
                  </a:lnTo>
                  <a:lnTo>
                    <a:pt x="88021" y="46850"/>
                  </a:lnTo>
                  <a:lnTo>
                    <a:pt x="955459" y="388998"/>
                  </a:lnTo>
                  <a:lnTo>
                    <a:pt x="954040" y="390418"/>
                  </a:lnTo>
                  <a:lnTo>
                    <a:pt x="86602" y="49690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DEBAE817-7F73-470B-B495-771112F43222}"/>
                </a:ext>
              </a:extLst>
            </p:cNvPr>
            <p:cNvSpPr/>
            <p:nvPr userDrawn="1"/>
          </p:nvSpPr>
          <p:spPr>
            <a:xfrm>
              <a:off x="6978344" y="3662125"/>
              <a:ext cx="677551" cy="266915"/>
            </a:xfrm>
            <a:custGeom>
              <a:avLst/>
              <a:gdLst>
                <a:gd name="connsiteX0" fmla="*/ 0 w 937003"/>
                <a:gd name="connsiteY0" fmla="*/ 1420 h 369122"/>
                <a:gd name="connsiteX1" fmla="*/ 1420 w 937003"/>
                <a:gd name="connsiteY1" fmla="*/ 0 h 369122"/>
                <a:gd name="connsiteX2" fmla="*/ 75244 w 937003"/>
                <a:gd name="connsiteY2" fmla="*/ 26974 h 369122"/>
                <a:gd name="connsiteX3" fmla="*/ 941263 w 937003"/>
                <a:gd name="connsiteY3" fmla="*/ 373382 h 369122"/>
                <a:gd name="connsiteX4" fmla="*/ 941263 w 937003"/>
                <a:gd name="connsiteY4" fmla="*/ 374801 h 369122"/>
                <a:gd name="connsiteX5" fmla="*/ 73825 w 937003"/>
                <a:gd name="connsiteY5" fmla="*/ 2981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003" h="369122">
                  <a:moveTo>
                    <a:pt x="0" y="1420"/>
                  </a:moveTo>
                  <a:lnTo>
                    <a:pt x="1420" y="0"/>
                  </a:lnTo>
                  <a:lnTo>
                    <a:pt x="75244" y="26974"/>
                  </a:lnTo>
                  <a:lnTo>
                    <a:pt x="941263" y="373382"/>
                  </a:lnTo>
                  <a:lnTo>
                    <a:pt x="941263" y="374801"/>
                  </a:lnTo>
                  <a:lnTo>
                    <a:pt x="73825" y="2981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E1A27988-CEE2-45AD-AC08-CC121D1E9B54}"/>
                </a:ext>
              </a:extLst>
            </p:cNvPr>
            <p:cNvSpPr/>
            <p:nvPr userDrawn="1"/>
          </p:nvSpPr>
          <p:spPr>
            <a:xfrm>
              <a:off x="6998875" y="3670338"/>
              <a:ext cx="657020" cy="266915"/>
            </a:xfrm>
            <a:custGeom>
              <a:avLst/>
              <a:gdLst>
                <a:gd name="connsiteX0" fmla="*/ 0 w 908609"/>
                <a:gd name="connsiteY0" fmla="*/ 2839 h 369122"/>
                <a:gd name="connsiteX1" fmla="*/ 1420 w 908609"/>
                <a:gd name="connsiteY1" fmla="*/ 0 h 369122"/>
                <a:gd name="connsiteX2" fmla="*/ 44011 w 908609"/>
                <a:gd name="connsiteY2" fmla="*/ 25555 h 369122"/>
                <a:gd name="connsiteX3" fmla="*/ 908609 w 908609"/>
                <a:gd name="connsiteY3" fmla="*/ 373382 h 369122"/>
                <a:gd name="connsiteX4" fmla="*/ 907190 w 908609"/>
                <a:gd name="connsiteY4" fmla="*/ 376221 h 369122"/>
                <a:gd name="connsiteX5" fmla="*/ 42591 w 908609"/>
                <a:gd name="connsiteY5" fmla="*/ 2697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609" h="369122">
                  <a:moveTo>
                    <a:pt x="0" y="2839"/>
                  </a:moveTo>
                  <a:lnTo>
                    <a:pt x="1420" y="0"/>
                  </a:lnTo>
                  <a:lnTo>
                    <a:pt x="44011" y="25555"/>
                  </a:lnTo>
                  <a:lnTo>
                    <a:pt x="908609" y="373382"/>
                  </a:lnTo>
                  <a:lnTo>
                    <a:pt x="907190" y="376221"/>
                  </a:lnTo>
                  <a:lnTo>
                    <a:pt x="42591" y="2697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C839F7F2-72B1-46A4-9468-7CC26B126DCC}"/>
                </a:ext>
              </a:extLst>
            </p:cNvPr>
            <p:cNvSpPr/>
            <p:nvPr userDrawn="1"/>
          </p:nvSpPr>
          <p:spPr>
            <a:xfrm>
              <a:off x="6993463" y="3669935"/>
              <a:ext cx="10266" cy="10266"/>
            </a:xfrm>
            <a:custGeom>
              <a:avLst/>
              <a:gdLst>
                <a:gd name="connsiteX0" fmla="*/ 387 w 0"/>
                <a:gd name="connsiteY0" fmla="*/ 3396 h 0"/>
                <a:gd name="connsiteX1" fmla="*/ 8905 w 0"/>
                <a:gd name="connsiteY1" fmla="*/ 557 h 0"/>
                <a:gd name="connsiteX2" fmla="*/ 8905 w 0"/>
                <a:gd name="connsiteY2" fmla="*/ 557 h 0"/>
                <a:gd name="connsiteX3" fmla="*/ 10325 w 0"/>
                <a:gd name="connsiteY3" fmla="*/ 1977 h 0"/>
                <a:gd name="connsiteX4" fmla="*/ 11745 w 0"/>
                <a:gd name="connsiteY4" fmla="*/ 3396 h 0"/>
                <a:gd name="connsiteX5" fmla="*/ 11745 w 0"/>
                <a:gd name="connsiteY5" fmla="*/ 3396 h 0"/>
                <a:gd name="connsiteX6" fmla="*/ 11745 w 0"/>
                <a:gd name="connsiteY6" fmla="*/ 4816 h 0"/>
                <a:gd name="connsiteX7" fmla="*/ 11745 w 0"/>
                <a:gd name="connsiteY7" fmla="*/ 7655 h 0"/>
                <a:gd name="connsiteX8" fmla="*/ 11745 w 0"/>
                <a:gd name="connsiteY8" fmla="*/ 7655 h 0"/>
                <a:gd name="connsiteX9" fmla="*/ 11745 w 0"/>
                <a:gd name="connsiteY9" fmla="*/ 9075 h 0"/>
                <a:gd name="connsiteX10" fmla="*/ 3226 w 0"/>
                <a:gd name="connsiteY10" fmla="*/ 11914 h 0"/>
                <a:gd name="connsiteX11" fmla="*/ 3226 w 0"/>
                <a:gd name="connsiteY11" fmla="*/ 11914 h 0"/>
                <a:gd name="connsiteX12" fmla="*/ 387 w 0"/>
                <a:gd name="connsiteY12" fmla="*/ 339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387" y="3396"/>
                  </a:moveTo>
                  <a:cubicBezTo>
                    <a:pt x="1807" y="557"/>
                    <a:pt x="6066" y="-863"/>
                    <a:pt x="8905" y="557"/>
                  </a:cubicBezTo>
                  <a:lnTo>
                    <a:pt x="8905" y="557"/>
                  </a:lnTo>
                  <a:cubicBezTo>
                    <a:pt x="8905" y="557"/>
                    <a:pt x="10325" y="557"/>
                    <a:pt x="10325" y="1977"/>
                  </a:cubicBezTo>
                  <a:cubicBezTo>
                    <a:pt x="10325" y="1977"/>
                    <a:pt x="10325" y="1977"/>
                    <a:pt x="11745" y="3396"/>
                  </a:cubicBezTo>
                  <a:cubicBezTo>
                    <a:pt x="11745" y="3396"/>
                    <a:pt x="11745" y="3396"/>
                    <a:pt x="11745" y="3396"/>
                  </a:cubicBezTo>
                  <a:cubicBezTo>
                    <a:pt x="11745" y="3396"/>
                    <a:pt x="11745" y="3396"/>
                    <a:pt x="11745" y="4816"/>
                  </a:cubicBezTo>
                  <a:cubicBezTo>
                    <a:pt x="11745" y="6236"/>
                    <a:pt x="11745" y="6236"/>
                    <a:pt x="11745" y="7655"/>
                  </a:cubicBezTo>
                  <a:cubicBezTo>
                    <a:pt x="11745" y="7655"/>
                    <a:pt x="11745" y="7655"/>
                    <a:pt x="11745" y="7655"/>
                  </a:cubicBezTo>
                  <a:cubicBezTo>
                    <a:pt x="11745" y="7655"/>
                    <a:pt x="11745" y="9075"/>
                    <a:pt x="11745" y="9075"/>
                  </a:cubicBezTo>
                  <a:cubicBezTo>
                    <a:pt x="10325" y="11914"/>
                    <a:pt x="6066" y="13334"/>
                    <a:pt x="3226" y="11914"/>
                  </a:cubicBezTo>
                  <a:lnTo>
                    <a:pt x="3226" y="11914"/>
                  </a:lnTo>
                  <a:cubicBezTo>
                    <a:pt x="1807" y="9075"/>
                    <a:pt x="-1033" y="6236"/>
                    <a:pt x="387" y="3396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5EEB1AA2-4416-44E8-8B75-16F3E92AEF9D}"/>
                </a:ext>
              </a:extLst>
            </p:cNvPr>
            <p:cNvSpPr/>
            <p:nvPr userDrawn="1"/>
          </p:nvSpPr>
          <p:spPr>
            <a:xfrm>
              <a:off x="6989251" y="3643244"/>
              <a:ext cx="10266" cy="10266"/>
            </a:xfrm>
            <a:custGeom>
              <a:avLst/>
              <a:gdLst>
                <a:gd name="connsiteX0" fmla="*/ 4792 w 0"/>
                <a:gd name="connsiteY0" fmla="*/ 11915 h 0"/>
                <a:gd name="connsiteX1" fmla="*/ 4792 w 0"/>
                <a:gd name="connsiteY1" fmla="*/ 11915 h 0"/>
                <a:gd name="connsiteX2" fmla="*/ 4792 w 0"/>
                <a:gd name="connsiteY2" fmla="*/ 11915 h 0"/>
                <a:gd name="connsiteX3" fmla="*/ 532 w 0"/>
                <a:gd name="connsiteY3" fmla="*/ 3396 h 0"/>
                <a:gd name="connsiteX4" fmla="*/ 9051 w 0"/>
                <a:gd name="connsiteY4" fmla="*/ 557 h 0"/>
                <a:gd name="connsiteX5" fmla="*/ 9051 w 0"/>
                <a:gd name="connsiteY5" fmla="*/ 557 h 0"/>
                <a:gd name="connsiteX6" fmla="*/ 9051 w 0"/>
                <a:gd name="connsiteY6" fmla="*/ 557 h 0"/>
                <a:gd name="connsiteX7" fmla="*/ 9051 w 0"/>
                <a:gd name="connsiteY7" fmla="*/ 557 h 0"/>
                <a:gd name="connsiteX8" fmla="*/ 10470 w 0"/>
                <a:gd name="connsiteY8" fmla="*/ 557 h 0"/>
                <a:gd name="connsiteX9" fmla="*/ 13310 w 0"/>
                <a:gd name="connsiteY9" fmla="*/ 6236 h 0"/>
                <a:gd name="connsiteX10" fmla="*/ 13310 w 0"/>
                <a:gd name="connsiteY10" fmla="*/ 6236 h 0"/>
                <a:gd name="connsiteX11" fmla="*/ 13310 w 0"/>
                <a:gd name="connsiteY11" fmla="*/ 7656 h 0"/>
                <a:gd name="connsiteX12" fmla="*/ 13310 w 0"/>
                <a:gd name="connsiteY12" fmla="*/ 7656 h 0"/>
                <a:gd name="connsiteX13" fmla="*/ 13310 w 0"/>
                <a:gd name="connsiteY13" fmla="*/ 7656 h 0"/>
                <a:gd name="connsiteX14" fmla="*/ 13310 w 0"/>
                <a:gd name="connsiteY14" fmla="*/ 9075 h 0"/>
                <a:gd name="connsiteX15" fmla="*/ 13310 w 0"/>
                <a:gd name="connsiteY15" fmla="*/ 10495 h 0"/>
                <a:gd name="connsiteX16" fmla="*/ 11890 w 0"/>
                <a:gd name="connsiteY16" fmla="*/ 11915 h 0"/>
                <a:gd name="connsiteX17" fmla="*/ 4792 w 0"/>
                <a:gd name="connsiteY17" fmla="*/ 11915 h 0"/>
                <a:gd name="connsiteX18" fmla="*/ 4792 w 0"/>
                <a:gd name="connsiteY18" fmla="*/ 119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>
                  <a:moveTo>
                    <a:pt x="4792" y="11915"/>
                  </a:moveTo>
                  <a:lnTo>
                    <a:pt x="4792" y="11915"/>
                  </a:lnTo>
                  <a:lnTo>
                    <a:pt x="4792" y="11915"/>
                  </a:lnTo>
                  <a:cubicBezTo>
                    <a:pt x="532" y="10495"/>
                    <a:pt x="-887" y="6236"/>
                    <a:pt x="532" y="3396"/>
                  </a:cubicBezTo>
                  <a:cubicBezTo>
                    <a:pt x="1952" y="557"/>
                    <a:pt x="6211" y="-863"/>
                    <a:pt x="9051" y="557"/>
                  </a:cubicBezTo>
                  <a:lnTo>
                    <a:pt x="9051" y="557"/>
                  </a:lnTo>
                  <a:lnTo>
                    <a:pt x="9051" y="557"/>
                  </a:lnTo>
                  <a:lnTo>
                    <a:pt x="9051" y="557"/>
                  </a:lnTo>
                  <a:cubicBezTo>
                    <a:pt x="9051" y="557"/>
                    <a:pt x="9051" y="557"/>
                    <a:pt x="10470" y="557"/>
                  </a:cubicBezTo>
                  <a:cubicBezTo>
                    <a:pt x="13310" y="1977"/>
                    <a:pt x="14729" y="4816"/>
                    <a:pt x="13310" y="6236"/>
                  </a:cubicBezTo>
                  <a:cubicBezTo>
                    <a:pt x="13310" y="6236"/>
                    <a:pt x="13310" y="6236"/>
                    <a:pt x="13310" y="6236"/>
                  </a:cubicBezTo>
                  <a:cubicBezTo>
                    <a:pt x="13310" y="6236"/>
                    <a:pt x="13310" y="623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9075"/>
                  </a:cubicBezTo>
                  <a:cubicBezTo>
                    <a:pt x="13310" y="9075"/>
                    <a:pt x="13310" y="9075"/>
                    <a:pt x="13310" y="10495"/>
                  </a:cubicBezTo>
                  <a:cubicBezTo>
                    <a:pt x="13310" y="10495"/>
                    <a:pt x="13310" y="10495"/>
                    <a:pt x="11890" y="11915"/>
                  </a:cubicBezTo>
                  <a:cubicBezTo>
                    <a:pt x="10470" y="11915"/>
                    <a:pt x="7631" y="13334"/>
                    <a:pt x="4792" y="11915"/>
                  </a:cubicBezTo>
                  <a:cubicBezTo>
                    <a:pt x="4792" y="11915"/>
                    <a:pt x="4792" y="11915"/>
                    <a:pt x="4792" y="11915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48444687-F48C-4926-91E9-BAFEB430FD35}"/>
                </a:ext>
              </a:extLst>
            </p:cNvPr>
            <p:cNvSpPr/>
            <p:nvPr userDrawn="1"/>
          </p:nvSpPr>
          <p:spPr>
            <a:xfrm>
              <a:off x="7009895" y="3652483"/>
              <a:ext cx="10266" cy="10266"/>
            </a:xfrm>
            <a:custGeom>
              <a:avLst/>
              <a:gdLst>
                <a:gd name="connsiteX0" fmla="*/ 8896 w 0"/>
                <a:gd name="connsiteY0" fmla="*/ 557 h 0"/>
                <a:gd name="connsiteX1" fmla="*/ 8896 w 0"/>
                <a:gd name="connsiteY1" fmla="*/ 557 h 0"/>
                <a:gd name="connsiteX2" fmla="*/ 13155 w 0"/>
                <a:gd name="connsiteY2" fmla="*/ 9075 h 0"/>
                <a:gd name="connsiteX3" fmla="*/ 4637 w 0"/>
                <a:gd name="connsiteY3" fmla="*/ 11915 h 0"/>
                <a:gd name="connsiteX4" fmla="*/ 4637 w 0"/>
                <a:gd name="connsiteY4" fmla="*/ 11915 h 0"/>
                <a:gd name="connsiteX5" fmla="*/ 378 w 0"/>
                <a:gd name="connsiteY5" fmla="*/ 3396 h 0"/>
                <a:gd name="connsiteX6" fmla="*/ 8896 w 0"/>
                <a:gd name="connsiteY6" fmla="*/ 5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8896" y="557"/>
                  </a:moveTo>
                  <a:lnTo>
                    <a:pt x="8896" y="557"/>
                  </a:lnTo>
                  <a:cubicBezTo>
                    <a:pt x="11735" y="1977"/>
                    <a:pt x="14575" y="6236"/>
                    <a:pt x="13155" y="9075"/>
                  </a:cubicBezTo>
                  <a:cubicBezTo>
                    <a:pt x="11735" y="11915"/>
                    <a:pt x="7476" y="13334"/>
                    <a:pt x="4637" y="11915"/>
                  </a:cubicBezTo>
                  <a:lnTo>
                    <a:pt x="4637" y="11915"/>
                  </a:lnTo>
                  <a:cubicBezTo>
                    <a:pt x="1797" y="10495"/>
                    <a:pt x="-1042" y="6236"/>
                    <a:pt x="378" y="3396"/>
                  </a:cubicBezTo>
                  <a:cubicBezTo>
                    <a:pt x="1797" y="557"/>
                    <a:pt x="6056" y="-863"/>
                    <a:pt x="8896" y="557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0B762926-40E7-4A1C-A92A-66761277A84E}"/>
                </a:ext>
              </a:extLst>
            </p:cNvPr>
            <p:cNvSpPr/>
            <p:nvPr userDrawn="1"/>
          </p:nvSpPr>
          <p:spPr>
            <a:xfrm>
              <a:off x="7666785" y="3903375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4A5EE541-3A9A-4B0B-AA74-55F02DBD7E34}"/>
                </a:ext>
              </a:extLst>
            </p:cNvPr>
            <p:cNvSpPr/>
            <p:nvPr userDrawn="1"/>
          </p:nvSpPr>
          <p:spPr>
            <a:xfrm>
              <a:off x="7662678" y="3911588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1420"/>
                    <a:pt x="1049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D131F2F9-02B9-4385-9F54-98065CBB752E}"/>
                </a:ext>
              </a:extLst>
            </p:cNvPr>
            <p:cNvSpPr/>
            <p:nvPr userDrawn="1"/>
          </p:nvSpPr>
          <p:spPr>
            <a:xfrm>
              <a:off x="7659599" y="3920827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8B91208D-4A5A-4B96-B3ED-19C8F5C2415C}"/>
                </a:ext>
              </a:extLst>
            </p:cNvPr>
            <p:cNvSpPr/>
            <p:nvPr userDrawn="1"/>
          </p:nvSpPr>
          <p:spPr>
            <a:xfrm>
              <a:off x="7655492" y="3930067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0"/>
                    <a:pt x="1049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E80BA257-B4F7-4560-A06B-B97872CA6DE6}"/>
                </a:ext>
              </a:extLst>
            </p:cNvPr>
            <p:cNvSpPr/>
            <p:nvPr userDrawn="1"/>
          </p:nvSpPr>
          <p:spPr>
            <a:xfrm>
              <a:off x="7652412" y="3938279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1420"/>
                    <a:pt x="907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46E1557F-B7B9-4BAC-9320-96FC4CA4F54B}"/>
                </a:ext>
              </a:extLst>
            </p:cNvPr>
            <p:cNvSpPr/>
            <p:nvPr userDrawn="1"/>
          </p:nvSpPr>
          <p:spPr>
            <a:xfrm>
              <a:off x="7513989" y="3852504"/>
              <a:ext cx="112925" cy="61596"/>
            </a:xfrm>
            <a:custGeom>
              <a:avLst/>
              <a:gdLst>
                <a:gd name="connsiteX0" fmla="*/ 130940 w 156167"/>
                <a:gd name="connsiteY0" fmla="*/ 19241 h 85182"/>
                <a:gd name="connsiteX1" fmla="*/ 106805 w 156167"/>
                <a:gd name="connsiteY1" fmla="*/ 16402 h 85182"/>
                <a:gd name="connsiteX2" fmla="*/ 71313 w 156167"/>
                <a:gd name="connsiteY2" fmla="*/ 785 h 85182"/>
                <a:gd name="connsiteX3" fmla="*/ 34400 w 156167"/>
                <a:gd name="connsiteY3" fmla="*/ 12143 h 85182"/>
                <a:gd name="connsiteX4" fmla="*/ 38659 w 156167"/>
                <a:gd name="connsiteY4" fmla="*/ 22080 h 85182"/>
                <a:gd name="connsiteX5" fmla="*/ 327 w 156167"/>
                <a:gd name="connsiteY5" fmla="*/ 46215 h 85182"/>
                <a:gd name="connsiteX6" fmla="*/ 15944 w 156167"/>
                <a:gd name="connsiteY6" fmla="*/ 84547 h 85182"/>
                <a:gd name="connsiteX7" fmla="*/ 86929 w 156167"/>
                <a:gd name="connsiteY7" fmla="*/ 81708 h 85182"/>
                <a:gd name="connsiteX8" fmla="*/ 163593 w 156167"/>
                <a:gd name="connsiteY8" fmla="*/ 54734 h 85182"/>
                <a:gd name="connsiteX9" fmla="*/ 130940 w 156167"/>
                <a:gd name="connsiteY9" fmla="*/ 1924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167" h="85182">
                  <a:moveTo>
                    <a:pt x="130940" y="19241"/>
                  </a:moveTo>
                  <a:cubicBezTo>
                    <a:pt x="130940" y="19241"/>
                    <a:pt x="116743" y="22080"/>
                    <a:pt x="106805" y="16402"/>
                  </a:cubicBezTo>
                  <a:cubicBezTo>
                    <a:pt x="95448" y="10723"/>
                    <a:pt x="78411" y="-3474"/>
                    <a:pt x="71313" y="785"/>
                  </a:cubicBezTo>
                  <a:cubicBezTo>
                    <a:pt x="62794" y="6464"/>
                    <a:pt x="40079" y="12143"/>
                    <a:pt x="34400" y="12143"/>
                  </a:cubicBezTo>
                  <a:cubicBezTo>
                    <a:pt x="28721" y="12143"/>
                    <a:pt x="32981" y="16402"/>
                    <a:pt x="38659" y="22080"/>
                  </a:cubicBezTo>
                  <a:cubicBezTo>
                    <a:pt x="45758" y="26340"/>
                    <a:pt x="1747" y="33438"/>
                    <a:pt x="327" y="46215"/>
                  </a:cubicBezTo>
                  <a:cubicBezTo>
                    <a:pt x="-1092" y="58993"/>
                    <a:pt x="1747" y="73190"/>
                    <a:pt x="15944" y="84547"/>
                  </a:cubicBezTo>
                  <a:cubicBezTo>
                    <a:pt x="30141" y="94485"/>
                    <a:pt x="75572" y="85967"/>
                    <a:pt x="86929" y="81708"/>
                  </a:cubicBezTo>
                  <a:cubicBezTo>
                    <a:pt x="96867" y="76029"/>
                    <a:pt x="143717" y="53314"/>
                    <a:pt x="163593" y="54734"/>
                  </a:cubicBezTo>
                  <a:cubicBezTo>
                    <a:pt x="182049" y="53314"/>
                    <a:pt x="130940" y="19241"/>
                    <a:pt x="130940" y="19241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A2998DC1-F847-47B3-9521-7D88B2E6932D}"/>
                </a:ext>
              </a:extLst>
            </p:cNvPr>
            <p:cNvSpPr/>
            <p:nvPr userDrawn="1"/>
          </p:nvSpPr>
          <p:spPr>
            <a:xfrm>
              <a:off x="7587113" y="3737067"/>
              <a:ext cx="215584" cy="164255"/>
            </a:xfrm>
            <a:custGeom>
              <a:avLst/>
              <a:gdLst>
                <a:gd name="connsiteX0" fmla="*/ 0 w 298137"/>
                <a:gd name="connsiteY0" fmla="*/ 166105 h 227152"/>
                <a:gd name="connsiteX1" fmla="*/ 183141 w 298137"/>
                <a:gd name="connsiteY1" fmla="*/ 95120 h 227152"/>
                <a:gd name="connsiteX2" fmla="*/ 110737 w 298137"/>
                <a:gd name="connsiteY2" fmla="*/ 0 h 227152"/>
                <a:gd name="connsiteX3" fmla="*/ 242769 w 298137"/>
                <a:gd name="connsiteY3" fmla="*/ 14197 h 227152"/>
                <a:gd name="connsiteX4" fmla="*/ 308075 w 298137"/>
                <a:gd name="connsiteY4" fmla="*/ 134872 h 227152"/>
                <a:gd name="connsiteX5" fmla="*/ 29814 w 298137"/>
                <a:gd name="connsiteY5" fmla="*/ 229992 h 227152"/>
                <a:gd name="connsiteX6" fmla="*/ 0 w 298137"/>
                <a:gd name="connsiteY6" fmla="*/ 166105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137" h="227152">
                  <a:moveTo>
                    <a:pt x="0" y="166105"/>
                  </a:moveTo>
                  <a:cubicBezTo>
                    <a:pt x="0" y="166105"/>
                    <a:pt x="181722" y="109317"/>
                    <a:pt x="183141" y="95120"/>
                  </a:cubicBezTo>
                  <a:cubicBezTo>
                    <a:pt x="184561" y="80923"/>
                    <a:pt x="110737" y="0"/>
                    <a:pt x="110737" y="0"/>
                  </a:cubicBezTo>
                  <a:lnTo>
                    <a:pt x="242769" y="14197"/>
                  </a:lnTo>
                  <a:cubicBezTo>
                    <a:pt x="242769" y="14197"/>
                    <a:pt x="308075" y="106478"/>
                    <a:pt x="308075" y="134872"/>
                  </a:cubicBezTo>
                  <a:cubicBezTo>
                    <a:pt x="308075" y="166105"/>
                    <a:pt x="29814" y="229992"/>
                    <a:pt x="29814" y="229992"/>
                  </a:cubicBezTo>
                  <a:lnTo>
                    <a:pt x="0" y="166105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FBFF82C4-B70F-4465-B5F9-C0366D0DD290}"/>
                </a:ext>
              </a:extLst>
            </p:cNvPr>
            <p:cNvSpPr/>
            <p:nvPr userDrawn="1"/>
          </p:nvSpPr>
          <p:spPr>
            <a:xfrm>
              <a:off x="7488561" y="3572812"/>
              <a:ext cx="51330" cy="20532"/>
            </a:xfrm>
            <a:custGeom>
              <a:avLst/>
              <a:gdLst>
                <a:gd name="connsiteX0" fmla="*/ 15617 w 70985"/>
                <a:gd name="connsiteY0" fmla="*/ 41171 h 28394"/>
                <a:gd name="connsiteX1" fmla="*/ 26974 w 70985"/>
                <a:gd name="connsiteY1" fmla="*/ 39752 h 28394"/>
                <a:gd name="connsiteX2" fmla="*/ 70985 w 70985"/>
                <a:gd name="connsiteY2" fmla="*/ 1420 h 28394"/>
                <a:gd name="connsiteX3" fmla="*/ 68146 w 70985"/>
                <a:gd name="connsiteY3" fmla="*/ 0 h 28394"/>
                <a:gd name="connsiteX4" fmla="*/ 25555 w 70985"/>
                <a:gd name="connsiteY4" fmla="*/ 36912 h 28394"/>
                <a:gd name="connsiteX5" fmla="*/ 1420 w 70985"/>
                <a:gd name="connsiteY5" fmla="*/ 35493 h 28394"/>
                <a:gd name="connsiteX6" fmla="*/ 0 w 70985"/>
                <a:gd name="connsiteY6" fmla="*/ 38332 h 28394"/>
                <a:gd name="connsiteX7" fmla="*/ 15617 w 70985"/>
                <a:gd name="connsiteY7" fmla="*/ 41171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85" h="28394">
                  <a:moveTo>
                    <a:pt x="15617" y="41171"/>
                  </a:moveTo>
                  <a:cubicBezTo>
                    <a:pt x="18456" y="41171"/>
                    <a:pt x="22715" y="41171"/>
                    <a:pt x="26974" y="39752"/>
                  </a:cubicBezTo>
                  <a:cubicBezTo>
                    <a:pt x="39752" y="36912"/>
                    <a:pt x="58208" y="28394"/>
                    <a:pt x="70985" y="1420"/>
                  </a:cubicBezTo>
                  <a:lnTo>
                    <a:pt x="68146" y="0"/>
                  </a:lnTo>
                  <a:cubicBezTo>
                    <a:pt x="58208" y="21296"/>
                    <a:pt x="44011" y="34073"/>
                    <a:pt x="25555" y="36912"/>
                  </a:cubicBezTo>
                  <a:cubicBezTo>
                    <a:pt x="12777" y="39752"/>
                    <a:pt x="1420" y="35493"/>
                    <a:pt x="1420" y="35493"/>
                  </a:cubicBezTo>
                  <a:lnTo>
                    <a:pt x="0" y="38332"/>
                  </a:lnTo>
                  <a:cubicBezTo>
                    <a:pt x="1420" y="39752"/>
                    <a:pt x="7099" y="41171"/>
                    <a:pt x="15617" y="41171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077D79E0-7949-4E1B-BBDA-08E65C56C45B}"/>
                </a:ext>
              </a:extLst>
            </p:cNvPr>
            <p:cNvSpPr/>
            <p:nvPr userDrawn="1"/>
          </p:nvSpPr>
          <p:spPr>
            <a:xfrm>
              <a:off x="7144411" y="3726624"/>
              <a:ext cx="225850" cy="102659"/>
            </a:xfrm>
            <a:custGeom>
              <a:avLst/>
              <a:gdLst>
                <a:gd name="connsiteX0" fmla="*/ 325445 w 312334"/>
                <a:gd name="connsiteY0" fmla="*/ 152153 h 141970"/>
                <a:gd name="connsiteX1" fmla="*/ 177796 w 312334"/>
                <a:gd name="connsiteY1" fmla="*/ 113821 h 141970"/>
                <a:gd name="connsiteX2" fmla="*/ 30147 w 312334"/>
                <a:gd name="connsiteY2" fmla="*/ 65551 h 141970"/>
                <a:gd name="connsiteX3" fmla="*/ 3172 w 312334"/>
                <a:gd name="connsiteY3" fmla="*/ 1664 h 141970"/>
                <a:gd name="connsiteX4" fmla="*/ 84095 w 312334"/>
                <a:gd name="connsiteY4" fmla="*/ 25799 h 141970"/>
                <a:gd name="connsiteX5" fmla="*/ 106811 w 312334"/>
                <a:gd name="connsiteY5" fmla="*/ 59872 h 141970"/>
                <a:gd name="connsiteX6" fmla="*/ 325445 w 312334"/>
                <a:gd name="connsiteY6" fmla="*/ 152153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34" h="141970">
                  <a:moveTo>
                    <a:pt x="325445" y="152153"/>
                  </a:moveTo>
                  <a:cubicBezTo>
                    <a:pt x="325445" y="152153"/>
                    <a:pt x="245942" y="139375"/>
                    <a:pt x="177796" y="113821"/>
                  </a:cubicBezTo>
                  <a:cubicBezTo>
                    <a:pt x="109650" y="88266"/>
                    <a:pt x="57121" y="84007"/>
                    <a:pt x="30147" y="65551"/>
                  </a:cubicBezTo>
                  <a:cubicBezTo>
                    <a:pt x="3172" y="47095"/>
                    <a:pt x="-5346" y="8763"/>
                    <a:pt x="3172" y="1664"/>
                  </a:cubicBezTo>
                  <a:cubicBezTo>
                    <a:pt x="13110" y="-5434"/>
                    <a:pt x="72738" y="11602"/>
                    <a:pt x="84095" y="25799"/>
                  </a:cubicBezTo>
                  <a:cubicBezTo>
                    <a:pt x="96873" y="39996"/>
                    <a:pt x="84095" y="49934"/>
                    <a:pt x="106811" y="59872"/>
                  </a:cubicBezTo>
                  <a:cubicBezTo>
                    <a:pt x="128106" y="68390"/>
                    <a:pt x="325445" y="152153"/>
                    <a:pt x="325445" y="15215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7B67EF9E-6F0D-46E9-A8B1-467E5EDDBC6C}"/>
                </a:ext>
              </a:extLst>
            </p:cNvPr>
            <p:cNvSpPr/>
            <p:nvPr userDrawn="1"/>
          </p:nvSpPr>
          <p:spPr>
            <a:xfrm>
              <a:off x="7221646" y="3771971"/>
              <a:ext cx="153989" cy="61596"/>
            </a:xfrm>
            <a:custGeom>
              <a:avLst/>
              <a:gdLst>
                <a:gd name="connsiteX0" fmla="*/ 8518 w 212955"/>
                <a:gd name="connsiteY0" fmla="*/ 0 h 85182"/>
                <a:gd name="connsiteX1" fmla="*/ 0 w 212955"/>
                <a:gd name="connsiteY1" fmla="*/ 46850 h 85182"/>
                <a:gd name="connsiteX2" fmla="*/ 218634 w 212955"/>
                <a:gd name="connsiteY2" fmla="*/ 89441 h 85182"/>
                <a:gd name="connsiteX3" fmla="*/ 8518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8518" y="0"/>
                  </a:moveTo>
                  <a:cubicBezTo>
                    <a:pt x="8518" y="0"/>
                    <a:pt x="7099" y="31233"/>
                    <a:pt x="0" y="46850"/>
                  </a:cubicBezTo>
                  <a:cubicBezTo>
                    <a:pt x="0" y="46850"/>
                    <a:pt x="198758" y="89441"/>
                    <a:pt x="218634" y="89441"/>
                  </a:cubicBezTo>
                  <a:lnTo>
                    <a:pt x="8518" y="0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35B26521-EFCA-42C7-89DA-606E9E0EFA4D}"/>
                </a:ext>
              </a:extLst>
            </p:cNvPr>
            <p:cNvSpPr/>
            <p:nvPr userDrawn="1"/>
          </p:nvSpPr>
          <p:spPr>
            <a:xfrm>
              <a:off x="7371529" y="4045045"/>
              <a:ext cx="153989" cy="61596"/>
            </a:xfrm>
            <a:custGeom>
              <a:avLst/>
              <a:gdLst>
                <a:gd name="connsiteX0" fmla="*/ 0 w 212955"/>
                <a:gd name="connsiteY0" fmla="*/ 0 h 85182"/>
                <a:gd name="connsiteX1" fmla="*/ 150488 w 212955"/>
                <a:gd name="connsiteY1" fmla="*/ 93700 h 85182"/>
                <a:gd name="connsiteX2" fmla="*/ 215795 w 212955"/>
                <a:gd name="connsiteY2" fmla="*/ 93700 h 85182"/>
                <a:gd name="connsiteX3" fmla="*/ 0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0" y="0"/>
                  </a:moveTo>
                  <a:cubicBezTo>
                    <a:pt x="2839" y="2839"/>
                    <a:pt x="102219" y="78084"/>
                    <a:pt x="150488" y="93700"/>
                  </a:cubicBezTo>
                  <a:cubicBezTo>
                    <a:pt x="174623" y="93700"/>
                    <a:pt x="195919" y="93700"/>
                    <a:pt x="215795" y="93700"/>
                  </a:cubicBezTo>
                  <a:cubicBezTo>
                    <a:pt x="211536" y="93700"/>
                    <a:pt x="154747" y="80923"/>
                    <a:pt x="0" y="0"/>
                  </a:cubicBezTo>
                  <a:close/>
                </a:path>
              </a:pathLst>
            </a:custGeom>
            <a:solidFill>
              <a:srgbClr val="4D39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C5357D8-BFCA-4139-92F8-76B8DFF0F9A1}"/>
              </a:ext>
            </a:extLst>
          </p:cNvPr>
          <p:cNvGrpSpPr/>
          <p:nvPr userDrawn="1"/>
        </p:nvGrpSpPr>
        <p:grpSpPr>
          <a:xfrm flipH="1">
            <a:off x="-1" y="-11250"/>
            <a:ext cx="6899647" cy="4859021"/>
            <a:chOff x="4285646" y="-11250"/>
            <a:chExt cx="7906355" cy="5567987"/>
          </a:xfrm>
        </p:grpSpPr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7A32D6B-A439-4E17-95DB-072EAF9BBB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06848" y="174489"/>
              <a:ext cx="5899150" cy="4169030"/>
            </a:xfrm>
            <a:custGeom>
              <a:avLst/>
              <a:gdLst>
                <a:gd name="connsiteX0" fmla="*/ 4950105 w 5899150"/>
                <a:gd name="connsiteY0" fmla="*/ 2048130 h 4169030"/>
                <a:gd name="connsiteX1" fmla="*/ 4950105 w 5899150"/>
                <a:gd name="connsiteY1" fmla="*/ 3740405 h 4169030"/>
                <a:gd name="connsiteX2" fmla="*/ 4950105 w 5899150"/>
                <a:gd name="connsiteY2" fmla="*/ 2048130 h 4169030"/>
                <a:gd name="connsiteX3" fmla="*/ 2024528 w 5899150"/>
                <a:gd name="connsiteY3" fmla="*/ 1949705 h 4169030"/>
                <a:gd name="connsiteX4" fmla="*/ 2024528 w 5899150"/>
                <a:gd name="connsiteY4" fmla="*/ 3000581 h 4169030"/>
                <a:gd name="connsiteX5" fmla="*/ 2000342 w 5899150"/>
                <a:gd name="connsiteY5" fmla="*/ 3592768 h 4169030"/>
                <a:gd name="connsiteX6" fmla="*/ 1979612 w 5899150"/>
                <a:gd name="connsiteY6" fmla="*/ 3123811 h 4169030"/>
                <a:gd name="connsiteX7" fmla="*/ 2000342 w 5899150"/>
                <a:gd name="connsiteY7" fmla="*/ 2528200 h 4169030"/>
                <a:gd name="connsiteX8" fmla="*/ 2024528 w 5899150"/>
                <a:gd name="connsiteY8" fmla="*/ 1949705 h 4169030"/>
                <a:gd name="connsiteX9" fmla="*/ 157535 w 5899150"/>
                <a:gd name="connsiteY9" fmla="*/ 1541717 h 4169030"/>
                <a:gd name="connsiteX10" fmla="*/ 184429 w 5899150"/>
                <a:gd name="connsiteY10" fmla="*/ 1716447 h 4169030"/>
                <a:gd name="connsiteX11" fmla="*/ 154174 w 5899150"/>
                <a:gd name="connsiteY11" fmla="*/ 2884742 h 4169030"/>
                <a:gd name="connsiteX12" fmla="*/ 154174 w 5899150"/>
                <a:gd name="connsiteY12" fmla="*/ 2353699 h 4169030"/>
                <a:gd name="connsiteX13" fmla="*/ 154174 w 5899150"/>
                <a:gd name="connsiteY13" fmla="*/ 1884325 h 4169030"/>
                <a:gd name="connsiteX14" fmla="*/ 157535 w 5899150"/>
                <a:gd name="connsiteY14" fmla="*/ 1541717 h 4169030"/>
                <a:gd name="connsiteX15" fmla="*/ 99236 w 5899150"/>
                <a:gd name="connsiteY15" fmla="*/ 1144845 h 4169030"/>
                <a:gd name="connsiteX16" fmla="*/ 112924 w 5899150"/>
                <a:gd name="connsiteY16" fmla="*/ 1805849 h 4169030"/>
                <a:gd name="connsiteX17" fmla="*/ 106080 w 5899150"/>
                <a:gd name="connsiteY17" fmla="*/ 3405277 h 4169030"/>
                <a:gd name="connsiteX18" fmla="*/ 153987 w 5899150"/>
                <a:gd name="connsiteY18" fmla="*/ 2984014 h 4169030"/>
                <a:gd name="connsiteX19" fmla="*/ 153987 w 5899150"/>
                <a:gd name="connsiteY19" fmla="*/ 4169030 h 4169030"/>
                <a:gd name="connsiteX20" fmla="*/ 0 w 5899150"/>
                <a:gd name="connsiteY20" fmla="*/ 4169030 h 4169030"/>
                <a:gd name="connsiteX21" fmla="*/ 0 w 5899150"/>
                <a:gd name="connsiteY21" fmla="*/ 1312665 h 4169030"/>
                <a:gd name="connsiteX22" fmla="*/ 5899150 w 5899150"/>
                <a:gd name="connsiteY22" fmla="*/ 914655 h 4169030"/>
                <a:gd name="connsiteX23" fmla="*/ 5899150 w 5899150"/>
                <a:gd name="connsiteY23" fmla="*/ 1041655 h 4169030"/>
                <a:gd name="connsiteX24" fmla="*/ 5899150 w 5899150"/>
                <a:gd name="connsiteY24" fmla="*/ 3846767 h 4169030"/>
                <a:gd name="connsiteX25" fmla="*/ 5867400 w 5899150"/>
                <a:gd name="connsiteY25" fmla="*/ 3846767 h 4169030"/>
                <a:gd name="connsiteX26" fmla="*/ 5867400 w 5899150"/>
                <a:gd name="connsiteY26" fmla="*/ 1048005 h 4169030"/>
                <a:gd name="connsiteX27" fmla="*/ 5651500 w 5899150"/>
                <a:gd name="connsiteY27" fmla="*/ 636843 h 4169030"/>
                <a:gd name="connsiteX28" fmla="*/ 5778189 w 5899150"/>
                <a:gd name="connsiteY28" fmla="*/ 914329 h 4169030"/>
                <a:gd name="connsiteX29" fmla="*/ 5805581 w 5899150"/>
                <a:gd name="connsiteY29" fmla="*/ 1479577 h 4169030"/>
                <a:gd name="connsiteX30" fmla="*/ 5778189 w 5899150"/>
                <a:gd name="connsiteY30" fmla="*/ 1948904 h 4169030"/>
                <a:gd name="connsiteX31" fmla="*/ 5812429 w 5899150"/>
                <a:gd name="connsiteY31" fmla="*/ 2548410 h 4169030"/>
                <a:gd name="connsiteX32" fmla="*/ 5812429 w 5899150"/>
                <a:gd name="connsiteY32" fmla="*/ 3846768 h 4169030"/>
                <a:gd name="connsiteX33" fmla="*/ 5651500 w 5899150"/>
                <a:gd name="connsiteY33" fmla="*/ 3846768 h 4169030"/>
                <a:gd name="connsiteX34" fmla="*/ 5651500 w 5899150"/>
                <a:gd name="connsiteY34" fmla="*/ 636843 h 4169030"/>
                <a:gd name="connsiteX35" fmla="*/ 3798887 w 5899150"/>
                <a:gd name="connsiteY35" fmla="*/ 0 h 4169030"/>
                <a:gd name="connsiteX36" fmla="*/ 3887787 w 5899150"/>
                <a:gd name="connsiteY36" fmla="*/ 0 h 4169030"/>
                <a:gd name="connsiteX37" fmla="*/ 3887787 w 5899150"/>
                <a:gd name="connsiteY37" fmla="*/ 1541995 h 4169030"/>
                <a:gd name="connsiteX38" fmla="*/ 3892017 w 5899150"/>
                <a:gd name="connsiteY38" fmla="*/ 1539449 h 4169030"/>
                <a:gd name="connsiteX39" fmla="*/ 3911699 w 5899150"/>
                <a:gd name="connsiteY39" fmla="*/ 1534298 h 4169030"/>
                <a:gd name="connsiteX40" fmla="*/ 4010860 w 5899150"/>
                <a:gd name="connsiteY40" fmla="*/ 1603357 h 4169030"/>
                <a:gd name="connsiteX41" fmla="*/ 4017962 w 5899150"/>
                <a:gd name="connsiteY41" fmla="*/ 1605637 h 4169030"/>
                <a:gd name="connsiteX42" fmla="*/ 4017962 w 5899150"/>
                <a:gd name="connsiteY42" fmla="*/ 0 h 4169030"/>
                <a:gd name="connsiteX43" fmla="*/ 4179887 w 5899150"/>
                <a:gd name="connsiteY43" fmla="*/ 0 h 4169030"/>
                <a:gd name="connsiteX44" fmla="*/ 4179887 w 5899150"/>
                <a:gd name="connsiteY44" fmla="*/ 1881563 h 4169030"/>
                <a:gd name="connsiteX45" fmla="*/ 4188820 w 5899150"/>
                <a:gd name="connsiteY45" fmla="*/ 1882372 h 4169030"/>
                <a:gd name="connsiteX46" fmla="*/ 4268788 w 5899150"/>
                <a:gd name="connsiteY46" fmla="*/ 1870396 h 4169030"/>
                <a:gd name="connsiteX47" fmla="*/ 4298950 w 5899150"/>
                <a:gd name="connsiteY47" fmla="*/ 1847301 h 4169030"/>
                <a:gd name="connsiteX48" fmla="*/ 4298950 w 5899150"/>
                <a:gd name="connsiteY48" fmla="*/ 0 h 4169030"/>
                <a:gd name="connsiteX49" fmla="*/ 4384675 w 5899150"/>
                <a:gd name="connsiteY49" fmla="*/ 0 h 4169030"/>
                <a:gd name="connsiteX50" fmla="*/ 4384675 w 5899150"/>
                <a:gd name="connsiteY50" fmla="*/ 2129601 h 4169030"/>
                <a:gd name="connsiteX51" fmla="*/ 4386873 w 5899150"/>
                <a:gd name="connsiteY51" fmla="*/ 2131428 h 4169030"/>
                <a:gd name="connsiteX52" fmla="*/ 4437734 w 5899150"/>
                <a:gd name="connsiteY52" fmla="*/ 2184922 h 4169030"/>
                <a:gd name="connsiteX53" fmla="*/ 4487862 w 5899150"/>
                <a:gd name="connsiteY53" fmla="*/ 2256236 h 4169030"/>
                <a:gd name="connsiteX54" fmla="*/ 4487862 w 5899150"/>
                <a:gd name="connsiteY54" fmla="*/ 0 h 4169030"/>
                <a:gd name="connsiteX55" fmla="*/ 4627562 w 5899150"/>
                <a:gd name="connsiteY55" fmla="*/ 0 h 4169030"/>
                <a:gd name="connsiteX56" fmla="*/ 4627562 w 5899150"/>
                <a:gd name="connsiteY56" fmla="*/ 2367529 h 4169030"/>
                <a:gd name="connsiteX57" fmla="*/ 4660412 w 5899150"/>
                <a:gd name="connsiteY57" fmla="*/ 2382977 h 4169030"/>
                <a:gd name="connsiteX58" fmla="*/ 4709990 w 5899150"/>
                <a:gd name="connsiteY58" fmla="*/ 2415299 h 4169030"/>
                <a:gd name="connsiteX59" fmla="*/ 4750700 w 5899150"/>
                <a:gd name="connsiteY59" fmla="*/ 2462736 h 4169030"/>
                <a:gd name="connsiteX60" fmla="*/ 4775200 w 5899150"/>
                <a:gd name="connsiteY60" fmla="*/ 2499388 h 4169030"/>
                <a:gd name="connsiteX61" fmla="*/ 4775200 w 5899150"/>
                <a:gd name="connsiteY61" fmla="*/ 0 h 4169030"/>
                <a:gd name="connsiteX62" fmla="*/ 4902200 w 5899150"/>
                <a:gd name="connsiteY62" fmla="*/ 0 h 4169030"/>
                <a:gd name="connsiteX63" fmla="*/ 4902200 w 5899150"/>
                <a:gd name="connsiteY63" fmla="*/ 3994405 h 4169030"/>
                <a:gd name="connsiteX64" fmla="*/ 4775200 w 5899150"/>
                <a:gd name="connsiteY64" fmla="*/ 3994405 h 4169030"/>
                <a:gd name="connsiteX65" fmla="*/ 4775200 w 5899150"/>
                <a:gd name="connsiteY65" fmla="*/ 2685763 h 4169030"/>
                <a:gd name="connsiteX66" fmla="*/ 4774956 w 5899150"/>
                <a:gd name="connsiteY66" fmla="*/ 2686305 h 4169030"/>
                <a:gd name="connsiteX67" fmla="*/ 4658462 w 5899150"/>
                <a:gd name="connsiteY67" fmla="*/ 2441061 h 4169030"/>
                <a:gd name="connsiteX68" fmla="*/ 4627562 w 5899150"/>
                <a:gd name="connsiteY68" fmla="*/ 2418260 h 4169030"/>
                <a:gd name="connsiteX69" fmla="*/ 4627562 w 5899150"/>
                <a:gd name="connsiteY69" fmla="*/ 4107118 h 4169030"/>
                <a:gd name="connsiteX70" fmla="*/ 4487862 w 5899150"/>
                <a:gd name="connsiteY70" fmla="*/ 4107118 h 4169030"/>
                <a:gd name="connsiteX71" fmla="*/ 4487862 w 5899150"/>
                <a:gd name="connsiteY71" fmla="*/ 2285838 h 4169030"/>
                <a:gd name="connsiteX72" fmla="*/ 4452266 w 5899150"/>
                <a:gd name="connsiteY72" fmla="*/ 2240774 h 4169030"/>
                <a:gd name="connsiteX73" fmla="*/ 4389705 w 5899150"/>
                <a:gd name="connsiteY73" fmla="*/ 2156138 h 4169030"/>
                <a:gd name="connsiteX74" fmla="*/ 4384675 w 5899150"/>
                <a:gd name="connsiteY74" fmla="*/ 2150695 h 4169030"/>
                <a:gd name="connsiteX75" fmla="*/ 4384675 w 5899150"/>
                <a:gd name="connsiteY75" fmla="*/ 3846768 h 4169030"/>
                <a:gd name="connsiteX76" fmla="*/ 4298950 w 5899150"/>
                <a:gd name="connsiteY76" fmla="*/ 3846768 h 4169030"/>
                <a:gd name="connsiteX77" fmla="*/ 4298950 w 5899150"/>
                <a:gd name="connsiteY77" fmla="*/ 1858615 h 4169030"/>
                <a:gd name="connsiteX78" fmla="*/ 4280403 w 5899150"/>
                <a:gd name="connsiteY78" fmla="*/ 1873164 h 4169030"/>
                <a:gd name="connsiteX79" fmla="*/ 4265362 w 5899150"/>
                <a:gd name="connsiteY79" fmla="*/ 1887429 h 4169030"/>
                <a:gd name="connsiteX80" fmla="*/ 4195992 w 5899150"/>
                <a:gd name="connsiteY80" fmla="*/ 1895094 h 4169030"/>
                <a:gd name="connsiteX81" fmla="*/ 4179887 w 5899150"/>
                <a:gd name="connsiteY81" fmla="*/ 1901618 h 4169030"/>
                <a:gd name="connsiteX82" fmla="*/ 4179887 w 5899150"/>
                <a:gd name="connsiteY82" fmla="*/ 4024568 h 4169030"/>
                <a:gd name="connsiteX83" fmla="*/ 4017962 w 5899150"/>
                <a:gd name="connsiteY83" fmla="*/ 4024568 h 4169030"/>
                <a:gd name="connsiteX84" fmla="*/ 4017962 w 5899150"/>
                <a:gd name="connsiteY84" fmla="*/ 1619253 h 4169030"/>
                <a:gd name="connsiteX85" fmla="*/ 4009630 w 5899150"/>
                <a:gd name="connsiteY85" fmla="*/ 1614733 h 4169030"/>
                <a:gd name="connsiteX86" fmla="*/ 3894584 w 5899150"/>
                <a:gd name="connsiteY86" fmla="*/ 1551469 h 4169030"/>
                <a:gd name="connsiteX87" fmla="*/ 3887787 w 5899150"/>
                <a:gd name="connsiteY87" fmla="*/ 1554608 h 4169030"/>
                <a:gd name="connsiteX88" fmla="*/ 3887787 w 5899150"/>
                <a:gd name="connsiteY88" fmla="*/ 4069018 h 4169030"/>
                <a:gd name="connsiteX89" fmla="*/ 3798887 w 5899150"/>
                <a:gd name="connsiteY89" fmla="*/ 4069018 h 4169030"/>
                <a:gd name="connsiteX90" fmla="*/ 3798887 w 5899150"/>
                <a:gd name="connsiteY90" fmla="*/ 2296407 h 4169030"/>
                <a:gd name="connsiteX91" fmla="*/ 3771415 w 5899150"/>
                <a:gd name="connsiteY91" fmla="*/ 2277758 h 4169030"/>
                <a:gd name="connsiteX92" fmla="*/ 3730624 w 5899150"/>
                <a:gd name="connsiteY92" fmla="*/ 2267659 h 4169030"/>
                <a:gd name="connsiteX93" fmla="*/ 3575843 w 5899150"/>
                <a:gd name="connsiteY93" fmla="*/ 2189418 h 4169030"/>
                <a:gd name="connsiteX94" fmla="*/ 3503612 w 5899150"/>
                <a:gd name="connsiteY94" fmla="*/ 2223436 h 4169030"/>
                <a:gd name="connsiteX95" fmla="*/ 3593041 w 5899150"/>
                <a:gd name="connsiteY95" fmla="*/ 2172409 h 4169030"/>
                <a:gd name="connsiteX96" fmla="*/ 3723745 w 5899150"/>
                <a:gd name="connsiteY96" fmla="*/ 2250650 h 4169030"/>
                <a:gd name="connsiteX97" fmla="*/ 3790387 w 5899150"/>
                <a:gd name="connsiteY97" fmla="*/ 2267659 h 4169030"/>
                <a:gd name="connsiteX98" fmla="*/ 3798887 w 5899150"/>
                <a:gd name="connsiteY98" fmla="*/ 2270909 h 4169030"/>
                <a:gd name="connsiteX99" fmla="*/ 2706687 w 5899150"/>
                <a:gd name="connsiteY99" fmla="*/ 0 h 4169030"/>
                <a:gd name="connsiteX100" fmla="*/ 2849562 w 5899150"/>
                <a:gd name="connsiteY100" fmla="*/ 0 h 4169030"/>
                <a:gd name="connsiteX101" fmla="*/ 2849562 w 5899150"/>
                <a:gd name="connsiteY101" fmla="*/ 2624099 h 4169030"/>
                <a:gd name="connsiteX102" fmla="*/ 2865098 w 5899150"/>
                <a:gd name="connsiteY102" fmla="*/ 2623913 h 4169030"/>
                <a:gd name="connsiteX103" fmla="*/ 2946590 w 5899150"/>
                <a:gd name="connsiteY103" fmla="*/ 2610370 h 4169030"/>
                <a:gd name="connsiteX104" fmla="*/ 3008312 w 5899150"/>
                <a:gd name="connsiteY104" fmla="*/ 2565655 h 4169030"/>
                <a:gd name="connsiteX105" fmla="*/ 3008312 w 5899150"/>
                <a:gd name="connsiteY105" fmla="*/ 2572534 h 4169030"/>
                <a:gd name="connsiteX106" fmla="*/ 2943161 w 5899150"/>
                <a:gd name="connsiteY106" fmla="*/ 2627568 h 4169030"/>
                <a:gd name="connsiteX107" fmla="*/ 2870831 w 5899150"/>
                <a:gd name="connsiteY107" fmla="*/ 2636758 h 4169030"/>
                <a:gd name="connsiteX108" fmla="*/ 2849562 w 5899150"/>
                <a:gd name="connsiteY108" fmla="*/ 2643950 h 4169030"/>
                <a:gd name="connsiteX109" fmla="*/ 2849562 w 5899150"/>
                <a:gd name="connsiteY109" fmla="*/ 4024568 h 4169030"/>
                <a:gd name="connsiteX110" fmla="*/ 2706687 w 5899150"/>
                <a:gd name="connsiteY110" fmla="*/ 4024568 h 4169030"/>
                <a:gd name="connsiteX111" fmla="*/ 2363787 w 5899150"/>
                <a:gd name="connsiteY111" fmla="*/ 0 h 4169030"/>
                <a:gd name="connsiteX112" fmla="*/ 2597149 w 5899150"/>
                <a:gd name="connsiteY112" fmla="*/ 0 h 4169030"/>
                <a:gd name="connsiteX113" fmla="*/ 2597149 w 5899150"/>
                <a:gd name="connsiteY113" fmla="*/ 4024568 h 4169030"/>
                <a:gd name="connsiteX114" fmla="*/ 2363787 w 5899150"/>
                <a:gd name="connsiteY114" fmla="*/ 4024568 h 4169030"/>
                <a:gd name="connsiteX115" fmla="*/ 1065212 w 5899150"/>
                <a:gd name="connsiteY115" fmla="*/ 0 h 4169030"/>
                <a:gd name="connsiteX116" fmla="*/ 1103312 w 5899150"/>
                <a:gd name="connsiteY116" fmla="*/ 0 h 4169030"/>
                <a:gd name="connsiteX117" fmla="*/ 1103312 w 5899150"/>
                <a:gd name="connsiteY117" fmla="*/ 2351515 h 4169030"/>
                <a:gd name="connsiteX118" fmla="*/ 1129517 w 5899150"/>
                <a:gd name="connsiteY118" fmla="*/ 2333902 h 4169030"/>
                <a:gd name="connsiteX119" fmla="*/ 1188596 w 5899150"/>
                <a:gd name="connsiteY119" fmla="*/ 2309000 h 4169030"/>
                <a:gd name="connsiteX120" fmla="*/ 1332441 w 5899150"/>
                <a:gd name="connsiteY120" fmla="*/ 2398304 h 4169030"/>
                <a:gd name="connsiteX121" fmla="*/ 1366155 w 5899150"/>
                <a:gd name="connsiteY121" fmla="*/ 2402759 h 4169030"/>
                <a:gd name="connsiteX122" fmla="*/ 1373187 w 5899150"/>
                <a:gd name="connsiteY122" fmla="*/ 2405026 h 4169030"/>
                <a:gd name="connsiteX123" fmla="*/ 1373187 w 5899150"/>
                <a:gd name="connsiteY123" fmla="*/ 1625601 h 4169030"/>
                <a:gd name="connsiteX124" fmla="*/ 1340907 w 5899150"/>
                <a:gd name="connsiteY124" fmla="*/ 1641100 h 4169030"/>
                <a:gd name="connsiteX125" fmla="*/ 1270000 w 5899150"/>
                <a:gd name="connsiteY125" fmla="*/ 1675677 h 4169030"/>
                <a:gd name="connsiteX126" fmla="*/ 1338602 w 5899150"/>
                <a:gd name="connsiteY126" fmla="*/ 1627441 h 4169030"/>
                <a:gd name="connsiteX127" fmla="*/ 1373187 w 5899150"/>
                <a:gd name="connsiteY127" fmla="*/ 1607193 h 4169030"/>
                <a:gd name="connsiteX128" fmla="*/ 1373187 w 5899150"/>
                <a:gd name="connsiteY128" fmla="*/ 0 h 4169030"/>
                <a:gd name="connsiteX129" fmla="*/ 1514474 w 5899150"/>
                <a:gd name="connsiteY129" fmla="*/ 0 h 4169030"/>
                <a:gd name="connsiteX130" fmla="*/ 1514474 w 5899150"/>
                <a:gd name="connsiteY130" fmla="*/ 1648865 h 4169030"/>
                <a:gd name="connsiteX131" fmla="*/ 1531976 w 5899150"/>
                <a:gd name="connsiteY131" fmla="*/ 1662017 h 4169030"/>
                <a:gd name="connsiteX132" fmla="*/ 1654174 w 5899150"/>
                <a:gd name="connsiteY132" fmla="*/ 1726902 h 4169030"/>
                <a:gd name="connsiteX133" fmla="*/ 1770799 w 5899150"/>
                <a:gd name="connsiteY133" fmla="*/ 1754648 h 4169030"/>
                <a:gd name="connsiteX134" fmla="*/ 1801812 w 5899150"/>
                <a:gd name="connsiteY134" fmla="*/ 1766756 h 4169030"/>
                <a:gd name="connsiteX135" fmla="*/ 1801812 w 5899150"/>
                <a:gd name="connsiteY135" fmla="*/ 582868 h 4169030"/>
                <a:gd name="connsiteX136" fmla="*/ 1952350 w 5899150"/>
                <a:gd name="connsiteY136" fmla="*/ 1535089 h 4169030"/>
                <a:gd name="connsiteX137" fmla="*/ 1952350 w 5899150"/>
                <a:gd name="connsiteY137" fmla="*/ 2894914 h 4169030"/>
                <a:gd name="connsiteX138" fmla="*/ 1952350 w 5899150"/>
                <a:gd name="connsiteY138" fmla="*/ 3391576 h 4169030"/>
                <a:gd name="connsiteX139" fmla="*/ 2000249 w 5899150"/>
                <a:gd name="connsiteY139" fmla="*/ 4124580 h 4169030"/>
                <a:gd name="connsiteX140" fmla="*/ 1801812 w 5899150"/>
                <a:gd name="connsiteY140" fmla="*/ 4124580 h 4169030"/>
                <a:gd name="connsiteX141" fmla="*/ 1801812 w 5899150"/>
                <a:gd name="connsiteY141" fmla="*/ 1819703 h 4169030"/>
                <a:gd name="connsiteX142" fmla="*/ 1794810 w 5899150"/>
                <a:gd name="connsiteY142" fmla="*/ 1812275 h 4169030"/>
                <a:gd name="connsiteX143" fmla="*/ 1671326 w 5899150"/>
                <a:gd name="connsiteY143" fmla="*/ 1754221 h 4169030"/>
                <a:gd name="connsiteX144" fmla="*/ 1527689 w 5899150"/>
                <a:gd name="connsiteY144" fmla="*/ 1670127 h 4169030"/>
                <a:gd name="connsiteX145" fmla="*/ 1514474 w 5899150"/>
                <a:gd name="connsiteY145" fmla="*/ 1659196 h 4169030"/>
                <a:gd name="connsiteX146" fmla="*/ 1514474 w 5899150"/>
                <a:gd name="connsiteY146" fmla="*/ 4124580 h 4169030"/>
                <a:gd name="connsiteX147" fmla="*/ 1373187 w 5899150"/>
                <a:gd name="connsiteY147" fmla="*/ 4124580 h 4169030"/>
                <a:gd name="connsiteX148" fmla="*/ 1373187 w 5899150"/>
                <a:gd name="connsiteY148" fmla="*/ 2423717 h 4169030"/>
                <a:gd name="connsiteX149" fmla="*/ 1342716 w 5899150"/>
                <a:gd name="connsiteY149" fmla="*/ 2415478 h 4169030"/>
                <a:gd name="connsiteX150" fmla="*/ 1168047 w 5899150"/>
                <a:gd name="connsiteY150" fmla="*/ 2326174 h 4169030"/>
                <a:gd name="connsiteX151" fmla="*/ 1106399 w 5899150"/>
                <a:gd name="connsiteY151" fmla="*/ 2354081 h 4169030"/>
                <a:gd name="connsiteX152" fmla="*/ 1103312 w 5899150"/>
                <a:gd name="connsiteY152" fmla="*/ 2355565 h 4169030"/>
                <a:gd name="connsiteX153" fmla="*/ 1103312 w 5899150"/>
                <a:gd name="connsiteY153" fmla="*/ 4165855 h 4169030"/>
                <a:gd name="connsiteX154" fmla="*/ 1065212 w 5899150"/>
                <a:gd name="connsiteY154" fmla="*/ 4165855 h 4169030"/>
                <a:gd name="connsiteX155" fmla="*/ 887412 w 5899150"/>
                <a:gd name="connsiteY155" fmla="*/ 0 h 4169030"/>
                <a:gd name="connsiteX156" fmla="*/ 969962 w 5899150"/>
                <a:gd name="connsiteY156" fmla="*/ 0 h 4169030"/>
                <a:gd name="connsiteX157" fmla="*/ 969962 w 5899150"/>
                <a:gd name="connsiteY157" fmla="*/ 4165855 h 4169030"/>
                <a:gd name="connsiteX158" fmla="*/ 887412 w 5899150"/>
                <a:gd name="connsiteY158" fmla="*/ 4165855 h 4169030"/>
                <a:gd name="connsiteX159" fmla="*/ 630237 w 5899150"/>
                <a:gd name="connsiteY159" fmla="*/ 0 h 4169030"/>
                <a:gd name="connsiteX160" fmla="*/ 774699 w 5899150"/>
                <a:gd name="connsiteY160" fmla="*/ 0 h 4169030"/>
                <a:gd name="connsiteX161" fmla="*/ 774699 w 5899150"/>
                <a:gd name="connsiteY161" fmla="*/ 4124580 h 4169030"/>
                <a:gd name="connsiteX162" fmla="*/ 630237 w 5899150"/>
                <a:gd name="connsiteY162" fmla="*/ 4124580 h 416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5899150" h="4169030">
                  <a:moveTo>
                    <a:pt x="4950105" y="2048130"/>
                  </a:moveTo>
                  <a:cubicBezTo>
                    <a:pt x="5005387" y="2329034"/>
                    <a:pt x="4950105" y="3740405"/>
                    <a:pt x="4950105" y="3740405"/>
                  </a:cubicBezTo>
                  <a:cubicBezTo>
                    <a:pt x="4946650" y="3689020"/>
                    <a:pt x="4950105" y="2048130"/>
                    <a:pt x="4950105" y="2048130"/>
                  </a:cubicBezTo>
                  <a:close/>
                  <a:moveTo>
                    <a:pt x="2024528" y="1949705"/>
                  </a:moveTo>
                  <a:cubicBezTo>
                    <a:pt x="2024528" y="1949705"/>
                    <a:pt x="2038349" y="2938966"/>
                    <a:pt x="2024528" y="3000581"/>
                  </a:cubicBezTo>
                  <a:cubicBezTo>
                    <a:pt x="2014163" y="3062196"/>
                    <a:pt x="2000342" y="3592768"/>
                    <a:pt x="2000342" y="3592768"/>
                  </a:cubicBezTo>
                  <a:cubicBezTo>
                    <a:pt x="2000342" y="3592768"/>
                    <a:pt x="1979612" y="3205964"/>
                    <a:pt x="1979612" y="3123811"/>
                  </a:cubicBezTo>
                  <a:cubicBezTo>
                    <a:pt x="1979612" y="3041657"/>
                    <a:pt x="1996887" y="2627469"/>
                    <a:pt x="2000342" y="2528200"/>
                  </a:cubicBezTo>
                  <a:cubicBezTo>
                    <a:pt x="2007253" y="2428932"/>
                    <a:pt x="2024528" y="1949705"/>
                    <a:pt x="2024528" y="1949705"/>
                  </a:cubicBezTo>
                  <a:close/>
                  <a:moveTo>
                    <a:pt x="157535" y="1541717"/>
                  </a:moveTo>
                  <a:cubicBezTo>
                    <a:pt x="157535" y="1541717"/>
                    <a:pt x="207962" y="1630795"/>
                    <a:pt x="184429" y="1716447"/>
                  </a:cubicBezTo>
                  <a:cubicBezTo>
                    <a:pt x="157535" y="1802099"/>
                    <a:pt x="184429" y="2521577"/>
                    <a:pt x="154174" y="2884742"/>
                  </a:cubicBezTo>
                  <a:cubicBezTo>
                    <a:pt x="154174" y="2884742"/>
                    <a:pt x="157535" y="2425647"/>
                    <a:pt x="154174" y="2353699"/>
                  </a:cubicBezTo>
                  <a:cubicBezTo>
                    <a:pt x="150812" y="2281751"/>
                    <a:pt x="150812" y="1966552"/>
                    <a:pt x="154174" y="1884325"/>
                  </a:cubicBezTo>
                  <a:cubicBezTo>
                    <a:pt x="157535" y="1802099"/>
                    <a:pt x="157535" y="1541717"/>
                    <a:pt x="157535" y="1541717"/>
                  </a:cubicBezTo>
                  <a:close/>
                  <a:moveTo>
                    <a:pt x="99236" y="1144845"/>
                  </a:moveTo>
                  <a:cubicBezTo>
                    <a:pt x="99236" y="1144845"/>
                    <a:pt x="133455" y="1706528"/>
                    <a:pt x="112924" y="1805849"/>
                  </a:cubicBezTo>
                  <a:cubicBezTo>
                    <a:pt x="92392" y="1905170"/>
                    <a:pt x="106080" y="3364178"/>
                    <a:pt x="106080" y="3405277"/>
                  </a:cubicBezTo>
                  <a:cubicBezTo>
                    <a:pt x="106080" y="3446376"/>
                    <a:pt x="153987" y="2984014"/>
                    <a:pt x="153987" y="2984014"/>
                  </a:cubicBezTo>
                  <a:cubicBezTo>
                    <a:pt x="153987" y="2984014"/>
                    <a:pt x="153987" y="2984014"/>
                    <a:pt x="153987" y="4169030"/>
                  </a:cubicBezTo>
                  <a:cubicBezTo>
                    <a:pt x="153987" y="4169030"/>
                    <a:pt x="153987" y="4169030"/>
                    <a:pt x="0" y="4169030"/>
                  </a:cubicBezTo>
                  <a:cubicBezTo>
                    <a:pt x="0" y="4169030"/>
                    <a:pt x="0" y="4169030"/>
                    <a:pt x="0" y="1312665"/>
                  </a:cubicBezTo>
                  <a:close/>
                  <a:moveTo>
                    <a:pt x="5899150" y="914655"/>
                  </a:moveTo>
                  <a:lnTo>
                    <a:pt x="5899150" y="1041655"/>
                  </a:lnTo>
                  <a:lnTo>
                    <a:pt x="5899150" y="3846767"/>
                  </a:lnTo>
                  <a:lnTo>
                    <a:pt x="5867400" y="3846767"/>
                  </a:lnTo>
                  <a:lnTo>
                    <a:pt x="5867400" y="1048005"/>
                  </a:lnTo>
                  <a:close/>
                  <a:moveTo>
                    <a:pt x="5651500" y="636843"/>
                  </a:moveTo>
                  <a:cubicBezTo>
                    <a:pt x="5651500" y="636843"/>
                    <a:pt x="5781613" y="736190"/>
                    <a:pt x="5778189" y="914329"/>
                  </a:cubicBezTo>
                  <a:cubicBezTo>
                    <a:pt x="5774765" y="1092468"/>
                    <a:pt x="5788461" y="1373379"/>
                    <a:pt x="5805581" y="1479577"/>
                  </a:cubicBezTo>
                  <a:cubicBezTo>
                    <a:pt x="5826125" y="1582349"/>
                    <a:pt x="5785037" y="1777617"/>
                    <a:pt x="5778189" y="1948904"/>
                  </a:cubicBezTo>
                  <a:cubicBezTo>
                    <a:pt x="5771341" y="2116765"/>
                    <a:pt x="5798733" y="2370271"/>
                    <a:pt x="5812429" y="2548410"/>
                  </a:cubicBezTo>
                  <a:cubicBezTo>
                    <a:pt x="5826125" y="2726549"/>
                    <a:pt x="5812429" y="3846768"/>
                    <a:pt x="5812429" y="3846768"/>
                  </a:cubicBezTo>
                  <a:lnTo>
                    <a:pt x="5651500" y="3846768"/>
                  </a:lnTo>
                  <a:cubicBezTo>
                    <a:pt x="5651500" y="636843"/>
                    <a:pt x="5651500" y="636843"/>
                    <a:pt x="5651500" y="636843"/>
                  </a:cubicBezTo>
                  <a:close/>
                  <a:moveTo>
                    <a:pt x="3798887" y="0"/>
                  </a:moveTo>
                  <a:lnTo>
                    <a:pt x="3887787" y="0"/>
                  </a:lnTo>
                  <a:lnTo>
                    <a:pt x="3887787" y="1541995"/>
                  </a:lnTo>
                  <a:lnTo>
                    <a:pt x="3892017" y="1539449"/>
                  </a:lnTo>
                  <a:cubicBezTo>
                    <a:pt x="3901002" y="1534942"/>
                    <a:pt x="3908276" y="1532581"/>
                    <a:pt x="3911699" y="1534298"/>
                  </a:cubicBezTo>
                  <a:cubicBezTo>
                    <a:pt x="3924535" y="1539449"/>
                    <a:pt x="3973955" y="1583235"/>
                    <a:pt x="4010860" y="1603357"/>
                  </a:cubicBezTo>
                  <a:lnTo>
                    <a:pt x="4017962" y="1605637"/>
                  </a:lnTo>
                  <a:lnTo>
                    <a:pt x="4017962" y="0"/>
                  </a:lnTo>
                  <a:lnTo>
                    <a:pt x="4179887" y="0"/>
                  </a:lnTo>
                  <a:lnTo>
                    <a:pt x="4179887" y="1881563"/>
                  </a:lnTo>
                  <a:lnTo>
                    <a:pt x="4188820" y="1882372"/>
                  </a:lnTo>
                  <a:cubicBezTo>
                    <a:pt x="4213549" y="1885087"/>
                    <a:pt x="4250803" y="1888281"/>
                    <a:pt x="4268788" y="1870396"/>
                  </a:cubicBezTo>
                  <a:lnTo>
                    <a:pt x="4298950" y="1847301"/>
                  </a:lnTo>
                  <a:lnTo>
                    <a:pt x="4298950" y="0"/>
                  </a:lnTo>
                  <a:lnTo>
                    <a:pt x="4384675" y="0"/>
                  </a:lnTo>
                  <a:lnTo>
                    <a:pt x="4384675" y="2129601"/>
                  </a:lnTo>
                  <a:lnTo>
                    <a:pt x="4386873" y="2131428"/>
                  </a:lnTo>
                  <a:cubicBezTo>
                    <a:pt x="4402260" y="2145579"/>
                    <a:pt x="4419783" y="2163374"/>
                    <a:pt x="4437734" y="2184922"/>
                  </a:cubicBezTo>
                  <a:lnTo>
                    <a:pt x="4487862" y="2256236"/>
                  </a:lnTo>
                  <a:lnTo>
                    <a:pt x="4487862" y="0"/>
                  </a:lnTo>
                  <a:lnTo>
                    <a:pt x="4627562" y="0"/>
                  </a:lnTo>
                  <a:lnTo>
                    <a:pt x="4627562" y="2367529"/>
                  </a:lnTo>
                  <a:lnTo>
                    <a:pt x="4660412" y="2382977"/>
                  </a:lnTo>
                  <a:cubicBezTo>
                    <a:pt x="4679217" y="2392358"/>
                    <a:pt x="4696313" y="2402435"/>
                    <a:pt x="4709990" y="2415299"/>
                  </a:cubicBezTo>
                  <a:cubicBezTo>
                    <a:pt x="4723667" y="2428163"/>
                    <a:pt x="4737558" y="2444887"/>
                    <a:pt x="4750700" y="2462736"/>
                  </a:cubicBezTo>
                  <a:lnTo>
                    <a:pt x="4775200" y="2499388"/>
                  </a:lnTo>
                  <a:lnTo>
                    <a:pt x="4775200" y="0"/>
                  </a:lnTo>
                  <a:lnTo>
                    <a:pt x="4902200" y="0"/>
                  </a:lnTo>
                  <a:lnTo>
                    <a:pt x="4902200" y="3994405"/>
                  </a:lnTo>
                  <a:lnTo>
                    <a:pt x="4775200" y="3994405"/>
                  </a:lnTo>
                  <a:lnTo>
                    <a:pt x="4775200" y="2685763"/>
                  </a:lnTo>
                  <a:lnTo>
                    <a:pt x="4774956" y="2686305"/>
                  </a:lnTo>
                  <a:cubicBezTo>
                    <a:pt x="4774956" y="2686305"/>
                    <a:pt x="4751395" y="2528718"/>
                    <a:pt x="4658462" y="2441061"/>
                  </a:cubicBezTo>
                  <a:lnTo>
                    <a:pt x="4627562" y="2418260"/>
                  </a:lnTo>
                  <a:lnTo>
                    <a:pt x="4627562" y="4107118"/>
                  </a:lnTo>
                  <a:lnTo>
                    <a:pt x="4487862" y="4107118"/>
                  </a:lnTo>
                  <a:lnTo>
                    <a:pt x="4487862" y="2285838"/>
                  </a:lnTo>
                  <a:lnTo>
                    <a:pt x="4452266" y="2240774"/>
                  </a:lnTo>
                  <a:cubicBezTo>
                    <a:pt x="4429827" y="2209686"/>
                    <a:pt x="4409205" y="2179991"/>
                    <a:pt x="4389705" y="2156138"/>
                  </a:cubicBezTo>
                  <a:lnTo>
                    <a:pt x="4384675" y="2150695"/>
                  </a:lnTo>
                  <a:lnTo>
                    <a:pt x="4384675" y="3846768"/>
                  </a:lnTo>
                  <a:lnTo>
                    <a:pt x="4298950" y="3846768"/>
                  </a:lnTo>
                  <a:lnTo>
                    <a:pt x="4298950" y="1858615"/>
                  </a:lnTo>
                  <a:lnTo>
                    <a:pt x="4280403" y="1873164"/>
                  </a:lnTo>
                  <a:cubicBezTo>
                    <a:pt x="4273498" y="1878913"/>
                    <a:pt x="4267931" y="1884022"/>
                    <a:pt x="4265362" y="1887429"/>
                  </a:cubicBezTo>
                  <a:cubicBezTo>
                    <a:pt x="4257654" y="1897648"/>
                    <a:pt x="4222970" y="1890623"/>
                    <a:pt x="4195992" y="1895094"/>
                  </a:cubicBezTo>
                  <a:lnTo>
                    <a:pt x="4179887" y="1901618"/>
                  </a:lnTo>
                  <a:lnTo>
                    <a:pt x="4179887" y="4024568"/>
                  </a:lnTo>
                  <a:lnTo>
                    <a:pt x="4017962" y="4024568"/>
                  </a:lnTo>
                  <a:lnTo>
                    <a:pt x="4017962" y="1619253"/>
                  </a:lnTo>
                  <a:lnTo>
                    <a:pt x="4009630" y="1614733"/>
                  </a:lnTo>
                  <a:cubicBezTo>
                    <a:pt x="3968393" y="1586884"/>
                    <a:pt x="3930525" y="1533439"/>
                    <a:pt x="3894584" y="1551469"/>
                  </a:cubicBezTo>
                  <a:lnTo>
                    <a:pt x="3887787" y="1554608"/>
                  </a:lnTo>
                  <a:lnTo>
                    <a:pt x="3887787" y="4069018"/>
                  </a:lnTo>
                  <a:lnTo>
                    <a:pt x="3798887" y="4069018"/>
                  </a:lnTo>
                  <a:lnTo>
                    <a:pt x="3798887" y="2296407"/>
                  </a:lnTo>
                  <a:lnTo>
                    <a:pt x="3771415" y="2277758"/>
                  </a:lnTo>
                  <a:cubicBezTo>
                    <a:pt x="3759001" y="2271699"/>
                    <a:pt x="3745242" y="2267659"/>
                    <a:pt x="3730624" y="2267659"/>
                  </a:cubicBezTo>
                  <a:cubicBezTo>
                    <a:pt x="3675591" y="2267659"/>
                    <a:pt x="3623997" y="2165605"/>
                    <a:pt x="3575843" y="2189418"/>
                  </a:cubicBezTo>
                  <a:cubicBezTo>
                    <a:pt x="3527689" y="2209828"/>
                    <a:pt x="3503612" y="2223436"/>
                    <a:pt x="3503612" y="2223436"/>
                  </a:cubicBezTo>
                  <a:cubicBezTo>
                    <a:pt x="3503612" y="2223436"/>
                    <a:pt x="3575843" y="2165605"/>
                    <a:pt x="3593041" y="2172409"/>
                  </a:cubicBezTo>
                  <a:cubicBezTo>
                    <a:pt x="3610239" y="2179212"/>
                    <a:pt x="3692789" y="2254052"/>
                    <a:pt x="3723745" y="2250650"/>
                  </a:cubicBezTo>
                  <a:cubicBezTo>
                    <a:pt x="3739223" y="2250650"/>
                    <a:pt x="3766740" y="2259155"/>
                    <a:pt x="3790387" y="2267659"/>
                  </a:cubicBezTo>
                  <a:lnTo>
                    <a:pt x="3798887" y="2270909"/>
                  </a:lnTo>
                  <a:close/>
                  <a:moveTo>
                    <a:pt x="2706687" y="0"/>
                  </a:moveTo>
                  <a:lnTo>
                    <a:pt x="2849562" y="0"/>
                  </a:lnTo>
                  <a:lnTo>
                    <a:pt x="2849562" y="2624099"/>
                  </a:lnTo>
                  <a:lnTo>
                    <a:pt x="2865098" y="2623913"/>
                  </a:lnTo>
                  <a:cubicBezTo>
                    <a:pt x="2889369" y="2625203"/>
                    <a:pt x="2928588" y="2628428"/>
                    <a:pt x="2946590" y="2610370"/>
                  </a:cubicBezTo>
                  <a:cubicBezTo>
                    <a:pt x="2970593" y="2589732"/>
                    <a:pt x="3008312" y="2565655"/>
                    <a:pt x="3008312" y="2565655"/>
                  </a:cubicBezTo>
                  <a:cubicBezTo>
                    <a:pt x="3008312" y="2572534"/>
                    <a:pt x="3008312" y="2572534"/>
                    <a:pt x="3008312" y="2572534"/>
                  </a:cubicBezTo>
                  <a:cubicBezTo>
                    <a:pt x="3008312" y="2572534"/>
                    <a:pt x="2953448" y="2613809"/>
                    <a:pt x="2943161" y="2627568"/>
                  </a:cubicBezTo>
                  <a:cubicBezTo>
                    <a:pt x="2935446" y="2637886"/>
                    <a:pt x="2898798" y="2632727"/>
                    <a:pt x="2870831" y="2636758"/>
                  </a:cubicBezTo>
                  <a:lnTo>
                    <a:pt x="2849562" y="2643950"/>
                  </a:lnTo>
                  <a:lnTo>
                    <a:pt x="2849562" y="4024568"/>
                  </a:lnTo>
                  <a:lnTo>
                    <a:pt x="2706687" y="4024568"/>
                  </a:lnTo>
                  <a:close/>
                  <a:moveTo>
                    <a:pt x="2363787" y="0"/>
                  </a:moveTo>
                  <a:lnTo>
                    <a:pt x="2597149" y="0"/>
                  </a:lnTo>
                  <a:lnTo>
                    <a:pt x="2597149" y="4024568"/>
                  </a:lnTo>
                  <a:lnTo>
                    <a:pt x="2363787" y="4024568"/>
                  </a:lnTo>
                  <a:close/>
                  <a:moveTo>
                    <a:pt x="1065212" y="0"/>
                  </a:moveTo>
                  <a:lnTo>
                    <a:pt x="1103312" y="0"/>
                  </a:lnTo>
                  <a:lnTo>
                    <a:pt x="1103312" y="2351515"/>
                  </a:lnTo>
                  <a:lnTo>
                    <a:pt x="1129517" y="2333902"/>
                  </a:lnTo>
                  <a:cubicBezTo>
                    <a:pt x="1152635" y="2319304"/>
                    <a:pt x="1178322" y="2305565"/>
                    <a:pt x="1188596" y="2309000"/>
                  </a:cubicBezTo>
                  <a:cubicBezTo>
                    <a:pt x="1205721" y="2315869"/>
                    <a:pt x="1298192" y="2401739"/>
                    <a:pt x="1332441" y="2398304"/>
                  </a:cubicBezTo>
                  <a:cubicBezTo>
                    <a:pt x="1341003" y="2397445"/>
                    <a:pt x="1352990" y="2399377"/>
                    <a:pt x="1366155" y="2402759"/>
                  </a:cubicBezTo>
                  <a:lnTo>
                    <a:pt x="1373187" y="2405026"/>
                  </a:lnTo>
                  <a:lnTo>
                    <a:pt x="1373187" y="1625601"/>
                  </a:lnTo>
                  <a:lnTo>
                    <a:pt x="1340907" y="1641100"/>
                  </a:lnTo>
                  <a:cubicBezTo>
                    <a:pt x="1293153" y="1664152"/>
                    <a:pt x="1270000" y="1675677"/>
                    <a:pt x="1270000" y="1675677"/>
                  </a:cubicBezTo>
                  <a:cubicBezTo>
                    <a:pt x="1270000" y="1675677"/>
                    <a:pt x="1302586" y="1650918"/>
                    <a:pt x="1338602" y="1627441"/>
                  </a:cubicBezTo>
                  <a:lnTo>
                    <a:pt x="1373187" y="1607193"/>
                  </a:lnTo>
                  <a:lnTo>
                    <a:pt x="1373187" y="0"/>
                  </a:lnTo>
                  <a:lnTo>
                    <a:pt x="1514474" y="0"/>
                  </a:lnTo>
                  <a:lnTo>
                    <a:pt x="1514474" y="1648865"/>
                  </a:lnTo>
                  <a:lnTo>
                    <a:pt x="1531976" y="1662017"/>
                  </a:lnTo>
                  <a:cubicBezTo>
                    <a:pt x="1578711" y="1696167"/>
                    <a:pt x="1628448" y="1728609"/>
                    <a:pt x="1654174" y="1726902"/>
                  </a:cubicBezTo>
                  <a:cubicBezTo>
                    <a:pt x="1681616" y="1725194"/>
                    <a:pt x="1729637" y="1739708"/>
                    <a:pt x="1770799" y="1754648"/>
                  </a:cubicBezTo>
                  <a:lnTo>
                    <a:pt x="1801812" y="1766756"/>
                  </a:lnTo>
                  <a:lnTo>
                    <a:pt x="1801812" y="582868"/>
                  </a:lnTo>
                  <a:cubicBezTo>
                    <a:pt x="1801812" y="582868"/>
                    <a:pt x="1938665" y="969922"/>
                    <a:pt x="1952350" y="1535089"/>
                  </a:cubicBezTo>
                  <a:cubicBezTo>
                    <a:pt x="1966035" y="2100255"/>
                    <a:pt x="1969457" y="2614043"/>
                    <a:pt x="1952350" y="2894914"/>
                  </a:cubicBezTo>
                  <a:cubicBezTo>
                    <a:pt x="1935244" y="3175785"/>
                    <a:pt x="1952350" y="3391576"/>
                    <a:pt x="1952350" y="3391576"/>
                  </a:cubicBezTo>
                  <a:cubicBezTo>
                    <a:pt x="2000249" y="4124580"/>
                    <a:pt x="2000249" y="4124580"/>
                    <a:pt x="2000249" y="4124580"/>
                  </a:cubicBezTo>
                  <a:cubicBezTo>
                    <a:pt x="1801812" y="4124580"/>
                    <a:pt x="1801812" y="4124580"/>
                    <a:pt x="1801812" y="4124580"/>
                  </a:cubicBezTo>
                  <a:lnTo>
                    <a:pt x="1801812" y="1819703"/>
                  </a:lnTo>
                  <a:lnTo>
                    <a:pt x="1794810" y="1812275"/>
                  </a:lnTo>
                  <a:cubicBezTo>
                    <a:pt x="1763081" y="1783249"/>
                    <a:pt x="1719347" y="1754221"/>
                    <a:pt x="1671326" y="1754221"/>
                  </a:cubicBezTo>
                  <a:cubicBezTo>
                    <a:pt x="1621588" y="1754221"/>
                    <a:pt x="1573566" y="1709827"/>
                    <a:pt x="1527689" y="1670127"/>
                  </a:cubicBezTo>
                  <a:lnTo>
                    <a:pt x="1514474" y="1659196"/>
                  </a:lnTo>
                  <a:lnTo>
                    <a:pt x="1514474" y="4124580"/>
                  </a:lnTo>
                  <a:lnTo>
                    <a:pt x="1373187" y="4124580"/>
                  </a:lnTo>
                  <a:lnTo>
                    <a:pt x="1373187" y="2423717"/>
                  </a:lnTo>
                  <a:lnTo>
                    <a:pt x="1342716" y="2415478"/>
                  </a:lnTo>
                  <a:cubicBezTo>
                    <a:pt x="1277643" y="2415478"/>
                    <a:pt x="1219420" y="2302130"/>
                    <a:pt x="1168047" y="2326174"/>
                  </a:cubicBezTo>
                  <a:cubicBezTo>
                    <a:pt x="1140648" y="2338195"/>
                    <a:pt x="1120099" y="2347641"/>
                    <a:pt x="1106399" y="2354081"/>
                  </a:cubicBezTo>
                  <a:lnTo>
                    <a:pt x="1103312" y="2355565"/>
                  </a:lnTo>
                  <a:lnTo>
                    <a:pt x="1103312" y="4165855"/>
                  </a:lnTo>
                  <a:lnTo>
                    <a:pt x="1065212" y="4165855"/>
                  </a:lnTo>
                  <a:close/>
                  <a:moveTo>
                    <a:pt x="887412" y="0"/>
                  </a:moveTo>
                  <a:lnTo>
                    <a:pt x="969962" y="0"/>
                  </a:lnTo>
                  <a:lnTo>
                    <a:pt x="969962" y="4165855"/>
                  </a:lnTo>
                  <a:lnTo>
                    <a:pt x="887412" y="4165855"/>
                  </a:lnTo>
                  <a:close/>
                  <a:moveTo>
                    <a:pt x="630237" y="0"/>
                  </a:moveTo>
                  <a:lnTo>
                    <a:pt x="774699" y="0"/>
                  </a:lnTo>
                  <a:lnTo>
                    <a:pt x="774699" y="4124580"/>
                  </a:lnTo>
                  <a:lnTo>
                    <a:pt x="630237" y="41245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A991C64-AE99-4298-A7C5-09C828B2B4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0585" y="174489"/>
              <a:ext cx="6558590" cy="4169030"/>
            </a:xfrm>
            <a:custGeom>
              <a:avLst/>
              <a:gdLst>
                <a:gd name="connsiteX0" fmla="*/ 6227763 w 6558590"/>
                <a:gd name="connsiteY0" fmla="*/ 1049761 h 4169030"/>
                <a:gd name="connsiteX1" fmla="*/ 6223594 w 6558590"/>
                <a:gd name="connsiteY1" fmla="*/ 1055033 h 4169030"/>
                <a:gd name="connsiteX2" fmla="*/ 5950451 w 6558590"/>
                <a:gd name="connsiteY2" fmla="*/ 1356784 h 4169030"/>
                <a:gd name="connsiteX3" fmla="*/ 5805396 w 6558590"/>
                <a:gd name="connsiteY3" fmla="*/ 1693902 h 4169030"/>
                <a:gd name="connsiteX4" fmla="*/ 5800725 w 6558590"/>
                <a:gd name="connsiteY4" fmla="*/ 1707222 h 4169030"/>
                <a:gd name="connsiteX5" fmla="*/ 5800725 w 6558590"/>
                <a:gd name="connsiteY5" fmla="*/ 2192694 h 4169030"/>
                <a:gd name="connsiteX6" fmla="*/ 5823025 w 6558590"/>
                <a:gd name="connsiteY6" fmla="*/ 2154828 h 4169030"/>
                <a:gd name="connsiteX7" fmla="*/ 5923598 w 6558590"/>
                <a:gd name="connsiteY7" fmla="*/ 2062303 h 4169030"/>
                <a:gd name="connsiteX8" fmla="*/ 6217885 w 6558590"/>
                <a:gd name="connsiteY8" fmla="*/ 1777873 h 4169030"/>
                <a:gd name="connsiteX9" fmla="*/ 6227763 w 6558590"/>
                <a:gd name="connsiteY9" fmla="*/ 1765285 h 4169030"/>
                <a:gd name="connsiteX10" fmla="*/ 5351463 w 6558590"/>
                <a:gd name="connsiteY10" fmla="*/ 0 h 4169030"/>
                <a:gd name="connsiteX11" fmla="*/ 5800725 w 6558590"/>
                <a:gd name="connsiteY11" fmla="*/ 0 h 4169030"/>
                <a:gd name="connsiteX12" fmla="*/ 5800725 w 6558590"/>
                <a:gd name="connsiteY12" fmla="*/ 1401330 h 4169030"/>
                <a:gd name="connsiteX13" fmla="*/ 5801342 w 6558590"/>
                <a:gd name="connsiteY13" fmla="*/ 1400286 h 4169030"/>
                <a:gd name="connsiteX14" fmla="*/ 5926472 w 6558590"/>
                <a:gd name="connsiteY14" fmla="*/ 1264234 h 4169030"/>
                <a:gd name="connsiteX15" fmla="*/ 6213584 w 6558590"/>
                <a:gd name="connsiteY15" fmla="*/ 936455 h 4169030"/>
                <a:gd name="connsiteX16" fmla="*/ 6227763 w 6558590"/>
                <a:gd name="connsiteY16" fmla="*/ 915195 h 4169030"/>
                <a:gd name="connsiteX17" fmla="*/ 6227763 w 6558590"/>
                <a:gd name="connsiteY17" fmla="*/ 0 h 4169030"/>
                <a:gd name="connsiteX18" fmla="*/ 6558590 w 6558590"/>
                <a:gd name="connsiteY18" fmla="*/ 0 h 4169030"/>
                <a:gd name="connsiteX19" fmla="*/ 6558590 w 6558590"/>
                <a:gd name="connsiteY19" fmla="*/ 3846768 h 4169030"/>
                <a:gd name="connsiteX20" fmla="*/ 6227763 w 6558590"/>
                <a:gd name="connsiteY20" fmla="*/ 3846768 h 4169030"/>
                <a:gd name="connsiteX21" fmla="*/ 6227763 w 6558590"/>
                <a:gd name="connsiteY21" fmla="*/ 1792988 h 4169030"/>
                <a:gd name="connsiteX22" fmla="*/ 6214911 w 6558590"/>
                <a:gd name="connsiteY22" fmla="*/ 1806734 h 4169030"/>
                <a:gd name="connsiteX23" fmla="*/ 5961239 w 6558590"/>
                <a:gd name="connsiteY23" fmla="*/ 2089718 h 4169030"/>
                <a:gd name="connsiteX24" fmla="*/ 5813240 w 6558590"/>
                <a:gd name="connsiteY24" fmla="*/ 2260633 h 4169030"/>
                <a:gd name="connsiteX25" fmla="*/ 5800725 w 6558590"/>
                <a:gd name="connsiteY25" fmla="*/ 2288129 h 4169030"/>
                <a:gd name="connsiteX26" fmla="*/ 5800725 w 6558590"/>
                <a:gd name="connsiteY26" fmla="*/ 3994405 h 4169030"/>
                <a:gd name="connsiteX27" fmla="*/ 5351463 w 6558590"/>
                <a:gd name="connsiteY27" fmla="*/ 3994405 h 4169030"/>
                <a:gd name="connsiteX28" fmla="*/ 2378075 w 6558590"/>
                <a:gd name="connsiteY28" fmla="*/ 0 h 4169030"/>
                <a:gd name="connsiteX29" fmla="*/ 2827337 w 6558590"/>
                <a:gd name="connsiteY29" fmla="*/ 0 h 4169030"/>
                <a:gd name="connsiteX30" fmla="*/ 2827337 w 6558590"/>
                <a:gd name="connsiteY30" fmla="*/ 1552865 h 4169030"/>
                <a:gd name="connsiteX31" fmla="*/ 2859702 w 6558590"/>
                <a:gd name="connsiteY31" fmla="*/ 1538624 h 4169030"/>
                <a:gd name="connsiteX32" fmla="*/ 2977112 w 6558590"/>
                <a:gd name="connsiteY32" fmla="*/ 1503868 h 4169030"/>
                <a:gd name="connsiteX33" fmla="*/ 3559542 w 6558590"/>
                <a:gd name="connsiteY33" fmla="*/ 911827 h 4169030"/>
                <a:gd name="connsiteX34" fmla="*/ 3912427 w 6558590"/>
                <a:gd name="connsiteY34" fmla="*/ 511429 h 4169030"/>
                <a:gd name="connsiteX35" fmla="*/ 3987800 w 6558590"/>
                <a:gd name="connsiteY35" fmla="*/ 531962 h 4169030"/>
                <a:gd name="connsiteX36" fmla="*/ 3682880 w 6558590"/>
                <a:gd name="connsiteY36" fmla="*/ 956315 h 4169030"/>
                <a:gd name="connsiteX37" fmla="*/ 3059337 w 6558590"/>
                <a:gd name="connsiteY37" fmla="*/ 1633911 h 4169030"/>
                <a:gd name="connsiteX38" fmla="*/ 2884394 w 6558590"/>
                <a:gd name="connsiteY38" fmla="*/ 1686956 h 4169030"/>
                <a:gd name="connsiteX39" fmla="*/ 2827337 w 6558590"/>
                <a:gd name="connsiteY39" fmla="*/ 1730610 h 4169030"/>
                <a:gd name="connsiteX40" fmla="*/ 2827337 w 6558590"/>
                <a:gd name="connsiteY40" fmla="*/ 2247465 h 4169030"/>
                <a:gd name="connsiteX41" fmla="*/ 2827893 w 6558590"/>
                <a:gd name="connsiteY41" fmla="*/ 2247099 h 4169030"/>
                <a:gd name="connsiteX42" fmla="*/ 2912764 w 6558590"/>
                <a:gd name="connsiteY42" fmla="*/ 2223122 h 4169030"/>
                <a:gd name="connsiteX43" fmla="*/ 3135377 w 6558590"/>
                <a:gd name="connsiteY43" fmla="*/ 1904574 h 4169030"/>
                <a:gd name="connsiteX44" fmla="*/ 3395662 w 6558590"/>
                <a:gd name="connsiteY44" fmla="*/ 1822368 h 4169030"/>
                <a:gd name="connsiteX45" fmla="*/ 3395662 w 6558590"/>
                <a:gd name="connsiteY45" fmla="*/ 1839495 h 4169030"/>
                <a:gd name="connsiteX46" fmla="*/ 3183324 w 6558590"/>
                <a:gd name="connsiteY46" fmla="*/ 1904574 h 4169030"/>
                <a:gd name="connsiteX47" fmla="*/ 2933313 w 6558590"/>
                <a:gd name="connsiteY47" fmla="*/ 2267650 h 4169030"/>
                <a:gd name="connsiteX48" fmla="*/ 2844803 w 6558590"/>
                <a:gd name="connsiteY48" fmla="*/ 2309824 h 4169030"/>
                <a:gd name="connsiteX49" fmla="*/ 2827337 w 6558590"/>
                <a:gd name="connsiteY49" fmla="*/ 2330942 h 4169030"/>
                <a:gd name="connsiteX50" fmla="*/ 2827337 w 6558590"/>
                <a:gd name="connsiteY50" fmla="*/ 4124580 h 4169030"/>
                <a:gd name="connsiteX51" fmla="*/ 2378075 w 6558590"/>
                <a:gd name="connsiteY51" fmla="*/ 4124580 h 4169030"/>
                <a:gd name="connsiteX52" fmla="*/ 576263 w 6558590"/>
                <a:gd name="connsiteY52" fmla="*/ 0 h 4169030"/>
                <a:gd name="connsiteX53" fmla="*/ 1025525 w 6558590"/>
                <a:gd name="connsiteY53" fmla="*/ 0 h 4169030"/>
                <a:gd name="connsiteX54" fmla="*/ 1025525 w 6558590"/>
                <a:gd name="connsiteY54" fmla="*/ 1963810 h 4169030"/>
                <a:gd name="connsiteX55" fmla="*/ 1033493 w 6558590"/>
                <a:gd name="connsiteY55" fmla="*/ 1956488 h 4169030"/>
                <a:gd name="connsiteX56" fmla="*/ 1080003 w 6558590"/>
                <a:gd name="connsiteY56" fmla="*/ 1925083 h 4169030"/>
                <a:gd name="connsiteX57" fmla="*/ 1292137 w 6558590"/>
                <a:gd name="connsiteY57" fmla="*/ 1904539 h 4169030"/>
                <a:gd name="connsiteX58" fmla="*/ 1425575 w 6558590"/>
                <a:gd name="connsiteY58" fmla="*/ 1805242 h 4169030"/>
                <a:gd name="connsiteX59" fmla="*/ 1425575 w 6558590"/>
                <a:gd name="connsiteY59" fmla="*/ 1822362 h 4169030"/>
                <a:gd name="connsiteX60" fmla="*/ 1285294 w 6558590"/>
                <a:gd name="connsiteY60" fmla="*/ 1938779 h 4169030"/>
                <a:gd name="connsiteX61" fmla="*/ 1083425 w 6558590"/>
                <a:gd name="connsiteY61" fmla="*/ 1973019 h 4169030"/>
                <a:gd name="connsiteX62" fmla="*/ 1033974 w 6558590"/>
                <a:gd name="connsiteY62" fmla="*/ 2018708 h 4169030"/>
                <a:gd name="connsiteX63" fmla="*/ 1025525 w 6558590"/>
                <a:gd name="connsiteY63" fmla="*/ 2027401 h 4169030"/>
                <a:gd name="connsiteX64" fmla="*/ 1025525 w 6558590"/>
                <a:gd name="connsiteY64" fmla="*/ 2721894 h 4169030"/>
                <a:gd name="connsiteX65" fmla="*/ 1025896 w 6558590"/>
                <a:gd name="connsiteY65" fmla="*/ 2721786 h 4169030"/>
                <a:gd name="connsiteX66" fmla="*/ 1230174 w 6558590"/>
                <a:gd name="connsiteY66" fmla="*/ 2699408 h 4169030"/>
                <a:gd name="connsiteX67" fmla="*/ 1514705 w 6558590"/>
                <a:gd name="connsiteY67" fmla="*/ 2630695 h 4169030"/>
                <a:gd name="connsiteX68" fmla="*/ 1662112 w 6558590"/>
                <a:gd name="connsiteY68" fmla="*/ 2695972 h 4169030"/>
                <a:gd name="connsiteX69" fmla="*/ 1504421 w 6558590"/>
                <a:gd name="connsiteY69" fmla="*/ 2647873 h 4169030"/>
                <a:gd name="connsiteX70" fmla="*/ 1192466 w 6558590"/>
                <a:gd name="connsiteY70" fmla="*/ 2733764 h 4169030"/>
                <a:gd name="connsiteX71" fmla="*/ 1058342 w 6558590"/>
                <a:gd name="connsiteY71" fmla="*/ 2753519 h 4169030"/>
                <a:gd name="connsiteX72" fmla="*/ 1025525 w 6558590"/>
                <a:gd name="connsiteY72" fmla="*/ 2775112 h 4169030"/>
                <a:gd name="connsiteX73" fmla="*/ 1025525 w 6558590"/>
                <a:gd name="connsiteY73" fmla="*/ 4169030 h 4169030"/>
                <a:gd name="connsiteX74" fmla="*/ 576263 w 6558590"/>
                <a:gd name="connsiteY74" fmla="*/ 4169030 h 4169030"/>
                <a:gd name="connsiteX75" fmla="*/ 576263 w 6558590"/>
                <a:gd name="connsiteY75" fmla="*/ 2360988 h 4169030"/>
                <a:gd name="connsiteX76" fmla="*/ 554788 w 6558590"/>
                <a:gd name="connsiteY76" fmla="*/ 2331548 h 4169030"/>
                <a:gd name="connsiteX77" fmla="*/ 435010 w 6558590"/>
                <a:gd name="connsiteY77" fmla="*/ 2257484 h 4169030"/>
                <a:gd name="connsiteX78" fmla="*/ 143861 w 6558590"/>
                <a:gd name="connsiteY78" fmla="*/ 2219783 h 4169030"/>
                <a:gd name="connsiteX79" fmla="*/ 0 w 6558590"/>
                <a:gd name="connsiteY79" fmla="*/ 1979867 h 4169030"/>
                <a:gd name="connsiteX80" fmla="*/ 232919 w 6558590"/>
                <a:gd name="connsiteY80" fmla="*/ 2212929 h 4169030"/>
                <a:gd name="connsiteX81" fmla="*/ 558535 w 6558590"/>
                <a:gd name="connsiteY81" fmla="*/ 2285225 h 4169030"/>
                <a:gd name="connsiteX82" fmla="*/ 576263 w 6558590"/>
                <a:gd name="connsiteY82" fmla="*/ 2298756 h 416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6558590" h="4169030">
                  <a:moveTo>
                    <a:pt x="6227763" y="1049761"/>
                  </a:moveTo>
                  <a:lnTo>
                    <a:pt x="6223594" y="1055033"/>
                  </a:lnTo>
                  <a:cubicBezTo>
                    <a:pt x="6139291" y="1155617"/>
                    <a:pt x="5996698" y="1297655"/>
                    <a:pt x="5950451" y="1356784"/>
                  </a:cubicBezTo>
                  <a:cubicBezTo>
                    <a:pt x="5911912" y="1406057"/>
                    <a:pt x="5847949" y="1574500"/>
                    <a:pt x="5805396" y="1693902"/>
                  </a:cubicBezTo>
                  <a:lnTo>
                    <a:pt x="5800725" y="1707222"/>
                  </a:lnTo>
                  <a:lnTo>
                    <a:pt x="5800725" y="2192694"/>
                  </a:lnTo>
                  <a:lnTo>
                    <a:pt x="5823025" y="2154828"/>
                  </a:lnTo>
                  <a:cubicBezTo>
                    <a:pt x="5852700" y="2109048"/>
                    <a:pt x="5887668" y="2070013"/>
                    <a:pt x="5923598" y="2062303"/>
                  </a:cubicBezTo>
                  <a:cubicBezTo>
                    <a:pt x="6019412" y="2041742"/>
                    <a:pt x="6142602" y="1880679"/>
                    <a:pt x="6217885" y="1777873"/>
                  </a:cubicBezTo>
                  <a:lnTo>
                    <a:pt x="6227763" y="1765285"/>
                  </a:lnTo>
                  <a:close/>
                  <a:moveTo>
                    <a:pt x="5351463" y="0"/>
                  </a:moveTo>
                  <a:lnTo>
                    <a:pt x="5800725" y="0"/>
                  </a:lnTo>
                  <a:lnTo>
                    <a:pt x="5800725" y="1401330"/>
                  </a:lnTo>
                  <a:lnTo>
                    <a:pt x="5801342" y="1400286"/>
                  </a:lnTo>
                  <a:cubicBezTo>
                    <a:pt x="5840884" y="1337824"/>
                    <a:pt x="5885364" y="1282229"/>
                    <a:pt x="5926472" y="1264234"/>
                  </a:cubicBezTo>
                  <a:cubicBezTo>
                    <a:pt x="6008688" y="1228242"/>
                    <a:pt x="6148711" y="1032217"/>
                    <a:pt x="6213584" y="936455"/>
                  </a:cubicBezTo>
                  <a:lnTo>
                    <a:pt x="6227763" y="915195"/>
                  </a:lnTo>
                  <a:lnTo>
                    <a:pt x="6227763" y="0"/>
                  </a:lnTo>
                  <a:lnTo>
                    <a:pt x="6558590" y="0"/>
                  </a:lnTo>
                  <a:lnTo>
                    <a:pt x="6558590" y="3846768"/>
                  </a:lnTo>
                  <a:lnTo>
                    <a:pt x="6227763" y="3846768"/>
                  </a:lnTo>
                  <a:lnTo>
                    <a:pt x="6227763" y="1792988"/>
                  </a:lnTo>
                  <a:lnTo>
                    <a:pt x="6214911" y="1806734"/>
                  </a:lnTo>
                  <a:cubicBezTo>
                    <a:pt x="6131802" y="1905524"/>
                    <a:pt x="6042510" y="2051166"/>
                    <a:pt x="5961239" y="2089718"/>
                  </a:cubicBezTo>
                  <a:cubicBezTo>
                    <a:pt x="5896222" y="2118846"/>
                    <a:pt x="5846604" y="2193381"/>
                    <a:pt x="5813240" y="2260633"/>
                  </a:cubicBezTo>
                  <a:lnTo>
                    <a:pt x="5800725" y="2288129"/>
                  </a:lnTo>
                  <a:lnTo>
                    <a:pt x="5800725" y="3994405"/>
                  </a:lnTo>
                  <a:lnTo>
                    <a:pt x="5351463" y="3994405"/>
                  </a:lnTo>
                  <a:close/>
                  <a:moveTo>
                    <a:pt x="2378075" y="0"/>
                  </a:moveTo>
                  <a:lnTo>
                    <a:pt x="2827337" y="0"/>
                  </a:lnTo>
                  <a:lnTo>
                    <a:pt x="2827337" y="1552865"/>
                  </a:lnTo>
                  <a:lnTo>
                    <a:pt x="2859702" y="1538624"/>
                  </a:lnTo>
                  <a:cubicBezTo>
                    <a:pt x="2894458" y="1525898"/>
                    <a:pt x="2933430" y="1514134"/>
                    <a:pt x="2977112" y="1503868"/>
                  </a:cubicBezTo>
                  <a:cubicBezTo>
                    <a:pt x="3326570" y="1425157"/>
                    <a:pt x="3357404" y="942627"/>
                    <a:pt x="3559542" y="911827"/>
                  </a:cubicBezTo>
                  <a:cubicBezTo>
                    <a:pt x="3761680" y="877605"/>
                    <a:pt x="3912427" y="511429"/>
                    <a:pt x="3912427" y="511429"/>
                  </a:cubicBezTo>
                  <a:cubicBezTo>
                    <a:pt x="3912427" y="511429"/>
                    <a:pt x="3912427" y="511429"/>
                    <a:pt x="3987800" y="531962"/>
                  </a:cubicBezTo>
                  <a:cubicBezTo>
                    <a:pt x="3987800" y="531962"/>
                    <a:pt x="3888444" y="850227"/>
                    <a:pt x="3682880" y="956315"/>
                  </a:cubicBezTo>
                  <a:cubicBezTo>
                    <a:pt x="3477317" y="1062404"/>
                    <a:pt x="3347126" y="1613378"/>
                    <a:pt x="3059337" y="1633911"/>
                  </a:cubicBezTo>
                  <a:cubicBezTo>
                    <a:pt x="2987390" y="1639045"/>
                    <a:pt x="2930003" y="1659364"/>
                    <a:pt x="2884394" y="1686956"/>
                  </a:cubicBezTo>
                  <a:lnTo>
                    <a:pt x="2827337" y="1730610"/>
                  </a:lnTo>
                  <a:lnTo>
                    <a:pt x="2827337" y="2247465"/>
                  </a:lnTo>
                  <a:lnTo>
                    <a:pt x="2827893" y="2247099"/>
                  </a:lnTo>
                  <a:cubicBezTo>
                    <a:pt x="2851974" y="2235539"/>
                    <a:pt x="2880229" y="2226547"/>
                    <a:pt x="2912764" y="2223122"/>
                  </a:cubicBezTo>
                  <a:cubicBezTo>
                    <a:pt x="3042907" y="2209421"/>
                    <a:pt x="3036057" y="2007332"/>
                    <a:pt x="3135377" y="1904574"/>
                  </a:cubicBezTo>
                  <a:cubicBezTo>
                    <a:pt x="3231271" y="1805242"/>
                    <a:pt x="3395662" y="1822368"/>
                    <a:pt x="3395662" y="1822368"/>
                  </a:cubicBezTo>
                  <a:cubicBezTo>
                    <a:pt x="3395662" y="1822368"/>
                    <a:pt x="3395662" y="1822368"/>
                    <a:pt x="3395662" y="1839495"/>
                  </a:cubicBezTo>
                  <a:cubicBezTo>
                    <a:pt x="3395662" y="1839495"/>
                    <a:pt x="3275794" y="1849770"/>
                    <a:pt x="3183324" y="1904574"/>
                  </a:cubicBezTo>
                  <a:cubicBezTo>
                    <a:pt x="3090854" y="1962803"/>
                    <a:pt x="3080580" y="2257375"/>
                    <a:pt x="2933313" y="2267650"/>
                  </a:cubicBezTo>
                  <a:cubicBezTo>
                    <a:pt x="2897353" y="2271076"/>
                    <a:pt x="2868242" y="2287346"/>
                    <a:pt x="2844803" y="2309824"/>
                  </a:cubicBezTo>
                  <a:lnTo>
                    <a:pt x="2827337" y="2330942"/>
                  </a:lnTo>
                  <a:lnTo>
                    <a:pt x="2827337" y="4124580"/>
                  </a:lnTo>
                  <a:lnTo>
                    <a:pt x="2378075" y="4124580"/>
                  </a:lnTo>
                  <a:close/>
                  <a:moveTo>
                    <a:pt x="576263" y="0"/>
                  </a:moveTo>
                  <a:lnTo>
                    <a:pt x="1025525" y="0"/>
                  </a:lnTo>
                  <a:lnTo>
                    <a:pt x="1025525" y="1963810"/>
                  </a:lnTo>
                  <a:lnTo>
                    <a:pt x="1033493" y="1956488"/>
                  </a:lnTo>
                  <a:cubicBezTo>
                    <a:pt x="1054342" y="1938351"/>
                    <a:pt x="1071450" y="1925939"/>
                    <a:pt x="1080003" y="1925083"/>
                  </a:cubicBezTo>
                  <a:cubicBezTo>
                    <a:pt x="1114218" y="1925083"/>
                    <a:pt x="1240814" y="1952475"/>
                    <a:pt x="1292137" y="1904539"/>
                  </a:cubicBezTo>
                  <a:cubicBezTo>
                    <a:pt x="1343459" y="1853178"/>
                    <a:pt x="1425575" y="1805242"/>
                    <a:pt x="1425575" y="1805242"/>
                  </a:cubicBezTo>
                  <a:cubicBezTo>
                    <a:pt x="1425575" y="1822362"/>
                    <a:pt x="1425575" y="1822362"/>
                    <a:pt x="1425575" y="1822362"/>
                  </a:cubicBezTo>
                  <a:cubicBezTo>
                    <a:pt x="1425575" y="1822362"/>
                    <a:pt x="1305823" y="1907963"/>
                    <a:pt x="1285294" y="1938779"/>
                  </a:cubicBezTo>
                  <a:cubicBezTo>
                    <a:pt x="1261343" y="1966171"/>
                    <a:pt x="1134747" y="1935355"/>
                    <a:pt x="1083425" y="1973019"/>
                  </a:cubicBezTo>
                  <a:cubicBezTo>
                    <a:pt x="1070594" y="1983291"/>
                    <a:pt x="1053059" y="1999769"/>
                    <a:pt x="1033974" y="2018708"/>
                  </a:cubicBezTo>
                  <a:lnTo>
                    <a:pt x="1025525" y="2027401"/>
                  </a:lnTo>
                  <a:lnTo>
                    <a:pt x="1025525" y="2721894"/>
                  </a:lnTo>
                  <a:lnTo>
                    <a:pt x="1025896" y="2721786"/>
                  </a:lnTo>
                  <a:cubicBezTo>
                    <a:pt x="1095997" y="2702360"/>
                    <a:pt x="1195894" y="2680082"/>
                    <a:pt x="1230174" y="2699408"/>
                  </a:cubicBezTo>
                  <a:cubicBezTo>
                    <a:pt x="1285024" y="2726893"/>
                    <a:pt x="1483852" y="2589467"/>
                    <a:pt x="1514705" y="2630695"/>
                  </a:cubicBezTo>
                  <a:cubicBezTo>
                    <a:pt x="1528417" y="2647873"/>
                    <a:pt x="1662112" y="2695972"/>
                    <a:pt x="1662112" y="2695972"/>
                  </a:cubicBezTo>
                  <a:cubicBezTo>
                    <a:pt x="1662112" y="2695972"/>
                    <a:pt x="1535273" y="2689101"/>
                    <a:pt x="1504421" y="2647873"/>
                  </a:cubicBezTo>
                  <a:cubicBezTo>
                    <a:pt x="1476996" y="2606645"/>
                    <a:pt x="1247315" y="2795606"/>
                    <a:pt x="1192466" y="2733764"/>
                  </a:cubicBezTo>
                  <a:cubicBezTo>
                    <a:pt x="1166755" y="2702843"/>
                    <a:pt x="1109335" y="2724316"/>
                    <a:pt x="1058342" y="2753519"/>
                  </a:cubicBezTo>
                  <a:lnTo>
                    <a:pt x="1025525" y="2775112"/>
                  </a:lnTo>
                  <a:lnTo>
                    <a:pt x="1025525" y="4169030"/>
                  </a:lnTo>
                  <a:lnTo>
                    <a:pt x="576263" y="4169030"/>
                  </a:lnTo>
                  <a:lnTo>
                    <a:pt x="576263" y="2360988"/>
                  </a:lnTo>
                  <a:lnTo>
                    <a:pt x="554788" y="2331548"/>
                  </a:lnTo>
                  <a:cubicBezTo>
                    <a:pt x="521071" y="2293472"/>
                    <a:pt x="481252" y="2265196"/>
                    <a:pt x="435010" y="2257484"/>
                  </a:cubicBezTo>
                  <a:cubicBezTo>
                    <a:pt x="325401" y="2240348"/>
                    <a:pt x="178114" y="2243775"/>
                    <a:pt x="143861" y="2219783"/>
                  </a:cubicBezTo>
                  <a:cubicBezTo>
                    <a:pt x="113034" y="2195792"/>
                    <a:pt x="0" y="1979867"/>
                    <a:pt x="0" y="1979867"/>
                  </a:cubicBezTo>
                  <a:cubicBezTo>
                    <a:pt x="0" y="1979867"/>
                    <a:pt x="140436" y="2212929"/>
                    <a:pt x="232919" y="2212929"/>
                  </a:cubicBezTo>
                  <a:cubicBezTo>
                    <a:pt x="304850" y="2212929"/>
                    <a:pt x="465410" y="2230280"/>
                    <a:pt x="558535" y="2285225"/>
                  </a:cubicBezTo>
                  <a:lnTo>
                    <a:pt x="576263" y="2298756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FD7CF74-E85D-40A7-A8CA-8E1395FB8A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60208" y="-11250"/>
              <a:ext cx="6931793" cy="2743892"/>
            </a:xfrm>
            <a:custGeom>
              <a:avLst/>
              <a:gdLst>
                <a:gd name="connsiteX0" fmla="*/ 6266352 w 6931793"/>
                <a:gd name="connsiteY0" fmla="*/ 2627570 h 2743892"/>
                <a:gd name="connsiteX1" fmla="*/ 6389369 w 6931793"/>
                <a:gd name="connsiteY1" fmla="*/ 2682467 h 2743892"/>
                <a:gd name="connsiteX2" fmla="*/ 6467964 w 6931793"/>
                <a:gd name="connsiteY2" fmla="*/ 2696191 h 2743892"/>
                <a:gd name="connsiteX3" fmla="*/ 6266352 w 6931793"/>
                <a:gd name="connsiteY3" fmla="*/ 2627570 h 2743892"/>
                <a:gd name="connsiteX4" fmla="*/ 3477848 w 6931793"/>
                <a:gd name="connsiteY4" fmla="*/ 2538670 h 2743892"/>
                <a:gd name="connsiteX5" fmla="*/ 3378690 w 6931793"/>
                <a:gd name="connsiteY5" fmla="*/ 2727583 h 2743892"/>
                <a:gd name="connsiteX6" fmla="*/ 3450494 w 6931793"/>
                <a:gd name="connsiteY6" fmla="*/ 2614235 h 2743892"/>
                <a:gd name="connsiteX7" fmla="*/ 3477848 w 6931793"/>
                <a:gd name="connsiteY7" fmla="*/ 2538670 h 2743892"/>
                <a:gd name="connsiteX8" fmla="*/ 1541952 w 6931793"/>
                <a:gd name="connsiteY8" fmla="*/ 2460882 h 2743892"/>
                <a:gd name="connsiteX9" fmla="*/ 1661698 w 6931793"/>
                <a:gd name="connsiteY9" fmla="*/ 2515369 h 2743892"/>
                <a:gd name="connsiteX10" fmla="*/ 1740389 w 6931793"/>
                <a:gd name="connsiteY10" fmla="*/ 2528991 h 2743892"/>
                <a:gd name="connsiteX11" fmla="*/ 1541952 w 6931793"/>
                <a:gd name="connsiteY11" fmla="*/ 2460882 h 2743892"/>
                <a:gd name="connsiteX12" fmla="*/ 2606752 w 6931793"/>
                <a:gd name="connsiteY12" fmla="*/ 2326566 h 2743892"/>
                <a:gd name="connsiteX13" fmla="*/ 2673181 w 6931793"/>
                <a:gd name="connsiteY13" fmla="*/ 2464058 h 2743892"/>
                <a:gd name="connsiteX14" fmla="*/ 2635275 w 6931793"/>
                <a:gd name="connsiteY14" fmla="*/ 2374788 h 2743892"/>
                <a:gd name="connsiteX15" fmla="*/ 2600815 w 6931793"/>
                <a:gd name="connsiteY15" fmla="*/ 2326720 h 2743892"/>
                <a:gd name="connsiteX16" fmla="*/ 2606752 w 6931793"/>
                <a:gd name="connsiteY16" fmla="*/ 2326566 h 2743892"/>
                <a:gd name="connsiteX17" fmla="*/ 4824902 w 6931793"/>
                <a:gd name="connsiteY17" fmla="*/ 2014795 h 2743892"/>
                <a:gd name="connsiteX18" fmla="*/ 4618527 w 6931793"/>
                <a:gd name="connsiteY18" fmla="*/ 2176270 h 2743892"/>
                <a:gd name="connsiteX19" fmla="*/ 4756110 w 6931793"/>
                <a:gd name="connsiteY19" fmla="*/ 2086943 h 2743892"/>
                <a:gd name="connsiteX20" fmla="*/ 4824902 w 6931793"/>
                <a:gd name="connsiteY20" fmla="*/ 2014795 h 2743892"/>
                <a:gd name="connsiteX21" fmla="*/ 6304819 w 6931793"/>
                <a:gd name="connsiteY21" fmla="*/ 1908432 h 2743892"/>
                <a:gd name="connsiteX22" fmla="*/ 6233015 w 6931793"/>
                <a:gd name="connsiteY22" fmla="*/ 1960198 h 2743892"/>
                <a:gd name="connsiteX23" fmla="*/ 6280884 w 6931793"/>
                <a:gd name="connsiteY23" fmla="*/ 1932589 h 2743892"/>
                <a:gd name="connsiteX24" fmla="*/ 6304819 w 6931793"/>
                <a:gd name="connsiteY24" fmla="*/ 1908432 h 2743892"/>
                <a:gd name="connsiteX25" fmla="*/ 128197 w 6931793"/>
                <a:gd name="connsiteY25" fmla="*/ 0 h 2743892"/>
                <a:gd name="connsiteX26" fmla="*/ 6931793 w 6931793"/>
                <a:gd name="connsiteY26" fmla="*/ 0 h 2743892"/>
                <a:gd name="connsiteX27" fmla="*/ 6931793 w 6931793"/>
                <a:gd name="connsiteY27" fmla="*/ 1156072 h 2743892"/>
                <a:gd name="connsiteX28" fmla="*/ 6899328 w 6931793"/>
                <a:gd name="connsiteY28" fmla="*/ 1227596 h 2743892"/>
                <a:gd name="connsiteX29" fmla="*/ 6585258 w 6931793"/>
                <a:gd name="connsiteY29" fmla="*/ 1408721 h 2743892"/>
                <a:gd name="connsiteX30" fmla="*/ 6324924 w 6931793"/>
                <a:gd name="connsiteY30" fmla="*/ 1377891 h 2743892"/>
                <a:gd name="connsiteX31" fmla="*/ 6304372 w 6931793"/>
                <a:gd name="connsiteY31" fmla="*/ 1545743 h 2743892"/>
                <a:gd name="connsiteX32" fmla="*/ 5495968 w 6931793"/>
                <a:gd name="connsiteY32" fmla="*/ 1494360 h 2743892"/>
                <a:gd name="connsiteX33" fmla="*/ 4975300 w 6931793"/>
                <a:gd name="connsiteY33" fmla="*/ 1367615 h 2743892"/>
                <a:gd name="connsiteX34" fmla="*/ 4454634 w 6931793"/>
                <a:gd name="connsiteY34" fmla="*/ 1610828 h 2743892"/>
                <a:gd name="connsiteX35" fmla="*/ 4122366 w 6931793"/>
                <a:gd name="connsiteY35" fmla="*/ 1045613 h 2743892"/>
                <a:gd name="connsiteX36" fmla="*/ 3680484 w 6931793"/>
                <a:gd name="connsiteY36" fmla="*/ 1405296 h 2743892"/>
                <a:gd name="connsiteX37" fmla="*/ 2909760 w 6931793"/>
                <a:gd name="connsiteY37" fmla="*/ 1576573 h 2743892"/>
                <a:gd name="connsiteX38" fmla="*/ 2265777 w 6931793"/>
                <a:gd name="connsiteY38" fmla="*/ 1867745 h 2743892"/>
                <a:gd name="connsiteX39" fmla="*/ 1936935 w 6931793"/>
                <a:gd name="connsiteY39" fmla="*/ 1305955 h 2743892"/>
                <a:gd name="connsiteX40" fmla="*/ 1741685 w 6931793"/>
                <a:gd name="connsiteY40" fmla="*/ 1326508 h 2743892"/>
                <a:gd name="connsiteX41" fmla="*/ 1714281 w 6931793"/>
                <a:gd name="connsiteY41" fmla="*/ 1364189 h 2743892"/>
                <a:gd name="connsiteX42" fmla="*/ 1238144 w 6931793"/>
                <a:gd name="connsiteY42" fmla="*/ 1521764 h 2743892"/>
                <a:gd name="connsiteX43" fmla="*/ 946982 w 6931793"/>
                <a:gd name="connsiteY43" fmla="*/ 1552594 h 2743892"/>
                <a:gd name="connsiteX44" fmla="*/ 696925 w 6931793"/>
                <a:gd name="connsiteY44" fmla="*/ 1189486 h 2743892"/>
                <a:gd name="connsiteX45" fmla="*/ 142003 w 6931793"/>
                <a:gd name="connsiteY45" fmla="*/ 1103848 h 2743892"/>
                <a:gd name="connsiteX46" fmla="*/ 118025 w 6931793"/>
                <a:gd name="connsiteY46" fmla="*/ 737314 h 2743892"/>
                <a:gd name="connsiteX47" fmla="*/ 296148 w 6931793"/>
                <a:gd name="connsiteY47" fmla="*/ 360504 h 2743892"/>
                <a:gd name="connsiteX48" fmla="*/ 106237 w 6931793"/>
                <a:gd name="connsiteY48" fmla="*/ 20171 h 274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931793" h="2743892">
                  <a:moveTo>
                    <a:pt x="6266352" y="2627570"/>
                  </a:moveTo>
                  <a:cubicBezTo>
                    <a:pt x="6266352" y="2627570"/>
                    <a:pt x="6365449" y="2631001"/>
                    <a:pt x="6389369" y="2682467"/>
                  </a:cubicBezTo>
                  <a:cubicBezTo>
                    <a:pt x="6413290" y="2730502"/>
                    <a:pt x="6467964" y="2696191"/>
                    <a:pt x="6467964" y="2696191"/>
                  </a:cubicBezTo>
                  <a:cubicBezTo>
                    <a:pt x="6467964" y="2696191"/>
                    <a:pt x="6338112" y="2840295"/>
                    <a:pt x="6266352" y="2627570"/>
                  </a:cubicBezTo>
                  <a:close/>
                  <a:moveTo>
                    <a:pt x="3477848" y="2538670"/>
                  </a:moveTo>
                  <a:cubicBezTo>
                    <a:pt x="3477848" y="2538670"/>
                    <a:pt x="3600940" y="2689801"/>
                    <a:pt x="3378690" y="2727583"/>
                  </a:cubicBezTo>
                  <a:cubicBezTo>
                    <a:pt x="3378690" y="2727583"/>
                    <a:pt x="3399206" y="2631409"/>
                    <a:pt x="3450494" y="2614235"/>
                  </a:cubicBezTo>
                  <a:cubicBezTo>
                    <a:pt x="3501783" y="2597061"/>
                    <a:pt x="3477848" y="2538670"/>
                    <a:pt x="3477848" y="2538670"/>
                  </a:cubicBezTo>
                  <a:close/>
                  <a:moveTo>
                    <a:pt x="1541952" y="2460882"/>
                  </a:moveTo>
                  <a:cubicBezTo>
                    <a:pt x="1541952" y="2460882"/>
                    <a:pt x="1637749" y="2467693"/>
                    <a:pt x="1661698" y="2515369"/>
                  </a:cubicBezTo>
                  <a:cubicBezTo>
                    <a:pt x="1689069" y="2563046"/>
                    <a:pt x="1740389" y="2528991"/>
                    <a:pt x="1740389" y="2528991"/>
                  </a:cubicBezTo>
                  <a:cubicBezTo>
                    <a:pt x="1740389" y="2528991"/>
                    <a:pt x="1610378" y="2672020"/>
                    <a:pt x="1541952" y="2460882"/>
                  </a:cubicBezTo>
                  <a:close/>
                  <a:moveTo>
                    <a:pt x="2606752" y="2326566"/>
                  </a:moveTo>
                  <a:cubicBezTo>
                    <a:pt x="2632853" y="2326613"/>
                    <a:pt x="2733487" y="2334875"/>
                    <a:pt x="2673181" y="2464058"/>
                  </a:cubicBezTo>
                  <a:cubicBezTo>
                    <a:pt x="2673181" y="2464058"/>
                    <a:pt x="2624937" y="2412556"/>
                    <a:pt x="2635275" y="2374788"/>
                  </a:cubicBezTo>
                  <a:cubicBezTo>
                    <a:pt x="2645613" y="2337021"/>
                    <a:pt x="2600815" y="2326720"/>
                    <a:pt x="2600815" y="2326720"/>
                  </a:cubicBezTo>
                  <a:cubicBezTo>
                    <a:pt x="2600815" y="2326720"/>
                    <a:pt x="2603023" y="2326559"/>
                    <a:pt x="2606752" y="2326566"/>
                  </a:cubicBezTo>
                  <a:close/>
                  <a:moveTo>
                    <a:pt x="4824902" y="2014795"/>
                  </a:moveTo>
                  <a:cubicBezTo>
                    <a:pt x="4824902" y="2014795"/>
                    <a:pt x="4886814" y="2244983"/>
                    <a:pt x="4618527" y="2176270"/>
                  </a:cubicBezTo>
                  <a:cubicBezTo>
                    <a:pt x="4618527" y="2176270"/>
                    <a:pt x="4687319" y="2080072"/>
                    <a:pt x="4756110" y="2086943"/>
                  </a:cubicBezTo>
                  <a:cubicBezTo>
                    <a:pt x="4821462" y="2090379"/>
                    <a:pt x="4824902" y="2014795"/>
                    <a:pt x="4824902" y="2014795"/>
                  </a:cubicBezTo>
                  <a:close/>
                  <a:moveTo>
                    <a:pt x="6304819" y="1908432"/>
                  </a:moveTo>
                  <a:cubicBezTo>
                    <a:pt x="6304819" y="1908432"/>
                    <a:pt x="6321915" y="1987807"/>
                    <a:pt x="6233015" y="1960198"/>
                  </a:cubicBezTo>
                  <a:cubicBezTo>
                    <a:pt x="6233015" y="1960198"/>
                    <a:pt x="6260369" y="1929138"/>
                    <a:pt x="6280884" y="1932589"/>
                  </a:cubicBezTo>
                  <a:cubicBezTo>
                    <a:pt x="6304819" y="1936041"/>
                    <a:pt x="6304819" y="1908432"/>
                    <a:pt x="6304819" y="1908432"/>
                  </a:cubicBezTo>
                  <a:close/>
                  <a:moveTo>
                    <a:pt x="128197" y="0"/>
                  </a:moveTo>
                  <a:lnTo>
                    <a:pt x="6931793" y="0"/>
                  </a:lnTo>
                  <a:lnTo>
                    <a:pt x="6931793" y="1156072"/>
                  </a:lnTo>
                  <a:lnTo>
                    <a:pt x="6899328" y="1227596"/>
                  </a:lnTo>
                  <a:cubicBezTo>
                    <a:pt x="6860149" y="1324582"/>
                    <a:pt x="6811337" y="1421567"/>
                    <a:pt x="6585258" y="1408721"/>
                  </a:cubicBezTo>
                  <a:cubicBezTo>
                    <a:pt x="6506472" y="1405296"/>
                    <a:pt x="6413986" y="1395019"/>
                    <a:pt x="6324924" y="1377891"/>
                  </a:cubicBezTo>
                  <a:cubicBezTo>
                    <a:pt x="6352328" y="1425849"/>
                    <a:pt x="6355753" y="1480658"/>
                    <a:pt x="6304372" y="1545743"/>
                  </a:cubicBezTo>
                  <a:cubicBezTo>
                    <a:pt x="6109121" y="1792383"/>
                    <a:pt x="5585029" y="1744425"/>
                    <a:pt x="5495968" y="1494360"/>
                  </a:cubicBezTo>
                  <a:cubicBezTo>
                    <a:pt x="5430884" y="1305955"/>
                    <a:pt x="5208230" y="1395019"/>
                    <a:pt x="4975300" y="1367615"/>
                  </a:cubicBezTo>
                  <a:cubicBezTo>
                    <a:pt x="4797178" y="1487509"/>
                    <a:pt x="4999278" y="1675914"/>
                    <a:pt x="4454634" y="1610828"/>
                  </a:cubicBezTo>
                  <a:cubicBezTo>
                    <a:pt x="3820927" y="1532041"/>
                    <a:pt x="4478612" y="1066167"/>
                    <a:pt x="4122366" y="1045613"/>
                  </a:cubicBezTo>
                  <a:cubicBezTo>
                    <a:pt x="3800374" y="1028486"/>
                    <a:pt x="3968221" y="1353913"/>
                    <a:pt x="3680484" y="1405296"/>
                  </a:cubicBezTo>
                  <a:cubicBezTo>
                    <a:pt x="3587997" y="1645084"/>
                    <a:pt x="3272857" y="1477232"/>
                    <a:pt x="2909760" y="1576573"/>
                  </a:cubicBezTo>
                  <a:cubicBezTo>
                    <a:pt x="2526110" y="1679339"/>
                    <a:pt x="2899483" y="1946532"/>
                    <a:pt x="2265777" y="1867745"/>
                  </a:cubicBezTo>
                  <a:cubicBezTo>
                    <a:pt x="1635496" y="1792383"/>
                    <a:pt x="2293180" y="1326508"/>
                    <a:pt x="1936935" y="1305955"/>
                  </a:cubicBezTo>
                  <a:cubicBezTo>
                    <a:pt x="1865000" y="1302529"/>
                    <a:pt x="1799917" y="1309380"/>
                    <a:pt x="1741685" y="1326508"/>
                  </a:cubicBezTo>
                  <a:cubicBezTo>
                    <a:pt x="1734834" y="1340210"/>
                    <a:pt x="1724557" y="1350487"/>
                    <a:pt x="1714281" y="1364189"/>
                  </a:cubicBezTo>
                  <a:cubicBezTo>
                    <a:pt x="1611518" y="1497785"/>
                    <a:pt x="1412842" y="1542317"/>
                    <a:pt x="1238144" y="1521764"/>
                  </a:cubicBezTo>
                  <a:cubicBezTo>
                    <a:pt x="1152508" y="1542317"/>
                    <a:pt x="1056596" y="1556020"/>
                    <a:pt x="946982" y="1552594"/>
                  </a:cubicBezTo>
                  <a:cubicBezTo>
                    <a:pt x="563333" y="1528615"/>
                    <a:pt x="494824" y="1309380"/>
                    <a:pt x="696925" y="1189486"/>
                  </a:cubicBezTo>
                  <a:cubicBezTo>
                    <a:pt x="542780" y="1186061"/>
                    <a:pt x="326977" y="1227167"/>
                    <a:pt x="142003" y="1103848"/>
                  </a:cubicBezTo>
                  <a:cubicBezTo>
                    <a:pt x="-162861" y="898315"/>
                    <a:pt x="118025" y="737314"/>
                    <a:pt x="118025" y="737314"/>
                  </a:cubicBezTo>
                  <a:cubicBezTo>
                    <a:pt x="-128606" y="374207"/>
                    <a:pt x="296148" y="360504"/>
                    <a:pt x="296148" y="360504"/>
                  </a:cubicBezTo>
                  <a:cubicBezTo>
                    <a:pt x="90622" y="198647"/>
                    <a:pt x="61881" y="91225"/>
                    <a:pt x="106237" y="2017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4B18E03-FAB9-45AA-BCDE-57D5FF615FEF}"/>
                </a:ext>
              </a:extLst>
            </p:cNvPr>
            <p:cNvSpPr/>
            <p:nvPr userDrawn="1"/>
          </p:nvSpPr>
          <p:spPr>
            <a:xfrm>
              <a:off x="4285646" y="4185945"/>
              <a:ext cx="7906354" cy="1370792"/>
            </a:xfrm>
            <a:custGeom>
              <a:avLst/>
              <a:gdLst>
                <a:gd name="connsiteX0" fmla="*/ 5883467 w 7906354"/>
                <a:gd name="connsiteY0" fmla="*/ 2019 h 1370792"/>
                <a:gd name="connsiteX1" fmla="*/ 7627016 w 7906354"/>
                <a:gd name="connsiteY1" fmla="*/ 44628 h 1370792"/>
                <a:gd name="connsiteX2" fmla="*/ 7906354 w 7906354"/>
                <a:gd name="connsiteY2" fmla="*/ 62273 h 1370792"/>
                <a:gd name="connsiteX3" fmla="*/ 7906354 w 7906354"/>
                <a:gd name="connsiteY3" fmla="*/ 1189343 h 1370792"/>
                <a:gd name="connsiteX4" fmla="*/ 7844504 w 7906354"/>
                <a:gd name="connsiteY4" fmla="*/ 1208648 h 1370792"/>
                <a:gd name="connsiteX5" fmla="*/ 6160692 w 7906354"/>
                <a:gd name="connsiteY5" fmla="*/ 1200861 h 1370792"/>
                <a:gd name="connsiteX6" fmla="*/ 4310820 w 7906354"/>
                <a:gd name="connsiteY6" fmla="*/ 1104321 h 1370792"/>
                <a:gd name="connsiteX7" fmla="*/ 3025990 w 7906354"/>
                <a:gd name="connsiteY7" fmla="*/ 1256230 h 1370792"/>
                <a:gd name="connsiteX8" fmla="*/ 1336544 w 7906354"/>
                <a:gd name="connsiteY8" fmla="*/ 1104321 h 1370792"/>
                <a:gd name="connsiteX9" fmla="*/ 190845 w 7906354"/>
                <a:gd name="connsiteY9" fmla="*/ 712484 h 1370792"/>
                <a:gd name="connsiteX10" fmla="*/ 58812 w 7906354"/>
                <a:gd name="connsiteY10" fmla="*/ 295090 h 1370792"/>
                <a:gd name="connsiteX11" fmla="*/ 1377715 w 7906354"/>
                <a:gd name="connsiteY11" fmla="*/ 62259 h 1370792"/>
                <a:gd name="connsiteX12" fmla="*/ 5883467 w 7906354"/>
                <a:gd name="connsiteY12" fmla="*/ 2019 h 13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6354" h="1370792">
                  <a:moveTo>
                    <a:pt x="5883467" y="2019"/>
                  </a:moveTo>
                  <a:cubicBezTo>
                    <a:pt x="6515304" y="6574"/>
                    <a:pt x="7120725" y="19282"/>
                    <a:pt x="7627016" y="44628"/>
                  </a:cubicBezTo>
                  <a:lnTo>
                    <a:pt x="7906354" y="62273"/>
                  </a:lnTo>
                  <a:lnTo>
                    <a:pt x="7906354" y="1189343"/>
                  </a:lnTo>
                  <a:lnTo>
                    <a:pt x="7844504" y="1208648"/>
                  </a:lnTo>
                  <a:cubicBezTo>
                    <a:pt x="7458123" y="1303080"/>
                    <a:pt x="6500357" y="1274331"/>
                    <a:pt x="6160692" y="1200861"/>
                  </a:cubicBezTo>
                  <a:cubicBezTo>
                    <a:pt x="5707808" y="1102902"/>
                    <a:pt x="4884380" y="1277525"/>
                    <a:pt x="4310820" y="1104321"/>
                  </a:cubicBezTo>
                  <a:cubicBezTo>
                    <a:pt x="3737261" y="931118"/>
                    <a:pt x="3064322" y="1040435"/>
                    <a:pt x="3025990" y="1256230"/>
                  </a:cubicBezTo>
                  <a:cubicBezTo>
                    <a:pt x="2987658" y="1472024"/>
                    <a:pt x="839648" y="1361288"/>
                    <a:pt x="1336544" y="1104321"/>
                  </a:cubicBezTo>
                  <a:cubicBezTo>
                    <a:pt x="1833440" y="848775"/>
                    <a:pt x="643730" y="837417"/>
                    <a:pt x="190845" y="712484"/>
                  </a:cubicBezTo>
                  <a:cubicBezTo>
                    <a:pt x="-262040" y="587550"/>
                    <a:pt x="260410" y="525083"/>
                    <a:pt x="58812" y="295090"/>
                  </a:cubicBezTo>
                  <a:cubicBezTo>
                    <a:pt x="-142785" y="65099"/>
                    <a:pt x="1377715" y="62259"/>
                    <a:pt x="1377715" y="62259"/>
                  </a:cubicBezTo>
                  <a:cubicBezTo>
                    <a:pt x="1377715" y="62259"/>
                    <a:pt x="3777345" y="-13163"/>
                    <a:pt x="5883467" y="2019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3D105D8-9D33-4C4B-BB5B-94B44025ED05}"/>
                </a:ext>
              </a:extLst>
            </p:cNvPr>
            <p:cNvSpPr/>
            <p:nvPr userDrawn="1"/>
          </p:nvSpPr>
          <p:spPr>
            <a:xfrm>
              <a:off x="5149429" y="3378554"/>
              <a:ext cx="908609" cy="1519081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2ACD060-C4F0-4FCD-A885-6AAB0E7CBFEF}"/>
                </a:ext>
              </a:extLst>
            </p:cNvPr>
            <p:cNvSpPr/>
            <p:nvPr userDrawn="1"/>
          </p:nvSpPr>
          <p:spPr>
            <a:xfrm>
              <a:off x="10028314" y="3789710"/>
              <a:ext cx="1178353" cy="809230"/>
            </a:xfrm>
            <a:custGeom>
              <a:avLst/>
              <a:gdLst>
                <a:gd name="connsiteX0" fmla="*/ 114207 w 1178352"/>
                <a:gd name="connsiteY0" fmla="*/ 609610 h 809230"/>
                <a:gd name="connsiteX1" fmla="*/ 114207 w 1178352"/>
                <a:gd name="connsiteY1" fmla="*/ 287338 h 809230"/>
                <a:gd name="connsiteX2" fmla="*/ 398148 w 1178352"/>
                <a:gd name="connsiteY2" fmla="*/ 3397 h 809230"/>
                <a:gd name="connsiteX3" fmla="*/ 594066 w 1178352"/>
                <a:gd name="connsiteY3" fmla="*/ 239068 h 809230"/>
                <a:gd name="connsiteX4" fmla="*/ 808441 w 1178352"/>
                <a:gd name="connsiteY4" fmla="*/ 415111 h 809230"/>
                <a:gd name="connsiteX5" fmla="*/ 1002941 w 1178352"/>
                <a:gd name="connsiteY5" fmla="*/ 608190 h 809230"/>
                <a:gd name="connsiteX6" fmla="*/ 1152009 w 1178352"/>
                <a:gd name="connsiteY6" fmla="*/ 777135 h 809230"/>
                <a:gd name="connsiteX7" fmla="*/ 233462 w 1178352"/>
                <a:gd name="connsiteY7" fmla="*/ 801270 h 809230"/>
                <a:gd name="connsiteX8" fmla="*/ 114207 w 1178352"/>
                <a:gd name="connsiteY8" fmla="*/ 609610 h 8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8352" h="809230">
                  <a:moveTo>
                    <a:pt x="114207" y="609610"/>
                  </a:moveTo>
                  <a:cubicBezTo>
                    <a:pt x="114207" y="609610"/>
                    <a:pt x="-142759" y="373939"/>
                    <a:pt x="114207" y="287338"/>
                  </a:cubicBezTo>
                  <a:cubicBezTo>
                    <a:pt x="371173" y="200736"/>
                    <a:pt x="280313" y="-30676"/>
                    <a:pt x="398148" y="3397"/>
                  </a:cubicBezTo>
                  <a:cubicBezTo>
                    <a:pt x="515983" y="38890"/>
                    <a:pt x="446417" y="229130"/>
                    <a:pt x="594066" y="239068"/>
                  </a:cubicBezTo>
                  <a:cubicBezTo>
                    <a:pt x="741716" y="249006"/>
                    <a:pt x="805602" y="237648"/>
                    <a:pt x="808441" y="415111"/>
                  </a:cubicBezTo>
                  <a:cubicBezTo>
                    <a:pt x="811281" y="592574"/>
                    <a:pt x="849613" y="525848"/>
                    <a:pt x="1002941" y="608190"/>
                  </a:cubicBezTo>
                  <a:cubicBezTo>
                    <a:pt x="1156268" y="690533"/>
                    <a:pt x="1232932" y="721766"/>
                    <a:pt x="1152009" y="777135"/>
                  </a:cubicBezTo>
                  <a:cubicBezTo>
                    <a:pt x="1072506" y="831084"/>
                    <a:pt x="233462" y="801270"/>
                    <a:pt x="233462" y="801270"/>
                  </a:cubicBezTo>
                  <a:lnTo>
                    <a:pt x="114207" y="609610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64D2D76-1418-41B0-8393-E442B4A645B8}"/>
                </a:ext>
              </a:extLst>
            </p:cNvPr>
            <p:cNvSpPr/>
            <p:nvPr userDrawn="1"/>
          </p:nvSpPr>
          <p:spPr>
            <a:xfrm>
              <a:off x="5760542" y="4315090"/>
              <a:ext cx="1135762" cy="425911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B34171C-E22A-4E16-9C64-99C959585410}"/>
                </a:ext>
              </a:extLst>
            </p:cNvPr>
            <p:cNvSpPr/>
            <p:nvPr userDrawn="1"/>
          </p:nvSpPr>
          <p:spPr>
            <a:xfrm>
              <a:off x="7270464" y="3382813"/>
              <a:ext cx="1334520" cy="1476490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087A8AF-4967-43F8-BB37-FF9D3E91AF9B}"/>
                </a:ext>
              </a:extLst>
            </p:cNvPr>
            <p:cNvSpPr/>
            <p:nvPr userDrawn="1"/>
          </p:nvSpPr>
          <p:spPr>
            <a:xfrm>
              <a:off x="7614031" y="3382813"/>
              <a:ext cx="525290" cy="1476490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98C6D4AA-EB22-4FA8-AF8A-528E729367D8}"/>
                </a:ext>
              </a:extLst>
            </p:cNvPr>
            <p:cNvSpPr/>
            <p:nvPr userDrawn="1"/>
          </p:nvSpPr>
          <p:spPr>
            <a:xfrm>
              <a:off x="5390778" y="3378554"/>
              <a:ext cx="2541267" cy="1476490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215D36C-9016-43FD-946B-525783A0268B}"/>
                </a:ext>
              </a:extLst>
            </p:cNvPr>
            <p:cNvSpPr/>
            <p:nvPr userDrawn="1"/>
          </p:nvSpPr>
          <p:spPr>
            <a:xfrm>
              <a:off x="7070286" y="3378554"/>
              <a:ext cx="866018" cy="1519081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F48C931B-8B4B-4B99-90C7-2D276E2040B3}"/>
                </a:ext>
              </a:extLst>
            </p:cNvPr>
            <p:cNvSpPr/>
            <p:nvPr userDrawn="1"/>
          </p:nvSpPr>
          <p:spPr>
            <a:xfrm>
              <a:off x="7936304" y="3378554"/>
              <a:ext cx="993791" cy="1490687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EDEA0CC-7B65-4066-8953-C0A73BCC7DB6}"/>
                </a:ext>
              </a:extLst>
            </p:cNvPr>
            <p:cNvSpPr/>
            <p:nvPr userDrawn="1"/>
          </p:nvSpPr>
          <p:spPr>
            <a:xfrm>
              <a:off x="10409425" y="3294596"/>
              <a:ext cx="1782575" cy="1573226"/>
            </a:xfrm>
            <a:custGeom>
              <a:avLst/>
              <a:gdLst>
                <a:gd name="connsiteX0" fmla="*/ 412072 w 1782575"/>
                <a:gd name="connsiteY0" fmla="*/ 150 h 1573226"/>
                <a:gd name="connsiteX1" fmla="*/ 1720443 w 1782575"/>
                <a:gd name="connsiteY1" fmla="*/ 600871 h 1573226"/>
                <a:gd name="connsiteX2" fmla="*/ 1782575 w 1782575"/>
                <a:gd name="connsiteY2" fmla="*/ 682726 h 1573226"/>
                <a:gd name="connsiteX3" fmla="*/ 1782575 w 1782575"/>
                <a:gd name="connsiteY3" fmla="*/ 1573226 h 1573226"/>
                <a:gd name="connsiteX4" fmla="*/ 938423 w 1782575"/>
                <a:gd name="connsiteY4" fmla="*/ 1573226 h 1573226"/>
                <a:gd name="connsiteX5" fmla="*/ 0 w 1782575"/>
                <a:gd name="connsiteY5" fmla="*/ 38528 h 1573226"/>
                <a:gd name="connsiteX6" fmla="*/ 412072 w 1782575"/>
                <a:gd name="connsiteY6" fmla="*/ 150 h 157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2575" h="1573226">
                  <a:moveTo>
                    <a:pt x="412072" y="150"/>
                  </a:moveTo>
                  <a:cubicBezTo>
                    <a:pt x="778544" y="4556"/>
                    <a:pt x="1317269" y="108532"/>
                    <a:pt x="1720443" y="600871"/>
                  </a:cubicBezTo>
                  <a:lnTo>
                    <a:pt x="1782575" y="682726"/>
                  </a:lnTo>
                  <a:lnTo>
                    <a:pt x="1782575" y="1573226"/>
                  </a:lnTo>
                  <a:lnTo>
                    <a:pt x="938423" y="1573226"/>
                  </a:lnTo>
                  <a:lnTo>
                    <a:pt x="0" y="38528"/>
                  </a:lnTo>
                  <a:cubicBezTo>
                    <a:pt x="0" y="38528"/>
                    <a:pt x="167758" y="-2788"/>
                    <a:pt x="412072" y="150"/>
                  </a:cubicBezTo>
                  <a:close/>
                </a:path>
              </a:pathLst>
            </a:custGeom>
            <a:solidFill>
              <a:srgbClr val="F9DB5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D714F01-DF53-4330-BE26-EFEC12FF1028}"/>
                </a:ext>
              </a:extLst>
            </p:cNvPr>
            <p:cNvSpPr/>
            <p:nvPr userDrawn="1"/>
          </p:nvSpPr>
          <p:spPr>
            <a:xfrm>
              <a:off x="9239590" y="3333124"/>
              <a:ext cx="2101159" cy="1533278"/>
            </a:xfrm>
            <a:custGeom>
              <a:avLst/>
              <a:gdLst>
                <a:gd name="connsiteX0" fmla="*/ 1169834 w 2101158"/>
                <a:gd name="connsiteY0" fmla="*/ 0 h 1533278"/>
                <a:gd name="connsiteX1" fmla="*/ 0 w 2101158"/>
                <a:gd name="connsiteY1" fmla="*/ 1534698 h 1533278"/>
                <a:gd name="connsiteX2" fmla="*/ 1169834 w 2101158"/>
                <a:gd name="connsiteY2" fmla="*/ 1534698 h 1533278"/>
                <a:gd name="connsiteX3" fmla="*/ 2108258 w 2101158"/>
                <a:gd name="connsiteY3" fmla="*/ 1534698 h 1533278"/>
                <a:gd name="connsiteX4" fmla="*/ 1169834 w 2101158"/>
                <a:gd name="connsiteY4" fmla="*/ 0 h 153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158" h="1533278">
                  <a:moveTo>
                    <a:pt x="1169834" y="0"/>
                  </a:moveTo>
                  <a:cubicBezTo>
                    <a:pt x="315174" y="354926"/>
                    <a:pt x="0" y="1534698"/>
                    <a:pt x="0" y="1534698"/>
                  </a:cubicBezTo>
                  <a:lnTo>
                    <a:pt x="1169834" y="1534698"/>
                  </a:lnTo>
                  <a:lnTo>
                    <a:pt x="2108258" y="1534698"/>
                  </a:lnTo>
                  <a:cubicBezTo>
                    <a:pt x="2108258" y="1534698"/>
                    <a:pt x="1973386" y="577819"/>
                    <a:pt x="1169834" y="0"/>
                  </a:cubicBezTo>
                  <a:close/>
                </a:path>
              </a:pathLst>
            </a:custGeom>
            <a:solidFill>
              <a:srgbClr val="F5BB1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14FF372-080D-4DB7-B07C-E2135D26325D}"/>
                </a:ext>
              </a:extLst>
            </p:cNvPr>
            <p:cNvSpPr/>
            <p:nvPr userDrawn="1"/>
          </p:nvSpPr>
          <p:spPr>
            <a:xfrm>
              <a:off x="9560443" y="3829388"/>
              <a:ext cx="1320323" cy="1036383"/>
            </a:xfrm>
            <a:custGeom>
              <a:avLst/>
              <a:gdLst>
                <a:gd name="connsiteX0" fmla="*/ 0 w 1320322"/>
                <a:gd name="connsiteY0" fmla="*/ 1038433 h 1036382"/>
                <a:gd name="connsiteX1" fmla="*/ 1327421 w 1320322"/>
                <a:gd name="connsiteY1" fmla="*/ 1038433 h 1036382"/>
                <a:gd name="connsiteX2" fmla="*/ 787935 w 1320322"/>
                <a:gd name="connsiteY2" fmla="*/ 631 h 1036382"/>
                <a:gd name="connsiteX3" fmla="*/ 742504 w 1320322"/>
                <a:gd name="connsiteY3" fmla="*/ 631 h 1036382"/>
                <a:gd name="connsiteX4" fmla="*/ 0 w 1320322"/>
                <a:gd name="connsiteY4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22" h="1036382">
                  <a:moveTo>
                    <a:pt x="0" y="1038433"/>
                  </a:moveTo>
                  <a:lnTo>
                    <a:pt x="1327421" y="1038433"/>
                  </a:lnTo>
                  <a:cubicBezTo>
                    <a:pt x="1327421" y="1038433"/>
                    <a:pt x="1327421" y="223524"/>
                    <a:pt x="787935" y="631"/>
                  </a:cubicBezTo>
                  <a:cubicBezTo>
                    <a:pt x="787935" y="631"/>
                    <a:pt x="770898" y="-789"/>
                    <a:pt x="742504" y="631"/>
                  </a:cubicBezTo>
                  <a:cubicBezTo>
                    <a:pt x="596275" y="7730"/>
                    <a:pt x="137711" y="108528"/>
                    <a:pt x="0" y="1038433"/>
                  </a:cubicBezTo>
                  <a:close/>
                </a:path>
              </a:pathLst>
            </a:custGeom>
            <a:solidFill>
              <a:srgbClr val="CC5C3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09E94B99-4B3C-4002-A38B-42A7F591FFF8}"/>
                </a:ext>
              </a:extLst>
            </p:cNvPr>
            <p:cNvSpPr/>
            <p:nvPr userDrawn="1"/>
          </p:nvSpPr>
          <p:spPr>
            <a:xfrm>
              <a:off x="9087682" y="3238004"/>
              <a:ext cx="2370902" cy="1618460"/>
            </a:xfrm>
            <a:custGeom>
              <a:avLst/>
              <a:gdLst>
                <a:gd name="connsiteX0" fmla="*/ 5679 w 2370902"/>
                <a:gd name="connsiteY0" fmla="*/ 1629818 h 1618460"/>
                <a:gd name="connsiteX1" fmla="*/ 762380 w 2370902"/>
                <a:gd name="connsiteY1" fmla="*/ 346407 h 1618460"/>
                <a:gd name="connsiteX2" fmla="*/ 1320323 w 2370902"/>
                <a:gd name="connsiteY2" fmla="*/ 7099 h 1618460"/>
                <a:gd name="connsiteX3" fmla="*/ 2209056 w 2370902"/>
                <a:gd name="connsiteY3" fmla="*/ 1037802 h 1618460"/>
                <a:gd name="connsiteX4" fmla="*/ 2373742 w 2370902"/>
                <a:gd name="connsiteY4" fmla="*/ 1629818 h 1618460"/>
                <a:gd name="connsiteX5" fmla="*/ 2379420 w 2370902"/>
                <a:gd name="connsiteY5" fmla="*/ 1629818 h 1618460"/>
                <a:gd name="connsiteX6" fmla="*/ 2213315 w 2370902"/>
                <a:gd name="connsiteY6" fmla="*/ 1036383 h 1618460"/>
                <a:gd name="connsiteX7" fmla="*/ 1895302 w 2370902"/>
                <a:gd name="connsiteY7" fmla="*/ 503994 h 1618460"/>
                <a:gd name="connsiteX8" fmla="*/ 1323162 w 2370902"/>
                <a:gd name="connsiteY8" fmla="*/ 1420 h 1618460"/>
                <a:gd name="connsiteX9" fmla="*/ 1321742 w 2370902"/>
                <a:gd name="connsiteY9" fmla="*/ 0 h 1618460"/>
                <a:gd name="connsiteX10" fmla="*/ 1320323 w 2370902"/>
                <a:gd name="connsiteY10" fmla="*/ 0 h 1618460"/>
                <a:gd name="connsiteX11" fmla="*/ 758121 w 2370902"/>
                <a:gd name="connsiteY11" fmla="*/ 340729 h 1618460"/>
                <a:gd name="connsiteX12" fmla="*/ 316593 w 2370902"/>
                <a:gd name="connsiteY12" fmla="*/ 840464 h 1618460"/>
                <a:gd name="connsiteX13" fmla="*/ 0 w 2370902"/>
                <a:gd name="connsiteY13" fmla="*/ 1626979 h 1618460"/>
                <a:gd name="connsiteX14" fmla="*/ 5679 w 2370902"/>
                <a:gd name="connsiteY14" fmla="*/ 1629818 h 161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70902" h="1618460">
                  <a:moveTo>
                    <a:pt x="5679" y="1629818"/>
                  </a:moveTo>
                  <a:cubicBezTo>
                    <a:pt x="140550" y="979594"/>
                    <a:pt x="491217" y="572140"/>
                    <a:pt x="762380" y="346407"/>
                  </a:cubicBezTo>
                  <a:cubicBezTo>
                    <a:pt x="1044900" y="110737"/>
                    <a:pt x="1300447" y="15617"/>
                    <a:pt x="1320323" y="7099"/>
                  </a:cubicBezTo>
                  <a:cubicBezTo>
                    <a:pt x="1818638" y="309495"/>
                    <a:pt x="2078444" y="733986"/>
                    <a:pt x="2209056" y="1037802"/>
                  </a:cubicBezTo>
                  <a:cubicBezTo>
                    <a:pt x="2351026" y="1367173"/>
                    <a:pt x="2373742" y="1626979"/>
                    <a:pt x="2373742" y="1629818"/>
                  </a:cubicBezTo>
                  <a:lnTo>
                    <a:pt x="2379420" y="1629818"/>
                  </a:lnTo>
                  <a:cubicBezTo>
                    <a:pt x="2379420" y="1626979"/>
                    <a:pt x="2355286" y="1365753"/>
                    <a:pt x="2213315" y="1036383"/>
                  </a:cubicBezTo>
                  <a:cubicBezTo>
                    <a:pt x="2129553" y="843303"/>
                    <a:pt x="2023075" y="664421"/>
                    <a:pt x="1895302" y="503994"/>
                  </a:cubicBezTo>
                  <a:cubicBezTo>
                    <a:pt x="1737715" y="303816"/>
                    <a:pt x="1544636" y="134872"/>
                    <a:pt x="1323162" y="1420"/>
                  </a:cubicBezTo>
                  <a:lnTo>
                    <a:pt x="1321742" y="0"/>
                  </a:lnTo>
                  <a:lnTo>
                    <a:pt x="1320323" y="0"/>
                  </a:lnTo>
                  <a:cubicBezTo>
                    <a:pt x="1317483" y="1420"/>
                    <a:pt x="1051999" y="93700"/>
                    <a:pt x="758121" y="340729"/>
                  </a:cubicBezTo>
                  <a:cubicBezTo>
                    <a:pt x="584917" y="485538"/>
                    <a:pt x="437268" y="653063"/>
                    <a:pt x="316593" y="840464"/>
                  </a:cubicBezTo>
                  <a:cubicBezTo>
                    <a:pt x="166105" y="1074714"/>
                    <a:pt x="59627" y="1340199"/>
                    <a:pt x="0" y="1626979"/>
                  </a:cubicBezTo>
                  <a:lnTo>
                    <a:pt x="5679" y="1629818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D90F39F-00B1-402F-A96C-AB29C7B37CAB}"/>
                </a:ext>
              </a:extLst>
            </p:cNvPr>
            <p:cNvSpPr/>
            <p:nvPr userDrawn="1"/>
          </p:nvSpPr>
          <p:spPr>
            <a:xfrm>
              <a:off x="10406585" y="3216857"/>
              <a:ext cx="1785415" cy="573525"/>
            </a:xfrm>
            <a:custGeom>
              <a:avLst/>
              <a:gdLst>
                <a:gd name="connsiteX0" fmla="*/ 312512 w 1785415"/>
                <a:gd name="connsiteY0" fmla="*/ 29 h 573525"/>
                <a:gd name="connsiteX1" fmla="*/ 1013667 w 1785415"/>
                <a:gd name="connsiteY1" fmla="*/ 97811 h 573525"/>
                <a:gd name="connsiteX2" fmla="*/ 1624183 w 1785415"/>
                <a:gd name="connsiteY2" fmla="*/ 413451 h 573525"/>
                <a:gd name="connsiteX3" fmla="*/ 1785415 w 1785415"/>
                <a:gd name="connsiteY3" fmla="*/ 561757 h 573525"/>
                <a:gd name="connsiteX4" fmla="*/ 1785415 w 1785415"/>
                <a:gd name="connsiteY4" fmla="*/ 573525 h 573525"/>
                <a:gd name="connsiteX5" fmla="*/ 1765755 w 1785415"/>
                <a:gd name="connsiteY5" fmla="*/ 551938 h 573525"/>
                <a:gd name="connsiteX6" fmla="*/ 1012247 w 1785415"/>
                <a:gd name="connsiteY6" fmla="*/ 103490 h 573525"/>
                <a:gd name="connsiteX7" fmla="*/ 1420 w 1785415"/>
                <a:gd name="connsiteY7" fmla="*/ 28246 h 573525"/>
                <a:gd name="connsiteX8" fmla="*/ 0 w 1785415"/>
                <a:gd name="connsiteY8" fmla="*/ 22567 h 573525"/>
                <a:gd name="connsiteX9" fmla="*/ 312512 w 1785415"/>
                <a:gd name="connsiteY9" fmla="*/ 29 h 5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5415" h="573525">
                  <a:moveTo>
                    <a:pt x="312512" y="29"/>
                  </a:moveTo>
                  <a:cubicBezTo>
                    <a:pt x="499735" y="-859"/>
                    <a:pt x="751732" y="18308"/>
                    <a:pt x="1013667" y="97811"/>
                  </a:cubicBezTo>
                  <a:cubicBezTo>
                    <a:pt x="1244724" y="168086"/>
                    <a:pt x="1449427" y="273499"/>
                    <a:pt x="1624183" y="413451"/>
                  </a:cubicBezTo>
                  <a:lnTo>
                    <a:pt x="1785415" y="561757"/>
                  </a:lnTo>
                  <a:lnTo>
                    <a:pt x="1785415" y="573525"/>
                  </a:lnTo>
                  <a:lnTo>
                    <a:pt x="1765755" y="551938"/>
                  </a:lnTo>
                  <a:cubicBezTo>
                    <a:pt x="1527955" y="310057"/>
                    <a:pt x="1253597" y="176605"/>
                    <a:pt x="1012247" y="103490"/>
                  </a:cubicBezTo>
                  <a:cubicBezTo>
                    <a:pt x="489797" y="-55517"/>
                    <a:pt x="5679" y="26826"/>
                    <a:pt x="1420" y="28246"/>
                  </a:cubicBezTo>
                  <a:lnTo>
                    <a:pt x="0" y="22567"/>
                  </a:lnTo>
                  <a:cubicBezTo>
                    <a:pt x="2840" y="21857"/>
                    <a:pt x="125289" y="916"/>
                    <a:pt x="312512" y="29"/>
                  </a:cubicBez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6DD1B4C-B8D8-487D-BADA-BC4A27D03587}"/>
                </a:ext>
              </a:extLst>
            </p:cNvPr>
            <p:cNvSpPr/>
            <p:nvPr userDrawn="1"/>
          </p:nvSpPr>
          <p:spPr>
            <a:xfrm>
              <a:off x="7065222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1C9B1DA-D062-41C0-AB98-D92D9826CF6F}"/>
                </a:ext>
              </a:extLst>
            </p:cNvPr>
            <p:cNvSpPr/>
            <p:nvPr userDrawn="1"/>
          </p:nvSpPr>
          <p:spPr>
            <a:xfrm>
              <a:off x="8916162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4EB8B84-4A9A-4B06-B068-B6BFEB55CC93}"/>
                </a:ext>
              </a:extLst>
            </p:cNvPr>
            <p:cNvSpPr/>
            <p:nvPr userDrawn="1"/>
          </p:nvSpPr>
          <p:spPr>
            <a:xfrm>
              <a:off x="9077375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9A88AEB2-5BF3-4A4E-85EA-EDF4DBCBB12D}"/>
                </a:ext>
              </a:extLst>
            </p:cNvPr>
            <p:cNvSpPr/>
            <p:nvPr userDrawn="1"/>
          </p:nvSpPr>
          <p:spPr>
            <a:xfrm>
              <a:off x="5159100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878419" y="1510406"/>
            <a:ext cx="6428929" cy="2590838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878419" y="4785970"/>
            <a:ext cx="642892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78421" y="4489699"/>
            <a:ext cx="642892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github.com/yuequan1997/learn-rust-with-me" TargetMode="Externa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41488" y="4423823"/>
            <a:ext cx="5454512" cy="558799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cs typeface="+mn-ea"/>
                <a:sym typeface="+mn-lt"/>
              </a:rPr>
              <a:t>作者：月泉</a:t>
            </a:r>
            <a:endParaRPr lang="en-US" altLang="zh-CN" sz="2000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41488" y="527422"/>
            <a:ext cx="5454512" cy="3255637"/>
          </a:xfrm>
        </p:spPr>
        <p:txBody>
          <a:bodyPr>
            <a:normAutofit/>
          </a:bodyPr>
          <a:lstStyle/>
          <a:p>
            <a:r>
              <a:rPr lang="zh-CN" altLang="en-US" sz="4800" dirty="0">
                <a:latin typeface="+mn-lt"/>
                <a:ea typeface="+mn-ea"/>
                <a:cs typeface="+mn-ea"/>
                <a:sym typeface="+mn-lt"/>
              </a:rPr>
              <a:t>跟我学</a:t>
            </a:r>
            <a:r>
              <a:rPr lang="en-US" altLang="zh-CN" sz="4800" dirty="0">
                <a:latin typeface="+mn-lt"/>
                <a:ea typeface="+mn-ea"/>
                <a:cs typeface="+mn-ea"/>
                <a:sym typeface="+mn-lt"/>
              </a:rPr>
              <a:t>Rust</a:t>
            </a:r>
            <a:br>
              <a:rPr lang="en-US" altLang="zh-CN" sz="4800" dirty="0">
                <a:latin typeface="+mn-lt"/>
                <a:ea typeface="+mn-ea"/>
                <a:cs typeface="+mn-ea"/>
                <a:sym typeface="+mn-lt"/>
              </a:rPr>
            </a:br>
            <a:br>
              <a:rPr lang="en-US" altLang="zh-CN" sz="44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3600" b="0" dirty="0">
                <a:latin typeface="+mn-lt"/>
                <a:ea typeface="+mn-ea"/>
                <a:cs typeface="+mn-ea"/>
                <a:sym typeface="+mn-lt"/>
              </a:rPr>
              <a:t>第四节</a:t>
            </a:r>
            <a:r>
              <a:rPr lang="en-US" altLang="zh-CN" sz="3600" b="0" dirty="0">
                <a:latin typeface="+mn-lt"/>
                <a:ea typeface="+mn-ea"/>
                <a:cs typeface="+mn-ea"/>
                <a:sym typeface="+mn-lt"/>
              </a:rPr>
              <a:t>——Struct/Trait</a:t>
            </a:r>
            <a:endParaRPr lang="zh-CN" altLang="en-US" sz="4400" b="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200" spc="300" dirty="0">
                <a:cs typeface="+mn-ea"/>
                <a:sym typeface="+mn-lt"/>
              </a:rPr>
              <a:t>分享知识，提升自己。</a:t>
            </a:r>
            <a:endParaRPr lang="en-US" altLang="zh-CN" sz="1200" spc="300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1200" spc="300" dirty="0">
                <a:cs typeface="+mn-ea"/>
                <a:sym typeface="+mn-lt"/>
              </a:rPr>
              <a:t>www.lunaspring.com</a:t>
            </a:r>
            <a:endParaRPr lang="en-US" altLang="en-US" sz="1200" spc="300" dirty="0"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8263C95-373C-4044-BECD-28F902D8FF05}"/>
              </a:ext>
            </a:extLst>
          </p:cNvPr>
          <p:cNvSpPr txBox="1"/>
          <p:nvPr/>
        </p:nvSpPr>
        <p:spPr>
          <a:xfrm>
            <a:off x="669925" y="983377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月泉</a:t>
            </a:r>
            <a:r>
              <a:rPr lang="en-US" altLang="zh-CN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dirty="0">
                <a:solidFill>
                  <a:schemeClr val="accent1"/>
                </a:solidFill>
                <a:cs typeface="+mn-ea"/>
                <a:sym typeface="+mn-lt"/>
              </a:rPr>
              <a:t>讲堂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756C29B-8B3F-4FC9-B64B-8F1CC31086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8081" y="5623386"/>
            <a:ext cx="1127988" cy="1130097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1713BD70-6014-4359-AA23-4624460365A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113" y="5623386"/>
            <a:ext cx="1178539" cy="1183522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4E7ACD46-BEC7-46B7-81CE-1E201528DDDB}"/>
              </a:ext>
            </a:extLst>
          </p:cNvPr>
          <p:cNvSpPr txBox="1"/>
          <p:nvPr/>
        </p:nvSpPr>
        <p:spPr>
          <a:xfrm>
            <a:off x="11198909" y="5254054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微信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1425BED3-4EB4-4F50-9363-EB16D164F730}"/>
              </a:ext>
            </a:extLst>
          </p:cNvPr>
          <p:cNvSpPr txBox="1"/>
          <p:nvPr/>
        </p:nvSpPr>
        <p:spPr>
          <a:xfrm>
            <a:off x="10040633" y="5254054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群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B255692-165F-4210-AE4D-012965EB33DE}"/>
              </a:ext>
            </a:extLst>
          </p:cNvPr>
          <p:cNvSpPr txBox="1"/>
          <p:nvPr/>
        </p:nvSpPr>
        <p:spPr>
          <a:xfrm>
            <a:off x="6312956" y="724845"/>
            <a:ext cx="5532284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54">
              <a:lnSpc>
                <a:spcPct val="90000"/>
              </a:lnSpc>
              <a:spcBef>
                <a:spcPts val="1000"/>
              </a:spcBef>
            </a:pPr>
            <a:r>
              <a:rPr lang="en-US" altLang="zh-CN" sz="1200" spc="300" dirty="0">
                <a:solidFill>
                  <a:schemeClr val="bg1"/>
                </a:solidFill>
                <a:cs typeface="+mn-ea"/>
                <a:sym typeface="+mn-l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yuequan1997/learn-rust-with-me</a:t>
            </a:r>
            <a:endParaRPr lang="zh-CN" altLang="en-US" sz="1200" spc="3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A6934A49-538C-4D50-A02A-FD54A51594D1}"/>
              </a:ext>
            </a:extLst>
          </p:cNvPr>
          <p:cNvSpPr txBox="1"/>
          <p:nvPr/>
        </p:nvSpPr>
        <p:spPr>
          <a:xfrm>
            <a:off x="8525100" y="26764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示例仓库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78419" y="1919028"/>
            <a:ext cx="6428929" cy="1543582"/>
          </a:xfrm>
        </p:spPr>
        <p:txBody>
          <a:bodyPr/>
          <a:lstStyle/>
          <a:p>
            <a:r>
              <a:rPr lang="en-US" altLang="zh-CN" sz="6000" b="0" dirty="0">
                <a:latin typeface="+mn-lt"/>
                <a:ea typeface="+mn-ea"/>
                <a:cs typeface="+mn-ea"/>
                <a:sym typeface="+mn-lt"/>
              </a:rPr>
              <a:t>THANKS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spc="300" dirty="0">
                <a:cs typeface="+mn-ea"/>
                <a:sym typeface="+mn-lt"/>
              </a:rPr>
              <a:t>www.lunaspring.com</a:t>
            </a:r>
            <a:endParaRPr lang="en-US" altLang="en-US" spc="300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pc="300" dirty="0">
                <a:cs typeface="+mn-ea"/>
                <a:sym typeface="+mn-lt"/>
              </a:rPr>
              <a:t>月泉的博客</a:t>
            </a:r>
            <a:endParaRPr lang="en-US" altLang="zh-CN" spc="300" dirty="0">
              <a:cs typeface="+mn-ea"/>
              <a:sym typeface="+mn-l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BE854B5-8114-4D76-85B0-1FEBDEF7FF3B}"/>
              </a:ext>
            </a:extLst>
          </p:cNvPr>
          <p:cNvSpPr txBox="1"/>
          <p:nvPr/>
        </p:nvSpPr>
        <p:spPr>
          <a:xfrm>
            <a:off x="9963652" y="983377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月泉</a:t>
            </a:r>
            <a:r>
              <a:rPr lang="en-US" altLang="zh-CN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dirty="0">
                <a:solidFill>
                  <a:schemeClr val="accent1"/>
                </a:solidFill>
                <a:cs typeface="+mn-ea"/>
                <a:sym typeface="+mn-lt"/>
              </a:rPr>
              <a:t>讲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295D843-7F5D-4CFF-9FED-D8BB71BE6470}"/>
              </a:ext>
            </a:extLst>
          </p:cNvPr>
          <p:cNvSpPr txBox="1"/>
          <p:nvPr/>
        </p:nvSpPr>
        <p:spPr>
          <a:xfrm>
            <a:off x="4727676" y="5443727"/>
            <a:ext cx="23615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cs typeface="+mn-ea"/>
                <a:sym typeface="+mn-lt"/>
              </a:rPr>
              <a:t>下节预告：</a:t>
            </a:r>
            <a:r>
              <a:rPr lang="zh-CN" altLang="en-US" b="1" dirty="0"/>
              <a:t>函数</a:t>
            </a:r>
            <a:r>
              <a:rPr lang="en-US" altLang="zh-CN" b="1" dirty="0"/>
              <a:t>/</a:t>
            </a:r>
            <a:r>
              <a:rPr lang="zh-CN" altLang="en-US" b="1" dirty="0"/>
              <a:t>闭包</a:t>
            </a:r>
            <a:endParaRPr lang="zh-CN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truct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rai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概述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elf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静态方法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扩展方法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rai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的约束与继承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rait alias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11" name="6f58f329-0b8f-42c6-8d02-594949b0590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0959493-6989-4180-AAF4-3E8B58D175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454831" y="3429000"/>
            <a:ext cx="6481763" cy="3114675"/>
            <a:chOff x="2881313" y="1871663"/>
            <a:chExt cx="6481763" cy="3114675"/>
          </a:xfrm>
        </p:grpSpPr>
        <p:sp>
          <p:nvSpPr>
            <p:cNvPr id="12" name="îŝliḓè">
              <a:extLst>
                <a:ext uri="{FF2B5EF4-FFF2-40B4-BE49-F238E27FC236}">
                  <a16:creationId xmlns:a16="http://schemas.microsoft.com/office/drawing/2014/main" id="{E2BDB23D-8E5D-470E-815D-1B5155E38816}"/>
                </a:ext>
              </a:extLst>
            </p:cNvPr>
            <p:cNvSpPr/>
            <p:nvPr/>
          </p:nvSpPr>
          <p:spPr bwMode="auto">
            <a:xfrm>
              <a:off x="3416301" y="1898650"/>
              <a:ext cx="5919788" cy="2490788"/>
            </a:xfrm>
            <a:custGeom>
              <a:avLst/>
              <a:gdLst>
                <a:gd name="T0" fmla="*/ 220 w 221"/>
                <a:gd name="T1" fmla="*/ 24 h 92"/>
                <a:gd name="T2" fmla="*/ 209 w 221"/>
                <a:gd name="T3" fmla="*/ 10 h 92"/>
                <a:gd name="T4" fmla="*/ 209 w 221"/>
                <a:gd name="T5" fmla="*/ 9 h 92"/>
                <a:gd name="T6" fmla="*/ 165 w 221"/>
                <a:gd name="T7" fmla="*/ 5 h 92"/>
                <a:gd name="T8" fmla="*/ 165 w 221"/>
                <a:gd name="T9" fmla="*/ 5 h 92"/>
                <a:gd name="T10" fmla="*/ 32 w 221"/>
                <a:gd name="T11" fmla="*/ 59 h 92"/>
                <a:gd name="T12" fmla="*/ 26 w 221"/>
                <a:gd name="T13" fmla="*/ 57 h 92"/>
                <a:gd name="T14" fmla="*/ 21 w 221"/>
                <a:gd name="T15" fmla="*/ 45 h 92"/>
                <a:gd name="T16" fmla="*/ 20 w 221"/>
                <a:gd name="T17" fmla="*/ 45 h 92"/>
                <a:gd name="T18" fmla="*/ 9 w 221"/>
                <a:gd name="T19" fmla="*/ 40 h 92"/>
                <a:gd name="T20" fmla="*/ 1 w 221"/>
                <a:gd name="T21" fmla="*/ 52 h 92"/>
                <a:gd name="T22" fmla="*/ 6 w 221"/>
                <a:gd name="T23" fmla="*/ 76 h 92"/>
                <a:gd name="T24" fmla="*/ 27 w 221"/>
                <a:gd name="T25" fmla="*/ 92 h 92"/>
                <a:gd name="T26" fmla="*/ 30 w 221"/>
                <a:gd name="T27" fmla="*/ 92 h 92"/>
                <a:gd name="T28" fmla="*/ 174 w 221"/>
                <a:gd name="T29" fmla="*/ 64 h 92"/>
                <a:gd name="T30" fmla="*/ 216 w 221"/>
                <a:gd name="T31" fmla="*/ 41 h 92"/>
                <a:gd name="T32" fmla="*/ 220 w 221"/>
                <a:gd name="T33" fmla="*/ 2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1" h="92">
                  <a:moveTo>
                    <a:pt x="220" y="24"/>
                  </a:moveTo>
                  <a:cubicBezTo>
                    <a:pt x="219" y="18"/>
                    <a:pt x="215" y="13"/>
                    <a:pt x="209" y="10"/>
                  </a:cubicBezTo>
                  <a:cubicBezTo>
                    <a:pt x="209" y="9"/>
                    <a:pt x="209" y="9"/>
                    <a:pt x="209" y="9"/>
                  </a:cubicBezTo>
                  <a:cubicBezTo>
                    <a:pt x="195" y="2"/>
                    <a:pt x="179" y="0"/>
                    <a:pt x="165" y="5"/>
                  </a:cubicBezTo>
                  <a:cubicBezTo>
                    <a:pt x="165" y="5"/>
                    <a:pt x="165" y="5"/>
                    <a:pt x="165" y="5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0" y="60"/>
                    <a:pt x="27" y="59"/>
                    <a:pt x="26" y="57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8" y="41"/>
                    <a:pt x="14" y="39"/>
                    <a:pt x="9" y="40"/>
                  </a:cubicBezTo>
                  <a:cubicBezTo>
                    <a:pt x="4" y="41"/>
                    <a:pt x="0" y="46"/>
                    <a:pt x="1" y="52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8" y="86"/>
                    <a:pt x="17" y="92"/>
                    <a:pt x="27" y="92"/>
                  </a:cubicBezTo>
                  <a:cubicBezTo>
                    <a:pt x="28" y="92"/>
                    <a:pt x="29" y="92"/>
                    <a:pt x="30" y="92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91" y="63"/>
                    <a:pt x="206" y="55"/>
                    <a:pt x="216" y="41"/>
                  </a:cubicBezTo>
                  <a:cubicBezTo>
                    <a:pt x="220" y="37"/>
                    <a:pt x="221" y="30"/>
                    <a:pt x="220" y="24"/>
                  </a:cubicBez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ïšļíḍé">
              <a:extLst>
                <a:ext uri="{FF2B5EF4-FFF2-40B4-BE49-F238E27FC236}">
                  <a16:creationId xmlns:a16="http://schemas.microsoft.com/office/drawing/2014/main" id="{4754D277-423B-4CB8-9891-3C20D6457DA8}"/>
                </a:ext>
              </a:extLst>
            </p:cNvPr>
            <p:cNvSpPr/>
            <p:nvPr/>
          </p:nvSpPr>
          <p:spPr bwMode="auto">
            <a:xfrm>
              <a:off x="3630613" y="2359025"/>
              <a:ext cx="5732463" cy="2030413"/>
            </a:xfrm>
            <a:custGeom>
              <a:avLst/>
              <a:gdLst>
                <a:gd name="T0" fmla="*/ 210 w 214"/>
                <a:gd name="T1" fmla="*/ 2 h 75"/>
                <a:gd name="T2" fmla="*/ 209 w 214"/>
                <a:gd name="T3" fmla="*/ 0 h 75"/>
                <a:gd name="T4" fmla="*/ 83 w 214"/>
                <a:gd name="T5" fmla="*/ 38 h 75"/>
                <a:gd name="T6" fmla="*/ 0 w 214"/>
                <a:gd name="T7" fmla="*/ 64 h 75"/>
                <a:gd name="T8" fmla="*/ 2 w 214"/>
                <a:gd name="T9" fmla="*/ 67 h 75"/>
                <a:gd name="T10" fmla="*/ 19 w 214"/>
                <a:gd name="T11" fmla="*/ 75 h 75"/>
                <a:gd name="T12" fmla="*/ 22 w 214"/>
                <a:gd name="T13" fmla="*/ 75 h 75"/>
                <a:gd name="T14" fmla="*/ 166 w 214"/>
                <a:gd name="T15" fmla="*/ 47 h 75"/>
                <a:gd name="T16" fmla="*/ 208 w 214"/>
                <a:gd name="T17" fmla="*/ 24 h 75"/>
                <a:gd name="T18" fmla="*/ 210 w 214"/>
                <a:gd name="T19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4" h="75">
                  <a:moveTo>
                    <a:pt x="210" y="2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6" y="72"/>
                    <a:pt x="12" y="75"/>
                    <a:pt x="19" y="75"/>
                  </a:cubicBezTo>
                  <a:cubicBezTo>
                    <a:pt x="20" y="75"/>
                    <a:pt x="21" y="75"/>
                    <a:pt x="22" y="75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83" y="46"/>
                    <a:pt x="198" y="38"/>
                    <a:pt x="208" y="24"/>
                  </a:cubicBezTo>
                  <a:cubicBezTo>
                    <a:pt x="213" y="18"/>
                    <a:pt x="214" y="9"/>
                    <a:pt x="210" y="2"/>
                  </a:cubicBezTo>
                  <a:close/>
                </a:path>
              </a:pathLst>
            </a:custGeom>
            <a:solidFill>
              <a:srgbClr val="F794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i$ḷïdé">
              <a:extLst>
                <a:ext uri="{FF2B5EF4-FFF2-40B4-BE49-F238E27FC236}">
                  <a16:creationId xmlns:a16="http://schemas.microsoft.com/office/drawing/2014/main" id="{0D64B75A-0287-461B-BEDA-1D62A8A0B676}"/>
                </a:ext>
              </a:extLst>
            </p:cNvPr>
            <p:cNvSpPr/>
            <p:nvPr/>
          </p:nvSpPr>
          <p:spPr bwMode="auto">
            <a:xfrm>
              <a:off x="3817938" y="1871663"/>
              <a:ext cx="3778250" cy="1679575"/>
            </a:xfrm>
            <a:custGeom>
              <a:avLst/>
              <a:gdLst>
                <a:gd name="T0" fmla="*/ 138 w 141"/>
                <a:gd name="T1" fmla="*/ 38 h 62"/>
                <a:gd name="T2" fmla="*/ 21 w 141"/>
                <a:gd name="T3" fmla="*/ 1 h 62"/>
                <a:gd name="T4" fmla="*/ 8 w 141"/>
                <a:gd name="T5" fmla="*/ 3 h 62"/>
                <a:gd name="T6" fmla="*/ 0 w 141"/>
                <a:gd name="T7" fmla="*/ 13 h 62"/>
                <a:gd name="T8" fmla="*/ 2 w 141"/>
                <a:gd name="T9" fmla="*/ 17 h 62"/>
                <a:gd name="T10" fmla="*/ 75 w 141"/>
                <a:gd name="T11" fmla="*/ 62 h 62"/>
                <a:gd name="T12" fmla="*/ 77 w 141"/>
                <a:gd name="T13" fmla="*/ 62 h 62"/>
                <a:gd name="T14" fmla="*/ 78 w 141"/>
                <a:gd name="T15" fmla="*/ 62 h 62"/>
                <a:gd name="T16" fmla="*/ 138 w 141"/>
                <a:gd name="T17" fmla="*/ 45 h 62"/>
                <a:gd name="T18" fmla="*/ 141 w 141"/>
                <a:gd name="T19" fmla="*/ 42 h 62"/>
                <a:gd name="T20" fmla="*/ 138 w 141"/>
                <a:gd name="T21" fmla="*/ 3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62">
                  <a:moveTo>
                    <a:pt x="138" y="38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7" y="0"/>
                    <a:pt x="12" y="0"/>
                    <a:pt x="8" y="3"/>
                  </a:cubicBezTo>
                  <a:cubicBezTo>
                    <a:pt x="4" y="5"/>
                    <a:pt x="1" y="9"/>
                    <a:pt x="0" y="13"/>
                  </a:cubicBezTo>
                  <a:cubicBezTo>
                    <a:pt x="0" y="15"/>
                    <a:pt x="1" y="16"/>
                    <a:pt x="2" y="17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6" y="62"/>
                    <a:pt x="76" y="62"/>
                    <a:pt x="77" y="62"/>
                  </a:cubicBezTo>
                  <a:cubicBezTo>
                    <a:pt x="77" y="62"/>
                    <a:pt x="78" y="62"/>
                    <a:pt x="78" y="62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40" y="45"/>
                    <a:pt x="141" y="43"/>
                    <a:pt x="141" y="42"/>
                  </a:cubicBezTo>
                  <a:cubicBezTo>
                    <a:pt x="141" y="40"/>
                    <a:pt x="140" y="39"/>
                    <a:pt x="138" y="38"/>
                  </a:cubicBezTo>
                  <a:close/>
                </a:path>
              </a:pathLst>
            </a:custGeom>
            <a:solidFill>
              <a:srgbClr val="074E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îṧļíďé">
              <a:extLst>
                <a:ext uri="{FF2B5EF4-FFF2-40B4-BE49-F238E27FC236}">
                  <a16:creationId xmlns:a16="http://schemas.microsoft.com/office/drawing/2014/main" id="{5748581C-A290-4F9B-BCE6-790EA372711C}"/>
                </a:ext>
              </a:extLst>
            </p:cNvPr>
            <p:cNvSpPr/>
            <p:nvPr/>
          </p:nvSpPr>
          <p:spPr bwMode="auto">
            <a:xfrm>
              <a:off x="8104188" y="1925638"/>
              <a:ext cx="1152525" cy="785813"/>
            </a:xfrm>
            <a:custGeom>
              <a:avLst/>
              <a:gdLst>
                <a:gd name="T0" fmla="*/ 43 w 43"/>
                <a:gd name="T1" fmla="*/ 18 h 29"/>
                <a:gd name="T2" fmla="*/ 34 w 43"/>
                <a:gd name="T3" fmla="*/ 9 h 29"/>
                <a:gd name="T4" fmla="*/ 34 w 43"/>
                <a:gd name="T5" fmla="*/ 9 h 29"/>
                <a:gd name="T6" fmla="*/ 34 w 43"/>
                <a:gd name="T7" fmla="*/ 8 h 29"/>
                <a:gd name="T8" fmla="*/ 2 w 43"/>
                <a:gd name="T9" fmla="*/ 1 h 29"/>
                <a:gd name="T10" fmla="*/ 0 w 43"/>
                <a:gd name="T11" fmla="*/ 3 h 29"/>
                <a:gd name="T12" fmla="*/ 0 w 43"/>
                <a:gd name="T13" fmla="*/ 5 h 29"/>
                <a:gd name="T14" fmla="*/ 0 w 43"/>
                <a:gd name="T15" fmla="*/ 5 h 29"/>
                <a:gd name="T16" fmla="*/ 0 w 43"/>
                <a:gd name="T17" fmla="*/ 5 h 29"/>
                <a:gd name="T18" fmla="*/ 9 w 43"/>
                <a:gd name="T19" fmla="*/ 28 h 29"/>
                <a:gd name="T20" fmla="*/ 12 w 43"/>
                <a:gd name="T21" fmla="*/ 29 h 29"/>
                <a:gd name="T22" fmla="*/ 12 w 43"/>
                <a:gd name="T23" fmla="*/ 29 h 29"/>
                <a:gd name="T24" fmla="*/ 41 w 43"/>
                <a:gd name="T25" fmla="*/ 21 h 29"/>
                <a:gd name="T26" fmla="*/ 43 w 43"/>
                <a:gd name="T27" fmla="*/ 20 h 29"/>
                <a:gd name="T28" fmla="*/ 43 w 43"/>
                <a:gd name="T29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9">
                  <a:moveTo>
                    <a:pt x="43" y="18"/>
                  </a:moveTo>
                  <a:cubicBezTo>
                    <a:pt x="41" y="14"/>
                    <a:pt x="38" y="11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4" y="3"/>
                    <a:pt x="13" y="0"/>
                    <a:pt x="2" y="1"/>
                  </a:cubicBezTo>
                  <a:cubicBezTo>
                    <a:pt x="1" y="2"/>
                    <a:pt x="1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9"/>
                    <a:pt x="11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1"/>
                    <a:pt x="43" y="21"/>
                    <a:pt x="43" y="20"/>
                  </a:cubicBezTo>
                  <a:cubicBezTo>
                    <a:pt x="43" y="19"/>
                    <a:pt x="43" y="18"/>
                    <a:pt x="43" y="18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ïṣḻidé">
              <a:extLst>
                <a:ext uri="{FF2B5EF4-FFF2-40B4-BE49-F238E27FC236}">
                  <a16:creationId xmlns:a16="http://schemas.microsoft.com/office/drawing/2014/main" id="{BDD0285E-2E44-4930-99DE-C1687B4AD4DA}"/>
                </a:ext>
              </a:extLst>
            </p:cNvPr>
            <p:cNvSpPr/>
            <p:nvPr/>
          </p:nvSpPr>
          <p:spPr bwMode="auto">
            <a:xfrm>
              <a:off x="3844926" y="4633913"/>
              <a:ext cx="1098550" cy="352425"/>
            </a:xfrm>
            <a:custGeom>
              <a:avLst/>
              <a:gdLst>
                <a:gd name="T0" fmla="*/ 3 w 41"/>
                <a:gd name="T1" fmla="*/ 13 h 13"/>
                <a:gd name="T2" fmla="*/ 0 w 41"/>
                <a:gd name="T3" fmla="*/ 11 h 13"/>
                <a:gd name="T4" fmla="*/ 2 w 41"/>
                <a:gd name="T5" fmla="*/ 8 h 13"/>
                <a:gd name="T6" fmla="*/ 37 w 41"/>
                <a:gd name="T7" fmla="*/ 0 h 13"/>
                <a:gd name="T8" fmla="*/ 40 w 41"/>
                <a:gd name="T9" fmla="*/ 2 h 13"/>
                <a:gd name="T10" fmla="*/ 38 w 41"/>
                <a:gd name="T11" fmla="*/ 5 h 13"/>
                <a:gd name="T12" fmla="*/ 3 w 41"/>
                <a:gd name="T13" fmla="*/ 13 h 13"/>
                <a:gd name="T14" fmla="*/ 3 w 4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3">
                  <a:moveTo>
                    <a:pt x="3" y="13"/>
                  </a:moveTo>
                  <a:cubicBezTo>
                    <a:pt x="2" y="13"/>
                    <a:pt x="1" y="12"/>
                    <a:pt x="0" y="11"/>
                  </a:cubicBezTo>
                  <a:cubicBezTo>
                    <a:pt x="0" y="9"/>
                    <a:pt x="1" y="8"/>
                    <a:pt x="2" y="8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0" y="0"/>
                    <a:pt x="40" y="2"/>
                  </a:cubicBezTo>
                  <a:cubicBezTo>
                    <a:pt x="41" y="3"/>
                    <a:pt x="40" y="5"/>
                    <a:pt x="38" y="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íṧliḑe">
              <a:extLst>
                <a:ext uri="{FF2B5EF4-FFF2-40B4-BE49-F238E27FC236}">
                  <a16:creationId xmlns:a16="http://schemas.microsoft.com/office/drawing/2014/main" id="{7E927666-F1D2-477D-8F19-C2D2F8C7B8B8}"/>
                </a:ext>
              </a:extLst>
            </p:cNvPr>
            <p:cNvSpPr/>
            <p:nvPr/>
          </p:nvSpPr>
          <p:spPr bwMode="auto">
            <a:xfrm>
              <a:off x="2881313" y="3902075"/>
              <a:ext cx="1660525" cy="487363"/>
            </a:xfrm>
            <a:custGeom>
              <a:avLst/>
              <a:gdLst>
                <a:gd name="T0" fmla="*/ 3 w 62"/>
                <a:gd name="T1" fmla="*/ 18 h 18"/>
                <a:gd name="T2" fmla="*/ 0 w 62"/>
                <a:gd name="T3" fmla="*/ 15 h 18"/>
                <a:gd name="T4" fmla="*/ 2 w 62"/>
                <a:gd name="T5" fmla="*/ 12 h 18"/>
                <a:gd name="T6" fmla="*/ 58 w 62"/>
                <a:gd name="T7" fmla="*/ 0 h 18"/>
                <a:gd name="T8" fmla="*/ 61 w 62"/>
                <a:gd name="T9" fmla="*/ 2 h 18"/>
                <a:gd name="T10" fmla="*/ 59 w 62"/>
                <a:gd name="T11" fmla="*/ 5 h 18"/>
                <a:gd name="T12" fmla="*/ 4 w 62"/>
                <a:gd name="T13" fmla="*/ 17 h 18"/>
                <a:gd name="T14" fmla="*/ 3 w 62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8">
                  <a:moveTo>
                    <a:pt x="3" y="18"/>
                  </a:moveTo>
                  <a:cubicBezTo>
                    <a:pt x="2" y="18"/>
                    <a:pt x="1" y="17"/>
                    <a:pt x="0" y="15"/>
                  </a:cubicBezTo>
                  <a:cubicBezTo>
                    <a:pt x="0" y="14"/>
                    <a:pt x="1" y="13"/>
                    <a:pt x="2" y="1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0"/>
                    <a:pt x="61" y="2"/>
                  </a:cubicBezTo>
                  <a:cubicBezTo>
                    <a:pt x="62" y="3"/>
                    <a:pt x="61" y="5"/>
                    <a:pt x="59" y="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iŝľîḋé">
              <a:extLst>
                <a:ext uri="{FF2B5EF4-FFF2-40B4-BE49-F238E27FC236}">
                  <a16:creationId xmlns:a16="http://schemas.microsoft.com/office/drawing/2014/main" id="{6A2CB89C-DD8A-4BFC-AA6E-4624921B41FE}"/>
                </a:ext>
              </a:extLst>
            </p:cNvPr>
            <p:cNvSpPr/>
            <p:nvPr/>
          </p:nvSpPr>
          <p:spPr bwMode="auto">
            <a:xfrm>
              <a:off x="3817938" y="2143125"/>
              <a:ext cx="2973388" cy="1408113"/>
            </a:xfrm>
            <a:custGeom>
              <a:avLst/>
              <a:gdLst>
                <a:gd name="T0" fmla="*/ 111 w 111"/>
                <a:gd name="T1" fmla="*/ 43 h 52"/>
                <a:gd name="T2" fmla="*/ 5 w 111"/>
                <a:gd name="T3" fmla="*/ 1 h 52"/>
                <a:gd name="T4" fmla="*/ 1 w 111"/>
                <a:gd name="T5" fmla="*/ 2 h 52"/>
                <a:gd name="T6" fmla="*/ 2 w 111"/>
                <a:gd name="T7" fmla="*/ 7 h 52"/>
                <a:gd name="T8" fmla="*/ 75 w 111"/>
                <a:gd name="T9" fmla="*/ 52 h 52"/>
                <a:gd name="T10" fmla="*/ 77 w 111"/>
                <a:gd name="T11" fmla="*/ 52 h 52"/>
                <a:gd name="T12" fmla="*/ 78 w 111"/>
                <a:gd name="T13" fmla="*/ 52 h 52"/>
                <a:gd name="T14" fmla="*/ 111 w 111"/>
                <a:gd name="T15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52">
                  <a:moveTo>
                    <a:pt x="111" y="43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4"/>
                    <a:pt x="0" y="6"/>
                    <a:pt x="2" y="7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2"/>
                    <a:pt x="76" y="52"/>
                    <a:pt x="77" y="52"/>
                  </a:cubicBezTo>
                  <a:cubicBezTo>
                    <a:pt x="77" y="52"/>
                    <a:pt x="78" y="52"/>
                    <a:pt x="78" y="52"/>
                  </a:cubicBezTo>
                  <a:lnTo>
                    <a:pt x="111" y="43"/>
                  </a:ln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8e2329d0-d781-4c67-b683-34b3d487b4a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F501899-BD94-462A-81C9-56645A10342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810125" y="2135923"/>
            <a:ext cx="2354728" cy="2667248"/>
            <a:chOff x="4155721" y="1511884"/>
            <a:chExt cx="3837692" cy="4347032"/>
          </a:xfrm>
        </p:grpSpPr>
        <p:sp>
          <p:nvSpPr>
            <p:cNvPr id="49" name="îṥḷide">
              <a:extLst>
                <a:ext uri="{FF2B5EF4-FFF2-40B4-BE49-F238E27FC236}">
                  <a16:creationId xmlns:a16="http://schemas.microsoft.com/office/drawing/2014/main" id="{F1172443-93F0-404C-9663-858EDB623320}"/>
                </a:ext>
              </a:extLst>
            </p:cNvPr>
            <p:cNvSpPr/>
            <p:nvPr/>
          </p:nvSpPr>
          <p:spPr bwMode="auto">
            <a:xfrm>
              <a:off x="4367525" y="1713602"/>
              <a:ext cx="3414086" cy="3948640"/>
            </a:xfrm>
            <a:custGeom>
              <a:avLst/>
              <a:gdLst>
                <a:gd name="T0" fmla="*/ 339 w 677"/>
                <a:gd name="T1" fmla="*/ 783 h 783"/>
                <a:gd name="T2" fmla="*/ 0 w 677"/>
                <a:gd name="T3" fmla="*/ 587 h 783"/>
                <a:gd name="T4" fmla="*/ 0 w 677"/>
                <a:gd name="T5" fmla="*/ 197 h 783"/>
                <a:gd name="T6" fmla="*/ 339 w 677"/>
                <a:gd name="T7" fmla="*/ 0 h 783"/>
                <a:gd name="T8" fmla="*/ 677 w 677"/>
                <a:gd name="T9" fmla="*/ 197 h 783"/>
                <a:gd name="T10" fmla="*/ 677 w 677"/>
                <a:gd name="T11" fmla="*/ 587 h 783"/>
                <a:gd name="T12" fmla="*/ 339 w 677"/>
                <a:gd name="T13" fmla="*/ 783 h 783"/>
                <a:gd name="T14" fmla="*/ 25 w 677"/>
                <a:gd name="T15" fmla="*/ 573 h 783"/>
                <a:gd name="T16" fmla="*/ 339 w 677"/>
                <a:gd name="T17" fmla="*/ 753 h 783"/>
                <a:gd name="T18" fmla="*/ 652 w 677"/>
                <a:gd name="T19" fmla="*/ 573 h 783"/>
                <a:gd name="T20" fmla="*/ 652 w 677"/>
                <a:gd name="T21" fmla="*/ 212 h 783"/>
                <a:gd name="T22" fmla="*/ 339 w 677"/>
                <a:gd name="T23" fmla="*/ 31 h 783"/>
                <a:gd name="T24" fmla="*/ 25 w 677"/>
                <a:gd name="T25" fmla="*/ 212 h 783"/>
                <a:gd name="T26" fmla="*/ 25 w 677"/>
                <a:gd name="T27" fmla="*/ 57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7" h="783">
                  <a:moveTo>
                    <a:pt x="339" y="783"/>
                  </a:moveTo>
                  <a:lnTo>
                    <a:pt x="0" y="587"/>
                  </a:lnTo>
                  <a:lnTo>
                    <a:pt x="0" y="197"/>
                  </a:lnTo>
                  <a:lnTo>
                    <a:pt x="339" y="0"/>
                  </a:lnTo>
                  <a:lnTo>
                    <a:pt x="677" y="197"/>
                  </a:lnTo>
                  <a:lnTo>
                    <a:pt x="677" y="587"/>
                  </a:lnTo>
                  <a:lnTo>
                    <a:pt x="339" y="783"/>
                  </a:lnTo>
                  <a:close/>
                  <a:moveTo>
                    <a:pt x="25" y="573"/>
                  </a:moveTo>
                  <a:lnTo>
                    <a:pt x="339" y="753"/>
                  </a:lnTo>
                  <a:lnTo>
                    <a:pt x="652" y="573"/>
                  </a:lnTo>
                  <a:lnTo>
                    <a:pt x="652" y="212"/>
                  </a:lnTo>
                  <a:lnTo>
                    <a:pt x="339" y="31"/>
                  </a:lnTo>
                  <a:lnTo>
                    <a:pt x="25" y="212"/>
                  </a:lnTo>
                  <a:lnTo>
                    <a:pt x="25" y="573"/>
                  </a:lnTo>
                  <a:close/>
                </a:path>
              </a:pathLst>
            </a:custGeom>
            <a:solidFill>
              <a:srgbClr val="6260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$ḻîdé">
              <a:extLst>
                <a:ext uri="{FF2B5EF4-FFF2-40B4-BE49-F238E27FC236}">
                  <a16:creationId xmlns:a16="http://schemas.microsoft.com/office/drawing/2014/main" id="{FDFCE3DC-A608-4C03-80CA-58A6D417BA41}"/>
                </a:ext>
              </a:extLst>
            </p:cNvPr>
            <p:cNvSpPr/>
            <p:nvPr/>
          </p:nvSpPr>
          <p:spPr bwMode="auto">
            <a:xfrm>
              <a:off x="4881907" y="2308672"/>
              <a:ext cx="2390364" cy="2763542"/>
            </a:xfrm>
            <a:custGeom>
              <a:avLst/>
              <a:gdLst>
                <a:gd name="T0" fmla="*/ 237 w 474"/>
                <a:gd name="T1" fmla="*/ 548 h 548"/>
                <a:gd name="T2" fmla="*/ 0 w 474"/>
                <a:gd name="T3" fmla="*/ 411 h 548"/>
                <a:gd name="T4" fmla="*/ 0 w 474"/>
                <a:gd name="T5" fmla="*/ 137 h 548"/>
                <a:gd name="T6" fmla="*/ 237 w 474"/>
                <a:gd name="T7" fmla="*/ 0 h 548"/>
                <a:gd name="T8" fmla="*/ 474 w 474"/>
                <a:gd name="T9" fmla="*/ 137 h 548"/>
                <a:gd name="T10" fmla="*/ 474 w 474"/>
                <a:gd name="T11" fmla="*/ 411 h 548"/>
                <a:gd name="T12" fmla="*/ 237 w 474"/>
                <a:gd name="T13" fmla="*/ 548 h 548"/>
                <a:gd name="T14" fmla="*/ 23 w 474"/>
                <a:gd name="T15" fmla="*/ 397 h 548"/>
                <a:gd name="T16" fmla="*/ 237 w 474"/>
                <a:gd name="T17" fmla="*/ 521 h 548"/>
                <a:gd name="T18" fmla="*/ 451 w 474"/>
                <a:gd name="T19" fmla="*/ 397 h 548"/>
                <a:gd name="T20" fmla="*/ 451 w 474"/>
                <a:gd name="T21" fmla="*/ 150 h 548"/>
                <a:gd name="T22" fmla="*/ 237 w 474"/>
                <a:gd name="T23" fmla="*/ 27 h 548"/>
                <a:gd name="T24" fmla="*/ 23 w 474"/>
                <a:gd name="T25" fmla="*/ 150 h 548"/>
                <a:gd name="T26" fmla="*/ 23 w 474"/>
                <a:gd name="T27" fmla="*/ 397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4" h="548">
                  <a:moveTo>
                    <a:pt x="237" y="548"/>
                  </a:moveTo>
                  <a:lnTo>
                    <a:pt x="0" y="411"/>
                  </a:lnTo>
                  <a:lnTo>
                    <a:pt x="0" y="137"/>
                  </a:lnTo>
                  <a:lnTo>
                    <a:pt x="237" y="0"/>
                  </a:lnTo>
                  <a:lnTo>
                    <a:pt x="474" y="137"/>
                  </a:lnTo>
                  <a:lnTo>
                    <a:pt x="474" y="411"/>
                  </a:lnTo>
                  <a:lnTo>
                    <a:pt x="237" y="548"/>
                  </a:lnTo>
                  <a:close/>
                  <a:moveTo>
                    <a:pt x="23" y="397"/>
                  </a:moveTo>
                  <a:lnTo>
                    <a:pt x="237" y="521"/>
                  </a:lnTo>
                  <a:lnTo>
                    <a:pt x="451" y="397"/>
                  </a:lnTo>
                  <a:lnTo>
                    <a:pt x="451" y="150"/>
                  </a:lnTo>
                  <a:lnTo>
                    <a:pt x="237" y="27"/>
                  </a:lnTo>
                  <a:lnTo>
                    <a:pt x="23" y="150"/>
                  </a:lnTo>
                  <a:lnTo>
                    <a:pt x="23" y="397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šlide">
              <a:extLst>
                <a:ext uri="{FF2B5EF4-FFF2-40B4-BE49-F238E27FC236}">
                  <a16:creationId xmlns:a16="http://schemas.microsoft.com/office/drawing/2014/main" id="{BD09A348-317A-4C98-ACD7-6BBAD024A698}"/>
                </a:ext>
              </a:extLst>
            </p:cNvPr>
            <p:cNvSpPr/>
            <p:nvPr/>
          </p:nvSpPr>
          <p:spPr bwMode="auto">
            <a:xfrm>
              <a:off x="5804768" y="5314276"/>
              <a:ext cx="544640" cy="544640"/>
            </a:xfrm>
            <a:prstGeom prst="ellipse">
              <a:avLst/>
            </a:prstGeom>
            <a:solidFill>
              <a:srgbClr val="387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şḻïḍê">
              <a:extLst>
                <a:ext uri="{FF2B5EF4-FFF2-40B4-BE49-F238E27FC236}">
                  <a16:creationId xmlns:a16="http://schemas.microsoft.com/office/drawing/2014/main" id="{D085AA1F-EDC2-45F9-9E7E-B6EF45203C07}"/>
                </a:ext>
              </a:extLst>
            </p:cNvPr>
            <p:cNvSpPr/>
            <p:nvPr/>
          </p:nvSpPr>
          <p:spPr bwMode="auto">
            <a:xfrm>
              <a:off x="5804768" y="1511884"/>
              <a:ext cx="544640" cy="554726"/>
            </a:xfrm>
            <a:prstGeom prst="ellipse">
              <a:avLst/>
            </a:prstGeom>
            <a:solidFill>
              <a:srgbClr val="C81E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i$1îdé">
              <a:extLst>
                <a:ext uri="{FF2B5EF4-FFF2-40B4-BE49-F238E27FC236}">
                  <a16:creationId xmlns:a16="http://schemas.microsoft.com/office/drawing/2014/main" id="{15CF7D7B-4259-466E-B5EB-FF71FD73DD64}"/>
                </a:ext>
              </a:extLst>
            </p:cNvPr>
            <p:cNvSpPr/>
            <p:nvPr/>
          </p:nvSpPr>
          <p:spPr bwMode="auto">
            <a:xfrm>
              <a:off x="5290386" y="2903741"/>
              <a:ext cx="1573404" cy="1573404"/>
            </a:xfrm>
            <a:prstGeom prst="ellipse">
              <a:avLst/>
            </a:prstGeom>
            <a:solidFill>
              <a:srgbClr val="FFB5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ŝļiḓe">
              <a:extLst>
                <a:ext uri="{FF2B5EF4-FFF2-40B4-BE49-F238E27FC236}">
                  <a16:creationId xmlns:a16="http://schemas.microsoft.com/office/drawing/2014/main" id="{0E2A1C49-00F2-4843-8D6D-23F7CA7DF8D1}"/>
                </a:ext>
              </a:extLst>
            </p:cNvPr>
            <p:cNvSpPr/>
            <p:nvPr/>
          </p:nvSpPr>
          <p:spPr bwMode="auto">
            <a:xfrm>
              <a:off x="5814854" y="3428209"/>
              <a:ext cx="524468" cy="514382"/>
            </a:xfrm>
            <a:prstGeom prst="ellipse">
              <a:avLst/>
            </a:prstGeom>
            <a:solidFill>
              <a:srgbClr val="6260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ṩ1iḍé">
              <a:extLst>
                <a:ext uri="{FF2B5EF4-FFF2-40B4-BE49-F238E27FC236}">
                  <a16:creationId xmlns:a16="http://schemas.microsoft.com/office/drawing/2014/main" id="{AB8BB638-09EA-402B-9E3D-6EBD185447C0}"/>
                </a:ext>
              </a:extLst>
            </p:cNvPr>
            <p:cNvSpPr/>
            <p:nvPr/>
          </p:nvSpPr>
          <p:spPr bwMode="auto">
            <a:xfrm>
              <a:off x="7448773" y="4340983"/>
              <a:ext cx="544640" cy="544640"/>
            </a:xfrm>
            <a:prstGeom prst="ellipse">
              <a:avLst/>
            </a:prstGeom>
            <a:solidFill>
              <a:srgbClr val="C81E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îšlíḍe">
              <a:extLst>
                <a:ext uri="{FF2B5EF4-FFF2-40B4-BE49-F238E27FC236}">
                  <a16:creationId xmlns:a16="http://schemas.microsoft.com/office/drawing/2014/main" id="{4F4710F6-B479-4247-B5B4-F3DB8FDE4BE3}"/>
                </a:ext>
              </a:extLst>
            </p:cNvPr>
            <p:cNvSpPr/>
            <p:nvPr/>
          </p:nvSpPr>
          <p:spPr bwMode="auto">
            <a:xfrm>
              <a:off x="7448773" y="2465002"/>
              <a:ext cx="544640" cy="544640"/>
            </a:xfrm>
            <a:prstGeom prst="ellipse">
              <a:avLst/>
            </a:prstGeom>
            <a:solidFill>
              <a:srgbClr val="387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îŝ1ïḋé">
              <a:extLst>
                <a:ext uri="{FF2B5EF4-FFF2-40B4-BE49-F238E27FC236}">
                  <a16:creationId xmlns:a16="http://schemas.microsoft.com/office/drawing/2014/main" id="{7B128001-DDDB-42BE-8B1A-C07D7B6A6C19}"/>
                </a:ext>
              </a:extLst>
            </p:cNvPr>
            <p:cNvSpPr/>
            <p:nvPr/>
          </p:nvSpPr>
          <p:spPr bwMode="auto">
            <a:xfrm>
              <a:off x="4155721" y="4340983"/>
              <a:ext cx="544640" cy="544640"/>
            </a:xfrm>
            <a:prstGeom prst="ellipse">
              <a:avLst/>
            </a:prstGeom>
            <a:solidFill>
              <a:srgbClr val="C81E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îṧ1îďê">
              <a:extLst>
                <a:ext uri="{FF2B5EF4-FFF2-40B4-BE49-F238E27FC236}">
                  <a16:creationId xmlns:a16="http://schemas.microsoft.com/office/drawing/2014/main" id="{D49FD6B3-84DA-4AF1-871A-84048E258B64}"/>
                </a:ext>
              </a:extLst>
            </p:cNvPr>
            <p:cNvSpPr/>
            <p:nvPr/>
          </p:nvSpPr>
          <p:spPr bwMode="auto">
            <a:xfrm>
              <a:off x="4155721" y="2465002"/>
              <a:ext cx="544640" cy="544640"/>
            </a:xfrm>
            <a:prstGeom prst="ellipse">
              <a:avLst/>
            </a:prstGeom>
            <a:solidFill>
              <a:srgbClr val="387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BBD11EE5-47E1-4035-A2B7-19C2E3AF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truct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7666BC-59F7-4E7F-8671-AA1B72E44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85EB3A-2EBC-4BF1-9376-F73050A0C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3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491EB76-9866-4B3C-B2AD-B980D5279971}"/>
              </a:ext>
            </a:extLst>
          </p:cNvPr>
          <p:cNvSpPr txBox="1"/>
          <p:nvPr/>
        </p:nvSpPr>
        <p:spPr>
          <a:xfrm>
            <a:off x="669924" y="1181816"/>
            <a:ext cx="5040411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 err="1"/>
              <a:t>Sturct</a:t>
            </a:r>
            <a:endParaRPr lang="en-US" altLang="zh-CN" sz="3200" b="1" dirty="0"/>
          </a:p>
          <a:p>
            <a:endParaRPr lang="en-US" altLang="zh-CN" sz="3200" b="1" dirty="0"/>
          </a:p>
          <a:p>
            <a:r>
              <a:rPr lang="en-US" altLang="zh-CN" dirty="0" err="1"/>
              <a:t>sturct</a:t>
            </a:r>
            <a:r>
              <a:rPr lang="en-US" altLang="zh-CN" dirty="0"/>
              <a:t> Cat {</a:t>
            </a:r>
          </a:p>
          <a:p>
            <a:r>
              <a:rPr lang="en-US" altLang="zh-CN" dirty="0"/>
              <a:t>   …….</a:t>
            </a:r>
          </a:p>
          <a:p>
            <a:r>
              <a:rPr lang="en-US" altLang="zh-CN" dirty="0"/>
              <a:t>}</a:t>
            </a:r>
            <a:endParaRPr lang="zh-CN" altLang="en-US" dirty="0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14E7EB9B-56AD-4B0C-9DCE-9D9CD9276793}"/>
              </a:ext>
            </a:extLst>
          </p:cNvPr>
          <p:cNvSpPr txBox="1"/>
          <p:nvPr/>
        </p:nvSpPr>
        <p:spPr>
          <a:xfrm>
            <a:off x="8533213" y="1181816"/>
            <a:ext cx="495885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/>
              <a:t>Tuple </a:t>
            </a:r>
            <a:r>
              <a:rPr lang="en-US" altLang="zh-CN" sz="3200" b="1" dirty="0" err="1"/>
              <a:t>Sturct</a:t>
            </a:r>
            <a:endParaRPr lang="en-US" altLang="zh-CN" sz="3200" b="1" dirty="0"/>
          </a:p>
          <a:p>
            <a:endParaRPr lang="en-US" altLang="zh-CN" sz="3200" b="1" dirty="0"/>
          </a:p>
          <a:p>
            <a:r>
              <a:rPr lang="en-US" altLang="zh-CN" dirty="0"/>
              <a:t>Struct Pointer(i32,i32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32877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D11EE5-47E1-4035-A2B7-19C2E3AF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trait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概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7666BC-59F7-4E7F-8671-AA1B72E44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85EB3A-2EBC-4BF1-9376-F73050A0C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8" name="0c27bdb5-b449-4b5e-8caa-69010f80733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FBFE0CF-0100-4C53-8648-8EB5793919C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975079" y="4529796"/>
            <a:ext cx="2097525" cy="1632432"/>
            <a:chOff x="3024981" y="1242131"/>
            <a:chExt cx="6142037" cy="4780138"/>
          </a:xfrm>
        </p:grpSpPr>
        <p:sp>
          <p:nvSpPr>
            <p:cNvPr id="19" name="iṣlíḑè">
              <a:extLst>
                <a:ext uri="{FF2B5EF4-FFF2-40B4-BE49-F238E27FC236}">
                  <a16:creationId xmlns:a16="http://schemas.microsoft.com/office/drawing/2014/main" id="{893BAC93-2E33-4F39-92D5-928E5A98AC73}"/>
                </a:ext>
              </a:extLst>
            </p:cNvPr>
            <p:cNvSpPr/>
            <p:nvPr/>
          </p:nvSpPr>
          <p:spPr bwMode="auto">
            <a:xfrm>
              <a:off x="3024981" y="5763806"/>
              <a:ext cx="5760024" cy="258463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iṣ1iḍé">
              <a:extLst>
                <a:ext uri="{FF2B5EF4-FFF2-40B4-BE49-F238E27FC236}">
                  <a16:creationId xmlns:a16="http://schemas.microsoft.com/office/drawing/2014/main" id="{0C02527A-5E65-4B22-95F6-5E1100EC8C49}"/>
                </a:ext>
              </a:extLst>
            </p:cNvPr>
            <p:cNvSpPr/>
            <p:nvPr/>
          </p:nvSpPr>
          <p:spPr bwMode="auto">
            <a:xfrm>
              <a:off x="4278950" y="2990304"/>
              <a:ext cx="4162384" cy="2618709"/>
            </a:xfrm>
            <a:custGeom>
              <a:avLst/>
              <a:gdLst>
                <a:gd name="T0" fmla="*/ 1217 w 1239"/>
                <a:gd name="T1" fmla="*/ 0 h 779"/>
                <a:gd name="T2" fmla="*/ 94 w 1239"/>
                <a:gd name="T3" fmla="*/ 0 h 779"/>
                <a:gd name="T4" fmla="*/ 72 w 1239"/>
                <a:gd name="T5" fmla="*/ 19 h 779"/>
                <a:gd name="T6" fmla="*/ 0 w 1239"/>
                <a:gd name="T7" fmla="*/ 779 h 779"/>
                <a:gd name="T8" fmla="*/ 1166 w 1239"/>
                <a:gd name="T9" fmla="*/ 779 h 779"/>
                <a:gd name="T10" fmla="*/ 1238 w 1239"/>
                <a:gd name="T11" fmla="*/ 24 h 779"/>
                <a:gd name="T12" fmla="*/ 1217 w 1239"/>
                <a:gd name="T13" fmla="*/ 0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9" h="779">
                  <a:moveTo>
                    <a:pt x="1217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83" y="0"/>
                    <a:pt x="73" y="8"/>
                    <a:pt x="72" y="19"/>
                  </a:cubicBezTo>
                  <a:cubicBezTo>
                    <a:pt x="0" y="779"/>
                    <a:pt x="0" y="779"/>
                    <a:pt x="0" y="779"/>
                  </a:cubicBezTo>
                  <a:cubicBezTo>
                    <a:pt x="1166" y="779"/>
                    <a:pt x="1166" y="779"/>
                    <a:pt x="1166" y="779"/>
                  </a:cubicBezTo>
                  <a:cubicBezTo>
                    <a:pt x="1238" y="24"/>
                    <a:pt x="1238" y="24"/>
                    <a:pt x="1238" y="24"/>
                  </a:cubicBezTo>
                  <a:cubicBezTo>
                    <a:pt x="1239" y="11"/>
                    <a:pt x="1229" y="0"/>
                    <a:pt x="1217" y="0"/>
                  </a:cubicBezTo>
                  <a:close/>
                </a:path>
              </a:pathLst>
            </a:custGeom>
            <a:solidFill>
              <a:srgbClr val="2A37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$ļíḍé">
              <a:extLst>
                <a:ext uri="{FF2B5EF4-FFF2-40B4-BE49-F238E27FC236}">
                  <a16:creationId xmlns:a16="http://schemas.microsoft.com/office/drawing/2014/main" id="{ECC727B8-F433-413E-BC6C-6F3766CE78DF}"/>
                </a:ext>
              </a:extLst>
            </p:cNvPr>
            <p:cNvSpPr/>
            <p:nvPr/>
          </p:nvSpPr>
          <p:spPr bwMode="auto">
            <a:xfrm>
              <a:off x="3266402" y="5724043"/>
              <a:ext cx="3615636" cy="110770"/>
            </a:xfrm>
            <a:custGeom>
              <a:avLst/>
              <a:gdLst>
                <a:gd name="T0" fmla="*/ 1076 w 1076"/>
                <a:gd name="T1" fmla="*/ 0 h 33"/>
                <a:gd name="T2" fmla="*/ 1064 w 1076"/>
                <a:gd name="T3" fmla="*/ 18 h 33"/>
                <a:gd name="T4" fmla="*/ 1026 w 1076"/>
                <a:gd name="T5" fmla="*/ 33 h 33"/>
                <a:gd name="T6" fmla="*/ 50 w 1076"/>
                <a:gd name="T7" fmla="*/ 33 h 33"/>
                <a:gd name="T8" fmla="*/ 0 w 1076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6" h="33">
                  <a:moveTo>
                    <a:pt x="1076" y="0"/>
                  </a:moveTo>
                  <a:cubicBezTo>
                    <a:pt x="1073" y="6"/>
                    <a:pt x="1069" y="13"/>
                    <a:pt x="1064" y="18"/>
                  </a:cubicBezTo>
                  <a:cubicBezTo>
                    <a:pt x="1054" y="27"/>
                    <a:pt x="1041" y="33"/>
                    <a:pt x="1026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28" y="33"/>
                    <a:pt x="8" y="2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îṧḷïdè">
              <a:extLst>
                <a:ext uri="{FF2B5EF4-FFF2-40B4-BE49-F238E27FC236}">
                  <a16:creationId xmlns:a16="http://schemas.microsoft.com/office/drawing/2014/main" id="{25EFC92C-2ACF-4CDA-8A4D-1F0536A4A245}"/>
                </a:ext>
              </a:extLst>
            </p:cNvPr>
            <p:cNvSpPr/>
            <p:nvPr/>
          </p:nvSpPr>
          <p:spPr bwMode="auto">
            <a:xfrm>
              <a:off x="4751852" y="5609013"/>
              <a:ext cx="612073" cy="115031"/>
            </a:xfrm>
            <a:custGeom>
              <a:avLst/>
              <a:gdLst>
                <a:gd name="T0" fmla="*/ 158 w 182"/>
                <a:gd name="T1" fmla="*/ 34 h 34"/>
                <a:gd name="T2" fmla="*/ 24 w 182"/>
                <a:gd name="T3" fmla="*/ 34 h 34"/>
                <a:gd name="T4" fmla="*/ 0 w 182"/>
                <a:gd name="T5" fmla="*/ 10 h 34"/>
                <a:gd name="T6" fmla="*/ 0 w 182"/>
                <a:gd name="T7" fmla="*/ 0 h 34"/>
                <a:gd name="T8" fmla="*/ 182 w 182"/>
                <a:gd name="T9" fmla="*/ 0 h 34"/>
                <a:gd name="T10" fmla="*/ 182 w 182"/>
                <a:gd name="T11" fmla="*/ 10 h 34"/>
                <a:gd name="T12" fmla="*/ 158 w 18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34">
                  <a:moveTo>
                    <a:pt x="158" y="34"/>
                  </a:moveTo>
                  <a:cubicBezTo>
                    <a:pt x="24" y="34"/>
                    <a:pt x="24" y="34"/>
                    <a:pt x="24" y="34"/>
                  </a:cubicBezTo>
                  <a:cubicBezTo>
                    <a:pt x="11" y="34"/>
                    <a:pt x="0" y="23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23"/>
                    <a:pt x="171" y="34"/>
                    <a:pt x="158" y="34"/>
                  </a:cubicBezTo>
                  <a:close/>
                </a:path>
              </a:pathLst>
            </a:custGeom>
            <a:solidFill>
              <a:srgbClr val="0E6A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î$ļïḍe">
              <a:extLst>
                <a:ext uri="{FF2B5EF4-FFF2-40B4-BE49-F238E27FC236}">
                  <a16:creationId xmlns:a16="http://schemas.microsoft.com/office/drawing/2014/main" id="{6D5457FA-62B0-4D68-9591-D01CC7901C4A}"/>
                </a:ext>
              </a:extLst>
            </p:cNvPr>
            <p:cNvSpPr/>
            <p:nvPr/>
          </p:nvSpPr>
          <p:spPr bwMode="auto">
            <a:xfrm>
              <a:off x="4493389" y="3174920"/>
              <a:ext cx="3746288" cy="2246636"/>
            </a:xfrm>
            <a:custGeom>
              <a:avLst/>
              <a:gdLst>
                <a:gd name="T0" fmla="*/ 1115 w 1115"/>
                <a:gd name="T1" fmla="*/ 14 h 668"/>
                <a:gd name="T2" fmla="*/ 1109 w 1115"/>
                <a:gd name="T3" fmla="*/ 70 h 668"/>
                <a:gd name="T4" fmla="*/ 1062 w 1115"/>
                <a:gd name="T5" fmla="*/ 566 h 668"/>
                <a:gd name="T6" fmla="*/ 1062 w 1115"/>
                <a:gd name="T7" fmla="*/ 569 h 668"/>
                <a:gd name="T8" fmla="*/ 1053 w 1115"/>
                <a:gd name="T9" fmla="*/ 657 h 668"/>
                <a:gd name="T10" fmla="*/ 1048 w 1115"/>
                <a:gd name="T11" fmla="*/ 666 h 668"/>
                <a:gd name="T12" fmla="*/ 1041 w 1115"/>
                <a:gd name="T13" fmla="*/ 668 h 668"/>
                <a:gd name="T14" fmla="*/ 12 w 1115"/>
                <a:gd name="T15" fmla="*/ 668 h 668"/>
                <a:gd name="T16" fmla="*/ 0 w 1115"/>
                <a:gd name="T17" fmla="*/ 654 h 668"/>
                <a:gd name="T18" fmla="*/ 0 w 1115"/>
                <a:gd name="T19" fmla="*/ 654 h 668"/>
                <a:gd name="T20" fmla="*/ 8 w 1115"/>
                <a:gd name="T21" fmla="*/ 569 h 668"/>
                <a:gd name="T22" fmla="*/ 8 w 1115"/>
                <a:gd name="T23" fmla="*/ 566 h 668"/>
                <a:gd name="T24" fmla="*/ 61 w 1115"/>
                <a:gd name="T25" fmla="*/ 12 h 668"/>
                <a:gd name="T26" fmla="*/ 73 w 1115"/>
                <a:gd name="T27" fmla="*/ 0 h 668"/>
                <a:gd name="T28" fmla="*/ 1102 w 1115"/>
                <a:gd name="T29" fmla="*/ 0 h 668"/>
                <a:gd name="T30" fmla="*/ 1115 w 1115"/>
                <a:gd name="T31" fmla="*/ 14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5" h="668">
                  <a:moveTo>
                    <a:pt x="1115" y="14"/>
                  </a:moveTo>
                  <a:cubicBezTo>
                    <a:pt x="1109" y="70"/>
                    <a:pt x="1109" y="70"/>
                    <a:pt x="1109" y="70"/>
                  </a:cubicBezTo>
                  <a:cubicBezTo>
                    <a:pt x="1062" y="566"/>
                    <a:pt x="1062" y="566"/>
                    <a:pt x="1062" y="566"/>
                  </a:cubicBezTo>
                  <a:cubicBezTo>
                    <a:pt x="1062" y="569"/>
                    <a:pt x="1062" y="569"/>
                    <a:pt x="1062" y="569"/>
                  </a:cubicBezTo>
                  <a:cubicBezTo>
                    <a:pt x="1053" y="657"/>
                    <a:pt x="1053" y="657"/>
                    <a:pt x="1053" y="657"/>
                  </a:cubicBezTo>
                  <a:cubicBezTo>
                    <a:pt x="1053" y="660"/>
                    <a:pt x="1051" y="664"/>
                    <a:pt x="1048" y="666"/>
                  </a:cubicBezTo>
                  <a:cubicBezTo>
                    <a:pt x="1046" y="667"/>
                    <a:pt x="1044" y="668"/>
                    <a:pt x="1041" y="668"/>
                  </a:cubicBezTo>
                  <a:cubicBezTo>
                    <a:pt x="12" y="668"/>
                    <a:pt x="12" y="668"/>
                    <a:pt x="12" y="668"/>
                  </a:cubicBezTo>
                  <a:cubicBezTo>
                    <a:pt x="5" y="668"/>
                    <a:pt x="0" y="662"/>
                    <a:pt x="0" y="654"/>
                  </a:cubicBezTo>
                  <a:cubicBezTo>
                    <a:pt x="0" y="654"/>
                    <a:pt x="0" y="654"/>
                    <a:pt x="0" y="654"/>
                  </a:cubicBezTo>
                  <a:cubicBezTo>
                    <a:pt x="8" y="569"/>
                    <a:pt x="8" y="569"/>
                    <a:pt x="8" y="569"/>
                  </a:cubicBezTo>
                  <a:cubicBezTo>
                    <a:pt x="8" y="566"/>
                    <a:pt x="8" y="566"/>
                    <a:pt x="8" y="566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2" y="5"/>
                    <a:pt x="67" y="0"/>
                    <a:pt x="73" y="0"/>
                  </a:cubicBezTo>
                  <a:cubicBezTo>
                    <a:pt x="1102" y="0"/>
                    <a:pt x="1102" y="0"/>
                    <a:pt x="1102" y="0"/>
                  </a:cubicBezTo>
                  <a:cubicBezTo>
                    <a:pt x="1110" y="0"/>
                    <a:pt x="1115" y="7"/>
                    <a:pt x="1115" y="14"/>
                  </a:cubicBezTo>
                  <a:close/>
                </a:path>
              </a:pathLst>
            </a:custGeom>
            <a:solidFill>
              <a:srgbClr val="586B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sļiďê">
              <a:extLst>
                <a:ext uri="{FF2B5EF4-FFF2-40B4-BE49-F238E27FC236}">
                  <a16:creationId xmlns:a16="http://schemas.microsoft.com/office/drawing/2014/main" id="{C42BC59F-B93F-4343-BA47-973F08AB3711}"/>
                </a:ext>
              </a:extLst>
            </p:cNvPr>
            <p:cNvSpPr/>
            <p:nvPr/>
          </p:nvSpPr>
          <p:spPr bwMode="auto">
            <a:xfrm>
              <a:off x="4493389" y="3189122"/>
              <a:ext cx="3733506" cy="2232435"/>
            </a:xfrm>
            <a:custGeom>
              <a:avLst/>
              <a:gdLst>
                <a:gd name="T0" fmla="*/ 1111 w 1111"/>
                <a:gd name="T1" fmla="*/ 68 h 664"/>
                <a:gd name="T2" fmla="*/ 1063 w 1111"/>
                <a:gd name="T3" fmla="*/ 563 h 664"/>
                <a:gd name="T4" fmla="*/ 1063 w 1111"/>
                <a:gd name="T5" fmla="*/ 564 h 664"/>
                <a:gd name="T6" fmla="*/ 1063 w 1111"/>
                <a:gd name="T7" fmla="*/ 566 h 664"/>
                <a:gd name="T8" fmla="*/ 1055 w 1111"/>
                <a:gd name="T9" fmla="*/ 654 h 664"/>
                <a:gd name="T10" fmla="*/ 1050 w 1111"/>
                <a:gd name="T11" fmla="*/ 662 h 664"/>
                <a:gd name="T12" fmla="*/ 1042 w 1111"/>
                <a:gd name="T13" fmla="*/ 664 h 664"/>
                <a:gd name="T14" fmla="*/ 14 w 1111"/>
                <a:gd name="T15" fmla="*/ 664 h 664"/>
                <a:gd name="T16" fmla="*/ 0 w 1111"/>
                <a:gd name="T17" fmla="*/ 652 h 664"/>
                <a:gd name="T18" fmla="*/ 0 w 1111"/>
                <a:gd name="T19" fmla="*/ 652 h 664"/>
                <a:gd name="T20" fmla="*/ 9 w 1111"/>
                <a:gd name="T21" fmla="*/ 566 h 664"/>
                <a:gd name="T22" fmla="*/ 9 w 1111"/>
                <a:gd name="T23" fmla="*/ 564 h 664"/>
                <a:gd name="T24" fmla="*/ 9 w 1111"/>
                <a:gd name="T25" fmla="*/ 563 h 664"/>
                <a:gd name="T26" fmla="*/ 62 w 1111"/>
                <a:gd name="T27" fmla="*/ 11 h 664"/>
                <a:gd name="T28" fmla="*/ 75 w 1111"/>
                <a:gd name="T29" fmla="*/ 0 h 664"/>
                <a:gd name="T30" fmla="*/ 208 w 1111"/>
                <a:gd name="T31" fmla="*/ 0 h 664"/>
                <a:gd name="T32" fmla="*/ 249 w 1111"/>
                <a:gd name="T33" fmla="*/ 29 h 664"/>
                <a:gd name="T34" fmla="*/ 262 w 1111"/>
                <a:gd name="T35" fmla="*/ 68 h 664"/>
                <a:gd name="T36" fmla="*/ 1111 w 1111"/>
                <a:gd name="T37" fmla="*/ 68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1" h="664">
                  <a:moveTo>
                    <a:pt x="1111" y="68"/>
                  </a:moveTo>
                  <a:cubicBezTo>
                    <a:pt x="1063" y="563"/>
                    <a:pt x="1063" y="563"/>
                    <a:pt x="1063" y="563"/>
                  </a:cubicBezTo>
                  <a:cubicBezTo>
                    <a:pt x="1063" y="564"/>
                    <a:pt x="1063" y="564"/>
                    <a:pt x="1063" y="564"/>
                  </a:cubicBezTo>
                  <a:cubicBezTo>
                    <a:pt x="1063" y="566"/>
                    <a:pt x="1063" y="566"/>
                    <a:pt x="1063" y="566"/>
                  </a:cubicBezTo>
                  <a:cubicBezTo>
                    <a:pt x="1055" y="654"/>
                    <a:pt x="1055" y="654"/>
                    <a:pt x="1055" y="654"/>
                  </a:cubicBezTo>
                  <a:cubicBezTo>
                    <a:pt x="1054" y="658"/>
                    <a:pt x="1052" y="660"/>
                    <a:pt x="1050" y="662"/>
                  </a:cubicBezTo>
                  <a:cubicBezTo>
                    <a:pt x="1048" y="664"/>
                    <a:pt x="1045" y="664"/>
                    <a:pt x="1042" y="664"/>
                  </a:cubicBezTo>
                  <a:cubicBezTo>
                    <a:pt x="14" y="664"/>
                    <a:pt x="14" y="664"/>
                    <a:pt x="14" y="664"/>
                  </a:cubicBezTo>
                  <a:cubicBezTo>
                    <a:pt x="6" y="664"/>
                    <a:pt x="0" y="659"/>
                    <a:pt x="0" y="652"/>
                  </a:cubicBezTo>
                  <a:cubicBezTo>
                    <a:pt x="0" y="652"/>
                    <a:pt x="0" y="652"/>
                    <a:pt x="0" y="652"/>
                  </a:cubicBezTo>
                  <a:cubicBezTo>
                    <a:pt x="9" y="566"/>
                    <a:pt x="9" y="566"/>
                    <a:pt x="9" y="566"/>
                  </a:cubicBezTo>
                  <a:cubicBezTo>
                    <a:pt x="9" y="564"/>
                    <a:pt x="9" y="564"/>
                    <a:pt x="9" y="564"/>
                  </a:cubicBezTo>
                  <a:cubicBezTo>
                    <a:pt x="9" y="563"/>
                    <a:pt x="9" y="563"/>
                    <a:pt x="9" y="563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3" y="4"/>
                    <a:pt x="68" y="0"/>
                    <a:pt x="75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27" y="0"/>
                    <a:pt x="244" y="11"/>
                    <a:pt x="249" y="29"/>
                  </a:cubicBezTo>
                  <a:cubicBezTo>
                    <a:pt x="262" y="68"/>
                    <a:pt x="262" y="68"/>
                    <a:pt x="262" y="68"/>
                  </a:cubicBezTo>
                  <a:lnTo>
                    <a:pt x="1111" y="68"/>
                  </a:lnTo>
                  <a:close/>
                </a:path>
              </a:pathLst>
            </a:custGeom>
            <a:solidFill>
              <a:srgbClr val="A0D4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slïḋê">
              <a:extLst>
                <a:ext uri="{FF2B5EF4-FFF2-40B4-BE49-F238E27FC236}">
                  <a16:creationId xmlns:a16="http://schemas.microsoft.com/office/drawing/2014/main" id="{DFBF826D-4BAF-4EB5-BDBD-6E88FDA35EEA}"/>
                </a:ext>
              </a:extLst>
            </p:cNvPr>
            <p:cNvSpPr/>
            <p:nvPr/>
          </p:nvSpPr>
          <p:spPr bwMode="auto">
            <a:xfrm>
              <a:off x="8195653" y="2990304"/>
              <a:ext cx="343670" cy="2618709"/>
            </a:xfrm>
            <a:custGeom>
              <a:avLst/>
              <a:gdLst>
                <a:gd name="T0" fmla="*/ 79 w 102"/>
                <a:gd name="T1" fmla="*/ 0 h 779"/>
                <a:gd name="T2" fmla="*/ 51 w 102"/>
                <a:gd name="T3" fmla="*/ 0 h 779"/>
                <a:gd name="T4" fmla="*/ 72 w 102"/>
                <a:gd name="T5" fmla="*/ 24 h 779"/>
                <a:gd name="T6" fmla="*/ 0 w 102"/>
                <a:gd name="T7" fmla="*/ 779 h 779"/>
                <a:gd name="T8" fmla="*/ 0 w 102"/>
                <a:gd name="T9" fmla="*/ 779 h 779"/>
                <a:gd name="T10" fmla="*/ 31 w 102"/>
                <a:gd name="T11" fmla="*/ 751 h 779"/>
                <a:gd name="T12" fmla="*/ 100 w 102"/>
                <a:gd name="T13" fmla="*/ 24 h 779"/>
                <a:gd name="T14" fmla="*/ 79 w 102"/>
                <a:gd name="T15" fmla="*/ 0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779">
                  <a:moveTo>
                    <a:pt x="79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63" y="0"/>
                    <a:pt x="73" y="11"/>
                    <a:pt x="72" y="24"/>
                  </a:cubicBezTo>
                  <a:cubicBezTo>
                    <a:pt x="0" y="779"/>
                    <a:pt x="0" y="779"/>
                    <a:pt x="0" y="779"/>
                  </a:cubicBezTo>
                  <a:cubicBezTo>
                    <a:pt x="0" y="779"/>
                    <a:pt x="0" y="779"/>
                    <a:pt x="0" y="779"/>
                  </a:cubicBezTo>
                  <a:cubicBezTo>
                    <a:pt x="16" y="779"/>
                    <a:pt x="30" y="767"/>
                    <a:pt x="31" y="751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2" y="11"/>
                    <a:pt x="92" y="0"/>
                    <a:pt x="79" y="0"/>
                  </a:cubicBezTo>
                  <a:close/>
                </a:path>
              </a:pathLst>
            </a:custGeom>
            <a:solidFill>
              <a:srgbClr val="202B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iṡľíďê">
              <a:extLst>
                <a:ext uri="{FF2B5EF4-FFF2-40B4-BE49-F238E27FC236}">
                  <a16:creationId xmlns:a16="http://schemas.microsoft.com/office/drawing/2014/main" id="{261AD847-85C1-44B1-BE11-37B490DEE694}"/>
                </a:ext>
              </a:extLst>
            </p:cNvPr>
            <p:cNvSpPr/>
            <p:nvPr/>
          </p:nvSpPr>
          <p:spPr bwMode="auto">
            <a:xfrm>
              <a:off x="3253621" y="5609013"/>
              <a:ext cx="4942032" cy="225800"/>
            </a:xfrm>
            <a:custGeom>
              <a:avLst/>
              <a:gdLst>
                <a:gd name="T0" fmla="*/ 1471 w 1471"/>
                <a:gd name="T1" fmla="*/ 13 h 67"/>
                <a:gd name="T2" fmla="*/ 1455 w 1471"/>
                <a:gd name="T3" fmla="*/ 52 h 67"/>
                <a:gd name="T4" fmla="*/ 1417 w 1471"/>
                <a:gd name="T5" fmla="*/ 67 h 67"/>
                <a:gd name="T6" fmla="*/ 54 w 1471"/>
                <a:gd name="T7" fmla="*/ 67 h 67"/>
                <a:gd name="T8" fmla="*/ 0 w 1471"/>
                <a:gd name="T9" fmla="*/ 19 h 67"/>
                <a:gd name="T10" fmla="*/ 0 w 1471"/>
                <a:gd name="T11" fmla="*/ 13 h 67"/>
                <a:gd name="T12" fmla="*/ 4 w 1471"/>
                <a:gd name="T13" fmla="*/ 4 h 67"/>
                <a:gd name="T14" fmla="*/ 13 w 1471"/>
                <a:gd name="T15" fmla="*/ 0 h 67"/>
                <a:gd name="T16" fmla="*/ 1458 w 1471"/>
                <a:gd name="T17" fmla="*/ 0 h 67"/>
                <a:gd name="T18" fmla="*/ 1471 w 1471"/>
                <a:gd name="T19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1" h="67">
                  <a:moveTo>
                    <a:pt x="1471" y="13"/>
                  </a:moveTo>
                  <a:cubicBezTo>
                    <a:pt x="1471" y="28"/>
                    <a:pt x="1465" y="42"/>
                    <a:pt x="1455" y="52"/>
                  </a:cubicBezTo>
                  <a:cubicBezTo>
                    <a:pt x="1445" y="61"/>
                    <a:pt x="1432" y="67"/>
                    <a:pt x="1417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26" y="67"/>
                    <a:pt x="3" y="46"/>
                    <a:pt x="0" y="19"/>
                  </a:cubicBezTo>
                  <a:cubicBezTo>
                    <a:pt x="0" y="17"/>
                    <a:pt x="0" y="15"/>
                    <a:pt x="0" y="13"/>
                  </a:cubicBezTo>
                  <a:cubicBezTo>
                    <a:pt x="0" y="9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458" y="0"/>
                    <a:pt x="1458" y="0"/>
                    <a:pt x="1458" y="0"/>
                  </a:cubicBezTo>
                  <a:cubicBezTo>
                    <a:pt x="1465" y="0"/>
                    <a:pt x="1471" y="6"/>
                    <a:pt x="1471" y="13"/>
                  </a:cubicBez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iśľíďe">
              <a:extLst>
                <a:ext uri="{FF2B5EF4-FFF2-40B4-BE49-F238E27FC236}">
                  <a16:creationId xmlns:a16="http://schemas.microsoft.com/office/drawing/2014/main" id="{60DF1C89-09A7-4FF2-BB55-EC93530A1FAE}"/>
                </a:ext>
              </a:extLst>
            </p:cNvPr>
            <p:cNvSpPr/>
            <p:nvPr/>
          </p:nvSpPr>
          <p:spPr bwMode="auto">
            <a:xfrm>
              <a:off x="7846302" y="5672918"/>
              <a:ext cx="44023" cy="100829"/>
            </a:xfrm>
            <a:custGeom>
              <a:avLst/>
              <a:gdLst>
                <a:gd name="T0" fmla="*/ 4 w 13"/>
                <a:gd name="T1" fmla="*/ 30 h 30"/>
                <a:gd name="T2" fmla="*/ 3 w 13"/>
                <a:gd name="T3" fmla="*/ 30 h 30"/>
                <a:gd name="T4" fmla="*/ 1 w 13"/>
                <a:gd name="T5" fmla="*/ 24 h 30"/>
                <a:gd name="T6" fmla="*/ 5 w 13"/>
                <a:gd name="T7" fmla="*/ 4 h 30"/>
                <a:gd name="T8" fmla="*/ 9 w 13"/>
                <a:gd name="T9" fmla="*/ 0 h 30"/>
                <a:gd name="T10" fmla="*/ 13 w 13"/>
                <a:gd name="T11" fmla="*/ 4 h 30"/>
                <a:gd name="T12" fmla="*/ 8 w 13"/>
                <a:gd name="T13" fmla="*/ 28 h 30"/>
                <a:gd name="T14" fmla="*/ 4 w 13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0">
                  <a:moveTo>
                    <a:pt x="4" y="30"/>
                  </a:moveTo>
                  <a:cubicBezTo>
                    <a:pt x="4" y="30"/>
                    <a:pt x="3" y="30"/>
                    <a:pt x="3" y="30"/>
                  </a:cubicBezTo>
                  <a:cubicBezTo>
                    <a:pt x="1" y="29"/>
                    <a:pt x="0" y="26"/>
                    <a:pt x="1" y="24"/>
                  </a:cubicBezTo>
                  <a:cubicBezTo>
                    <a:pt x="4" y="18"/>
                    <a:pt x="5" y="11"/>
                    <a:pt x="5" y="4"/>
                  </a:cubicBezTo>
                  <a:cubicBezTo>
                    <a:pt x="5" y="1"/>
                    <a:pt x="7" y="0"/>
                    <a:pt x="9" y="0"/>
                  </a:cubicBezTo>
                  <a:cubicBezTo>
                    <a:pt x="11" y="0"/>
                    <a:pt x="13" y="1"/>
                    <a:pt x="13" y="4"/>
                  </a:cubicBezTo>
                  <a:cubicBezTo>
                    <a:pt x="13" y="12"/>
                    <a:pt x="11" y="20"/>
                    <a:pt x="8" y="28"/>
                  </a:cubicBezTo>
                  <a:cubicBezTo>
                    <a:pt x="7" y="29"/>
                    <a:pt x="6" y="30"/>
                    <a:pt x="4" y="30"/>
                  </a:cubicBezTo>
                  <a:close/>
                </a:path>
              </a:pathLst>
            </a:custGeom>
            <a:solidFill>
              <a:srgbClr val="202B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i$ľïďè">
              <a:extLst>
                <a:ext uri="{FF2B5EF4-FFF2-40B4-BE49-F238E27FC236}">
                  <a16:creationId xmlns:a16="http://schemas.microsoft.com/office/drawing/2014/main" id="{441EF065-947B-402D-A953-CA74B3750812}"/>
                </a:ext>
              </a:extLst>
            </p:cNvPr>
            <p:cNvSpPr/>
            <p:nvPr/>
          </p:nvSpPr>
          <p:spPr bwMode="auto">
            <a:xfrm>
              <a:off x="7914468" y="5672918"/>
              <a:ext cx="42604" cy="100829"/>
            </a:xfrm>
            <a:custGeom>
              <a:avLst/>
              <a:gdLst>
                <a:gd name="T0" fmla="*/ 4 w 13"/>
                <a:gd name="T1" fmla="*/ 30 h 30"/>
                <a:gd name="T2" fmla="*/ 3 w 13"/>
                <a:gd name="T3" fmla="*/ 30 h 30"/>
                <a:gd name="T4" fmla="*/ 1 w 13"/>
                <a:gd name="T5" fmla="*/ 24 h 30"/>
                <a:gd name="T6" fmla="*/ 5 w 13"/>
                <a:gd name="T7" fmla="*/ 4 h 30"/>
                <a:gd name="T8" fmla="*/ 9 w 13"/>
                <a:gd name="T9" fmla="*/ 0 h 30"/>
                <a:gd name="T10" fmla="*/ 13 w 13"/>
                <a:gd name="T11" fmla="*/ 4 h 30"/>
                <a:gd name="T12" fmla="*/ 8 w 13"/>
                <a:gd name="T13" fmla="*/ 28 h 30"/>
                <a:gd name="T14" fmla="*/ 4 w 13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0">
                  <a:moveTo>
                    <a:pt x="4" y="30"/>
                  </a:moveTo>
                  <a:cubicBezTo>
                    <a:pt x="4" y="30"/>
                    <a:pt x="3" y="30"/>
                    <a:pt x="3" y="30"/>
                  </a:cubicBezTo>
                  <a:cubicBezTo>
                    <a:pt x="1" y="29"/>
                    <a:pt x="0" y="26"/>
                    <a:pt x="1" y="24"/>
                  </a:cubicBezTo>
                  <a:cubicBezTo>
                    <a:pt x="4" y="18"/>
                    <a:pt x="5" y="11"/>
                    <a:pt x="5" y="4"/>
                  </a:cubicBezTo>
                  <a:cubicBezTo>
                    <a:pt x="5" y="1"/>
                    <a:pt x="7" y="0"/>
                    <a:pt x="9" y="0"/>
                  </a:cubicBezTo>
                  <a:cubicBezTo>
                    <a:pt x="11" y="0"/>
                    <a:pt x="13" y="1"/>
                    <a:pt x="13" y="4"/>
                  </a:cubicBezTo>
                  <a:cubicBezTo>
                    <a:pt x="13" y="12"/>
                    <a:pt x="12" y="20"/>
                    <a:pt x="8" y="28"/>
                  </a:cubicBezTo>
                  <a:cubicBezTo>
                    <a:pt x="7" y="29"/>
                    <a:pt x="6" y="30"/>
                    <a:pt x="4" y="30"/>
                  </a:cubicBezTo>
                  <a:close/>
                </a:path>
              </a:pathLst>
            </a:custGeom>
            <a:solidFill>
              <a:srgbClr val="202B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ï$lide">
              <a:extLst>
                <a:ext uri="{FF2B5EF4-FFF2-40B4-BE49-F238E27FC236}">
                  <a16:creationId xmlns:a16="http://schemas.microsoft.com/office/drawing/2014/main" id="{1C5F379D-1C35-4656-8EF7-63BD901C10E6}"/>
                </a:ext>
              </a:extLst>
            </p:cNvPr>
            <p:cNvSpPr/>
            <p:nvPr/>
          </p:nvSpPr>
          <p:spPr bwMode="auto">
            <a:xfrm>
              <a:off x="7981215" y="5672918"/>
              <a:ext cx="44023" cy="100829"/>
            </a:xfrm>
            <a:custGeom>
              <a:avLst/>
              <a:gdLst>
                <a:gd name="T0" fmla="*/ 5 w 13"/>
                <a:gd name="T1" fmla="*/ 30 h 30"/>
                <a:gd name="T2" fmla="*/ 3 w 13"/>
                <a:gd name="T3" fmla="*/ 30 h 30"/>
                <a:gd name="T4" fmla="*/ 1 w 13"/>
                <a:gd name="T5" fmla="*/ 24 h 30"/>
                <a:gd name="T6" fmla="*/ 5 w 13"/>
                <a:gd name="T7" fmla="*/ 4 h 30"/>
                <a:gd name="T8" fmla="*/ 9 w 13"/>
                <a:gd name="T9" fmla="*/ 0 h 30"/>
                <a:gd name="T10" fmla="*/ 13 w 13"/>
                <a:gd name="T11" fmla="*/ 4 h 30"/>
                <a:gd name="T12" fmla="*/ 8 w 13"/>
                <a:gd name="T13" fmla="*/ 28 h 30"/>
                <a:gd name="T14" fmla="*/ 5 w 13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0">
                  <a:moveTo>
                    <a:pt x="5" y="30"/>
                  </a:moveTo>
                  <a:cubicBezTo>
                    <a:pt x="4" y="30"/>
                    <a:pt x="3" y="30"/>
                    <a:pt x="3" y="30"/>
                  </a:cubicBezTo>
                  <a:cubicBezTo>
                    <a:pt x="1" y="29"/>
                    <a:pt x="0" y="26"/>
                    <a:pt x="1" y="24"/>
                  </a:cubicBezTo>
                  <a:cubicBezTo>
                    <a:pt x="4" y="18"/>
                    <a:pt x="5" y="11"/>
                    <a:pt x="5" y="4"/>
                  </a:cubicBezTo>
                  <a:cubicBezTo>
                    <a:pt x="5" y="1"/>
                    <a:pt x="7" y="0"/>
                    <a:pt x="9" y="0"/>
                  </a:cubicBezTo>
                  <a:cubicBezTo>
                    <a:pt x="12" y="0"/>
                    <a:pt x="13" y="1"/>
                    <a:pt x="13" y="4"/>
                  </a:cubicBezTo>
                  <a:cubicBezTo>
                    <a:pt x="13" y="12"/>
                    <a:pt x="12" y="20"/>
                    <a:pt x="8" y="28"/>
                  </a:cubicBezTo>
                  <a:cubicBezTo>
                    <a:pt x="8" y="29"/>
                    <a:pt x="6" y="30"/>
                    <a:pt x="5" y="30"/>
                  </a:cubicBezTo>
                  <a:close/>
                </a:path>
              </a:pathLst>
            </a:custGeom>
            <a:solidFill>
              <a:srgbClr val="202B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ṧlîďè">
              <a:extLst>
                <a:ext uri="{FF2B5EF4-FFF2-40B4-BE49-F238E27FC236}">
                  <a16:creationId xmlns:a16="http://schemas.microsoft.com/office/drawing/2014/main" id="{00EFA518-7F4F-412B-9FFA-413DC767F38C}"/>
                </a:ext>
              </a:extLst>
            </p:cNvPr>
            <p:cNvSpPr/>
            <p:nvPr/>
          </p:nvSpPr>
          <p:spPr bwMode="auto">
            <a:xfrm>
              <a:off x="3253621" y="5609013"/>
              <a:ext cx="3642618" cy="225800"/>
            </a:xfrm>
            <a:custGeom>
              <a:avLst/>
              <a:gdLst>
                <a:gd name="T0" fmla="*/ 1084 w 1084"/>
                <a:gd name="T1" fmla="*/ 13 h 67"/>
                <a:gd name="T2" fmla="*/ 1084 w 1084"/>
                <a:gd name="T3" fmla="*/ 19 h 67"/>
                <a:gd name="T4" fmla="*/ 1068 w 1084"/>
                <a:gd name="T5" fmla="*/ 52 h 67"/>
                <a:gd name="T6" fmla="*/ 1030 w 1084"/>
                <a:gd name="T7" fmla="*/ 67 h 67"/>
                <a:gd name="T8" fmla="*/ 54 w 1084"/>
                <a:gd name="T9" fmla="*/ 67 h 67"/>
                <a:gd name="T10" fmla="*/ 0 w 1084"/>
                <a:gd name="T11" fmla="*/ 19 h 67"/>
                <a:gd name="T12" fmla="*/ 0 w 1084"/>
                <a:gd name="T13" fmla="*/ 13 h 67"/>
                <a:gd name="T14" fmla="*/ 4 w 1084"/>
                <a:gd name="T15" fmla="*/ 4 h 67"/>
                <a:gd name="T16" fmla="*/ 13 w 1084"/>
                <a:gd name="T17" fmla="*/ 0 h 67"/>
                <a:gd name="T18" fmla="*/ 1071 w 1084"/>
                <a:gd name="T19" fmla="*/ 0 h 67"/>
                <a:gd name="T20" fmla="*/ 1084 w 1084"/>
                <a:gd name="T21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4" h="67">
                  <a:moveTo>
                    <a:pt x="1084" y="13"/>
                  </a:moveTo>
                  <a:cubicBezTo>
                    <a:pt x="1084" y="15"/>
                    <a:pt x="1084" y="17"/>
                    <a:pt x="1084" y="19"/>
                  </a:cubicBezTo>
                  <a:cubicBezTo>
                    <a:pt x="1082" y="31"/>
                    <a:pt x="1077" y="43"/>
                    <a:pt x="1068" y="52"/>
                  </a:cubicBezTo>
                  <a:cubicBezTo>
                    <a:pt x="1058" y="61"/>
                    <a:pt x="1045" y="67"/>
                    <a:pt x="1030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26" y="67"/>
                    <a:pt x="3" y="46"/>
                    <a:pt x="0" y="19"/>
                  </a:cubicBezTo>
                  <a:cubicBezTo>
                    <a:pt x="0" y="17"/>
                    <a:pt x="0" y="15"/>
                    <a:pt x="0" y="13"/>
                  </a:cubicBezTo>
                  <a:cubicBezTo>
                    <a:pt x="0" y="9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071" y="0"/>
                    <a:pt x="1071" y="0"/>
                    <a:pt x="1071" y="0"/>
                  </a:cubicBezTo>
                  <a:cubicBezTo>
                    <a:pt x="1078" y="0"/>
                    <a:pt x="1084" y="6"/>
                    <a:pt x="1084" y="13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ṧľiḓê">
              <a:extLst>
                <a:ext uri="{FF2B5EF4-FFF2-40B4-BE49-F238E27FC236}">
                  <a16:creationId xmlns:a16="http://schemas.microsoft.com/office/drawing/2014/main" id="{37FE5E57-CC99-460C-8030-F1AF5D34BEE5}"/>
                </a:ext>
              </a:extLst>
            </p:cNvPr>
            <p:cNvSpPr/>
            <p:nvPr/>
          </p:nvSpPr>
          <p:spPr bwMode="auto">
            <a:xfrm>
              <a:off x="4751852" y="5609013"/>
              <a:ext cx="612073" cy="115031"/>
            </a:xfrm>
            <a:custGeom>
              <a:avLst/>
              <a:gdLst>
                <a:gd name="T0" fmla="*/ 158 w 182"/>
                <a:gd name="T1" fmla="*/ 34 h 34"/>
                <a:gd name="T2" fmla="*/ 24 w 182"/>
                <a:gd name="T3" fmla="*/ 34 h 34"/>
                <a:gd name="T4" fmla="*/ 0 w 182"/>
                <a:gd name="T5" fmla="*/ 10 h 34"/>
                <a:gd name="T6" fmla="*/ 0 w 182"/>
                <a:gd name="T7" fmla="*/ 0 h 34"/>
                <a:gd name="T8" fmla="*/ 182 w 182"/>
                <a:gd name="T9" fmla="*/ 0 h 34"/>
                <a:gd name="T10" fmla="*/ 182 w 182"/>
                <a:gd name="T11" fmla="*/ 10 h 34"/>
                <a:gd name="T12" fmla="*/ 158 w 18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34">
                  <a:moveTo>
                    <a:pt x="158" y="34"/>
                  </a:moveTo>
                  <a:cubicBezTo>
                    <a:pt x="24" y="34"/>
                    <a:pt x="24" y="34"/>
                    <a:pt x="24" y="34"/>
                  </a:cubicBezTo>
                  <a:cubicBezTo>
                    <a:pt x="11" y="34"/>
                    <a:pt x="0" y="23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23"/>
                    <a:pt x="171" y="34"/>
                    <a:pt x="158" y="34"/>
                  </a:cubicBezTo>
                  <a:close/>
                </a:path>
              </a:pathLst>
            </a:custGeom>
            <a:solidFill>
              <a:srgbClr val="202B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$ľîḓe">
              <a:extLst>
                <a:ext uri="{FF2B5EF4-FFF2-40B4-BE49-F238E27FC236}">
                  <a16:creationId xmlns:a16="http://schemas.microsoft.com/office/drawing/2014/main" id="{FF2AA3EF-C267-42B3-ACAD-AFD5024AC2A6}"/>
                </a:ext>
              </a:extLst>
            </p:cNvPr>
            <p:cNvSpPr/>
            <p:nvPr/>
          </p:nvSpPr>
          <p:spPr bwMode="auto">
            <a:xfrm>
              <a:off x="7124879" y="5682860"/>
              <a:ext cx="83787" cy="80948"/>
            </a:xfrm>
            <a:prstGeom prst="ellipse">
              <a:avLst/>
            </a:prstGeom>
            <a:solidFill>
              <a:srgbClr val="202B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ṥ1ídê">
              <a:extLst>
                <a:ext uri="{FF2B5EF4-FFF2-40B4-BE49-F238E27FC236}">
                  <a16:creationId xmlns:a16="http://schemas.microsoft.com/office/drawing/2014/main" id="{C711D6D4-A2A0-461B-B199-63CF5FCCFDB7}"/>
                </a:ext>
              </a:extLst>
            </p:cNvPr>
            <p:cNvSpPr/>
            <p:nvPr/>
          </p:nvSpPr>
          <p:spPr bwMode="auto">
            <a:xfrm>
              <a:off x="7295294" y="5682860"/>
              <a:ext cx="85207" cy="80948"/>
            </a:xfrm>
            <a:prstGeom prst="ellipse">
              <a:avLst/>
            </a:prstGeom>
            <a:solidFill>
              <a:srgbClr val="202B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íṩlïďe">
              <a:extLst>
                <a:ext uri="{FF2B5EF4-FFF2-40B4-BE49-F238E27FC236}">
                  <a16:creationId xmlns:a16="http://schemas.microsoft.com/office/drawing/2014/main" id="{F21B490D-E7A1-4FA6-BA77-49C9D6250F61}"/>
                </a:ext>
              </a:extLst>
            </p:cNvPr>
            <p:cNvSpPr/>
            <p:nvPr/>
          </p:nvSpPr>
          <p:spPr bwMode="auto">
            <a:xfrm>
              <a:off x="7629024" y="3245927"/>
              <a:ext cx="86627" cy="88048"/>
            </a:xfrm>
            <a:prstGeom prst="ellipse">
              <a:avLst/>
            </a:prstGeom>
            <a:solidFill>
              <a:srgbClr val="00D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slide">
              <a:extLst>
                <a:ext uri="{FF2B5EF4-FFF2-40B4-BE49-F238E27FC236}">
                  <a16:creationId xmlns:a16="http://schemas.microsoft.com/office/drawing/2014/main" id="{48728636-F7FC-4188-8CDA-2C9B9D0B557D}"/>
                </a:ext>
              </a:extLst>
            </p:cNvPr>
            <p:cNvSpPr/>
            <p:nvPr/>
          </p:nvSpPr>
          <p:spPr bwMode="auto">
            <a:xfrm>
              <a:off x="7813640" y="3245927"/>
              <a:ext cx="86627" cy="88048"/>
            </a:xfrm>
            <a:prstGeom prst="ellipse">
              <a:avLst/>
            </a:prstGeom>
            <a:solidFill>
              <a:srgbClr val="F65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ïṩľide">
              <a:extLst>
                <a:ext uri="{FF2B5EF4-FFF2-40B4-BE49-F238E27FC236}">
                  <a16:creationId xmlns:a16="http://schemas.microsoft.com/office/drawing/2014/main" id="{ACCEBB92-6253-4AA4-A563-53D21A2C6A93}"/>
                </a:ext>
              </a:extLst>
            </p:cNvPr>
            <p:cNvSpPr/>
            <p:nvPr/>
          </p:nvSpPr>
          <p:spPr bwMode="auto">
            <a:xfrm>
              <a:off x="7998256" y="3245927"/>
              <a:ext cx="86627" cy="88048"/>
            </a:xfrm>
            <a:prstGeom prst="ellipse">
              <a:avLst/>
            </a:prstGeom>
            <a:solidFill>
              <a:srgbClr val="FCB2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37" name="íṥ1ïďè">
              <a:extLst>
                <a:ext uri="{FF2B5EF4-FFF2-40B4-BE49-F238E27FC236}">
                  <a16:creationId xmlns:a16="http://schemas.microsoft.com/office/drawing/2014/main" id="{8072040C-7445-43E2-892A-67CB828E6D7F}"/>
                </a:ext>
              </a:extLst>
            </p:cNvPr>
            <p:cNvGrpSpPr/>
            <p:nvPr/>
          </p:nvGrpSpPr>
          <p:grpSpPr>
            <a:xfrm>
              <a:off x="4493389" y="5084987"/>
              <a:ext cx="3571612" cy="336570"/>
              <a:chOff x="3182938" y="5100638"/>
              <a:chExt cx="3992562" cy="376238"/>
            </a:xfrm>
          </p:grpSpPr>
          <p:sp>
            <p:nvSpPr>
              <p:cNvPr id="189" name="ïşļîdé">
                <a:extLst>
                  <a:ext uri="{FF2B5EF4-FFF2-40B4-BE49-F238E27FC236}">
                    <a16:creationId xmlns:a16="http://schemas.microsoft.com/office/drawing/2014/main" id="{3BC8D202-2051-46B7-A28C-F5E1A16EE679}"/>
                  </a:ext>
                </a:extLst>
              </p:cNvPr>
              <p:cNvSpPr/>
              <p:nvPr/>
            </p:nvSpPr>
            <p:spPr bwMode="auto">
              <a:xfrm>
                <a:off x="3182938" y="5100638"/>
                <a:ext cx="3992562" cy="376238"/>
              </a:xfrm>
              <a:custGeom>
                <a:avLst/>
                <a:gdLst>
                  <a:gd name="T0" fmla="*/ 1063 w 1063"/>
                  <a:gd name="T1" fmla="*/ 0 h 100"/>
                  <a:gd name="T2" fmla="*/ 1063 w 1063"/>
                  <a:gd name="T3" fmla="*/ 0 h 100"/>
                  <a:gd name="T4" fmla="*/ 1063 w 1063"/>
                  <a:gd name="T5" fmla="*/ 3 h 100"/>
                  <a:gd name="T6" fmla="*/ 1055 w 1063"/>
                  <a:gd name="T7" fmla="*/ 90 h 100"/>
                  <a:gd name="T8" fmla="*/ 1050 w 1063"/>
                  <a:gd name="T9" fmla="*/ 99 h 100"/>
                  <a:gd name="T10" fmla="*/ 1042 w 1063"/>
                  <a:gd name="T11" fmla="*/ 100 h 100"/>
                  <a:gd name="T12" fmla="*/ 14 w 1063"/>
                  <a:gd name="T13" fmla="*/ 100 h 100"/>
                  <a:gd name="T14" fmla="*/ 0 w 1063"/>
                  <a:gd name="T15" fmla="*/ 88 h 100"/>
                  <a:gd name="T16" fmla="*/ 0 w 1063"/>
                  <a:gd name="T17" fmla="*/ 88 h 100"/>
                  <a:gd name="T18" fmla="*/ 9 w 1063"/>
                  <a:gd name="T19" fmla="*/ 2 h 100"/>
                  <a:gd name="T20" fmla="*/ 9 w 1063"/>
                  <a:gd name="T21" fmla="*/ 0 h 100"/>
                  <a:gd name="T22" fmla="*/ 9 w 1063"/>
                  <a:gd name="T23" fmla="*/ 0 h 100"/>
                  <a:gd name="T24" fmla="*/ 1063 w 1063"/>
                  <a:gd name="T2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63" h="100">
                    <a:moveTo>
                      <a:pt x="1063" y="0"/>
                    </a:moveTo>
                    <a:cubicBezTo>
                      <a:pt x="1063" y="0"/>
                      <a:pt x="1063" y="0"/>
                      <a:pt x="1063" y="0"/>
                    </a:cubicBezTo>
                    <a:cubicBezTo>
                      <a:pt x="1063" y="3"/>
                      <a:pt x="1063" y="3"/>
                      <a:pt x="1063" y="3"/>
                    </a:cubicBezTo>
                    <a:cubicBezTo>
                      <a:pt x="1055" y="90"/>
                      <a:pt x="1055" y="90"/>
                      <a:pt x="1055" y="90"/>
                    </a:cubicBezTo>
                    <a:cubicBezTo>
                      <a:pt x="1054" y="94"/>
                      <a:pt x="1052" y="97"/>
                      <a:pt x="1050" y="99"/>
                    </a:cubicBezTo>
                    <a:cubicBezTo>
                      <a:pt x="1048" y="100"/>
                      <a:pt x="1045" y="100"/>
                      <a:pt x="1042" y="100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6" y="100"/>
                      <a:pt x="0" y="95"/>
                      <a:pt x="0" y="88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lnTo>
                      <a:pt x="1063" y="0"/>
                    </a:lnTo>
                    <a:close/>
                  </a:path>
                </a:pathLst>
              </a:custGeom>
              <a:solidFill>
                <a:srgbClr val="4867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0" name="iṡľiḍé">
                <a:extLst>
                  <a:ext uri="{FF2B5EF4-FFF2-40B4-BE49-F238E27FC236}">
                    <a16:creationId xmlns:a16="http://schemas.microsoft.com/office/drawing/2014/main" id="{BFFAA24D-8C95-41E4-A3D3-60496DAD8B34}"/>
                  </a:ext>
                </a:extLst>
              </p:cNvPr>
              <p:cNvSpPr/>
              <p:nvPr/>
            </p:nvSpPr>
            <p:spPr bwMode="auto">
              <a:xfrm>
                <a:off x="3471863" y="5281613"/>
                <a:ext cx="3519487" cy="47625"/>
              </a:xfrm>
              <a:custGeom>
                <a:avLst/>
                <a:gdLst>
                  <a:gd name="T0" fmla="*/ 931 w 937"/>
                  <a:gd name="T1" fmla="*/ 0 h 13"/>
                  <a:gd name="T2" fmla="*/ 6 w 937"/>
                  <a:gd name="T3" fmla="*/ 0 h 13"/>
                  <a:gd name="T4" fmla="*/ 0 w 937"/>
                  <a:gd name="T5" fmla="*/ 6 h 13"/>
                  <a:gd name="T6" fmla="*/ 0 w 937"/>
                  <a:gd name="T7" fmla="*/ 8 h 13"/>
                  <a:gd name="T8" fmla="*/ 6 w 937"/>
                  <a:gd name="T9" fmla="*/ 13 h 13"/>
                  <a:gd name="T10" fmla="*/ 931 w 937"/>
                  <a:gd name="T11" fmla="*/ 13 h 13"/>
                  <a:gd name="T12" fmla="*/ 937 w 937"/>
                  <a:gd name="T13" fmla="*/ 8 h 13"/>
                  <a:gd name="T14" fmla="*/ 937 w 937"/>
                  <a:gd name="T15" fmla="*/ 6 h 13"/>
                  <a:gd name="T16" fmla="*/ 931 w 937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7" h="13">
                    <a:moveTo>
                      <a:pt x="931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6" y="13"/>
                    </a:cubicBezTo>
                    <a:cubicBezTo>
                      <a:pt x="931" y="13"/>
                      <a:pt x="931" y="13"/>
                      <a:pt x="931" y="13"/>
                    </a:cubicBezTo>
                    <a:cubicBezTo>
                      <a:pt x="934" y="13"/>
                      <a:pt x="937" y="11"/>
                      <a:pt x="937" y="8"/>
                    </a:cubicBezTo>
                    <a:cubicBezTo>
                      <a:pt x="937" y="6"/>
                      <a:pt x="937" y="6"/>
                      <a:pt x="937" y="6"/>
                    </a:cubicBezTo>
                    <a:cubicBezTo>
                      <a:pt x="937" y="3"/>
                      <a:pt x="934" y="0"/>
                      <a:pt x="931" y="0"/>
                    </a:cubicBezTo>
                    <a:close/>
                  </a:path>
                </a:pathLst>
              </a:custGeom>
              <a:solidFill>
                <a:srgbClr val="638C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1" name="išḷíḍé">
                <a:extLst>
                  <a:ext uri="{FF2B5EF4-FFF2-40B4-BE49-F238E27FC236}">
                    <a16:creationId xmlns:a16="http://schemas.microsoft.com/office/drawing/2014/main" id="{64F19E10-30E4-4CED-906B-F7FE08FD3826}"/>
                  </a:ext>
                </a:extLst>
              </p:cNvPr>
              <p:cNvSpPr/>
              <p:nvPr/>
            </p:nvSpPr>
            <p:spPr bwMode="auto">
              <a:xfrm>
                <a:off x="3452813" y="5227638"/>
                <a:ext cx="153987" cy="15398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8" name="îŝlïdê">
              <a:extLst>
                <a:ext uri="{FF2B5EF4-FFF2-40B4-BE49-F238E27FC236}">
                  <a16:creationId xmlns:a16="http://schemas.microsoft.com/office/drawing/2014/main" id="{0181310C-C616-4540-9795-272F511EA2F8}"/>
                </a:ext>
              </a:extLst>
            </p:cNvPr>
            <p:cNvGrpSpPr/>
            <p:nvPr/>
          </p:nvGrpSpPr>
          <p:grpSpPr>
            <a:xfrm>
              <a:off x="3367231" y="2439296"/>
              <a:ext cx="1492550" cy="1261070"/>
              <a:chOff x="1924050" y="2143126"/>
              <a:chExt cx="1668462" cy="1409700"/>
            </a:xfrm>
          </p:grpSpPr>
          <p:sp>
            <p:nvSpPr>
              <p:cNvPr id="185" name="iṥḷíḍé">
                <a:extLst>
                  <a:ext uri="{FF2B5EF4-FFF2-40B4-BE49-F238E27FC236}">
                    <a16:creationId xmlns:a16="http://schemas.microsoft.com/office/drawing/2014/main" id="{685DAB95-080F-4F65-8394-6633B68A9555}"/>
                  </a:ext>
                </a:extLst>
              </p:cNvPr>
              <p:cNvSpPr/>
              <p:nvPr/>
            </p:nvSpPr>
            <p:spPr bwMode="auto">
              <a:xfrm>
                <a:off x="1924050" y="2143126"/>
                <a:ext cx="1668462" cy="1409700"/>
              </a:xfrm>
              <a:custGeom>
                <a:avLst/>
                <a:gdLst>
                  <a:gd name="T0" fmla="*/ 417 w 444"/>
                  <a:gd name="T1" fmla="*/ 148 h 375"/>
                  <a:gd name="T2" fmla="*/ 311 w 444"/>
                  <a:gd name="T3" fmla="*/ 37 h 375"/>
                  <a:gd name="T4" fmla="*/ 48 w 444"/>
                  <a:gd name="T5" fmla="*/ 87 h 375"/>
                  <a:gd name="T6" fmla="*/ 66 w 444"/>
                  <a:gd name="T7" fmla="*/ 289 h 375"/>
                  <a:gd name="T8" fmla="*/ 288 w 444"/>
                  <a:gd name="T9" fmla="*/ 338 h 375"/>
                  <a:gd name="T10" fmla="*/ 425 w 444"/>
                  <a:gd name="T11" fmla="*/ 349 h 375"/>
                  <a:gd name="T12" fmla="*/ 353 w 444"/>
                  <a:gd name="T13" fmla="*/ 316 h 375"/>
                  <a:gd name="T14" fmla="*/ 417 w 444"/>
                  <a:gd name="T15" fmla="*/ 148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4" h="375">
                    <a:moveTo>
                      <a:pt x="417" y="148"/>
                    </a:moveTo>
                    <a:cubicBezTo>
                      <a:pt x="401" y="98"/>
                      <a:pt x="359" y="58"/>
                      <a:pt x="311" y="37"/>
                    </a:cubicBezTo>
                    <a:cubicBezTo>
                      <a:pt x="229" y="0"/>
                      <a:pt x="106" y="14"/>
                      <a:pt x="48" y="87"/>
                    </a:cubicBezTo>
                    <a:cubicBezTo>
                      <a:pt x="0" y="148"/>
                      <a:pt x="10" y="237"/>
                      <a:pt x="66" y="289"/>
                    </a:cubicBezTo>
                    <a:cubicBezTo>
                      <a:pt x="118" y="336"/>
                      <a:pt x="210" y="353"/>
                      <a:pt x="288" y="338"/>
                    </a:cubicBezTo>
                    <a:cubicBezTo>
                      <a:pt x="325" y="370"/>
                      <a:pt x="383" y="375"/>
                      <a:pt x="425" y="349"/>
                    </a:cubicBezTo>
                    <a:cubicBezTo>
                      <a:pt x="398" y="347"/>
                      <a:pt x="372" y="334"/>
                      <a:pt x="353" y="316"/>
                    </a:cubicBezTo>
                    <a:cubicBezTo>
                      <a:pt x="410" y="285"/>
                      <a:pt x="444" y="230"/>
                      <a:pt x="417" y="148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" name="îŝ1íḓè">
                <a:extLst>
                  <a:ext uri="{FF2B5EF4-FFF2-40B4-BE49-F238E27FC236}">
                    <a16:creationId xmlns:a16="http://schemas.microsoft.com/office/drawing/2014/main" id="{175DF382-B194-4096-8CCD-1D02F4315408}"/>
                  </a:ext>
                </a:extLst>
              </p:cNvPr>
              <p:cNvSpPr/>
              <p:nvPr/>
            </p:nvSpPr>
            <p:spPr bwMode="auto">
              <a:xfrm>
                <a:off x="2352675" y="2586038"/>
                <a:ext cx="469900" cy="612775"/>
              </a:xfrm>
              <a:custGeom>
                <a:avLst/>
                <a:gdLst>
                  <a:gd name="T0" fmla="*/ 109 w 125"/>
                  <a:gd name="T1" fmla="*/ 65 h 163"/>
                  <a:gd name="T2" fmla="*/ 86 w 125"/>
                  <a:gd name="T3" fmla="*/ 5 h 163"/>
                  <a:gd name="T4" fmla="*/ 73 w 125"/>
                  <a:gd name="T5" fmla="*/ 8 h 163"/>
                  <a:gd name="T6" fmla="*/ 78 w 125"/>
                  <a:gd name="T7" fmla="*/ 57 h 163"/>
                  <a:gd name="T8" fmla="*/ 38 w 125"/>
                  <a:gd name="T9" fmla="*/ 68 h 163"/>
                  <a:gd name="T10" fmla="*/ 24 w 125"/>
                  <a:gd name="T11" fmla="*/ 24 h 163"/>
                  <a:gd name="T12" fmla="*/ 13 w 125"/>
                  <a:gd name="T13" fmla="*/ 18 h 163"/>
                  <a:gd name="T14" fmla="*/ 9 w 125"/>
                  <a:gd name="T15" fmla="*/ 19 h 163"/>
                  <a:gd name="T16" fmla="*/ 7 w 125"/>
                  <a:gd name="T17" fmla="*/ 20 h 163"/>
                  <a:gd name="T18" fmla="*/ 1 w 125"/>
                  <a:gd name="T19" fmla="*/ 31 h 163"/>
                  <a:gd name="T20" fmla="*/ 24 w 125"/>
                  <a:gd name="T21" fmla="*/ 147 h 163"/>
                  <a:gd name="T22" fmla="*/ 54 w 125"/>
                  <a:gd name="T23" fmla="*/ 143 h 163"/>
                  <a:gd name="T24" fmla="*/ 52 w 125"/>
                  <a:gd name="T25" fmla="*/ 133 h 163"/>
                  <a:gd name="T26" fmla="*/ 44 w 125"/>
                  <a:gd name="T27" fmla="*/ 96 h 163"/>
                  <a:gd name="T28" fmla="*/ 85 w 125"/>
                  <a:gd name="T29" fmla="*/ 87 h 163"/>
                  <a:gd name="T30" fmla="*/ 101 w 125"/>
                  <a:gd name="T31" fmla="*/ 142 h 163"/>
                  <a:gd name="T32" fmla="*/ 125 w 125"/>
                  <a:gd name="T33" fmla="*/ 135 h 163"/>
                  <a:gd name="T34" fmla="*/ 109 w 125"/>
                  <a:gd name="T35" fmla="*/ 65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5" h="163">
                    <a:moveTo>
                      <a:pt x="109" y="65"/>
                    </a:moveTo>
                    <a:cubicBezTo>
                      <a:pt x="103" y="45"/>
                      <a:pt x="100" y="21"/>
                      <a:pt x="86" y="5"/>
                    </a:cubicBezTo>
                    <a:cubicBezTo>
                      <a:pt x="82" y="0"/>
                      <a:pt x="74" y="3"/>
                      <a:pt x="73" y="8"/>
                    </a:cubicBezTo>
                    <a:cubicBezTo>
                      <a:pt x="70" y="24"/>
                      <a:pt x="74" y="41"/>
                      <a:pt x="78" y="57"/>
                    </a:cubicBezTo>
                    <a:cubicBezTo>
                      <a:pt x="65" y="60"/>
                      <a:pt x="51" y="63"/>
                      <a:pt x="38" y="68"/>
                    </a:cubicBezTo>
                    <a:cubicBezTo>
                      <a:pt x="34" y="53"/>
                      <a:pt x="30" y="38"/>
                      <a:pt x="24" y="24"/>
                    </a:cubicBezTo>
                    <a:cubicBezTo>
                      <a:pt x="22" y="20"/>
                      <a:pt x="17" y="18"/>
                      <a:pt x="13" y="18"/>
                    </a:cubicBezTo>
                    <a:cubicBezTo>
                      <a:pt x="11" y="18"/>
                      <a:pt x="10" y="18"/>
                      <a:pt x="9" y="19"/>
                    </a:cubicBezTo>
                    <a:cubicBezTo>
                      <a:pt x="8" y="19"/>
                      <a:pt x="7" y="19"/>
                      <a:pt x="7" y="20"/>
                    </a:cubicBezTo>
                    <a:cubicBezTo>
                      <a:pt x="3" y="22"/>
                      <a:pt x="0" y="26"/>
                      <a:pt x="1" y="31"/>
                    </a:cubicBezTo>
                    <a:cubicBezTo>
                      <a:pt x="2" y="69"/>
                      <a:pt x="16" y="109"/>
                      <a:pt x="24" y="147"/>
                    </a:cubicBezTo>
                    <a:cubicBezTo>
                      <a:pt x="28" y="163"/>
                      <a:pt x="55" y="160"/>
                      <a:pt x="54" y="143"/>
                    </a:cubicBezTo>
                    <a:cubicBezTo>
                      <a:pt x="53" y="139"/>
                      <a:pt x="53" y="136"/>
                      <a:pt x="52" y="133"/>
                    </a:cubicBezTo>
                    <a:cubicBezTo>
                      <a:pt x="49" y="121"/>
                      <a:pt x="47" y="108"/>
                      <a:pt x="44" y="96"/>
                    </a:cubicBezTo>
                    <a:cubicBezTo>
                      <a:pt x="58" y="94"/>
                      <a:pt x="72" y="90"/>
                      <a:pt x="85" y="87"/>
                    </a:cubicBezTo>
                    <a:cubicBezTo>
                      <a:pt x="88" y="106"/>
                      <a:pt x="92" y="126"/>
                      <a:pt x="101" y="142"/>
                    </a:cubicBezTo>
                    <a:cubicBezTo>
                      <a:pt x="107" y="153"/>
                      <a:pt x="124" y="148"/>
                      <a:pt x="125" y="135"/>
                    </a:cubicBezTo>
                    <a:cubicBezTo>
                      <a:pt x="125" y="112"/>
                      <a:pt x="115" y="87"/>
                      <a:pt x="109" y="65"/>
                    </a:cubicBezTo>
                    <a:close/>
                  </a:path>
                </a:pathLst>
              </a:custGeom>
              <a:solidFill>
                <a:srgbClr val="202B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" name="ïṣľiḑe">
                <a:extLst>
                  <a:ext uri="{FF2B5EF4-FFF2-40B4-BE49-F238E27FC236}">
                    <a16:creationId xmlns:a16="http://schemas.microsoft.com/office/drawing/2014/main" id="{2F63E31A-3806-43CD-B485-C6A04040BA1E}"/>
                  </a:ext>
                </a:extLst>
              </p:cNvPr>
              <p:cNvSpPr/>
              <p:nvPr/>
            </p:nvSpPr>
            <p:spPr bwMode="auto">
              <a:xfrm>
                <a:off x="2916238" y="2778126"/>
                <a:ext cx="157162" cy="296863"/>
              </a:xfrm>
              <a:custGeom>
                <a:avLst/>
                <a:gdLst>
                  <a:gd name="T0" fmla="*/ 40 w 42"/>
                  <a:gd name="T1" fmla="*/ 60 h 79"/>
                  <a:gd name="T2" fmla="*/ 22 w 42"/>
                  <a:gd name="T3" fmla="*/ 9 h 79"/>
                  <a:gd name="T4" fmla="*/ 1 w 42"/>
                  <a:gd name="T5" fmla="*/ 14 h 79"/>
                  <a:gd name="T6" fmla="*/ 11 w 42"/>
                  <a:gd name="T7" fmla="*/ 68 h 79"/>
                  <a:gd name="T8" fmla="*/ 26 w 42"/>
                  <a:gd name="T9" fmla="*/ 79 h 79"/>
                  <a:gd name="T10" fmla="*/ 33 w 42"/>
                  <a:gd name="T11" fmla="*/ 77 h 79"/>
                  <a:gd name="T12" fmla="*/ 40 w 42"/>
                  <a:gd name="T13" fmla="*/ 6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79">
                    <a:moveTo>
                      <a:pt x="40" y="60"/>
                    </a:moveTo>
                    <a:cubicBezTo>
                      <a:pt x="35" y="43"/>
                      <a:pt x="32" y="24"/>
                      <a:pt x="22" y="9"/>
                    </a:cubicBezTo>
                    <a:cubicBezTo>
                      <a:pt x="15" y="0"/>
                      <a:pt x="2" y="3"/>
                      <a:pt x="1" y="14"/>
                    </a:cubicBezTo>
                    <a:cubicBezTo>
                      <a:pt x="0" y="33"/>
                      <a:pt x="7" y="50"/>
                      <a:pt x="11" y="68"/>
                    </a:cubicBezTo>
                    <a:cubicBezTo>
                      <a:pt x="13" y="74"/>
                      <a:pt x="19" y="79"/>
                      <a:pt x="26" y="79"/>
                    </a:cubicBezTo>
                    <a:cubicBezTo>
                      <a:pt x="29" y="79"/>
                      <a:pt x="31" y="78"/>
                      <a:pt x="33" y="77"/>
                    </a:cubicBezTo>
                    <a:cubicBezTo>
                      <a:pt x="39" y="74"/>
                      <a:pt x="42" y="66"/>
                      <a:pt x="40" y="60"/>
                    </a:cubicBezTo>
                    <a:close/>
                  </a:path>
                </a:pathLst>
              </a:custGeom>
              <a:solidFill>
                <a:srgbClr val="202B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8" name="iṣľîḓé">
                <a:extLst>
                  <a:ext uri="{FF2B5EF4-FFF2-40B4-BE49-F238E27FC236}">
                    <a16:creationId xmlns:a16="http://schemas.microsoft.com/office/drawing/2014/main" id="{EBD2BA7F-51C2-4427-8735-8EE5CEA06E0D}"/>
                  </a:ext>
                </a:extLst>
              </p:cNvPr>
              <p:cNvSpPr/>
              <p:nvPr/>
            </p:nvSpPr>
            <p:spPr bwMode="auto">
              <a:xfrm>
                <a:off x="2792413" y="2533651"/>
                <a:ext cx="180975" cy="139700"/>
              </a:xfrm>
              <a:custGeom>
                <a:avLst/>
                <a:gdLst>
                  <a:gd name="T0" fmla="*/ 24 w 48"/>
                  <a:gd name="T1" fmla="*/ 0 h 37"/>
                  <a:gd name="T2" fmla="*/ 24 w 48"/>
                  <a:gd name="T3" fmla="*/ 37 h 37"/>
                  <a:gd name="T4" fmla="*/ 24 w 48"/>
                  <a:gd name="T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37">
                    <a:moveTo>
                      <a:pt x="24" y="0"/>
                    </a:moveTo>
                    <a:cubicBezTo>
                      <a:pt x="0" y="0"/>
                      <a:pt x="0" y="37"/>
                      <a:pt x="24" y="37"/>
                    </a:cubicBezTo>
                    <a:cubicBezTo>
                      <a:pt x="48" y="37"/>
                      <a:pt x="48" y="0"/>
                      <a:pt x="24" y="0"/>
                    </a:cubicBezTo>
                    <a:close/>
                  </a:path>
                </a:pathLst>
              </a:custGeom>
              <a:solidFill>
                <a:srgbClr val="202B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39" name="îṥḷîdè">
              <a:extLst>
                <a:ext uri="{FF2B5EF4-FFF2-40B4-BE49-F238E27FC236}">
                  <a16:creationId xmlns:a16="http://schemas.microsoft.com/office/drawing/2014/main" id="{DA742955-2029-4163-BA95-F2ECB13511E3}"/>
                </a:ext>
              </a:extLst>
            </p:cNvPr>
            <p:cNvSpPr/>
            <p:nvPr/>
          </p:nvSpPr>
          <p:spPr bwMode="auto">
            <a:xfrm>
              <a:off x="6806243" y="3715186"/>
              <a:ext cx="203421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pPr marL="0" marR="0" lvl="0" indent="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CN" sz="4200" b="1" i="0" u="none" strike="noStrike" cap="none" normalizeH="0" baseline="0" dirty="0">
                  <a:ln>
                    <a:noFill/>
                  </a:ln>
                  <a:solidFill>
                    <a:srgbClr val="1E60A6"/>
                  </a:solidFill>
                  <a:effectLst/>
                </a:rPr>
                <a:t>trait</a:t>
              </a:r>
              <a:endParaRPr kumimoji="0" lang="en-US" sz="4200" b="1" i="0" u="none" strike="noStrike" cap="none" normalizeH="0" baseline="0" dirty="0">
                <a:ln>
                  <a:noFill/>
                </a:ln>
                <a:solidFill>
                  <a:srgbClr val="1E60A6"/>
                </a:solidFill>
                <a:effectLst/>
              </a:endParaRPr>
            </a:p>
          </p:txBody>
        </p:sp>
        <p:grpSp>
          <p:nvGrpSpPr>
            <p:cNvPr id="40" name="íSḻiďé">
              <a:extLst>
                <a:ext uri="{FF2B5EF4-FFF2-40B4-BE49-F238E27FC236}">
                  <a16:creationId xmlns:a16="http://schemas.microsoft.com/office/drawing/2014/main" id="{38F93C91-F703-4D03-9FA3-720E638FAFB9}"/>
                </a:ext>
              </a:extLst>
            </p:cNvPr>
            <p:cNvGrpSpPr/>
            <p:nvPr/>
          </p:nvGrpSpPr>
          <p:grpSpPr>
            <a:xfrm>
              <a:off x="6845115" y="4423209"/>
              <a:ext cx="376332" cy="376333"/>
              <a:chOff x="5811838" y="4360863"/>
              <a:chExt cx="420687" cy="420688"/>
            </a:xfrm>
          </p:grpSpPr>
          <p:sp>
            <p:nvSpPr>
              <p:cNvPr id="183" name="íś1ïďé">
                <a:extLst>
                  <a:ext uri="{FF2B5EF4-FFF2-40B4-BE49-F238E27FC236}">
                    <a16:creationId xmlns:a16="http://schemas.microsoft.com/office/drawing/2014/main" id="{BD8B9745-731F-4A5B-A4FB-4AF84880554C}"/>
                  </a:ext>
                </a:extLst>
              </p:cNvPr>
              <p:cNvSpPr/>
              <p:nvPr/>
            </p:nvSpPr>
            <p:spPr bwMode="auto">
              <a:xfrm>
                <a:off x="5811838" y="4360863"/>
                <a:ext cx="420687" cy="42068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" name="íṩļïdè">
                <a:extLst>
                  <a:ext uri="{FF2B5EF4-FFF2-40B4-BE49-F238E27FC236}">
                    <a16:creationId xmlns:a16="http://schemas.microsoft.com/office/drawing/2014/main" id="{77500E20-4894-46DE-9A7D-39A1F60E930E}"/>
                  </a:ext>
                </a:extLst>
              </p:cNvPr>
              <p:cNvSpPr/>
              <p:nvPr/>
            </p:nvSpPr>
            <p:spPr bwMode="auto">
              <a:xfrm>
                <a:off x="5951538" y="4465638"/>
                <a:ext cx="184150" cy="214313"/>
              </a:xfrm>
              <a:custGeom>
                <a:avLst/>
                <a:gdLst>
                  <a:gd name="T0" fmla="*/ 0 w 49"/>
                  <a:gd name="T1" fmla="*/ 28 h 57"/>
                  <a:gd name="T2" fmla="*/ 0 w 49"/>
                  <a:gd name="T3" fmla="*/ 10 h 57"/>
                  <a:gd name="T4" fmla="*/ 12 w 49"/>
                  <a:gd name="T5" fmla="*/ 3 h 57"/>
                  <a:gd name="T6" fmla="*/ 28 w 49"/>
                  <a:gd name="T7" fmla="*/ 12 h 57"/>
                  <a:gd name="T8" fmla="*/ 43 w 49"/>
                  <a:gd name="T9" fmla="*/ 21 h 57"/>
                  <a:gd name="T10" fmla="*/ 43 w 49"/>
                  <a:gd name="T11" fmla="*/ 36 h 57"/>
                  <a:gd name="T12" fmla="*/ 28 w 49"/>
                  <a:gd name="T13" fmla="*/ 45 h 57"/>
                  <a:gd name="T14" fmla="*/ 12 w 49"/>
                  <a:gd name="T15" fmla="*/ 54 h 57"/>
                  <a:gd name="T16" fmla="*/ 0 w 49"/>
                  <a:gd name="T17" fmla="*/ 46 h 57"/>
                  <a:gd name="T18" fmla="*/ 0 w 49"/>
                  <a:gd name="T19" fmla="*/ 2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57">
                    <a:moveTo>
                      <a:pt x="0" y="28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7" y="0"/>
                      <a:pt x="12" y="3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49" y="24"/>
                      <a:pt x="49" y="32"/>
                      <a:pt x="43" y="36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7" y="57"/>
                      <a:pt x="0" y="53"/>
                      <a:pt x="0" y="46"/>
                    </a:cubicBez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65B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1" name="ï$ľíḋé">
              <a:extLst>
                <a:ext uri="{FF2B5EF4-FFF2-40B4-BE49-F238E27FC236}">
                  <a16:creationId xmlns:a16="http://schemas.microsoft.com/office/drawing/2014/main" id="{3FFA83BD-091A-483E-AA55-0F9407BA76A5}"/>
                </a:ext>
              </a:extLst>
            </p:cNvPr>
            <p:cNvGrpSpPr/>
            <p:nvPr/>
          </p:nvGrpSpPr>
          <p:grpSpPr>
            <a:xfrm>
              <a:off x="5163939" y="2244566"/>
              <a:ext cx="1843088" cy="3509963"/>
              <a:chOff x="3517900" y="1722438"/>
              <a:chExt cx="1843088" cy="3509963"/>
            </a:xfrm>
          </p:grpSpPr>
          <p:sp>
            <p:nvSpPr>
              <p:cNvPr id="158" name="îŝļiḋê">
                <a:extLst>
                  <a:ext uri="{FF2B5EF4-FFF2-40B4-BE49-F238E27FC236}">
                    <a16:creationId xmlns:a16="http://schemas.microsoft.com/office/drawing/2014/main" id="{869B9822-1130-4EF3-81CB-2879565723A6}"/>
                  </a:ext>
                </a:extLst>
              </p:cNvPr>
              <p:cNvSpPr/>
              <p:nvPr/>
            </p:nvSpPr>
            <p:spPr bwMode="auto">
              <a:xfrm>
                <a:off x="5360988" y="5232401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" name="iSlîḋê">
                <a:extLst>
                  <a:ext uri="{FF2B5EF4-FFF2-40B4-BE49-F238E27FC236}">
                    <a16:creationId xmlns:a16="http://schemas.microsoft.com/office/drawing/2014/main" id="{ACF3D181-AB32-4F21-BD0D-23FF4AE6CD02}"/>
                  </a:ext>
                </a:extLst>
              </p:cNvPr>
              <p:cNvSpPr/>
              <p:nvPr/>
            </p:nvSpPr>
            <p:spPr bwMode="auto">
              <a:xfrm>
                <a:off x="5360988" y="5232401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" name="iṡḷiḑê">
                <a:extLst>
                  <a:ext uri="{FF2B5EF4-FFF2-40B4-BE49-F238E27FC236}">
                    <a16:creationId xmlns:a16="http://schemas.microsoft.com/office/drawing/2014/main" id="{8E0711C9-DD95-4162-9F22-7E80BD647B84}"/>
                  </a:ext>
                </a:extLst>
              </p:cNvPr>
              <p:cNvSpPr/>
              <p:nvPr/>
            </p:nvSpPr>
            <p:spPr bwMode="auto">
              <a:xfrm>
                <a:off x="3829050" y="4210051"/>
                <a:ext cx="1262062" cy="890588"/>
              </a:xfrm>
              <a:custGeom>
                <a:avLst/>
                <a:gdLst>
                  <a:gd name="T0" fmla="*/ 336 w 336"/>
                  <a:gd name="T1" fmla="*/ 237 h 237"/>
                  <a:gd name="T2" fmla="*/ 0 w 336"/>
                  <a:gd name="T3" fmla="*/ 237 h 237"/>
                  <a:gd name="T4" fmla="*/ 9 w 336"/>
                  <a:gd name="T5" fmla="*/ 184 h 237"/>
                  <a:gd name="T6" fmla="*/ 35 w 336"/>
                  <a:gd name="T7" fmla="*/ 112 h 237"/>
                  <a:gd name="T8" fmla="*/ 36 w 336"/>
                  <a:gd name="T9" fmla="*/ 110 h 237"/>
                  <a:gd name="T10" fmla="*/ 121 w 336"/>
                  <a:gd name="T11" fmla="*/ 17 h 237"/>
                  <a:gd name="T12" fmla="*/ 246 w 336"/>
                  <a:gd name="T13" fmla="*/ 24 h 237"/>
                  <a:gd name="T14" fmla="*/ 304 w 336"/>
                  <a:gd name="T15" fmla="*/ 97 h 237"/>
                  <a:gd name="T16" fmla="*/ 331 w 336"/>
                  <a:gd name="T17" fmla="*/ 183 h 237"/>
                  <a:gd name="T18" fmla="*/ 336 w 336"/>
                  <a:gd name="T19" fmla="*/ 237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6" h="237">
                    <a:moveTo>
                      <a:pt x="336" y="237"/>
                    </a:moveTo>
                    <a:cubicBezTo>
                      <a:pt x="0" y="237"/>
                      <a:pt x="0" y="237"/>
                      <a:pt x="0" y="237"/>
                    </a:cubicBezTo>
                    <a:cubicBezTo>
                      <a:pt x="2" y="217"/>
                      <a:pt x="4" y="201"/>
                      <a:pt x="9" y="184"/>
                    </a:cubicBezTo>
                    <a:cubicBezTo>
                      <a:pt x="14" y="159"/>
                      <a:pt x="23" y="135"/>
                      <a:pt x="35" y="112"/>
                    </a:cubicBezTo>
                    <a:cubicBezTo>
                      <a:pt x="35" y="112"/>
                      <a:pt x="36" y="111"/>
                      <a:pt x="36" y="110"/>
                    </a:cubicBezTo>
                    <a:cubicBezTo>
                      <a:pt x="56" y="73"/>
                      <a:pt x="82" y="35"/>
                      <a:pt x="121" y="17"/>
                    </a:cubicBezTo>
                    <a:cubicBezTo>
                      <a:pt x="160" y="0"/>
                      <a:pt x="207" y="5"/>
                      <a:pt x="246" y="24"/>
                    </a:cubicBezTo>
                    <a:cubicBezTo>
                      <a:pt x="264" y="33"/>
                      <a:pt x="286" y="60"/>
                      <a:pt x="304" y="97"/>
                    </a:cubicBezTo>
                    <a:cubicBezTo>
                      <a:pt x="316" y="122"/>
                      <a:pt x="326" y="152"/>
                      <a:pt x="331" y="183"/>
                    </a:cubicBezTo>
                    <a:cubicBezTo>
                      <a:pt x="334" y="201"/>
                      <a:pt x="336" y="217"/>
                      <a:pt x="336" y="237"/>
                    </a:cubicBezTo>
                    <a:close/>
                  </a:path>
                </a:pathLst>
              </a:custGeom>
              <a:solidFill>
                <a:srgbClr val="1E60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" name="ïşļïdè">
                <a:extLst>
                  <a:ext uri="{FF2B5EF4-FFF2-40B4-BE49-F238E27FC236}">
                    <a16:creationId xmlns:a16="http://schemas.microsoft.com/office/drawing/2014/main" id="{5B820298-1D47-4A25-AE03-D46C991EBADF}"/>
                  </a:ext>
                </a:extLst>
              </p:cNvPr>
              <p:cNvSpPr/>
              <p:nvPr/>
            </p:nvSpPr>
            <p:spPr bwMode="auto">
              <a:xfrm>
                <a:off x="4260850" y="4059238"/>
                <a:ext cx="442912" cy="354013"/>
              </a:xfrm>
              <a:custGeom>
                <a:avLst/>
                <a:gdLst>
                  <a:gd name="T0" fmla="*/ 0 w 118"/>
                  <a:gd name="T1" fmla="*/ 31 h 94"/>
                  <a:gd name="T2" fmla="*/ 118 w 118"/>
                  <a:gd name="T3" fmla="*/ 31 h 94"/>
                  <a:gd name="T4" fmla="*/ 59 w 118"/>
                  <a:gd name="T5" fmla="*/ 94 h 94"/>
                  <a:gd name="T6" fmla="*/ 0 w 118"/>
                  <a:gd name="T7" fmla="*/ 3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8" h="94">
                    <a:moveTo>
                      <a:pt x="0" y="31"/>
                    </a:moveTo>
                    <a:cubicBezTo>
                      <a:pt x="0" y="31"/>
                      <a:pt x="59" y="0"/>
                      <a:pt x="118" y="31"/>
                    </a:cubicBezTo>
                    <a:cubicBezTo>
                      <a:pt x="59" y="94"/>
                      <a:pt x="59" y="94"/>
                      <a:pt x="59" y="94"/>
                    </a:cubicBez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" name="íşļïḓe">
                <a:extLst>
                  <a:ext uri="{FF2B5EF4-FFF2-40B4-BE49-F238E27FC236}">
                    <a16:creationId xmlns:a16="http://schemas.microsoft.com/office/drawing/2014/main" id="{46832E7C-B0C3-4978-BFF8-CA1116E18720}"/>
                  </a:ext>
                </a:extLst>
              </p:cNvPr>
              <p:cNvSpPr/>
              <p:nvPr/>
            </p:nvSpPr>
            <p:spPr bwMode="auto">
              <a:xfrm>
                <a:off x="4302125" y="3962401"/>
                <a:ext cx="387350" cy="450850"/>
              </a:xfrm>
              <a:custGeom>
                <a:avLst/>
                <a:gdLst>
                  <a:gd name="T0" fmla="*/ 102 w 103"/>
                  <a:gd name="T1" fmla="*/ 89 h 120"/>
                  <a:gd name="T2" fmla="*/ 102 w 103"/>
                  <a:gd name="T3" fmla="*/ 63 h 120"/>
                  <a:gd name="T4" fmla="*/ 102 w 103"/>
                  <a:gd name="T5" fmla="*/ 47 h 120"/>
                  <a:gd name="T6" fmla="*/ 102 w 103"/>
                  <a:gd name="T7" fmla="*/ 0 h 120"/>
                  <a:gd name="T8" fmla="*/ 0 w 103"/>
                  <a:gd name="T9" fmla="*/ 11 h 120"/>
                  <a:gd name="T10" fmla="*/ 1 w 103"/>
                  <a:gd name="T11" fmla="*/ 46 h 120"/>
                  <a:gd name="T12" fmla="*/ 1 w 103"/>
                  <a:gd name="T13" fmla="*/ 60 h 120"/>
                  <a:gd name="T14" fmla="*/ 1 w 103"/>
                  <a:gd name="T15" fmla="*/ 87 h 120"/>
                  <a:gd name="T16" fmla="*/ 48 w 103"/>
                  <a:gd name="T17" fmla="*/ 120 h 120"/>
                  <a:gd name="T18" fmla="*/ 102 w 103"/>
                  <a:gd name="T19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" h="120">
                    <a:moveTo>
                      <a:pt x="102" y="89"/>
                    </a:moveTo>
                    <a:cubicBezTo>
                      <a:pt x="102" y="78"/>
                      <a:pt x="102" y="73"/>
                      <a:pt x="102" y="63"/>
                    </a:cubicBezTo>
                    <a:cubicBezTo>
                      <a:pt x="102" y="57"/>
                      <a:pt x="102" y="52"/>
                      <a:pt x="102" y="47"/>
                    </a:cubicBezTo>
                    <a:cubicBezTo>
                      <a:pt x="103" y="31"/>
                      <a:pt x="103" y="16"/>
                      <a:pt x="102" y="0"/>
                    </a:cubicBezTo>
                    <a:cubicBezTo>
                      <a:pt x="68" y="8"/>
                      <a:pt x="35" y="15"/>
                      <a:pt x="0" y="11"/>
                    </a:cubicBezTo>
                    <a:cubicBezTo>
                      <a:pt x="1" y="22"/>
                      <a:pt x="1" y="34"/>
                      <a:pt x="1" y="46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69"/>
                      <a:pt x="1" y="78"/>
                      <a:pt x="1" y="87"/>
                    </a:cubicBezTo>
                    <a:cubicBezTo>
                      <a:pt x="48" y="120"/>
                      <a:pt x="48" y="120"/>
                      <a:pt x="48" y="120"/>
                    </a:cubicBezTo>
                    <a:lnTo>
                      <a:pt x="102" y="89"/>
                    </a:lnTo>
                    <a:close/>
                  </a:path>
                </a:pathLst>
              </a:custGeom>
              <a:solidFill>
                <a:srgbClr val="FFA9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" name="î$ļide">
                <a:extLst>
                  <a:ext uri="{FF2B5EF4-FFF2-40B4-BE49-F238E27FC236}">
                    <a16:creationId xmlns:a16="http://schemas.microsoft.com/office/drawing/2014/main" id="{6603F2E5-3365-4E2A-860F-84AF99BC3190}"/>
                  </a:ext>
                </a:extLst>
              </p:cNvPr>
              <p:cNvSpPr/>
              <p:nvPr/>
            </p:nvSpPr>
            <p:spPr bwMode="auto">
              <a:xfrm>
                <a:off x="4302125" y="3962401"/>
                <a:ext cx="387350" cy="236538"/>
              </a:xfrm>
              <a:custGeom>
                <a:avLst/>
                <a:gdLst>
                  <a:gd name="T0" fmla="*/ 102 w 103"/>
                  <a:gd name="T1" fmla="*/ 47 h 63"/>
                  <a:gd name="T2" fmla="*/ 88 w 103"/>
                  <a:gd name="T3" fmla="*/ 53 h 63"/>
                  <a:gd name="T4" fmla="*/ 1 w 103"/>
                  <a:gd name="T5" fmla="*/ 46 h 63"/>
                  <a:gd name="T6" fmla="*/ 0 w 103"/>
                  <a:gd name="T7" fmla="*/ 11 h 63"/>
                  <a:gd name="T8" fmla="*/ 102 w 103"/>
                  <a:gd name="T9" fmla="*/ 0 h 63"/>
                  <a:gd name="T10" fmla="*/ 102 w 103"/>
                  <a:gd name="T11" fmla="*/ 4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63">
                    <a:moveTo>
                      <a:pt x="102" y="47"/>
                    </a:moveTo>
                    <a:cubicBezTo>
                      <a:pt x="98" y="50"/>
                      <a:pt x="93" y="52"/>
                      <a:pt x="88" y="53"/>
                    </a:cubicBezTo>
                    <a:cubicBezTo>
                      <a:pt x="62" y="63"/>
                      <a:pt x="25" y="62"/>
                      <a:pt x="1" y="46"/>
                    </a:cubicBezTo>
                    <a:cubicBezTo>
                      <a:pt x="1" y="34"/>
                      <a:pt x="1" y="22"/>
                      <a:pt x="0" y="11"/>
                    </a:cubicBezTo>
                    <a:cubicBezTo>
                      <a:pt x="35" y="15"/>
                      <a:pt x="68" y="8"/>
                      <a:pt x="102" y="0"/>
                    </a:cubicBezTo>
                    <a:cubicBezTo>
                      <a:pt x="103" y="16"/>
                      <a:pt x="103" y="31"/>
                      <a:pt x="102" y="47"/>
                    </a:cubicBezTo>
                    <a:close/>
                  </a:path>
                </a:pathLst>
              </a:custGeom>
              <a:solidFill>
                <a:srgbClr val="FF9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" name="iṥľïḑe">
                <a:extLst>
                  <a:ext uri="{FF2B5EF4-FFF2-40B4-BE49-F238E27FC236}">
                    <a16:creationId xmlns:a16="http://schemas.microsoft.com/office/drawing/2014/main" id="{32D74E1A-A8AC-480D-A205-716C5BAFA1E7}"/>
                  </a:ext>
                </a:extLst>
              </p:cNvPr>
              <p:cNvSpPr/>
              <p:nvPr/>
            </p:nvSpPr>
            <p:spPr bwMode="auto">
              <a:xfrm>
                <a:off x="3652838" y="2695576"/>
                <a:ext cx="239712" cy="327025"/>
              </a:xfrm>
              <a:custGeom>
                <a:avLst/>
                <a:gdLst>
                  <a:gd name="T0" fmla="*/ 2 w 64"/>
                  <a:gd name="T1" fmla="*/ 53 h 87"/>
                  <a:gd name="T2" fmla="*/ 23 w 64"/>
                  <a:gd name="T3" fmla="*/ 82 h 87"/>
                  <a:gd name="T4" fmla="*/ 58 w 64"/>
                  <a:gd name="T5" fmla="*/ 74 h 87"/>
                  <a:gd name="T6" fmla="*/ 63 w 64"/>
                  <a:gd name="T7" fmla="*/ 49 h 87"/>
                  <a:gd name="T8" fmla="*/ 47 w 64"/>
                  <a:gd name="T9" fmla="*/ 18 h 87"/>
                  <a:gd name="T10" fmla="*/ 2 w 64"/>
                  <a:gd name="T11" fmla="*/ 5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87">
                    <a:moveTo>
                      <a:pt x="2" y="53"/>
                    </a:moveTo>
                    <a:cubicBezTo>
                      <a:pt x="3" y="65"/>
                      <a:pt x="11" y="77"/>
                      <a:pt x="23" y="82"/>
                    </a:cubicBezTo>
                    <a:cubicBezTo>
                      <a:pt x="35" y="87"/>
                      <a:pt x="51" y="84"/>
                      <a:pt x="58" y="74"/>
                    </a:cubicBezTo>
                    <a:cubicBezTo>
                      <a:pt x="63" y="67"/>
                      <a:pt x="64" y="57"/>
                      <a:pt x="63" y="49"/>
                    </a:cubicBezTo>
                    <a:cubicBezTo>
                      <a:pt x="62" y="37"/>
                      <a:pt x="57" y="25"/>
                      <a:pt x="47" y="18"/>
                    </a:cubicBezTo>
                    <a:cubicBezTo>
                      <a:pt x="21" y="0"/>
                      <a:pt x="0" y="31"/>
                      <a:pt x="2" y="53"/>
                    </a:cubicBezTo>
                    <a:close/>
                  </a:path>
                </a:pathLst>
              </a:custGeom>
              <a:solidFill>
                <a:srgbClr val="E07B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" name="ïṧ1iḓé">
                <a:extLst>
                  <a:ext uri="{FF2B5EF4-FFF2-40B4-BE49-F238E27FC236}">
                    <a16:creationId xmlns:a16="http://schemas.microsoft.com/office/drawing/2014/main" id="{60E60C4F-ECA1-4880-A8A7-31733F4AFE51}"/>
                  </a:ext>
                </a:extLst>
              </p:cNvPr>
              <p:cNvSpPr/>
              <p:nvPr/>
            </p:nvSpPr>
            <p:spPr bwMode="auto">
              <a:xfrm>
                <a:off x="4989513" y="2684463"/>
                <a:ext cx="241300" cy="327025"/>
              </a:xfrm>
              <a:custGeom>
                <a:avLst/>
                <a:gdLst>
                  <a:gd name="T0" fmla="*/ 62 w 64"/>
                  <a:gd name="T1" fmla="*/ 53 h 87"/>
                  <a:gd name="T2" fmla="*/ 41 w 64"/>
                  <a:gd name="T3" fmla="*/ 82 h 87"/>
                  <a:gd name="T4" fmla="*/ 6 w 64"/>
                  <a:gd name="T5" fmla="*/ 74 h 87"/>
                  <a:gd name="T6" fmla="*/ 1 w 64"/>
                  <a:gd name="T7" fmla="*/ 49 h 87"/>
                  <a:gd name="T8" fmla="*/ 17 w 64"/>
                  <a:gd name="T9" fmla="*/ 18 h 87"/>
                  <a:gd name="T10" fmla="*/ 62 w 64"/>
                  <a:gd name="T11" fmla="*/ 5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87">
                    <a:moveTo>
                      <a:pt x="62" y="53"/>
                    </a:moveTo>
                    <a:cubicBezTo>
                      <a:pt x="61" y="65"/>
                      <a:pt x="53" y="77"/>
                      <a:pt x="41" y="82"/>
                    </a:cubicBezTo>
                    <a:cubicBezTo>
                      <a:pt x="29" y="87"/>
                      <a:pt x="13" y="84"/>
                      <a:pt x="6" y="74"/>
                    </a:cubicBezTo>
                    <a:cubicBezTo>
                      <a:pt x="0" y="67"/>
                      <a:pt x="0" y="57"/>
                      <a:pt x="1" y="49"/>
                    </a:cubicBezTo>
                    <a:cubicBezTo>
                      <a:pt x="2" y="37"/>
                      <a:pt x="7" y="25"/>
                      <a:pt x="17" y="18"/>
                    </a:cubicBezTo>
                    <a:cubicBezTo>
                      <a:pt x="43" y="0"/>
                      <a:pt x="64" y="31"/>
                      <a:pt x="62" y="53"/>
                    </a:cubicBezTo>
                    <a:close/>
                  </a:path>
                </a:pathLst>
              </a:custGeom>
              <a:solidFill>
                <a:srgbClr val="E07B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" name="îsḻîde">
                <a:extLst>
                  <a:ext uri="{FF2B5EF4-FFF2-40B4-BE49-F238E27FC236}">
                    <a16:creationId xmlns:a16="http://schemas.microsoft.com/office/drawing/2014/main" id="{62A75D8F-7D9A-4B8B-9175-66E873D980B3}"/>
                  </a:ext>
                </a:extLst>
              </p:cNvPr>
              <p:cNvSpPr/>
              <p:nvPr/>
            </p:nvSpPr>
            <p:spPr bwMode="auto">
              <a:xfrm>
                <a:off x="3732213" y="2159001"/>
                <a:ext cx="1336675" cy="1916113"/>
              </a:xfrm>
              <a:custGeom>
                <a:avLst/>
                <a:gdLst>
                  <a:gd name="T0" fmla="*/ 356 w 356"/>
                  <a:gd name="T1" fmla="*/ 11 h 510"/>
                  <a:gd name="T2" fmla="*/ 308 w 356"/>
                  <a:gd name="T3" fmla="*/ 402 h 510"/>
                  <a:gd name="T4" fmla="*/ 272 w 356"/>
                  <a:gd name="T5" fmla="*/ 473 h 510"/>
                  <a:gd name="T6" fmla="*/ 200 w 356"/>
                  <a:gd name="T7" fmla="*/ 510 h 510"/>
                  <a:gd name="T8" fmla="*/ 89 w 356"/>
                  <a:gd name="T9" fmla="*/ 412 h 510"/>
                  <a:gd name="T10" fmla="*/ 2 w 356"/>
                  <a:gd name="T11" fmla="*/ 0 h 510"/>
                  <a:gd name="T12" fmla="*/ 12 w 356"/>
                  <a:gd name="T13" fmla="*/ 4 h 510"/>
                  <a:gd name="T14" fmla="*/ 353 w 356"/>
                  <a:gd name="T15" fmla="*/ 13 h 510"/>
                  <a:gd name="T16" fmla="*/ 356 w 356"/>
                  <a:gd name="T17" fmla="*/ 11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6" h="510">
                    <a:moveTo>
                      <a:pt x="356" y="11"/>
                    </a:moveTo>
                    <a:cubicBezTo>
                      <a:pt x="354" y="143"/>
                      <a:pt x="351" y="277"/>
                      <a:pt x="308" y="402"/>
                    </a:cubicBezTo>
                    <a:cubicBezTo>
                      <a:pt x="300" y="428"/>
                      <a:pt x="290" y="453"/>
                      <a:pt x="272" y="473"/>
                    </a:cubicBezTo>
                    <a:cubicBezTo>
                      <a:pt x="254" y="494"/>
                      <a:pt x="228" y="509"/>
                      <a:pt x="200" y="510"/>
                    </a:cubicBezTo>
                    <a:cubicBezTo>
                      <a:pt x="146" y="510"/>
                      <a:pt x="111" y="458"/>
                      <a:pt x="89" y="412"/>
                    </a:cubicBezTo>
                    <a:cubicBezTo>
                      <a:pt x="30" y="283"/>
                      <a:pt x="0" y="141"/>
                      <a:pt x="2" y="0"/>
                    </a:cubicBezTo>
                    <a:cubicBezTo>
                      <a:pt x="5" y="1"/>
                      <a:pt x="9" y="2"/>
                      <a:pt x="12" y="4"/>
                    </a:cubicBezTo>
                    <a:cubicBezTo>
                      <a:pt x="116" y="40"/>
                      <a:pt x="248" y="45"/>
                      <a:pt x="353" y="13"/>
                    </a:cubicBezTo>
                    <a:cubicBezTo>
                      <a:pt x="354" y="12"/>
                      <a:pt x="355" y="12"/>
                      <a:pt x="356" y="11"/>
                    </a:cubicBezTo>
                    <a:close/>
                  </a:path>
                </a:pathLst>
              </a:custGeom>
              <a:solidFill>
                <a:srgbClr val="FFA9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" name="îŝḷiďe">
                <a:extLst>
                  <a:ext uri="{FF2B5EF4-FFF2-40B4-BE49-F238E27FC236}">
                    <a16:creationId xmlns:a16="http://schemas.microsoft.com/office/drawing/2014/main" id="{DA55C7A4-0C56-490D-BC74-682B3DB73B02}"/>
                  </a:ext>
                </a:extLst>
              </p:cNvPr>
              <p:cNvSpPr/>
              <p:nvPr/>
            </p:nvSpPr>
            <p:spPr bwMode="auto">
              <a:xfrm>
                <a:off x="4227513" y="2816226"/>
                <a:ext cx="82550" cy="123825"/>
              </a:xfrm>
              <a:custGeom>
                <a:avLst/>
                <a:gdLst>
                  <a:gd name="T0" fmla="*/ 6 w 22"/>
                  <a:gd name="T1" fmla="*/ 28 h 33"/>
                  <a:gd name="T2" fmla="*/ 13 w 22"/>
                  <a:gd name="T3" fmla="*/ 33 h 33"/>
                  <a:gd name="T4" fmla="*/ 19 w 22"/>
                  <a:gd name="T5" fmla="*/ 26 h 33"/>
                  <a:gd name="T6" fmla="*/ 9 w 22"/>
                  <a:gd name="T7" fmla="*/ 4 h 33"/>
                  <a:gd name="T8" fmla="*/ 6 w 22"/>
                  <a:gd name="T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3">
                    <a:moveTo>
                      <a:pt x="6" y="28"/>
                    </a:moveTo>
                    <a:cubicBezTo>
                      <a:pt x="7" y="30"/>
                      <a:pt x="10" y="33"/>
                      <a:pt x="13" y="33"/>
                    </a:cubicBezTo>
                    <a:cubicBezTo>
                      <a:pt x="18" y="33"/>
                      <a:pt x="19" y="29"/>
                      <a:pt x="19" y="26"/>
                    </a:cubicBezTo>
                    <a:cubicBezTo>
                      <a:pt x="20" y="21"/>
                      <a:pt x="22" y="0"/>
                      <a:pt x="9" y="4"/>
                    </a:cubicBezTo>
                    <a:cubicBezTo>
                      <a:pt x="0" y="6"/>
                      <a:pt x="4" y="23"/>
                      <a:pt x="6" y="28"/>
                    </a:cubicBezTo>
                    <a:close/>
                  </a:path>
                </a:pathLst>
              </a:custGeom>
              <a:solidFill>
                <a:srgbClr val="4220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" name="isľiďe">
                <a:extLst>
                  <a:ext uri="{FF2B5EF4-FFF2-40B4-BE49-F238E27FC236}">
                    <a16:creationId xmlns:a16="http://schemas.microsoft.com/office/drawing/2014/main" id="{CF6A766F-547A-4439-9A49-376EBCCC693E}"/>
                  </a:ext>
                </a:extLst>
              </p:cNvPr>
              <p:cNvSpPr/>
              <p:nvPr/>
            </p:nvSpPr>
            <p:spPr bwMode="auto">
              <a:xfrm>
                <a:off x="4708525" y="2800351"/>
                <a:ext cx="82550" cy="123825"/>
              </a:xfrm>
              <a:custGeom>
                <a:avLst/>
                <a:gdLst>
                  <a:gd name="T0" fmla="*/ 16 w 22"/>
                  <a:gd name="T1" fmla="*/ 28 h 33"/>
                  <a:gd name="T2" fmla="*/ 9 w 22"/>
                  <a:gd name="T3" fmla="*/ 33 h 33"/>
                  <a:gd name="T4" fmla="*/ 3 w 22"/>
                  <a:gd name="T5" fmla="*/ 26 h 33"/>
                  <a:gd name="T6" fmla="*/ 13 w 22"/>
                  <a:gd name="T7" fmla="*/ 4 h 33"/>
                  <a:gd name="T8" fmla="*/ 16 w 22"/>
                  <a:gd name="T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3">
                    <a:moveTo>
                      <a:pt x="16" y="28"/>
                    </a:moveTo>
                    <a:cubicBezTo>
                      <a:pt x="15" y="30"/>
                      <a:pt x="12" y="33"/>
                      <a:pt x="9" y="33"/>
                    </a:cubicBezTo>
                    <a:cubicBezTo>
                      <a:pt x="4" y="33"/>
                      <a:pt x="3" y="29"/>
                      <a:pt x="3" y="26"/>
                    </a:cubicBezTo>
                    <a:cubicBezTo>
                      <a:pt x="3" y="21"/>
                      <a:pt x="0" y="0"/>
                      <a:pt x="13" y="4"/>
                    </a:cubicBezTo>
                    <a:cubicBezTo>
                      <a:pt x="22" y="6"/>
                      <a:pt x="18" y="23"/>
                      <a:pt x="16" y="28"/>
                    </a:cubicBezTo>
                    <a:close/>
                  </a:path>
                </a:pathLst>
              </a:custGeom>
              <a:solidFill>
                <a:srgbClr val="4220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" name="íSlïde">
                <a:extLst>
                  <a:ext uri="{FF2B5EF4-FFF2-40B4-BE49-F238E27FC236}">
                    <a16:creationId xmlns:a16="http://schemas.microsoft.com/office/drawing/2014/main" id="{0DF4E84E-B5C7-495D-AE3B-33A096325629}"/>
                  </a:ext>
                </a:extLst>
              </p:cNvPr>
              <p:cNvSpPr/>
              <p:nvPr/>
            </p:nvSpPr>
            <p:spPr bwMode="auto">
              <a:xfrm>
                <a:off x="4268788" y="3078163"/>
                <a:ext cx="420687" cy="290513"/>
              </a:xfrm>
              <a:custGeom>
                <a:avLst/>
                <a:gdLst>
                  <a:gd name="T0" fmla="*/ 17 w 112"/>
                  <a:gd name="T1" fmla="*/ 15 h 77"/>
                  <a:gd name="T2" fmla="*/ 25 w 112"/>
                  <a:gd name="T3" fmla="*/ 66 h 77"/>
                  <a:gd name="T4" fmla="*/ 110 w 112"/>
                  <a:gd name="T5" fmla="*/ 40 h 77"/>
                  <a:gd name="T6" fmla="*/ 79 w 112"/>
                  <a:gd name="T7" fmla="*/ 4 h 77"/>
                  <a:gd name="T8" fmla="*/ 17 w 112"/>
                  <a:gd name="T9" fmla="*/ 15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77">
                    <a:moveTo>
                      <a:pt x="17" y="15"/>
                    </a:moveTo>
                    <a:cubicBezTo>
                      <a:pt x="0" y="30"/>
                      <a:pt x="6" y="57"/>
                      <a:pt x="25" y="66"/>
                    </a:cubicBezTo>
                    <a:cubicBezTo>
                      <a:pt x="48" y="77"/>
                      <a:pt x="106" y="74"/>
                      <a:pt x="110" y="40"/>
                    </a:cubicBezTo>
                    <a:cubicBezTo>
                      <a:pt x="112" y="23"/>
                      <a:pt x="96" y="8"/>
                      <a:pt x="79" y="4"/>
                    </a:cubicBezTo>
                    <a:cubicBezTo>
                      <a:pt x="62" y="0"/>
                      <a:pt x="31" y="3"/>
                      <a:pt x="17" y="15"/>
                    </a:cubicBezTo>
                    <a:close/>
                  </a:path>
                </a:pathLst>
              </a:custGeom>
              <a:solidFill>
                <a:srgbClr val="F870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" name="îşľíḓe">
                <a:extLst>
                  <a:ext uri="{FF2B5EF4-FFF2-40B4-BE49-F238E27FC236}">
                    <a16:creationId xmlns:a16="http://schemas.microsoft.com/office/drawing/2014/main" id="{B571615E-6EA7-440A-891C-75E2B512FE70}"/>
                  </a:ext>
                </a:extLst>
              </p:cNvPr>
              <p:cNvSpPr/>
              <p:nvPr/>
            </p:nvSpPr>
            <p:spPr bwMode="auto">
              <a:xfrm>
                <a:off x="4392613" y="3090863"/>
                <a:ext cx="225425" cy="66675"/>
              </a:xfrm>
              <a:custGeom>
                <a:avLst/>
                <a:gdLst>
                  <a:gd name="T0" fmla="*/ 58 w 60"/>
                  <a:gd name="T1" fmla="*/ 13 h 18"/>
                  <a:gd name="T2" fmla="*/ 2 w 60"/>
                  <a:gd name="T3" fmla="*/ 11 h 18"/>
                  <a:gd name="T4" fmla="*/ 3 w 60"/>
                  <a:gd name="T5" fmla="*/ 15 h 18"/>
                  <a:gd name="T6" fmla="*/ 30 w 60"/>
                  <a:gd name="T7" fmla="*/ 12 h 18"/>
                  <a:gd name="T8" fmla="*/ 56 w 60"/>
                  <a:gd name="T9" fmla="*/ 18 h 18"/>
                  <a:gd name="T10" fmla="*/ 58 w 60"/>
                  <a:gd name="T11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18">
                    <a:moveTo>
                      <a:pt x="58" y="13"/>
                    </a:moveTo>
                    <a:cubicBezTo>
                      <a:pt x="45" y="0"/>
                      <a:pt x="18" y="5"/>
                      <a:pt x="2" y="11"/>
                    </a:cubicBezTo>
                    <a:cubicBezTo>
                      <a:pt x="0" y="12"/>
                      <a:pt x="1" y="15"/>
                      <a:pt x="3" y="15"/>
                    </a:cubicBezTo>
                    <a:cubicBezTo>
                      <a:pt x="12" y="14"/>
                      <a:pt x="21" y="12"/>
                      <a:pt x="30" y="12"/>
                    </a:cubicBezTo>
                    <a:cubicBezTo>
                      <a:pt x="39" y="12"/>
                      <a:pt x="47" y="15"/>
                      <a:pt x="56" y="18"/>
                    </a:cubicBezTo>
                    <a:cubicBezTo>
                      <a:pt x="58" y="18"/>
                      <a:pt x="60" y="15"/>
                      <a:pt x="58" y="13"/>
                    </a:cubicBezTo>
                    <a:close/>
                  </a:path>
                </a:pathLst>
              </a:custGeom>
              <a:solidFill>
                <a:srgbClr val="F886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" name="íSliḋé">
                <a:extLst>
                  <a:ext uri="{FF2B5EF4-FFF2-40B4-BE49-F238E27FC236}">
                    <a16:creationId xmlns:a16="http://schemas.microsoft.com/office/drawing/2014/main" id="{E8272469-F642-40B9-91AD-C612A8A45789}"/>
                  </a:ext>
                </a:extLst>
              </p:cNvPr>
              <p:cNvSpPr/>
              <p:nvPr/>
            </p:nvSpPr>
            <p:spPr bwMode="auto">
              <a:xfrm>
                <a:off x="4348163" y="3552826"/>
                <a:ext cx="292100" cy="280988"/>
              </a:xfrm>
              <a:custGeom>
                <a:avLst/>
                <a:gdLst>
                  <a:gd name="T0" fmla="*/ 76 w 78"/>
                  <a:gd name="T1" fmla="*/ 25 h 75"/>
                  <a:gd name="T2" fmla="*/ 61 w 78"/>
                  <a:gd name="T3" fmla="*/ 59 h 75"/>
                  <a:gd name="T4" fmla="*/ 59 w 78"/>
                  <a:gd name="T5" fmla="*/ 61 h 75"/>
                  <a:gd name="T6" fmla="*/ 19 w 78"/>
                  <a:gd name="T7" fmla="*/ 64 h 75"/>
                  <a:gd name="T8" fmla="*/ 18 w 78"/>
                  <a:gd name="T9" fmla="*/ 64 h 75"/>
                  <a:gd name="T10" fmla="*/ 2 w 78"/>
                  <a:gd name="T11" fmla="*/ 30 h 75"/>
                  <a:gd name="T12" fmla="*/ 0 w 78"/>
                  <a:gd name="T13" fmla="*/ 6 h 75"/>
                  <a:gd name="T14" fmla="*/ 78 w 78"/>
                  <a:gd name="T15" fmla="*/ 0 h 75"/>
                  <a:gd name="T16" fmla="*/ 76 w 78"/>
                  <a:gd name="T17" fmla="*/ 2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" h="75">
                    <a:moveTo>
                      <a:pt x="76" y="25"/>
                    </a:moveTo>
                    <a:cubicBezTo>
                      <a:pt x="73" y="39"/>
                      <a:pt x="68" y="51"/>
                      <a:pt x="61" y="59"/>
                    </a:cubicBezTo>
                    <a:cubicBezTo>
                      <a:pt x="60" y="60"/>
                      <a:pt x="60" y="60"/>
                      <a:pt x="59" y="61"/>
                    </a:cubicBezTo>
                    <a:cubicBezTo>
                      <a:pt x="48" y="74"/>
                      <a:pt x="32" y="75"/>
                      <a:pt x="19" y="64"/>
                    </a:cubicBezTo>
                    <a:cubicBezTo>
                      <a:pt x="19" y="64"/>
                      <a:pt x="19" y="64"/>
                      <a:pt x="18" y="64"/>
                    </a:cubicBezTo>
                    <a:cubicBezTo>
                      <a:pt x="11" y="56"/>
                      <a:pt x="5" y="44"/>
                      <a:pt x="2" y="30"/>
                    </a:cubicBezTo>
                    <a:cubicBezTo>
                      <a:pt x="1" y="23"/>
                      <a:pt x="0" y="15"/>
                      <a:pt x="0" y="6"/>
                    </a:cubicBezTo>
                    <a:cubicBezTo>
                      <a:pt x="26" y="3"/>
                      <a:pt x="52" y="1"/>
                      <a:pt x="78" y="0"/>
                    </a:cubicBezTo>
                    <a:cubicBezTo>
                      <a:pt x="78" y="9"/>
                      <a:pt x="77" y="17"/>
                      <a:pt x="76" y="25"/>
                    </a:cubicBezTo>
                    <a:close/>
                  </a:path>
                </a:pathLst>
              </a:custGeom>
              <a:solidFill>
                <a:srgbClr val="A22D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" name="iS1íḍè">
                <a:extLst>
                  <a:ext uri="{FF2B5EF4-FFF2-40B4-BE49-F238E27FC236}">
                    <a16:creationId xmlns:a16="http://schemas.microsoft.com/office/drawing/2014/main" id="{1BAF3011-75D2-4280-B01A-36A199E52AF0}"/>
                  </a:ext>
                </a:extLst>
              </p:cNvPr>
              <p:cNvSpPr/>
              <p:nvPr/>
            </p:nvSpPr>
            <p:spPr bwMode="auto">
              <a:xfrm>
                <a:off x="4348163" y="3552826"/>
                <a:ext cx="292100" cy="112713"/>
              </a:xfrm>
              <a:custGeom>
                <a:avLst/>
                <a:gdLst>
                  <a:gd name="T0" fmla="*/ 76 w 78"/>
                  <a:gd name="T1" fmla="*/ 25 h 30"/>
                  <a:gd name="T2" fmla="*/ 2 w 78"/>
                  <a:gd name="T3" fmla="*/ 30 h 30"/>
                  <a:gd name="T4" fmla="*/ 0 w 78"/>
                  <a:gd name="T5" fmla="*/ 6 h 30"/>
                  <a:gd name="T6" fmla="*/ 78 w 78"/>
                  <a:gd name="T7" fmla="*/ 0 h 30"/>
                  <a:gd name="T8" fmla="*/ 76 w 78"/>
                  <a:gd name="T9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30">
                    <a:moveTo>
                      <a:pt x="76" y="25"/>
                    </a:moveTo>
                    <a:cubicBezTo>
                      <a:pt x="51" y="27"/>
                      <a:pt x="27" y="29"/>
                      <a:pt x="2" y="30"/>
                    </a:cubicBezTo>
                    <a:cubicBezTo>
                      <a:pt x="1" y="23"/>
                      <a:pt x="0" y="15"/>
                      <a:pt x="0" y="6"/>
                    </a:cubicBezTo>
                    <a:cubicBezTo>
                      <a:pt x="26" y="3"/>
                      <a:pt x="52" y="1"/>
                      <a:pt x="78" y="0"/>
                    </a:cubicBezTo>
                    <a:cubicBezTo>
                      <a:pt x="78" y="9"/>
                      <a:pt x="77" y="17"/>
                      <a:pt x="76" y="25"/>
                    </a:cubicBezTo>
                    <a:close/>
                  </a:path>
                </a:pathLst>
              </a:custGeom>
              <a:solidFill>
                <a:srgbClr val="FEFE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" name="íSļiďè">
                <a:extLst>
                  <a:ext uri="{FF2B5EF4-FFF2-40B4-BE49-F238E27FC236}">
                    <a16:creationId xmlns:a16="http://schemas.microsoft.com/office/drawing/2014/main" id="{7108EE19-6719-4831-AE7D-54ADE158DA1C}"/>
                  </a:ext>
                </a:extLst>
              </p:cNvPr>
              <p:cNvSpPr/>
              <p:nvPr/>
            </p:nvSpPr>
            <p:spPr bwMode="auto">
              <a:xfrm>
                <a:off x="4414838" y="3725863"/>
                <a:ext cx="161925" cy="107950"/>
              </a:xfrm>
              <a:custGeom>
                <a:avLst/>
                <a:gdLst>
                  <a:gd name="T0" fmla="*/ 43 w 43"/>
                  <a:gd name="T1" fmla="*/ 13 h 29"/>
                  <a:gd name="T2" fmla="*/ 41 w 43"/>
                  <a:gd name="T3" fmla="*/ 15 h 29"/>
                  <a:gd name="T4" fmla="*/ 1 w 43"/>
                  <a:gd name="T5" fmla="*/ 18 h 29"/>
                  <a:gd name="T6" fmla="*/ 0 w 43"/>
                  <a:gd name="T7" fmla="*/ 18 h 29"/>
                  <a:gd name="T8" fmla="*/ 20 w 43"/>
                  <a:gd name="T9" fmla="*/ 1 h 29"/>
                  <a:gd name="T10" fmla="*/ 43 w 43"/>
                  <a:gd name="T1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29">
                    <a:moveTo>
                      <a:pt x="43" y="13"/>
                    </a:moveTo>
                    <a:cubicBezTo>
                      <a:pt x="42" y="14"/>
                      <a:pt x="42" y="14"/>
                      <a:pt x="41" y="15"/>
                    </a:cubicBezTo>
                    <a:cubicBezTo>
                      <a:pt x="30" y="28"/>
                      <a:pt x="14" y="29"/>
                      <a:pt x="1" y="18"/>
                    </a:cubicBezTo>
                    <a:cubicBezTo>
                      <a:pt x="1" y="18"/>
                      <a:pt x="1" y="18"/>
                      <a:pt x="0" y="18"/>
                    </a:cubicBezTo>
                    <a:cubicBezTo>
                      <a:pt x="5" y="9"/>
                      <a:pt x="12" y="3"/>
                      <a:pt x="20" y="1"/>
                    </a:cubicBezTo>
                    <a:cubicBezTo>
                      <a:pt x="28" y="0"/>
                      <a:pt x="36" y="4"/>
                      <a:pt x="43" y="13"/>
                    </a:cubicBezTo>
                    <a:close/>
                  </a:path>
                </a:pathLst>
              </a:custGeom>
              <a:solidFill>
                <a:srgbClr val="C936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" name="ïṧḻiďé">
                <a:extLst>
                  <a:ext uri="{FF2B5EF4-FFF2-40B4-BE49-F238E27FC236}">
                    <a16:creationId xmlns:a16="http://schemas.microsoft.com/office/drawing/2014/main" id="{266DB17A-9FD4-4CAC-8D31-E5217A27B2C6}"/>
                  </a:ext>
                </a:extLst>
              </p:cNvPr>
              <p:cNvSpPr/>
              <p:nvPr/>
            </p:nvSpPr>
            <p:spPr bwMode="auto">
              <a:xfrm>
                <a:off x="4287838" y="4194176"/>
                <a:ext cx="195262" cy="219075"/>
              </a:xfrm>
              <a:custGeom>
                <a:avLst/>
                <a:gdLst>
                  <a:gd name="T0" fmla="*/ 43 w 52"/>
                  <a:gd name="T1" fmla="*/ 3 h 58"/>
                  <a:gd name="T2" fmla="*/ 52 w 52"/>
                  <a:gd name="T3" fmla="*/ 58 h 58"/>
                  <a:gd name="T4" fmla="*/ 0 w 52"/>
                  <a:gd name="T5" fmla="*/ 42 h 58"/>
                  <a:gd name="T6" fmla="*/ 43 w 52"/>
                  <a:gd name="T7" fmla="*/ 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58">
                    <a:moveTo>
                      <a:pt x="43" y="3"/>
                    </a:moveTo>
                    <a:cubicBezTo>
                      <a:pt x="52" y="58"/>
                      <a:pt x="52" y="58"/>
                      <a:pt x="52" y="58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2"/>
                      <a:pt x="22" y="0"/>
                      <a:pt x="43" y="3"/>
                    </a:cubicBezTo>
                    <a:close/>
                  </a:path>
                </a:pathLst>
              </a:custGeom>
              <a:solidFill>
                <a:srgbClr val="A1A1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" name="íš1ïde">
                <a:extLst>
                  <a:ext uri="{FF2B5EF4-FFF2-40B4-BE49-F238E27FC236}">
                    <a16:creationId xmlns:a16="http://schemas.microsoft.com/office/drawing/2014/main" id="{576703F6-C8D9-4E88-9920-3383F1F01F53}"/>
                  </a:ext>
                </a:extLst>
              </p:cNvPr>
              <p:cNvSpPr/>
              <p:nvPr/>
            </p:nvSpPr>
            <p:spPr bwMode="auto">
              <a:xfrm>
                <a:off x="4125913" y="4176713"/>
                <a:ext cx="322262" cy="273050"/>
              </a:xfrm>
              <a:custGeom>
                <a:avLst/>
                <a:gdLst>
                  <a:gd name="T0" fmla="*/ 86 w 86"/>
                  <a:gd name="T1" fmla="*/ 8 h 73"/>
                  <a:gd name="T2" fmla="*/ 36 w 86"/>
                  <a:gd name="T3" fmla="*/ 0 h 73"/>
                  <a:gd name="T4" fmla="*/ 0 w 86"/>
                  <a:gd name="T5" fmla="*/ 45 h 73"/>
                  <a:gd name="T6" fmla="*/ 55 w 86"/>
                  <a:gd name="T7" fmla="*/ 73 h 73"/>
                  <a:gd name="T8" fmla="*/ 86 w 86"/>
                  <a:gd name="T9" fmla="*/ 8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73">
                    <a:moveTo>
                      <a:pt x="86" y="8"/>
                    </a:moveTo>
                    <a:cubicBezTo>
                      <a:pt x="70" y="5"/>
                      <a:pt x="53" y="2"/>
                      <a:pt x="36" y="0"/>
                    </a:cubicBezTo>
                    <a:cubicBezTo>
                      <a:pt x="21" y="24"/>
                      <a:pt x="13" y="33"/>
                      <a:pt x="0" y="45"/>
                    </a:cubicBezTo>
                    <a:cubicBezTo>
                      <a:pt x="20" y="50"/>
                      <a:pt x="39" y="61"/>
                      <a:pt x="55" y="73"/>
                    </a:cubicBezTo>
                    <a:cubicBezTo>
                      <a:pt x="55" y="48"/>
                      <a:pt x="66" y="23"/>
                      <a:pt x="86" y="8"/>
                    </a:cubicBezTo>
                    <a:close/>
                  </a:path>
                </a:pathLst>
              </a:custGeom>
              <a:solidFill>
                <a:srgbClr val="D1D1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" name="îśḻîḑê">
                <a:extLst>
                  <a:ext uri="{FF2B5EF4-FFF2-40B4-BE49-F238E27FC236}">
                    <a16:creationId xmlns:a16="http://schemas.microsoft.com/office/drawing/2014/main" id="{AD849991-7C63-4297-903E-F69BFA416E67}"/>
                  </a:ext>
                </a:extLst>
              </p:cNvPr>
              <p:cNvSpPr/>
              <p:nvPr/>
            </p:nvSpPr>
            <p:spPr bwMode="auto">
              <a:xfrm>
                <a:off x="4483100" y="4194176"/>
                <a:ext cx="195262" cy="219075"/>
              </a:xfrm>
              <a:custGeom>
                <a:avLst/>
                <a:gdLst>
                  <a:gd name="T0" fmla="*/ 9 w 52"/>
                  <a:gd name="T1" fmla="*/ 3 h 58"/>
                  <a:gd name="T2" fmla="*/ 0 w 52"/>
                  <a:gd name="T3" fmla="*/ 58 h 58"/>
                  <a:gd name="T4" fmla="*/ 52 w 52"/>
                  <a:gd name="T5" fmla="*/ 42 h 58"/>
                  <a:gd name="T6" fmla="*/ 9 w 52"/>
                  <a:gd name="T7" fmla="*/ 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58">
                    <a:moveTo>
                      <a:pt x="9" y="3"/>
                    </a:moveTo>
                    <a:cubicBezTo>
                      <a:pt x="0" y="58"/>
                      <a:pt x="0" y="58"/>
                      <a:pt x="0" y="58"/>
                    </a:cubicBezTo>
                    <a:cubicBezTo>
                      <a:pt x="52" y="42"/>
                      <a:pt x="52" y="42"/>
                      <a:pt x="52" y="42"/>
                    </a:cubicBezTo>
                    <a:cubicBezTo>
                      <a:pt x="52" y="42"/>
                      <a:pt x="31" y="0"/>
                      <a:pt x="9" y="3"/>
                    </a:cubicBezTo>
                    <a:close/>
                  </a:path>
                </a:pathLst>
              </a:custGeom>
              <a:solidFill>
                <a:srgbClr val="A1A1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" name="ïSḷïdê">
                <a:extLst>
                  <a:ext uri="{FF2B5EF4-FFF2-40B4-BE49-F238E27FC236}">
                    <a16:creationId xmlns:a16="http://schemas.microsoft.com/office/drawing/2014/main" id="{37303191-9329-43AE-962C-914C6DA1D1C6}"/>
                  </a:ext>
                </a:extLst>
              </p:cNvPr>
              <p:cNvSpPr/>
              <p:nvPr/>
            </p:nvSpPr>
            <p:spPr bwMode="auto">
              <a:xfrm>
                <a:off x="4516438" y="4176713"/>
                <a:ext cx="327025" cy="273050"/>
              </a:xfrm>
              <a:custGeom>
                <a:avLst/>
                <a:gdLst>
                  <a:gd name="T0" fmla="*/ 0 w 87"/>
                  <a:gd name="T1" fmla="*/ 8 h 73"/>
                  <a:gd name="T2" fmla="*/ 50 w 87"/>
                  <a:gd name="T3" fmla="*/ 0 h 73"/>
                  <a:gd name="T4" fmla="*/ 87 w 87"/>
                  <a:gd name="T5" fmla="*/ 45 h 73"/>
                  <a:gd name="T6" fmla="*/ 32 w 87"/>
                  <a:gd name="T7" fmla="*/ 73 h 73"/>
                  <a:gd name="T8" fmla="*/ 0 w 87"/>
                  <a:gd name="T9" fmla="*/ 8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73">
                    <a:moveTo>
                      <a:pt x="0" y="8"/>
                    </a:moveTo>
                    <a:cubicBezTo>
                      <a:pt x="17" y="5"/>
                      <a:pt x="34" y="2"/>
                      <a:pt x="50" y="0"/>
                    </a:cubicBezTo>
                    <a:cubicBezTo>
                      <a:pt x="63" y="18"/>
                      <a:pt x="78" y="32"/>
                      <a:pt x="87" y="45"/>
                    </a:cubicBezTo>
                    <a:cubicBezTo>
                      <a:pt x="67" y="50"/>
                      <a:pt x="48" y="61"/>
                      <a:pt x="32" y="73"/>
                    </a:cubicBezTo>
                    <a:cubicBezTo>
                      <a:pt x="32" y="48"/>
                      <a:pt x="21" y="23"/>
                      <a:pt x="0" y="8"/>
                    </a:cubicBezTo>
                    <a:close/>
                  </a:path>
                </a:pathLst>
              </a:custGeom>
              <a:solidFill>
                <a:srgbClr val="D1D1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" name="ïšḷïḑê">
                <a:extLst>
                  <a:ext uri="{FF2B5EF4-FFF2-40B4-BE49-F238E27FC236}">
                    <a16:creationId xmlns:a16="http://schemas.microsoft.com/office/drawing/2014/main" id="{142DD5E5-FCC3-4D08-8C0A-612CBEA77BC3}"/>
                  </a:ext>
                </a:extLst>
              </p:cNvPr>
              <p:cNvSpPr/>
              <p:nvPr/>
            </p:nvSpPr>
            <p:spPr bwMode="auto">
              <a:xfrm>
                <a:off x="3517900" y="1722438"/>
                <a:ext cx="1704975" cy="898525"/>
              </a:xfrm>
              <a:custGeom>
                <a:avLst/>
                <a:gdLst>
                  <a:gd name="T0" fmla="*/ 46 w 454"/>
                  <a:gd name="T1" fmla="*/ 151 h 239"/>
                  <a:gd name="T2" fmla="*/ 148 w 454"/>
                  <a:gd name="T3" fmla="*/ 225 h 239"/>
                  <a:gd name="T4" fmla="*/ 180 w 454"/>
                  <a:gd name="T5" fmla="*/ 227 h 239"/>
                  <a:gd name="T6" fmla="*/ 191 w 454"/>
                  <a:gd name="T7" fmla="*/ 200 h 239"/>
                  <a:gd name="T8" fmla="*/ 324 w 454"/>
                  <a:gd name="T9" fmla="*/ 239 h 239"/>
                  <a:gd name="T10" fmla="*/ 435 w 454"/>
                  <a:gd name="T11" fmla="*/ 174 h 239"/>
                  <a:gd name="T12" fmla="*/ 388 w 454"/>
                  <a:gd name="T13" fmla="*/ 43 h 239"/>
                  <a:gd name="T14" fmla="*/ 282 w 454"/>
                  <a:gd name="T15" fmla="*/ 3 h 239"/>
                  <a:gd name="T16" fmla="*/ 236 w 454"/>
                  <a:gd name="T17" fmla="*/ 9 h 239"/>
                  <a:gd name="T18" fmla="*/ 204 w 454"/>
                  <a:gd name="T19" fmla="*/ 35 h 239"/>
                  <a:gd name="T20" fmla="*/ 151 w 454"/>
                  <a:gd name="T21" fmla="*/ 7 h 239"/>
                  <a:gd name="T22" fmla="*/ 46 w 454"/>
                  <a:gd name="T23" fmla="*/ 151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54" h="239">
                    <a:moveTo>
                      <a:pt x="46" y="151"/>
                    </a:moveTo>
                    <a:cubicBezTo>
                      <a:pt x="71" y="186"/>
                      <a:pt x="107" y="212"/>
                      <a:pt x="148" y="225"/>
                    </a:cubicBezTo>
                    <a:cubicBezTo>
                      <a:pt x="158" y="228"/>
                      <a:pt x="170" y="231"/>
                      <a:pt x="180" y="227"/>
                    </a:cubicBezTo>
                    <a:cubicBezTo>
                      <a:pt x="190" y="223"/>
                      <a:pt x="197" y="210"/>
                      <a:pt x="191" y="200"/>
                    </a:cubicBezTo>
                    <a:cubicBezTo>
                      <a:pt x="233" y="217"/>
                      <a:pt x="278" y="239"/>
                      <a:pt x="324" y="239"/>
                    </a:cubicBezTo>
                    <a:cubicBezTo>
                      <a:pt x="369" y="239"/>
                      <a:pt x="418" y="217"/>
                      <a:pt x="435" y="174"/>
                    </a:cubicBezTo>
                    <a:cubicBezTo>
                      <a:pt x="454" y="128"/>
                      <a:pt x="429" y="73"/>
                      <a:pt x="388" y="43"/>
                    </a:cubicBezTo>
                    <a:cubicBezTo>
                      <a:pt x="358" y="21"/>
                      <a:pt x="319" y="7"/>
                      <a:pt x="282" y="3"/>
                    </a:cubicBezTo>
                    <a:cubicBezTo>
                      <a:pt x="266" y="2"/>
                      <a:pt x="250" y="3"/>
                      <a:pt x="236" y="9"/>
                    </a:cubicBezTo>
                    <a:cubicBezTo>
                      <a:pt x="232" y="10"/>
                      <a:pt x="200" y="31"/>
                      <a:pt x="204" y="35"/>
                    </a:cubicBezTo>
                    <a:cubicBezTo>
                      <a:pt x="191" y="20"/>
                      <a:pt x="171" y="10"/>
                      <a:pt x="151" y="7"/>
                    </a:cubicBezTo>
                    <a:cubicBezTo>
                      <a:pt x="84" y="0"/>
                      <a:pt x="0" y="85"/>
                      <a:pt x="46" y="151"/>
                    </a:cubicBezTo>
                    <a:close/>
                  </a:path>
                </a:pathLst>
              </a:custGeom>
              <a:solidFill>
                <a:srgbClr val="9644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" name="íṡ1ïḓe">
                <a:extLst>
                  <a:ext uri="{FF2B5EF4-FFF2-40B4-BE49-F238E27FC236}">
                    <a16:creationId xmlns:a16="http://schemas.microsoft.com/office/drawing/2014/main" id="{09EDBA69-7763-4805-B498-E9041C96AE23}"/>
                  </a:ext>
                </a:extLst>
              </p:cNvPr>
              <p:cNvSpPr/>
              <p:nvPr/>
            </p:nvSpPr>
            <p:spPr bwMode="auto">
              <a:xfrm>
                <a:off x="3713163" y="2159001"/>
                <a:ext cx="231775" cy="844550"/>
              </a:xfrm>
              <a:custGeom>
                <a:avLst/>
                <a:gdLst>
                  <a:gd name="T0" fmla="*/ 27 w 62"/>
                  <a:gd name="T1" fmla="*/ 199 h 225"/>
                  <a:gd name="T2" fmla="*/ 48 w 62"/>
                  <a:gd name="T3" fmla="*/ 221 h 225"/>
                  <a:gd name="T4" fmla="*/ 58 w 62"/>
                  <a:gd name="T5" fmla="*/ 193 h 225"/>
                  <a:gd name="T6" fmla="*/ 42 w 62"/>
                  <a:gd name="T7" fmla="*/ 36 h 225"/>
                  <a:gd name="T8" fmla="*/ 31 w 62"/>
                  <a:gd name="T9" fmla="*/ 10 h 225"/>
                  <a:gd name="T10" fmla="*/ 13 w 62"/>
                  <a:gd name="T11" fmla="*/ 5 h 225"/>
                  <a:gd name="T12" fmla="*/ 4 w 62"/>
                  <a:gd name="T13" fmla="*/ 33 h 225"/>
                  <a:gd name="T14" fmla="*/ 27 w 62"/>
                  <a:gd name="T15" fmla="*/ 199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2" h="225">
                    <a:moveTo>
                      <a:pt x="27" y="199"/>
                    </a:moveTo>
                    <a:cubicBezTo>
                      <a:pt x="31" y="211"/>
                      <a:pt x="39" y="225"/>
                      <a:pt x="48" y="221"/>
                    </a:cubicBezTo>
                    <a:cubicBezTo>
                      <a:pt x="55" y="219"/>
                      <a:pt x="57" y="205"/>
                      <a:pt x="58" y="193"/>
                    </a:cubicBezTo>
                    <a:cubicBezTo>
                      <a:pt x="62" y="140"/>
                      <a:pt x="56" y="86"/>
                      <a:pt x="42" y="36"/>
                    </a:cubicBezTo>
                    <a:cubicBezTo>
                      <a:pt x="39" y="26"/>
                      <a:pt x="36" y="17"/>
                      <a:pt x="31" y="10"/>
                    </a:cubicBezTo>
                    <a:cubicBezTo>
                      <a:pt x="26" y="4"/>
                      <a:pt x="18" y="0"/>
                      <a:pt x="13" y="5"/>
                    </a:cubicBezTo>
                    <a:cubicBezTo>
                      <a:pt x="6" y="10"/>
                      <a:pt x="5" y="22"/>
                      <a:pt x="4" y="33"/>
                    </a:cubicBezTo>
                    <a:cubicBezTo>
                      <a:pt x="0" y="89"/>
                      <a:pt x="8" y="148"/>
                      <a:pt x="27" y="199"/>
                    </a:cubicBezTo>
                    <a:close/>
                  </a:path>
                </a:pathLst>
              </a:custGeom>
              <a:solidFill>
                <a:srgbClr val="9644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" name="íṩ1îḓè">
                <a:extLst>
                  <a:ext uri="{FF2B5EF4-FFF2-40B4-BE49-F238E27FC236}">
                    <a16:creationId xmlns:a16="http://schemas.microsoft.com/office/drawing/2014/main" id="{70E3FA67-EC2B-4BE3-990D-FB53B557A249}"/>
                  </a:ext>
                </a:extLst>
              </p:cNvPr>
              <p:cNvSpPr/>
              <p:nvPr/>
            </p:nvSpPr>
            <p:spPr bwMode="auto">
              <a:xfrm>
                <a:off x="4945063" y="2278063"/>
                <a:ext cx="217487" cy="744538"/>
              </a:xfrm>
              <a:custGeom>
                <a:avLst/>
                <a:gdLst>
                  <a:gd name="T0" fmla="*/ 38 w 58"/>
                  <a:gd name="T1" fmla="*/ 175 h 198"/>
                  <a:gd name="T2" fmla="*/ 19 w 58"/>
                  <a:gd name="T3" fmla="*/ 196 h 198"/>
                  <a:gd name="T4" fmla="*/ 7 w 58"/>
                  <a:gd name="T5" fmla="*/ 172 h 198"/>
                  <a:gd name="T6" fmla="*/ 13 w 58"/>
                  <a:gd name="T7" fmla="*/ 33 h 198"/>
                  <a:gd name="T8" fmla="*/ 22 w 58"/>
                  <a:gd name="T9" fmla="*/ 10 h 198"/>
                  <a:gd name="T10" fmla="*/ 40 w 58"/>
                  <a:gd name="T11" fmla="*/ 4 h 198"/>
                  <a:gd name="T12" fmla="*/ 50 w 58"/>
                  <a:gd name="T13" fmla="*/ 28 h 198"/>
                  <a:gd name="T14" fmla="*/ 38 w 58"/>
                  <a:gd name="T15" fmla="*/ 175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198">
                    <a:moveTo>
                      <a:pt x="38" y="175"/>
                    </a:moveTo>
                    <a:cubicBezTo>
                      <a:pt x="35" y="186"/>
                      <a:pt x="28" y="198"/>
                      <a:pt x="19" y="196"/>
                    </a:cubicBezTo>
                    <a:cubicBezTo>
                      <a:pt x="11" y="194"/>
                      <a:pt x="8" y="182"/>
                      <a:pt x="7" y="172"/>
                    </a:cubicBezTo>
                    <a:cubicBezTo>
                      <a:pt x="0" y="126"/>
                      <a:pt x="2" y="77"/>
                      <a:pt x="13" y="33"/>
                    </a:cubicBezTo>
                    <a:cubicBezTo>
                      <a:pt x="15" y="24"/>
                      <a:pt x="17" y="16"/>
                      <a:pt x="22" y="10"/>
                    </a:cubicBezTo>
                    <a:cubicBezTo>
                      <a:pt x="26" y="3"/>
                      <a:pt x="34" y="0"/>
                      <a:pt x="40" y="4"/>
                    </a:cubicBezTo>
                    <a:cubicBezTo>
                      <a:pt x="46" y="8"/>
                      <a:pt x="49" y="19"/>
                      <a:pt x="50" y="28"/>
                    </a:cubicBezTo>
                    <a:cubicBezTo>
                      <a:pt x="58" y="77"/>
                      <a:pt x="54" y="129"/>
                      <a:pt x="38" y="175"/>
                    </a:cubicBezTo>
                    <a:close/>
                  </a:path>
                </a:pathLst>
              </a:custGeom>
              <a:solidFill>
                <a:srgbClr val="9644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" name="íṡ1iḑe">
                <a:extLst>
                  <a:ext uri="{FF2B5EF4-FFF2-40B4-BE49-F238E27FC236}">
                    <a16:creationId xmlns:a16="http://schemas.microsoft.com/office/drawing/2014/main" id="{70847215-4554-4780-BBB9-241F90821411}"/>
                  </a:ext>
                </a:extLst>
              </p:cNvPr>
              <p:cNvSpPr/>
              <p:nvPr/>
            </p:nvSpPr>
            <p:spPr bwMode="auto">
              <a:xfrm>
                <a:off x="3862388" y="4575176"/>
                <a:ext cx="1209675" cy="390525"/>
              </a:xfrm>
              <a:custGeom>
                <a:avLst/>
                <a:gdLst>
                  <a:gd name="T0" fmla="*/ 322 w 322"/>
                  <a:gd name="T1" fmla="*/ 86 h 104"/>
                  <a:gd name="T2" fmla="*/ 283 w 322"/>
                  <a:gd name="T3" fmla="*/ 94 h 104"/>
                  <a:gd name="T4" fmla="*/ 152 w 322"/>
                  <a:gd name="T5" fmla="*/ 103 h 104"/>
                  <a:gd name="T6" fmla="*/ 24 w 322"/>
                  <a:gd name="T7" fmla="*/ 92 h 104"/>
                  <a:gd name="T8" fmla="*/ 0 w 322"/>
                  <a:gd name="T9" fmla="*/ 86 h 104"/>
                  <a:gd name="T10" fmla="*/ 26 w 322"/>
                  <a:gd name="T11" fmla="*/ 15 h 104"/>
                  <a:gd name="T12" fmla="*/ 27 w 322"/>
                  <a:gd name="T13" fmla="*/ 13 h 104"/>
                  <a:gd name="T14" fmla="*/ 57 w 322"/>
                  <a:gd name="T15" fmla="*/ 13 h 104"/>
                  <a:gd name="T16" fmla="*/ 168 w 322"/>
                  <a:gd name="T17" fmla="*/ 16 h 104"/>
                  <a:gd name="T18" fmla="*/ 274 w 322"/>
                  <a:gd name="T19" fmla="*/ 5 h 104"/>
                  <a:gd name="T20" fmla="*/ 295 w 322"/>
                  <a:gd name="T21" fmla="*/ 0 h 104"/>
                  <a:gd name="T22" fmla="*/ 322 w 322"/>
                  <a:gd name="T23" fmla="*/ 8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2" h="104">
                    <a:moveTo>
                      <a:pt x="322" y="86"/>
                    </a:moveTo>
                    <a:cubicBezTo>
                      <a:pt x="309" y="89"/>
                      <a:pt x="295" y="92"/>
                      <a:pt x="283" y="94"/>
                    </a:cubicBezTo>
                    <a:cubicBezTo>
                      <a:pt x="240" y="101"/>
                      <a:pt x="196" y="104"/>
                      <a:pt x="152" y="103"/>
                    </a:cubicBezTo>
                    <a:cubicBezTo>
                      <a:pt x="110" y="102"/>
                      <a:pt x="66" y="100"/>
                      <a:pt x="24" y="92"/>
                    </a:cubicBezTo>
                    <a:cubicBezTo>
                      <a:pt x="16" y="90"/>
                      <a:pt x="8" y="88"/>
                      <a:pt x="0" y="86"/>
                    </a:cubicBezTo>
                    <a:cubicBezTo>
                      <a:pt x="5" y="61"/>
                      <a:pt x="14" y="37"/>
                      <a:pt x="26" y="15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37" y="13"/>
                      <a:pt x="47" y="13"/>
                      <a:pt x="57" y="13"/>
                    </a:cubicBezTo>
                    <a:cubicBezTo>
                      <a:pt x="94" y="14"/>
                      <a:pt x="131" y="17"/>
                      <a:pt x="168" y="16"/>
                    </a:cubicBezTo>
                    <a:cubicBezTo>
                      <a:pt x="204" y="15"/>
                      <a:pt x="240" y="13"/>
                      <a:pt x="274" y="5"/>
                    </a:cubicBezTo>
                    <a:cubicBezTo>
                      <a:pt x="281" y="4"/>
                      <a:pt x="288" y="2"/>
                      <a:pt x="295" y="0"/>
                    </a:cubicBezTo>
                    <a:cubicBezTo>
                      <a:pt x="307" y="25"/>
                      <a:pt x="317" y="54"/>
                      <a:pt x="322" y="86"/>
                    </a:cubicBezTo>
                    <a:close/>
                  </a:path>
                </a:pathLst>
              </a:custGeom>
              <a:solidFill>
                <a:srgbClr val="226E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" name="îṧľïḋê">
                <a:extLst>
                  <a:ext uri="{FF2B5EF4-FFF2-40B4-BE49-F238E27FC236}">
                    <a16:creationId xmlns:a16="http://schemas.microsoft.com/office/drawing/2014/main" id="{928BAFEF-479E-4F42-9AFF-65998AC744F5}"/>
                  </a:ext>
                </a:extLst>
              </p:cNvPr>
              <p:cNvSpPr/>
              <p:nvPr/>
            </p:nvSpPr>
            <p:spPr bwMode="auto">
              <a:xfrm>
                <a:off x="4591050" y="1865313"/>
                <a:ext cx="458787" cy="428625"/>
              </a:xfrm>
              <a:custGeom>
                <a:avLst/>
                <a:gdLst>
                  <a:gd name="T0" fmla="*/ 69 w 122"/>
                  <a:gd name="T1" fmla="*/ 17 h 114"/>
                  <a:gd name="T2" fmla="*/ 31 w 122"/>
                  <a:gd name="T3" fmla="*/ 4 h 114"/>
                  <a:gd name="T4" fmla="*/ 13 w 122"/>
                  <a:gd name="T5" fmla="*/ 2 h 114"/>
                  <a:gd name="T6" fmla="*/ 1 w 122"/>
                  <a:gd name="T7" fmla="*/ 24 h 114"/>
                  <a:gd name="T8" fmla="*/ 11 w 122"/>
                  <a:gd name="T9" fmla="*/ 49 h 114"/>
                  <a:gd name="T10" fmla="*/ 94 w 122"/>
                  <a:gd name="T11" fmla="*/ 110 h 114"/>
                  <a:gd name="T12" fmla="*/ 114 w 122"/>
                  <a:gd name="T13" fmla="*/ 110 h 114"/>
                  <a:gd name="T14" fmla="*/ 121 w 122"/>
                  <a:gd name="T15" fmla="*/ 86 h 114"/>
                  <a:gd name="T16" fmla="*/ 69 w 122"/>
                  <a:gd name="T17" fmla="*/ 1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2" h="114">
                    <a:moveTo>
                      <a:pt x="69" y="17"/>
                    </a:moveTo>
                    <a:cubicBezTo>
                      <a:pt x="57" y="10"/>
                      <a:pt x="44" y="7"/>
                      <a:pt x="31" y="4"/>
                    </a:cubicBezTo>
                    <a:cubicBezTo>
                      <a:pt x="25" y="2"/>
                      <a:pt x="19" y="0"/>
                      <a:pt x="13" y="2"/>
                    </a:cubicBezTo>
                    <a:cubicBezTo>
                      <a:pt x="4" y="5"/>
                      <a:pt x="0" y="15"/>
                      <a:pt x="1" y="24"/>
                    </a:cubicBezTo>
                    <a:cubicBezTo>
                      <a:pt x="1" y="33"/>
                      <a:pt x="6" y="42"/>
                      <a:pt x="11" y="49"/>
                    </a:cubicBezTo>
                    <a:cubicBezTo>
                      <a:pt x="32" y="77"/>
                      <a:pt x="61" y="99"/>
                      <a:pt x="94" y="110"/>
                    </a:cubicBezTo>
                    <a:cubicBezTo>
                      <a:pt x="101" y="112"/>
                      <a:pt x="108" y="114"/>
                      <a:pt x="114" y="110"/>
                    </a:cubicBezTo>
                    <a:cubicBezTo>
                      <a:pt x="122" y="105"/>
                      <a:pt x="122" y="95"/>
                      <a:pt x="121" y="86"/>
                    </a:cubicBezTo>
                    <a:cubicBezTo>
                      <a:pt x="116" y="57"/>
                      <a:pt x="96" y="30"/>
                      <a:pt x="69" y="17"/>
                    </a:cubicBezTo>
                    <a:close/>
                  </a:path>
                </a:pathLst>
              </a:custGeom>
              <a:solidFill>
                <a:srgbClr val="9E48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2" name="iśļídè">
              <a:extLst>
                <a:ext uri="{FF2B5EF4-FFF2-40B4-BE49-F238E27FC236}">
                  <a16:creationId xmlns:a16="http://schemas.microsoft.com/office/drawing/2014/main" id="{B5D68E2D-EB11-40BA-B7DB-803D7AECD7C4}"/>
                </a:ext>
              </a:extLst>
            </p:cNvPr>
            <p:cNvGrpSpPr/>
            <p:nvPr/>
          </p:nvGrpSpPr>
          <p:grpSpPr>
            <a:xfrm>
              <a:off x="8397311" y="3897763"/>
              <a:ext cx="769707" cy="1768055"/>
              <a:chOff x="7546975" y="3773488"/>
              <a:chExt cx="860425" cy="1976438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156" name="îšḷide">
                <a:extLst>
                  <a:ext uri="{FF2B5EF4-FFF2-40B4-BE49-F238E27FC236}">
                    <a16:creationId xmlns:a16="http://schemas.microsoft.com/office/drawing/2014/main" id="{2336C5A2-832C-4142-9BD3-1F4B4BAE8440}"/>
                  </a:ext>
                </a:extLst>
              </p:cNvPr>
              <p:cNvSpPr/>
              <p:nvPr/>
            </p:nvSpPr>
            <p:spPr bwMode="auto">
              <a:xfrm>
                <a:off x="7546975" y="3773488"/>
                <a:ext cx="860425" cy="1536700"/>
              </a:xfrm>
              <a:custGeom>
                <a:avLst/>
                <a:gdLst>
                  <a:gd name="T0" fmla="*/ 229 w 229"/>
                  <a:gd name="T1" fmla="*/ 163 h 409"/>
                  <a:gd name="T2" fmla="*/ 220 w 229"/>
                  <a:gd name="T3" fmla="*/ 246 h 409"/>
                  <a:gd name="T4" fmla="*/ 169 w 229"/>
                  <a:gd name="T5" fmla="*/ 254 h 409"/>
                  <a:gd name="T6" fmla="*/ 157 w 229"/>
                  <a:gd name="T7" fmla="*/ 278 h 409"/>
                  <a:gd name="T8" fmla="*/ 182 w 229"/>
                  <a:gd name="T9" fmla="*/ 319 h 409"/>
                  <a:gd name="T10" fmla="*/ 118 w 229"/>
                  <a:gd name="T11" fmla="*/ 378 h 409"/>
                  <a:gd name="T12" fmla="*/ 79 w 229"/>
                  <a:gd name="T13" fmla="*/ 349 h 409"/>
                  <a:gd name="T14" fmla="*/ 55 w 229"/>
                  <a:gd name="T15" fmla="*/ 358 h 409"/>
                  <a:gd name="T16" fmla="*/ 41 w 229"/>
                  <a:gd name="T17" fmla="*/ 409 h 409"/>
                  <a:gd name="T18" fmla="*/ 0 w 229"/>
                  <a:gd name="T19" fmla="*/ 409 h 409"/>
                  <a:gd name="T20" fmla="*/ 9 w 229"/>
                  <a:gd name="T21" fmla="*/ 315 h 409"/>
                  <a:gd name="T22" fmla="*/ 131 w 229"/>
                  <a:gd name="T23" fmla="*/ 204 h 409"/>
                  <a:gd name="T24" fmla="*/ 31 w 229"/>
                  <a:gd name="T25" fmla="*/ 93 h 409"/>
                  <a:gd name="T26" fmla="*/ 41 w 229"/>
                  <a:gd name="T27" fmla="*/ 0 h 409"/>
                  <a:gd name="T28" fmla="*/ 82 w 229"/>
                  <a:gd name="T29" fmla="*/ 0 h 409"/>
                  <a:gd name="T30" fmla="*/ 86 w 229"/>
                  <a:gd name="T31" fmla="*/ 51 h 409"/>
                  <a:gd name="T32" fmla="*/ 108 w 229"/>
                  <a:gd name="T33" fmla="*/ 60 h 409"/>
                  <a:gd name="T34" fmla="*/ 153 w 229"/>
                  <a:gd name="T35" fmla="*/ 31 h 409"/>
                  <a:gd name="T36" fmla="*/ 205 w 229"/>
                  <a:gd name="T37" fmla="*/ 89 h 409"/>
                  <a:gd name="T38" fmla="*/ 172 w 229"/>
                  <a:gd name="T39" fmla="*/ 131 h 409"/>
                  <a:gd name="T40" fmla="*/ 179 w 229"/>
                  <a:gd name="T41" fmla="*/ 154 h 409"/>
                  <a:gd name="T42" fmla="*/ 229 w 229"/>
                  <a:gd name="T43" fmla="*/ 163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9" h="409">
                    <a:moveTo>
                      <a:pt x="229" y="163"/>
                    </a:moveTo>
                    <a:cubicBezTo>
                      <a:pt x="220" y="246"/>
                      <a:pt x="220" y="246"/>
                      <a:pt x="220" y="246"/>
                    </a:cubicBezTo>
                    <a:cubicBezTo>
                      <a:pt x="169" y="254"/>
                      <a:pt x="169" y="254"/>
                      <a:pt x="169" y="254"/>
                    </a:cubicBezTo>
                    <a:cubicBezTo>
                      <a:pt x="166" y="263"/>
                      <a:pt x="162" y="270"/>
                      <a:pt x="157" y="278"/>
                    </a:cubicBezTo>
                    <a:cubicBezTo>
                      <a:pt x="182" y="319"/>
                      <a:pt x="182" y="319"/>
                      <a:pt x="182" y="319"/>
                    </a:cubicBezTo>
                    <a:cubicBezTo>
                      <a:pt x="118" y="378"/>
                      <a:pt x="118" y="378"/>
                      <a:pt x="118" y="378"/>
                    </a:cubicBezTo>
                    <a:cubicBezTo>
                      <a:pt x="79" y="349"/>
                      <a:pt x="79" y="349"/>
                      <a:pt x="79" y="349"/>
                    </a:cubicBezTo>
                    <a:cubicBezTo>
                      <a:pt x="71" y="352"/>
                      <a:pt x="63" y="356"/>
                      <a:pt x="55" y="358"/>
                    </a:cubicBezTo>
                    <a:cubicBezTo>
                      <a:pt x="41" y="409"/>
                      <a:pt x="41" y="409"/>
                      <a:pt x="41" y="409"/>
                    </a:cubicBezTo>
                    <a:cubicBezTo>
                      <a:pt x="0" y="409"/>
                      <a:pt x="0" y="409"/>
                      <a:pt x="0" y="409"/>
                    </a:cubicBezTo>
                    <a:cubicBezTo>
                      <a:pt x="9" y="315"/>
                      <a:pt x="9" y="315"/>
                      <a:pt x="9" y="315"/>
                    </a:cubicBezTo>
                    <a:cubicBezTo>
                      <a:pt x="70" y="315"/>
                      <a:pt x="125" y="266"/>
                      <a:pt x="131" y="204"/>
                    </a:cubicBezTo>
                    <a:cubicBezTo>
                      <a:pt x="137" y="143"/>
                      <a:pt x="93" y="93"/>
                      <a:pt x="31" y="93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6" y="51"/>
                      <a:pt x="86" y="51"/>
                      <a:pt x="86" y="51"/>
                    </a:cubicBezTo>
                    <a:cubicBezTo>
                      <a:pt x="93" y="53"/>
                      <a:pt x="101" y="56"/>
                      <a:pt x="108" y="60"/>
                    </a:cubicBezTo>
                    <a:cubicBezTo>
                      <a:pt x="153" y="31"/>
                      <a:pt x="153" y="31"/>
                      <a:pt x="153" y="31"/>
                    </a:cubicBezTo>
                    <a:cubicBezTo>
                      <a:pt x="205" y="89"/>
                      <a:pt x="205" y="89"/>
                      <a:pt x="205" y="89"/>
                    </a:cubicBezTo>
                    <a:cubicBezTo>
                      <a:pt x="172" y="131"/>
                      <a:pt x="172" y="131"/>
                      <a:pt x="172" y="131"/>
                    </a:cubicBezTo>
                    <a:cubicBezTo>
                      <a:pt x="175" y="139"/>
                      <a:pt x="177" y="146"/>
                      <a:pt x="179" y="154"/>
                    </a:cubicBezTo>
                    <a:lnTo>
                      <a:pt x="229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" name="iṥliḍé">
                <a:extLst>
                  <a:ext uri="{FF2B5EF4-FFF2-40B4-BE49-F238E27FC236}">
                    <a16:creationId xmlns:a16="http://schemas.microsoft.com/office/drawing/2014/main" id="{A17ABA10-F327-4230-84F9-F572894613A6}"/>
                  </a:ext>
                </a:extLst>
              </p:cNvPr>
              <p:cNvSpPr/>
              <p:nvPr/>
            </p:nvSpPr>
            <p:spPr bwMode="auto">
              <a:xfrm>
                <a:off x="7796213" y="5232401"/>
                <a:ext cx="517525" cy="517525"/>
              </a:xfrm>
              <a:custGeom>
                <a:avLst/>
                <a:gdLst>
                  <a:gd name="T0" fmla="*/ 138 w 138"/>
                  <a:gd name="T1" fmla="*/ 83 h 138"/>
                  <a:gd name="T2" fmla="*/ 138 w 138"/>
                  <a:gd name="T3" fmla="*/ 55 h 138"/>
                  <a:gd name="T4" fmla="*/ 121 w 138"/>
                  <a:gd name="T5" fmla="*/ 52 h 138"/>
                  <a:gd name="T6" fmla="*/ 118 w 138"/>
                  <a:gd name="T7" fmla="*/ 44 h 138"/>
                  <a:gd name="T8" fmla="*/ 128 w 138"/>
                  <a:gd name="T9" fmla="*/ 30 h 138"/>
                  <a:gd name="T10" fmla="*/ 108 w 138"/>
                  <a:gd name="T11" fmla="*/ 10 h 138"/>
                  <a:gd name="T12" fmla="*/ 94 w 138"/>
                  <a:gd name="T13" fmla="*/ 20 h 138"/>
                  <a:gd name="T14" fmla="*/ 86 w 138"/>
                  <a:gd name="T15" fmla="*/ 17 h 138"/>
                  <a:gd name="T16" fmla="*/ 83 w 138"/>
                  <a:gd name="T17" fmla="*/ 0 h 138"/>
                  <a:gd name="T18" fmla="*/ 69 w 138"/>
                  <a:gd name="T19" fmla="*/ 0 h 138"/>
                  <a:gd name="T20" fmla="*/ 55 w 138"/>
                  <a:gd name="T21" fmla="*/ 0 h 138"/>
                  <a:gd name="T22" fmla="*/ 52 w 138"/>
                  <a:gd name="T23" fmla="*/ 17 h 138"/>
                  <a:gd name="T24" fmla="*/ 44 w 138"/>
                  <a:gd name="T25" fmla="*/ 20 h 138"/>
                  <a:gd name="T26" fmla="*/ 30 w 138"/>
                  <a:gd name="T27" fmla="*/ 10 h 138"/>
                  <a:gd name="T28" fmla="*/ 10 w 138"/>
                  <a:gd name="T29" fmla="*/ 30 h 138"/>
                  <a:gd name="T30" fmla="*/ 20 w 138"/>
                  <a:gd name="T31" fmla="*/ 44 h 138"/>
                  <a:gd name="T32" fmla="*/ 17 w 138"/>
                  <a:gd name="T33" fmla="*/ 52 h 138"/>
                  <a:gd name="T34" fmla="*/ 0 w 138"/>
                  <a:gd name="T35" fmla="*/ 55 h 138"/>
                  <a:gd name="T36" fmla="*/ 0 w 138"/>
                  <a:gd name="T37" fmla="*/ 83 h 138"/>
                  <a:gd name="T38" fmla="*/ 17 w 138"/>
                  <a:gd name="T39" fmla="*/ 86 h 138"/>
                  <a:gd name="T40" fmla="*/ 20 w 138"/>
                  <a:gd name="T41" fmla="*/ 93 h 138"/>
                  <a:gd name="T42" fmla="*/ 10 w 138"/>
                  <a:gd name="T43" fmla="*/ 108 h 138"/>
                  <a:gd name="T44" fmla="*/ 30 w 138"/>
                  <a:gd name="T45" fmla="*/ 127 h 138"/>
                  <a:gd name="T46" fmla="*/ 44 w 138"/>
                  <a:gd name="T47" fmla="*/ 117 h 138"/>
                  <a:gd name="T48" fmla="*/ 52 w 138"/>
                  <a:gd name="T49" fmla="*/ 121 h 138"/>
                  <a:gd name="T50" fmla="*/ 55 w 138"/>
                  <a:gd name="T51" fmla="*/ 138 h 138"/>
                  <a:gd name="T52" fmla="*/ 69 w 138"/>
                  <a:gd name="T53" fmla="*/ 138 h 138"/>
                  <a:gd name="T54" fmla="*/ 83 w 138"/>
                  <a:gd name="T55" fmla="*/ 138 h 138"/>
                  <a:gd name="T56" fmla="*/ 86 w 138"/>
                  <a:gd name="T57" fmla="*/ 121 h 138"/>
                  <a:gd name="T58" fmla="*/ 94 w 138"/>
                  <a:gd name="T59" fmla="*/ 117 h 138"/>
                  <a:gd name="T60" fmla="*/ 108 w 138"/>
                  <a:gd name="T61" fmla="*/ 127 h 138"/>
                  <a:gd name="T62" fmla="*/ 128 w 138"/>
                  <a:gd name="T63" fmla="*/ 108 h 138"/>
                  <a:gd name="T64" fmla="*/ 118 w 138"/>
                  <a:gd name="T65" fmla="*/ 93 h 138"/>
                  <a:gd name="T66" fmla="*/ 121 w 138"/>
                  <a:gd name="T67" fmla="*/ 86 h 138"/>
                  <a:gd name="T68" fmla="*/ 138 w 138"/>
                  <a:gd name="T69" fmla="*/ 83 h 138"/>
                  <a:gd name="T70" fmla="*/ 69 w 138"/>
                  <a:gd name="T71" fmla="*/ 107 h 138"/>
                  <a:gd name="T72" fmla="*/ 30 w 138"/>
                  <a:gd name="T73" fmla="*/ 69 h 138"/>
                  <a:gd name="T74" fmla="*/ 69 w 138"/>
                  <a:gd name="T75" fmla="*/ 30 h 138"/>
                  <a:gd name="T76" fmla="*/ 107 w 138"/>
                  <a:gd name="T77" fmla="*/ 69 h 138"/>
                  <a:gd name="T78" fmla="*/ 69 w 138"/>
                  <a:gd name="T79" fmla="*/ 107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38" h="138">
                    <a:moveTo>
                      <a:pt x="138" y="83"/>
                    </a:moveTo>
                    <a:cubicBezTo>
                      <a:pt x="138" y="55"/>
                      <a:pt x="138" y="55"/>
                      <a:pt x="138" y="55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20" y="49"/>
                      <a:pt x="119" y="46"/>
                      <a:pt x="118" y="44"/>
                    </a:cubicBezTo>
                    <a:cubicBezTo>
                      <a:pt x="128" y="30"/>
                      <a:pt x="128" y="30"/>
                      <a:pt x="128" y="30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94" y="20"/>
                      <a:pt x="94" y="20"/>
                      <a:pt x="94" y="20"/>
                    </a:cubicBezTo>
                    <a:cubicBezTo>
                      <a:pt x="91" y="19"/>
                      <a:pt x="88" y="17"/>
                      <a:pt x="86" y="17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2" y="17"/>
                      <a:pt x="52" y="17"/>
                      <a:pt x="52" y="17"/>
                    </a:cubicBezTo>
                    <a:cubicBezTo>
                      <a:pt x="49" y="17"/>
                      <a:pt x="46" y="19"/>
                      <a:pt x="44" y="2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10" y="30"/>
                      <a:pt x="10" y="30"/>
                      <a:pt x="10" y="30"/>
                    </a:cubicBezTo>
                    <a:cubicBezTo>
                      <a:pt x="20" y="44"/>
                      <a:pt x="20" y="44"/>
                      <a:pt x="20" y="44"/>
                    </a:cubicBezTo>
                    <a:cubicBezTo>
                      <a:pt x="19" y="46"/>
                      <a:pt x="18" y="49"/>
                      <a:pt x="17" y="52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7" y="86"/>
                      <a:pt x="17" y="86"/>
                      <a:pt x="17" y="86"/>
                    </a:cubicBezTo>
                    <a:cubicBezTo>
                      <a:pt x="18" y="88"/>
                      <a:pt x="19" y="91"/>
                      <a:pt x="20" y="93"/>
                    </a:cubicBezTo>
                    <a:cubicBezTo>
                      <a:pt x="10" y="108"/>
                      <a:pt x="10" y="108"/>
                      <a:pt x="10" y="108"/>
                    </a:cubicBezTo>
                    <a:cubicBezTo>
                      <a:pt x="30" y="127"/>
                      <a:pt x="30" y="127"/>
                      <a:pt x="30" y="127"/>
                    </a:cubicBezTo>
                    <a:cubicBezTo>
                      <a:pt x="44" y="117"/>
                      <a:pt x="44" y="117"/>
                      <a:pt x="44" y="117"/>
                    </a:cubicBezTo>
                    <a:cubicBezTo>
                      <a:pt x="46" y="119"/>
                      <a:pt x="49" y="120"/>
                      <a:pt x="52" y="121"/>
                    </a:cubicBezTo>
                    <a:cubicBezTo>
                      <a:pt x="55" y="138"/>
                      <a:pt x="55" y="138"/>
                      <a:pt x="55" y="138"/>
                    </a:cubicBezTo>
                    <a:cubicBezTo>
                      <a:pt x="69" y="138"/>
                      <a:pt x="69" y="138"/>
                      <a:pt x="69" y="138"/>
                    </a:cubicBezTo>
                    <a:cubicBezTo>
                      <a:pt x="83" y="138"/>
                      <a:pt x="83" y="138"/>
                      <a:pt x="83" y="138"/>
                    </a:cubicBezTo>
                    <a:cubicBezTo>
                      <a:pt x="86" y="121"/>
                      <a:pt x="86" y="121"/>
                      <a:pt x="86" y="121"/>
                    </a:cubicBezTo>
                    <a:cubicBezTo>
                      <a:pt x="88" y="120"/>
                      <a:pt x="91" y="119"/>
                      <a:pt x="94" y="117"/>
                    </a:cubicBezTo>
                    <a:cubicBezTo>
                      <a:pt x="108" y="127"/>
                      <a:pt x="108" y="127"/>
                      <a:pt x="108" y="127"/>
                    </a:cubicBezTo>
                    <a:cubicBezTo>
                      <a:pt x="128" y="108"/>
                      <a:pt x="128" y="108"/>
                      <a:pt x="128" y="108"/>
                    </a:cubicBezTo>
                    <a:cubicBezTo>
                      <a:pt x="118" y="93"/>
                      <a:pt x="118" y="93"/>
                      <a:pt x="118" y="93"/>
                    </a:cubicBezTo>
                    <a:cubicBezTo>
                      <a:pt x="119" y="91"/>
                      <a:pt x="120" y="88"/>
                      <a:pt x="121" y="86"/>
                    </a:cubicBezTo>
                    <a:lnTo>
                      <a:pt x="138" y="83"/>
                    </a:lnTo>
                    <a:close/>
                    <a:moveTo>
                      <a:pt x="69" y="107"/>
                    </a:moveTo>
                    <a:cubicBezTo>
                      <a:pt x="47" y="107"/>
                      <a:pt x="30" y="90"/>
                      <a:pt x="30" y="69"/>
                    </a:cubicBezTo>
                    <a:cubicBezTo>
                      <a:pt x="30" y="47"/>
                      <a:pt x="47" y="30"/>
                      <a:pt x="69" y="30"/>
                    </a:cubicBezTo>
                    <a:cubicBezTo>
                      <a:pt x="90" y="30"/>
                      <a:pt x="107" y="47"/>
                      <a:pt x="107" y="69"/>
                    </a:cubicBezTo>
                    <a:cubicBezTo>
                      <a:pt x="107" y="90"/>
                      <a:pt x="90" y="107"/>
                      <a:pt x="69" y="10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3" name="i$ḻiḍê">
              <a:extLst>
                <a:ext uri="{FF2B5EF4-FFF2-40B4-BE49-F238E27FC236}">
                  <a16:creationId xmlns:a16="http://schemas.microsoft.com/office/drawing/2014/main" id="{15EB7411-48D5-47BB-A7A9-56B7A32E6769}"/>
                </a:ext>
              </a:extLst>
            </p:cNvPr>
            <p:cNvGrpSpPr/>
            <p:nvPr/>
          </p:nvGrpSpPr>
          <p:grpSpPr>
            <a:xfrm>
              <a:off x="3976464" y="1455150"/>
              <a:ext cx="836453" cy="829353"/>
              <a:chOff x="2605088" y="1042988"/>
              <a:chExt cx="935037" cy="927100"/>
            </a:xfrm>
          </p:grpSpPr>
          <p:sp>
            <p:nvSpPr>
              <p:cNvPr id="154" name="išļïde">
                <a:extLst>
                  <a:ext uri="{FF2B5EF4-FFF2-40B4-BE49-F238E27FC236}">
                    <a16:creationId xmlns:a16="http://schemas.microsoft.com/office/drawing/2014/main" id="{165AEFD7-3367-4C57-89BC-9C4878DFB338}"/>
                  </a:ext>
                </a:extLst>
              </p:cNvPr>
              <p:cNvSpPr/>
              <p:nvPr/>
            </p:nvSpPr>
            <p:spPr bwMode="auto">
              <a:xfrm>
                <a:off x="2605088" y="1042988"/>
                <a:ext cx="935037" cy="927100"/>
              </a:xfrm>
              <a:custGeom>
                <a:avLst/>
                <a:gdLst>
                  <a:gd name="T0" fmla="*/ 115 w 249"/>
                  <a:gd name="T1" fmla="*/ 7 h 247"/>
                  <a:gd name="T2" fmla="*/ 8 w 249"/>
                  <a:gd name="T3" fmla="*/ 115 h 247"/>
                  <a:gd name="T4" fmla="*/ 136 w 249"/>
                  <a:gd name="T5" fmla="*/ 232 h 247"/>
                  <a:gd name="T6" fmla="*/ 153 w 249"/>
                  <a:gd name="T7" fmla="*/ 229 h 247"/>
                  <a:gd name="T8" fmla="*/ 212 w 249"/>
                  <a:gd name="T9" fmla="*/ 245 h 247"/>
                  <a:gd name="T10" fmla="*/ 187 w 249"/>
                  <a:gd name="T11" fmla="*/ 220 h 247"/>
                  <a:gd name="T12" fmla="*/ 186 w 249"/>
                  <a:gd name="T13" fmla="*/ 217 h 247"/>
                  <a:gd name="T14" fmla="*/ 246 w 249"/>
                  <a:gd name="T15" fmla="*/ 136 h 247"/>
                  <a:gd name="T16" fmla="*/ 115 w 249"/>
                  <a:gd name="T17" fmla="*/ 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9" h="247">
                    <a:moveTo>
                      <a:pt x="115" y="7"/>
                    </a:moveTo>
                    <a:cubicBezTo>
                      <a:pt x="59" y="13"/>
                      <a:pt x="13" y="59"/>
                      <a:pt x="8" y="115"/>
                    </a:cubicBezTo>
                    <a:cubicBezTo>
                      <a:pt x="0" y="190"/>
                      <a:pt x="63" y="238"/>
                      <a:pt x="136" y="232"/>
                    </a:cubicBezTo>
                    <a:cubicBezTo>
                      <a:pt x="142" y="231"/>
                      <a:pt x="147" y="230"/>
                      <a:pt x="153" y="229"/>
                    </a:cubicBezTo>
                    <a:cubicBezTo>
                      <a:pt x="170" y="241"/>
                      <a:pt x="191" y="247"/>
                      <a:pt x="212" y="245"/>
                    </a:cubicBezTo>
                    <a:cubicBezTo>
                      <a:pt x="202" y="240"/>
                      <a:pt x="193" y="230"/>
                      <a:pt x="187" y="220"/>
                    </a:cubicBezTo>
                    <a:cubicBezTo>
                      <a:pt x="187" y="219"/>
                      <a:pt x="186" y="218"/>
                      <a:pt x="186" y="217"/>
                    </a:cubicBezTo>
                    <a:cubicBezTo>
                      <a:pt x="218" y="201"/>
                      <a:pt x="244" y="173"/>
                      <a:pt x="246" y="136"/>
                    </a:cubicBezTo>
                    <a:cubicBezTo>
                      <a:pt x="249" y="63"/>
                      <a:pt x="189" y="0"/>
                      <a:pt x="115" y="7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" name="îṡlíḍé">
                <a:extLst>
                  <a:ext uri="{FF2B5EF4-FFF2-40B4-BE49-F238E27FC236}">
                    <a16:creationId xmlns:a16="http://schemas.microsoft.com/office/drawing/2014/main" id="{22B2CCB1-CCE5-44B6-B191-72360D43BF1F}"/>
                  </a:ext>
                </a:extLst>
              </p:cNvPr>
              <p:cNvSpPr/>
              <p:nvPr/>
            </p:nvSpPr>
            <p:spPr bwMode="auto">
              <a:xfrm>
                <a:off x="2860675" y="1339851"/>
                <a:ext cx="401637" cy="344488"/>
              </a:xfrm>
              <a:custGeom>
                <a:avLst/>
                <a:gdLst>
                  <a:gd name="T0" fmla="*/ 49 w 107"/>
                  <a:gd name="T1" fmla="*/ 90 h 92"/>
                  <a:gd name="T2" fmla="*/ 65 w 107"/>
                  <a:gd name="T3" fmla="*/ 89 h 92"/>
                  <a:gd name="T4" fmla="*/ 89 w 107"/>
                  <a:gd name="T5" fmla="*/ 71 h 92"/>
                  <a:gd name="T6" fmla="*/ 107 w 107"/>
                  <a:gd name="T7" fmla="*/ 37 h 92"/>
                  <a:gd name="T8" fmla="*/ 89 w 107"/>
                  <a:gd name="T9" fmla="*/ 5 h 92"/>
                  <a:gd name="T10" fmla="*/ 54 w 107"/>
                  <a:gd name="T11" fmla="*/ 20 h 92"/>
                  <a:gd name="T12" fmla="*/ 36 w 107"/>
                  <a:gd name="T13" fmla="*/ 13 h 92"/>
                  <a:gd name="T14" fmla="*/ 18 w 107"/>
                  <a:gd name="T15" fmla="*/ 14 h 92"/>
                  <a:gd name="T16" fmla="*/ 6 w 107"/>
                  <a:gd name="T17" fmla="*/ 27 h 92"/>
                  <a:gd name="T18" fmla="*/ 13 w 107"/>
                  <a:gd name="T19" fmla="*/ 68 h 92"/>
                  <a:gd name="T20" fmla="*/ 49 w 107"/>
                  <a:gd name="T21" fmla="*/ 9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7" h="92">
                    <a:moveTo>
                      <a:pt x="49" y="90"/>
                    </a:moveTo>
                    <a:cubicBezTo>
                      <a:pt x="54" y="92"/>
                      <a:pt x="60" y="92"/>
                      <a:pt x="65" y="89"/>
                    </a:cubicBezTo>
                    <a:cubicBezTo>
                      <a:pt x="74" y="83"/>
                      <a:pt x="82" y="78"/>
                      <a:pt x="89" y="71"/>
                    </a:cubicBezTo>
                    <a:cubicBezTo>
                      <a:pt x="99" y="62"/>
                      <a:pt x="106" y="50"/>
                      <a:pt x="107" y="37"/>
                    </a:cubicBezTo>
                    <a:cubicBezTo>
                      <a:pt x="107" y="24"/>
                      <a:pt x="101" y="11"/>
                      <a:pt x="89" y="5"/>
                    </a:cubicBezTo>
                    <a:cubicBezTo>
                      <a:pt x="76" y="0"/>
                      <a:pt x="60" y="8"/>
                      <a:pt x="54" y="20"/>
                    </a:cubicBezTo>
                    <a:cubicBezTo>
                      <a:pt x="48" y="17"/>
                      <a:pt x="43" y="14"/>
                      <a:pt x="36" y="13"/>
                    </a:cubicBezTo>
                    <a:cubicBezTo>
                      <a:pt x="30" y="11"/>
                      <a:pt x="24" y="11"/>
                      <a:pt x="18" y="14"/>
                    </a:cubicBezTo>
                    <a:cubicBezTo>
                      <a:pt x="12" y="16"/>
                      <a:pt x="8" y="21"/>
                      <a:pt x="6" y="27"/>
                    </a:cubicBezTo>
                    <a:cubicBezTo>
                      <a:pt x="0" y="40"/>
                      <a:pt x="4" y="56"/>
                      <a:pt x="13" y="68"/>
                    </a:cubicBezTo>
                    <a:cubicBezTo>
                      <a:pt x="20" y="76"/>
                      <a:pt x="38" y="85"/>
                      <a:pt x="49" y="90"/>
                    </a:cubicBezTo>
                    <a:close/>
                  </a:path>
                </a:pathLst>
              </a:custGeom>
              <a:solidFill>
                <a:srgbClr val="E840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4" name="iṩlïdé">
              <a:extLst>
                <a:ext uri="{FF2B5EF4-FFF2-40B4-BE49-F238E27FC236}">
                  <a16:creationId xmlns:a16="http://schemas.microsoft.com/office/drawing/2014/main" id="{D90318F6-88A2-46A8-8B56-B8601D5AD60F}"/>
                </a:ext>
              </a:extLst>
            </p:cNvPr>
            <p:cNvGrpSpPr/>
            <p:nvPr/>
          </p:nvGrpSpPr>
          <p:grpSpPr>
            <a:xfrm>
              <a:off x="7796617" y="2264617"/>
              <a:ext cx="698703" cy="622014"/>
              <a:chOff x="6875463" y="1947863"/>
              <a:chExt cx="781050" cy="695326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145" name="ïšlîḋê">
                <a:extLst>
                  <a:ext uri="{FF2B5EF4-FFF2-40B4-BE49-F238E27FC236}">
                    <a16:creationId xmlns:a16="http://schemas.microsoft.com/office/drawing/2014/main" id="{80D510D3-D8FC-4256-A836-2473FA712905}"/>
                  </a:ext>
                </a:extLst>
              </p:cNvPr>
              <p:cNvSpPr/>
              <p:nvPr/>
            </p:nvSpPr>
            <p:spPr bwMode="auto">
              <a:xfrm>
                <a:off x="6875463" y="2327276"/>
                <a:ext cx="263525" cy="315913"/>
              </a:xfrm>
              <a:custGeom>
                <a:avLst/>
                <a:gdLst>
                  <a:gd name="T0" fmla="*/ 69 w 70"/>
                  <a:gd name="T1" fmla="*/ 83 h 84"/>
                  <a:gd name="T2" fmla="*/ 68 w 70"/>
                  <a:gd name="T3" fmla="*/ 34 h 84"/>
                  <a:gd name="T4" fmla="*/ 39 w 70"/>
                  <a:gd name="T5" fmla="*/ 0 h 84"/>
                  <a:gd name="T6" fmla="*/ 10 w 70"/>
                  <a:gd name="T7" fmla="*/ 20 h 84"/>
                  <a:gd name="T8" fmla="*/ 3 w 70"/>
                  <a:gd name="T9" fmla="*/ 84 h 84"/>
                  <a:gd name="T10" fmla="*/ 69 w 70"/>
                  <a:gd name="T11" fmla="*/ 8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84">
                    <a:moveTo>
                      <a:pt x="69" y="83"/>
                    </a:moveTo>
                    <a:cubicBezTo>
                      <a:pt x="66" y="67"/>
                      <a:pt x="70" y="50"/>
                      <a:pt x="68" y="34"/>
                    </a:cubicBezTo>
                    <a:cubicBezTo>
                      <a:pt x="66" y="18"/>
                      <a:pt x="55" y="0"/>
                      <a:pt x="39" y="0"/>
                    </a:cubicBezTo>
                    <a:cubicBezTo>
                      <a:pt x="26" y="0"/>
                      <a:pt x="16" y="10"/>
                      <a:pt x="10" y="20"/>
                    </a:cubicBezTo>
                    <a:cubicBezTo>
                      <a:pt x="0" y="40"/>
                      <a:pt x="0" y="63"/>
                      <a:pt x="3" y="84"/>
                    </a:cubicBezTo>
                    <a:cubicBezTo>
                      <a:pt x="22" y="84"/>
                      <a:pt x="50" y="83"/>
                      <a:pt x="69" y="8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" name="íŝ1íḋê">
                <a:extLst>
                  <a:ext uri="{FF2B5EF4-FFF2-40B4-BE49-F238E27FC236}">
                    <a16:creationId xmlns:a16="http://schemas.microsoft.com/office/drawing/2014/main" id="{6889766B-200E-4DAE-ABF9-7B9CE60510FE}"/>
                  </a:ext>
                </a:extLst>
              </p:cNvPr>
              <p:cNvSpPr/>
              <p:nvPr/>
            </p:nvSpPr>
            <p:spPr bwMode="auto">
              <a:xfrm>
                <a:off x="6897688" y="2143126"/>
                <a:ext cx="263525" cy="258763"/>
              </a:xfrm>
              <a:custGeom>
                <a:avLst/>
                <a:gdLst>
                  <a:gd name="T0" fmla="*/ 66 w 70"/>
                  <a:gd name="T1" fmla="*/ 27 h 69"/>
                  <a:gd name="T2" fmla="*/ 30 w 70"/>
                  <a:gd name="T3" fmla="*/ 2 h 69"/>
                  <a:gd name="T4" fmla="*/ 3 w 70"/>
                  <a:gd name="T5" fmla="*/ 39 h 69"/>
                  <a:gd name="T6" fmla="*/ 41 w 70"/>
                  <a:gd name="T7" fmla="*/ 65 h 69"/>
                  <a:gd name="T8" fmla="*/ 66 w 70"/>
                  <a:gd name="T9" fmla="*/ 2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9">
                    <a:moveTo>
                      <a:pt x="66" y="27"/>
                    </a:moveTo>
                    <a:cubicBezTo>
                      <a:pt x="62" y="11"/>
                      <a:pt x="46" y="0"/>
                      <a:pt x="30" y="2"/>
                    </a:cubicBezTo>
                    <a:cubicBezTo>
                      <a:pt x="13" y="5"/>
                      <a:pt x="0" y="23"/>
                      <a:pt x="3" y="39"/>
                    </a:cubicBezTo>
                    <a:cubicBezTo>
                      <a:pt x="6" y="56"/>
                      <a:pt x="24" y="69"/>
                      <a:pt x="41" y="65"/>
                    </a:cubicBezTo>
                    <a:cubicBezTo>
                      <a:pt x="58" y="62"/>
                      <a:pt x="70" y="44"/>
                      <a:pt x="6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" name="íśliḑe">
                <a:extLst>
                  <a:ext uri="{FF2B5EF4-FFF2-40B4-BE49-F238E27FC236}">
                    <a16:creationId xmlns:a16="http://schemas.microsoft.com/office/drawing/2014/main" id="{E24EDAC8-DBB3-4410-BD15-85002FFF9518}"/>
                  </a:ext>
                </a:extLst>
              </p:cNvPr>
              <p:cNvSpPr/>
              <p:nvPr/>
            </p:nvSpPr>
            <p:spPr bwMode="auto">
              <a:xfrm>
                <a:off x="7370763" y="2327276"/>
                <a:ext cx="266700" cy="315913"/>
              </a:xfrm>
              <a:custGeom>
                <a:avLst/>
                <a:gdLst>
                  <a:gd name="T0" fmla="*/ 70 w 71"/>
                  <a:gd name="T1" fmla="*/ 83 h 84"/>
                  <a:gd name="T2" fmla="*/ 68 w 71"/>
                  <a:gd name="T3" fmla="*/ 34 h 84"/>
                  <a:gd name="T4" fmla="*/ 39 w 71"/>
                  <a:gd name="T5" fmla="*/ 0 h 84"/>
                  <a:gd name="T6" fmla="*/ 11 w 71"/>
                  <a:gd name="T7" fmla="*/ 20 h 84"/>
                  <a:gd name="T8" fmla="*/ 3 w 71"/>
                  <a:gd name="T9" fmla="*/ 84 h 84"/>
                  <a:gd name="T10" fmla="*/ 70 w 71"/>
                  <a:gd name="T11" fmla="*/ 8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84">
                    <a:moveTo>
                      <a:pt x="70" y="83"/>
                    </a:moveTo>
                    <a:cubicBezTo>
                      <a:pt x="67" y="67"/>
                      <a:pt x="71" y="50"/>
                      <a:pt x="68" y="34"/>
                    </a:cubicBezTo>
                    <a:cubicBezTo>
                      <a:pt x="66" y="18"/>
                      <a:pt x="55" y="0"/>
                      <a:pt x="39" y="0"/>
                    </a:cubicBezTo>
                    <a:cubicBezTo>
                      <a:pt x="27" y="0"/>
                      <a:pt x="16" y="10"/>
                      <a:pt x="11" y="20"/>
                    </a:cubicBezTo>
                    <a:cubicBezTo>
                      <a:pt x="0" y="40"/>
                      <a:pt x="1" y="63"/>
                      <a:pt x="3" y="84"/>
                    </a:cubicBezTo>
                    <a:cubicBezTo>
                      <a:pt x="23" y="84"/>
                      <a:pt x="50" y="83"/>
                      <a:pt x="70" y="8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" name="iśḻíďê">
                <a:extLst>
                  <a:ext uri="{FF2B5EF4-FFF2-40B4-BE49-F238E27FC236}">
                    <a16:creationId xmlns:a16="http://schemas.microsoft.com/office/drawing/2014/main" id="{9776F61A-1E58-4944-A3FC-2BFFBCA076B3}"/>
                  </a:ext>
                </a:extLst>
              </p:cNvPr>
              <p:cNvSpPr/>
              <p:nvPr/>
            </p:nvSpPr>
            <p:spPr bwMode="auto">
              <a:xfrm>
                <a:off x="7392988" y="2143126"/>
                <a:ext cx="263525" cy="258763"/>
              </a:xfrm>
              <a:custGeom>
                <a:avLst/>
                <a:gdLst>
                  <a:gd name="T0" fmla="*/ 66 w 70"/>
                  <a:gd name="T1" fmla="*/ 27 h 69"/>
                  <a:gd name="T2" fmla="*/ 30 w 70"/>
                  <a:gd name="T3" fmla="*/ 2 h 69"/>
                  <a:gd name="T4" fmla="*/ 3 w 70"/>
                  <a:gd name="T5" fmla="*/ 39 h 69"/>
                  <a:gd name="T6" fmla="*/ 41 w 70"/>
                  <a:gd name="T7" fmla="*/ 65 h 69"/>
                  <a:gd name="T8" fmla="*/ 66 w 70"/>
                  <a:gd name="T9" fmla="*/ 2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69">
                    <a:moveTo>
                      <a:pt x="66" y="27"/>
                    </a:moveTo>
                    <a:cubicBezTo>
                      <a:pt x="63" y="11"/>
                      <a:pt x="46" y="0"/>
                      <a:pt x="30" y="2"/>
                    </a:cubicBezTo>
                    <a:cubicBezTo>
                      <a:pt x="13" y="5"/>
                      <a:pt x="0" y="23"/>
                      <a:pt x="3" y="39"/>
                    </a:cubicBezTo>
                    <a:cubicBezTo>
                      <a:pt x="6" y="56"/>
                      <a:pt x="25" y="69"/>
                      <a:pt x="41" y="65"/>
                    </a:cubicBezTo>
                    <a:cubicBezTo>
                      <a:pt x="58" y="62"/>
                      <a:pt x="70" y="44"/>
                      <a:pt x="6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" name="íṣļídê">
                <a:extLst>
                  <a:ext uri="{FF2B5EF4-FFF2-40B4-BE49-F238E27FC236}">
                    <a16:creationId xmlns:a16="http://schemas.microsoft.com/office/drawing/2014/main" id="{48F17AFC-CFA6-4EA1-899F-18C7BE10DEEA}"/>
                  </a:ext>
                </a:extLst>
              </p:cNvPr>
              <p:cNvSpPr/>
              <p:nvPr/>
            </p:nvSpPr>
            <p:spPr bwMode="auto">
              <a:xfrm>
                <a:off x="7164388" y="2090738"/>
                <a:ext cx="211137" cy="252413"/>
              </a:xfrm>
              <a:custGeom>
                <a:avLst/>
                <a:gdLst>
                  <a:gd name="T0" fmla="*/ 55 w 56"/>
                  <a:gd name="T1" fmla="*/ 66 h 67"/>
                  <a:gd name="T2" fmla="*/ 54 w 56"/>
                  <a:gd name="T3" fmla="*/ 27 h 67"/>
                  <a:gd name="T4" fmla="*/ 31 w 56"/>
                  <a:gd name="T5" fmla="*/ 0 h 67"/>
                  <a:gd name="T6" fmla="*/ 8 w 56"/>
                  <a:gd name="T7" fmla="*/ 17 h 67"/>
                  <a:gd name="T8" fmla="*/ 3 w 56"/>
                  <a:gd name="T9" fmla="*/ 67 h 67"/>
                  <a:gd name="T10" fmla="*/ 55 w 56"/>
                  <a:gd name="T11" fmla="*/ 6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" h="67">
                    <a:moveTo>
                      <a:pt x="55" y="66"/>
                    </a:moveTo>
                    <a:cubicBezTo>
                      <a:pt x="53" y="53"/>
                      <a:pt x="56" y="40"/>
                      <a:pt x="54" y="27"/>
                    </a:cubicBezTo>
                    <a:cubicBezTo>
                      <a:pt x="53" y="14"/>
                      <a:pt x="44" y="1"/>
                      <a:pt x="31" y="0"/>
                    </a:cubicBezTo>
                    <a:cubicBezTo>
                      <a:pt x="21" y="0"/>
                      <a:pt x="13" y="8"/>
                      <a:pt x="8" y="17"/>
                    </a:cubicBezTo>
                    <a:cubicBezTo>
                      <a:pt x="0" y="32"/>
                      <a:pt x="1" y="50"/>
                      <a:pt x="3" y="67"/>
                    </a:cubicBezTo>
                    <a:cubicBezTo>
                      <a:pt x="18" y="67"/>
                      <a:pt x="40" y="66"/>
                      <a:pt x="55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" name="íśľïḋè">
                <a:extLst>
                  <a:ext uri="{FF2B5EF4-FFF2-40B4-BE49-F238E27FC236}">
                    <a16:creationId xmlns:a16="http://schemas.microsoft.com/office/drawing/2014/main" id="{9D7803F7-D0DA-47A5-ABC9-77DD50FE3035}"/>
                  </a:ext>
                </a:extLst>
              </p:cNvPr>
              <p:cNvSpPr/>
              <p:nvPr/>
            </p:nvSpPr>
            <p:spPr bwMode="auto">
              <a:xfrm>
                <a:off x="7183438" y="1947863"/>
                <a:ext cx="206375" cy="203200"/>
              </a:xfrm>
              <a:custGeom>
                <a:avLst/>
                <a:gdLst>
                  <a:gd name="T0" fmla="*/ 52 w 55"/>
                  <a:gd name="T1" fmla="*/ 21 h 54"/>
                  <a:gd name="T2" fmla="*/ 24 w 55"/>
                  <a:gd name="T3" fmla="*/ 1 h 54"/>
                  <a:gd name="T4" fmla="*/ 2 w 55"/>
                  <a:gd name="T5" fmla="*/ 31 h 54"/>
                  <a:gd name="T6" fmla="*/ 32 w 55"/>
                  <a:gd name="T7" fmla="*/ 51 h 54"/>
                  <a:gd name="T8" fmla="*/ 52 w 55"/>
                  <a:gd name="T9" fmla="*/ 2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54">
                    <a:moveTo>
                      <a:pt x="52" y="21"/>
                    </a:moveTo>
                    <a:cubicBezTo>
                      <a:pt x="49" y="9"/>
                      <a:pt x="36" y="0"/>
                      <a:pt x="24" y="1"/>
                    </a:cubicBezTo>
                    <a:cubicBezTo>
                      <a:pt x="10" y="3"/>
                      <a:pt x="0" y="18"/>
                      <a:pt x="2" y="31"/>
                    </a:cubicBezTo>
                    <a:cubicBezTo>
                      <a:pt x="5" y="44"/>
                      <a:pt x="19" y="54"/>
                      <a:pt x="32" y="51"/>
                    </a:cubicBezTo>
                    <a:cubicBezTo>
                      <a:pt x="46" y="49"/>
                      <a:pt x="55" y="34"/>
                      <a:pt x="5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" name="ïṡlîḑé">
                <a:extLst>
                  <a:ext uri="{FF2B5EF4-FFF2-40B4-BE49-F238E27FC236}">
                    <a16:creationId xmlns:a16="http://schemas.microsoft.com/office/drawing/2014/main" id="{488F15F9-B9D6-44BF-9060-D74C67AE90D0}"/>
                  </a:ext>
                </a:extLst>
              </p:cNvPr>
              <p:cNvSpPr/>
              <p:nvPr/>
            </p:nvSpPr>
            <p:spPr bwMode="auto">
              <a:xfrm>
                <a:off x="7051675" y="1962151"/>
                <a:ext cx="104775" cy="120650"/>
              </a:xfrm>
              <a:custGeom>
                <a:avLst/>
                <a:gdLst>
                  <a:gd name="T0" fmla="*/ 25 w 28"/>
                  <a:gd name="T1" fmla="*/ 1 h 32"/>
                  <a:gd name="T2" fmla="*/ 18 w 28"/>
                  <a:gd name="T3" fmla="*/ 0 h 32"/>
                  <a:gd name="T4" fmla="*/ 16 w 28"/>
                  <a:gd name="T5" fmla="*/ 5 h 32"/>
                  <a:gd name="T6" fmla="*/ 19 w 28"/>
                  <a:gd name="T7" fmla="*/ 6 h 32"/>
                  <a:gd name="T8" fmla="*/ 10 w 28"/>
                  <a:gd name="T9" fmla="*/ 12 h 32"/>
                  <a:gd name="T10" fmla="*/ 0 w 28"/>
                  <a:gd name="T11" fmla="*/ 30 h 32"/>
                  <a:gd name="T12" fmla="*/ 3 w 28"/>
                  <a:gd name="T13" fmla="*/ 31 h 32"/>
                  <a:gd name="T14" fmla="*/ 11 w 28"/>
                  <a:gd name="T15" fmla="*/ 17 h 32"/>
                  <a:gd name="T16" fmla="*/ 18 w 28"/>
                  <a:gd name="T17" fmla="*/ 11 h 32"/>
                  <a:gd name="T18" fmla="*/ 18 w 28"/>
                  <a:gd name="T19" fmla="*/ 11 h 32"/>
                  <a:gd name="T20" fmla="*/ 24 w 28"/>
                  <a:gd name="T21" fmla="*/ 13 h 32"/>
                  <a:gd name="T22" fmla="*/ 27 w 28"/>
                  <a:gd name="T23" fmla="*/ 6 h 32"/>
                  <a:gd name="T24" fmla="*/ 25 w 28"/>
                  <a:gd name="T25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32">
                    <a:moveTo>
                      <a:pt x="25" y="1"/>
                    </a:moveTo>
                    <a:cubicBezTo>
                      <a:pt x="23" y="1"/>
                      <a:pt x="20" y="0"/>
                      <a:pt x="18" y="0"/>
                    </a:cubicBezTo>
                    <a:cubicBezTo>
                      <a:pt x="15" y="0"/>
                      <a:pt x="13" y="4"/>
                      <a:pt x="16" y="5"/>
                    </a:cubicBezTo>
                    <a:cubicBezTo>
                      <a:pt x="17" y="6"/>
                      <a:pt x="18" y="6"/>
                      <a:pt x="19" y="6"/>
                    </a:cubicBezTo>
                    <a:cubicBezTo>
                      <a:pt x="15" y="7"/>
                      <a:pt x="12" y="10"/>
                      <a:pt x="10" y="12"/>
                    </a:cubicBezTo>
                    <a:cubicBezTo>
                      <a:pt x="5" y="16"/>
                      <a:pt x="1" y="23"/>
                      <a:pt x="0" y="30"/>
                    </a:cubicBezTo>
                    <a:cubicBezTo>
                      <a:pt x="0" y="32"/>
                      <a:pt x="2" y="32"/>
                      <a:pt x="3" y="31"/>
                    </a:cubicBezTo>
                    <a:cubicBezTo>
                      <a:pt x="5" y="26"/>
                      <a:pt x="7" y="21"/>
                      <a:pt x="11" y="17"/>
                    </a:cubicBezTo>
                    <a:cubicBezTo>
                      <a:pt x="13" y="15"/>
                      <a:pt x="15" y="13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9" y="14"/>
                      <a:pt x="23" y="15"/>
                      <a:pt x="24" y="13"/>
                    </a:cubicBezTo>
                    <a:cubicBezTo>
                      <a:pt x="26" y="11"/>
                      <a:pt x="26" y="8"/>
                      <a:pt x="27" y="6"/>
                    </a:cubicBezTo>
                    <a:cubicBezTo>
                      <a:pt x="28" y="4"/>
                      <a:pt x="27" y="2"/>
                      <a:pt x="2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" name="îŝļïḑê">
                <a:extLst>
                  <a:ext uri="{FF2B5EF4-FFF2-40B4-BE49-F238E27FC236}">
                    <a16:creationId xmlns:a16="http://schemas.microsoft.com/office/drawing/2014/main" id="{3D30E91F-F244-4520-A008-209DA12576A8}"/>
                  </a:ext>
                </a:extLst>
              </p:cNvPr>
              <p:cNvSpPr/>
              <p:nvPr/>
            </p:nvSpPr>
            <p:spPr bwMode="auto">
              <a:xfrm>
                <a:off x="7412038" y="2000251"/>
                <a:ext cx="117475" cy="117475"/>
              </a:xfrm>
              <a:custGeom>
                <a:avLst/>
                <a:gdLst>
                  <a:gd name="T0" fmla="*/ 25 w 31"/>
                  <a:gd name="T1" fmla="*/ 20 h 31"/>
                  <a:gd name="T2" fmla="*/ 4 w 31"/>
                  <a:gd name="T3" fmla="*/ 0 h 31"/>
                  <a:gd name="T4" fmla="*/ 2 w 31"/>
                  <a:gd name="T5" fmla="*/ 5 h 31"/>
                  <a:gd name="T6" fmla="*/ 13 w 31"/>
                  <a:gd name="T7" fmla="*/ 13 h 31"/>
                  <a:gd name="T8" fmla="*/ 19 w 31"/>
                  <a:gd name="T9" fmla="*/ 22 h 31"/>
                  <a:gd name="T10" fmla="*/ 15 w 31"/>
                  <a:gd name="T11" fmla="*/ 22 h 31"/>
                  <a:gd name="T12" fmla="*/ 14 w 31"/>
                  <a:gd name="T13" fmla="*/ 26 h 31"/>
                  <a:gd name="T14" fmla="*/ 22 w 31"/>
                  <a:gd name="T15" fmla="*/ 30 h 31"/>
                  <a:gd name="T16" fmla="*/ 26 w 31"/>
                  <a:gd name="T17" fmla="*/ 30 h 31"/>
                  <a:gd name="T18" fmla="*/ 30 w 31"/>
                  <a:gd name="T19" fmla="*/ 22 h 31"/>
                  <a:gd name="T20" fmla="*/ 25 w 31"/>
                  <a:gd name="T21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5" y="20"/>
                    </a:moveTo>
                    <a:cubicBezTo>
                      <a:pt x="21" y="11"/>
                      <a:pt x="13" y="1"/>
                      <a:pt x="4" y="0"/>
                    </a:cubicBezTo>
                    <a:cubicBezTo>
                      <a:pt x="1" y="0"/>
                      <a:pt x="0" y="3"/>
                      <a:pt x="2" y="5"/>
                    </a:cubicBezTo>
                    <a:cubicBezTo>
                      <a:pt x="6" y="8"/>
                      <a:pt x="10" y="9"/>
                      <a:pt x="13" y="13"/>
                    </a:cubicBezTo>
                    <a:cubicBezTo>
                      <a:pt x="16" y="16"/>
                      <a:pt x="17" y="19"/>
                      <a:pt x="19" y="22"/>
                    </a:cubicBezTo>
                    <a:cubicBezTo>
                      <a:pt x="17" y="22"/>
                      <a:pt x="16" y="22"/>
                      <a:pt x="15" y="22"/>
                    </a:cubicBezTo>
                    <a:cubicBezTo>
                      <a:pt x="13" y="23"/>
                      <a:pt x="13" y="25"/>
                      <a:pt x="14" y="26"/>
                    </a:cubicBezTo>
                    <a:cubicBezTo>
                      <a:pt x="17" y="28"/>
                      <a:pt x="20" y="28"/>
                      <a:pt x="22" y="30"/>
                    </a:cubicBezTo>
                    <a:cubicBezTo>
                      <a:pt x="24" y="31"/>
                      <a:pt x="25" y="31"/>
                      <a:pt x="26" y="30"/>
                    </a:cubicBezTo>
                    <a:cubicBezTo>
                      <a:pt x="28" y="27"/>
                      <a:pt x="30" y="25"/>
                      <a:pt x="30" y="22"/>
                    </a:cubicBezTo>
                    <a:cubicBezTo>
                      <a:pt x="31" y="19"/>
                      <a:pt x="27" y="18"/>
                      <a:pt x="2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" name="ïṣḻiḋe">
                <a:extLst>
                  <a:ext uri="{FF2B5EF4-FFF2-40B4-BE49-F238E27FC236}">
                    <a16:creationId xmlns:a16="http://schemas.microsoft.com/office/drawing/2014/main" id="{BBFB3F91-A9A1-495B-85E4-CB5BC9BEED6A}"/>
                  </a:ext>
                </a:extLst>
              </p:cNvPr>
              <p:cNvSpPr/>
              <p:nvPr/>
            </p:nvSpPr>
            <p:spPr bwMode="auto">
              <a:xfrm>
                <a:off x="7164388" y="2428876"/>
                <a:ext cx="161925" cy="79375"/>
              </a:xfrm>
              <a:custGeom>
                <a:avLst/>
                <a:gdLst>
                  <a:gd name="T0" fmla="*/ 40 w 43"/>
                  <a:gd name="T1" fmla="*/ 12 h 21"/>
                  <a:gd name="T2" fmla="*/ 26 w 43"/>
                  <a:gd name="T3" fmla="*/ 12 h 21"/>
                  <a:gd name="T4" fmla="*/ 14 w 43"/>
                  <a:gd name="T5" fmla="*/ 8 h 21"/>
                  <a:gd name="T6" fmla="*/ 17 w 43"/>
                  <a:gd name="T7" fmla="*/ 7 h 21"/>
                  <a:gd name="T8" fmla="*/ 16 w 43"/>
                  <a:gd name="T9" fmla="*/ 1 h 21"/>
                  <a:gd name="T10" fmla="*/ 6 w 43"/>
                  <a:gd name="T11" fmla="*/ 2 h 21"/>
                  <a:gd name="T12" fmla="*/ 3 w 43"/>
                  <a:gd name="T13" fmla="*/ 4 h 21"/>
                  <a:gd name="T14" fmla="*/ 0 w 43"/>
                  <a:gd name="T15" fmla="*/ 15 h 21"/>
                  <a:gd name="T16" fmla="*/ 5 w 43"/>
                  <a:gd name="T17" fmla="*/ 17 h 21"/>
                  <a:gd name="T18" fmla="*/ 8 w 43"/>
                  <a:gd name="T19" fmla="*/ 12 h 21"/>
                  <a:gd name="T20" fmla="*/ 41 w 43"/>
                  <a:gd name="T21" fmla="*/ 15 h 21"/>
                  <a:gd name="T22" fmla="*/ 40 w 43"/>
                  <a:gd name="T23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21">
                    <a:moveTo>
                      <a:pt x="40" y="12"/>
                    </a:moveTo>
                    <a:cubicBezTo>
                      <a:pt x="35" y="13"/>
                      <a:pt x="30" y="13"/>
                      <a:pt x="26" y="12"/>
                    </a:cubicBezTo>
                    <a:cubicBezTo>
                      <a:pt x="21" y="12"/>
                      <a:pt x="18" y="10"/>
                      <a:pt x="14" y="8"/>
                    </a:cubicBezTo>
                    <a:cubicBezTo>
                      <a:pt x="15" y="8"/>
                      <a:pt x="16" y="8"/>
                      <a:pt x="17" y="7"/>
                    </a:cubicBezTo>
                    <a:cubicBezTo>
                      <a:pt x="21" y="7"/>
                      <a:pt x="20" y="0"/>
                      <a:pt x="16" y="1"/>
                    </a:cubicBezTo>
                    <a:cubicBezTo>
                      <a:pt x="12" y="1"/>
                      <a:pt x="9" y="2"/>
                      <a:pt x="6" y="2"/>
                    </a:cubicBezTo>
                    <a:cubicBezTo>
                      <a:pt x="5" y="2"/>
                      <a:pt x="4" y="3"/>
                      <a:pt x="3" y="4"/>
                    </a:cubicBezTo>
                    <a:cubicBezTo>
                      <a:pt x="2" y="8"/>
                      <a:pt x="0" y="12"/>
                      <a:pt x="0" y="15"/>
                    </a:cubicBezTo>
                    <a:cubicBezTo>
                      <a:pt x="0" y="18"/>
                      <a:pt x="3" y="20"/>
                      <a:pt x="5" y="17"/>
                    </a:cubicBezTo>
                    <a:cubicBezTo>
                      <a:pt x="6" y="16"/>
                      <a:pt x="7" y="14"/>
                      <a:pt x="8" y="12"/>
                    </a:cubicBezTo>
                    <a:cubicBezTo>
                      <a:pt x="16" y="20"/>
                      <a:pt x="31" y="21"/>
                      <a:pt x="41" y="15"/>
                    </a:cubicBezTo>
                    <a:cubicBezTo>
                      <a:pt x="43" y="14"/>
                      <a:pt x="42" y="12"/>
                      <a:pt x="4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5" name="îṧḷïdê">
              <a:extLst>
                <a:ext uri="{FF2B5EF4-FFF2-40B4-BE49-F238E27FC236}">
                  <a16:creationId xmlns:a16="http://schemas.microsoft.com/office/drawing/2014/main" id="{AD7F03B7-D683-4BF3-8130-DC60C2C865A2}"/>
                </a:ext>
              </a:extLst>
            </p:cNvPr>
            <p:cNvGrpSpPr/>
            <p:nvPr/>
          </p:nvGrpSpPr>
          <p:grpSpPr>
            <a:xfrm>
              <a:off x="6230205" y="1242131"/>
              <a:ext cx="1116219" cy="988406"/>
              <a:chOff x="5124450" y="804863"/>
              <a:chExt cx="1247775" cy="1104900"/>
            </a:xfrm>
          </p:grpSpPr>
          <p:sp>
            <p:nvSpPr>
              <p:cNvPr id="138" name="îṥḻídé">
                <a:extLst>
                  <a:ext uri="{FF2B5EF4-FFF2-40B4-BE49-F238E27FC236}">
                    <a16:creationId xmlns:a16="http://schemas.microsoft.com/office/drawing/2014/main" id="{941D650C-F6BC-419C-8944-666B4ADF18AA}"/>
                  </a:ext>
                </a:extLst>
              </p:cNvPr>
              <p:cNvSpPr/>
              <p:nvPr/>
            </p:nvSpPr>
            <p:spPr bwMode="auto">
              <a:xfrm>
                <a:off x="5124450" y="884238"/>
                <a:ext cx="1036637" cy="1025525"/>
              </a:xfrm>
              <a:custGeom>
                <a:avLst/>
                <a:gdLst>
                  <a:gd name="T0" fmla="*/ 210 w 276"/>
                  <a:gd name="T1" fmla="*/ 250 h 273"/>
                  <a:gd name="T2" fmla="*/ 128 w 276"/>
                  <a:gd name="T3" fmla="*/ 270 h 273"/>
                  <a:gd name="T4" fmla="*/ 19 w 276"/>
                  <a:gd name="T5" fmla="*/ 194 h 273"/>
                  <a:gd name="T6" fmla="*/ 32 w 276"/>
                  <a:gd name="T7" fmla="*/ 60 h 273"/>
                  <a:gd name="T8" fmla="*/ 152 w 276"/>
                  <a:gd name="T9" fmla="*/ 5 h 273"/>
                  <a:gd name="T10" fmla="*/ 252 w 276"/>
                  <a:gd name="T11" fmla="*/ 70 h 273"/>
                  <a:gd name="T12" fmla="*/ 259 w 276"/>
                  <a:gd name="T13" fmla="*/ 191 h 273"/>
                  <a:gd name="T14" fmla="*/ 210 w 276"/>
                  <a:gd name="T15" fmla="*/ 25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6" h="273">
                    <a:moveTo>
                      <a:pt x="210" y="250"/>
                    </a:moveTo>
                    <a:cubicBezTo>
                      <a:pt x="186" y="265"/>
                      <a:pt x="156" y="273"/>
                      <a:pt x="128" y="270"/>
                    </a:cubicBezTo>
                    <a:cubicBezTo>
                      <a:pt x="82" y="267"/>
                      <a:pt x="39" y="236"/>
                      <a:pt x="19" y="194"/>
                    </a:cubicBezTo>
                    <a:cubicBezTo>
                      <a:pt x="0" y="151"/>
                      <a:pt x="5" y="98"/>
                      <a:pt x="32" y="60"/>
                    </a:cubicBezTo>
                    <a:cubicBezTo>
                      <a:pt x="58" y="22"/>
                      <a:pt x="106" y="0"/>
                      <a:pt x="152" y="5"/>
                    </a:cubicBezTo>
                    <a:cubicBezTo>
                      <a:pt x="193" y="9"/>
                      <a:pt x="232" y="34"/>
                      <a:pt x="252" y="70"/>
                    </a:cubicBezTo>
                    <a:cubicBezTo>
                      <a:pt x="273" y="107"/>
                      <a:pt x="276" y="153"/>
                      <a:pt x="259" y="191"/>
                    </a:cubicBezTo>
                    <a:cubicBezTo>
                      <a:pt x="249" y="215"/>
                      <a:pt x="231" y="236"/>
                      <a:pt x="210" y="250"/>
                    </a:cubicBez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" name="isḷiḓê">
                <a:extLst>
                  <a:ext uri="{FF2B5EF4-FFF2-40B4-BE49-F238E27FC236}">
                    <a16:creationId xmlns:a16="http://schemas.microsoft.com/office/drawing/2014/main" id="{09288D90-9C4F-4644-9987-20C5E6FF3D0A}"/>
                  </a:ext>
                </a:extLst>
              </p:cNvPr>
              <p:cNvSpPr/>
              <p:nvPr/>
            </p:nvSpPr>
            <p:spPr bwMode="auto">
              <a:xfrm>
                <a:off x="5230813" y="876301"/>
                <a:ext cx="982662" cy="966788"/>
              </a:xfrm>
              <a:custGeom>
                <a:avLst/>
                <a:gdLst>
                  <a:gd name="T0" fmla="*/ 196 w 262"/>
                  <a:gd name="T1" fmla="*/ 237 h 257"/>
                  <a:gd name="T2" fmla="*/ 118 w 262"/>
                  <a:gd name="T3" fmla="*/ 254 h 257"/>
                  <a:gd name="T4" fmla="*/ 17 w 262"/>
                  <a:gd name="T5" fmla="*/ 179 h 257"/>
                  <a:gd name="T6" fmla="*/ 33 w 262"/>
                  <a:gd name="T7" fmla="*/ 54 h 257"/>
                  <a:gd name="T8" fmla="*/ 149 w 262"/>
                  <a:gd name="T9" fmla="*/ 6 h 257"/>
                  <a:gd name="T10" fmla="*/ 242 w 262"/>
                  <a:gd name="T11" fmla="*/ 71 h 257"/>
                  <a:gd name="T12" fmla="*/ 245 w 262"/>
                  <a:gd name="T13" fmla="*/ 184 h 257"/>
                  <a:gd name="T14" fmla="*/ 196 w 262"/>
                  <a:gd name="T15" fmla="*/ 23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257">
                    <a:moveTo>
                      <a:pt x="196" y="237"/>
                    </a:moveTo>
                    <a:cubicBezTo>
                      <a:pt x="173" y="251"/>
                      <a:pt x="145" y="257"/>
                      <a:pt x="118" y="254"/>
                    </a:cubicBezTo>
                    <a:cubicBezTo>
                      <a:pt x="74" y="249"/>
                      <a:pt x="34" y="219"/>
                      <a:pt x="17" y="179"/>
                    </a:cubicBezTo>
                    <a:cubicBezTo>
                      <a:pt x="0" y="138"/>
                      <a:pt x="6" y="89"/>
                      <a:pt x="33" y="54"/>
                    </a:cubicBezTo>
                    <a:cubicBezTo>
                      <a:pt x="59" y="19"/>
                      <a:pt x="105" y="0"/>
                      <a:pt x="149" y="6"/>
                    </a:cubicBezTo>
                    <a:cubicBezTo>
                      <a:pt x="188" y="11"/>
                      <a:pt x="223" y="36"/>
                      <a:pt x="242" y="71"/>
                    </a:cubicBezTo>
                    <a:cubicBezTo>
                      <a:pt x="261" y="105"/>
                      <a:pt x="262" y="149"/>
                      <a:pt x="245" y="184"/>
                    </a:cubicBezTo>
                    <a:cubicBezTo>
                      <a:pt x="234" y="206"/>
                      <a:pt x="217" y="224"/>
                      <a:pt x="196" y="237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" name="íś1ïde">
                <a:extLst>
                  <a:ext uri="{FF2B5EF4-FFF2-40B4-BE49-F238E27FC236}">
                    <a16:creationId xmlns:a16="http://schemas.microsoft.com/office/drawing/2014/main" id="{E41A2A5D-E168-4DAD-A0E3-0A78B745D638}"/>
                  </a:ext>
                </a:extLst>
              </p:cNvPr>
              <p:cNvSpPr/>
              <p:nvPr/>
            </p:nvSpPr>
            <p:spPr bwMode="auto">
              <a:xfrm>
                <a:off x="5402263" y="1046163"/>
                <a:ext cx="642937" cy="631825"/>
              </a:xfrm>
              <a:custGeom>
                <a:avLst/>
                <a:gdLst>
                  <a:gd name="T0" fmla="*/ 128 w 171"/>
                  <a:gd name="T1" fmla="*/ 155 h 168"/>
                  <a:gd name="T2" fmla="*/ 77 w 171"/>
                  <a:gd name="T3" fmla="*/ 166 h 168"/>
                  <a:gd name="T4" fmla="*/ 11 w 171"/>
                  <a:gd name="T5" fmla="*/ 117 h 168"/>
                  <a:gd name="T6" fmla="*/ 21 w 171"/>
                  <a:gd name="T7" fmla="*/ 35 h 168"/>
                  <a:gd name="T8" fmla="*/ 97 w 171"/>
                  <a:gd name="T9" fmla="*/ 4 h 168"/>
                  <a:gd name="T10" fmla="*/ 158 w 171"/>
                  <a:gd name="T11" fmla="*/ 46 h 168"/>
                  <a:gd name="T12" fmla="*/ 160 w 171"/>
                  <a:gd name="T13" fmla="*/ 120 h 168"/>
                  <a:gd name="T14" fmla="*/ 128 w 171"/>
                  <a:gd name="T15" fmla="*/ 15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1" h="168">
                    <a:moveTo>
                      <a:pt x="128" y="155"/>
                    </a:moveTo>
                    <a:cubicBezTo>
                      <a:pt x="113" y="164"/>
                      <a:pt x="94" y="168"/>
                      <a:pt x="77" y="166"/>
                    </a:cubicBezTo>
                    <a:cubicBezTo>
                      <a:pt x="48" y="163"/>
                      <a:pt x="22" y="143"/>
                      <a:pt x="11" y="117"/>
                    </a:cubicBezTo>
                    <a:cubicBezTo>
                      <a:pt x="0" y="90"/>
                      <a:pt x="4" y="58"/>
                      <a:pt x="21" y="35"/>
                    </a:cubicBezTo>
                    <a:cubicBezTo>
                      <a:pt x="38" y="12"/>
                      <a:pt x="69" y="0"/>
                      <a:pt x="97" y="4"/>
                    </a:cubicBezTo>
                    <a:cubicBezTo>
                      <a:pt x="122" y="7"/>
                      <a:pt x="146" y="23"/>
                      <a:pt x="158" y="46"/>
                    </a:cubicBezTo>
                    <a:cubicBezTo>
                      <a:pt x="170" y="69"/>
                      <a:pt x="171" y="97"/>
                      <a:pt x="160" y="120"/>
                    </a:cubicBezTo>
                    <a:cubicBezTo>
                      <a:pt x="153" y="134"/>
                      <a:pt x="142" y="147"/>
                      <a:pt x="128" y="155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" name="ïṥļíḓe">
                <a:extLst>
                  <a:ext uri="{FF2B5EF4-FFF2-40B4-BE49-F238E27FC236}">
                    <a16:creationId xmlns:a16="http://schemas.microsoft.com/office/drawing/2014/main" id="{5E457FAD-AC72-4B81-BEA6-0C029494809B}"/>
                  </a:ext>
                </a:extLst>
              </p:cNvPr>
              <p:cNvSpPr/>
              <p:nvPr/>
            </p:nvSpPr>
            <p:spPr bwMode="auto">
              <a:xfrm>
                <a:off x="5583238" y="1222376"/>
                <a:ext cx="285750" cy="282575"/>
              </a:xfrm>
              <a:custGeom>
                <a:avLst/>
                <a:gdLst>
                  <a:gd name="T0" fmla="*/ 57 w 76"/>
                  <a:gd name="T1" fmla="*/ 69 h 75"/>
                  <a:gd name="T2" fmla="*/ 34 w 76"/>
                  <a:gd name="T3" fmla="*/ 74 h 75"/>
                  <a:gd name="T4" fmla="*/ 5 w 76"/>
                  <a:gd name="T5" fmla="*/ 52 h 75"/>
                  <a:gd name="T6" fmla="*/ 9 w 76"/>
                  <a:gd name="T7" fmla="*/ 16 h 75"/>
                  <a:gd name="T8" fmla="*/ 43 w 76"/>
                  <a:gd name="T9" fmla="*/ 2 h 75"/>
                  <a:gd name="T10" fmla="*/ 70 w 76"/>
                  <a:gd name="T11" fmla="*/ 21 h 75"/>
                  <a:gd name="T12" fmla="*/ 71 w 76"/>
                  <a:gd name="T13" fmla="*/ 54 h 75"/>
                  <a:gd name="T14" fmla="*/ 57 w 76"/>
                  <a:gd name="T15" fmla="*/ 69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75">
                    <a:moveTo>
                      <a:pt x="57" y="69"/>
                    </a:moveTo>
                    <a:cubicBezTo>
                      <a:pt x="50" y="73"/>
                      <a:pt x="42" y="75"/>
                      <a:pt x="34" y="74"/>
                    </a:cubicBezTo>
                    <a:cubicBezTo>
                      <a:pt x="21" y="72"/>
                      <a:pt x="10" y="64"/>
                      <a:pt x="5" y="52"/>
                    </a:cubicBezTo>
                    <a:cubicBezTo>
                      <a:pt x="0" y="40"/>
                      <a:pt x="1" y="26"/>
                      <a:pt x="9" y="16"/>
                    </a:cubicBezTo>
                    <a:cubicBezTo>
                      <a:pt x="17" y="6"/>
                      <a:pt x="30" y="0"/>
                      <a:pt x="43" y="2"/>
                    </a:cubicBezTo>
                    <a:cubicBezTo>
                      <a:pt x="54" y="3"/>
                      <a:pt x="65" y="11"/>
                      <a:pt x="70" y="21"/>
                    </a:cubicBezTo>
                    <a:cubicBezTo>
                      <a:pt x="75" y="31"/>
                      <a:pt x="76" y="43"/>
                      <a:pt x="71" y="54"/>
                    </a:cubicBezTo>
                    <a:cubicBezTo>
                      <a:pt x="68" y="60"/>
                      <a:pt x="63" y="65"/>
                      <a:pt x="57" y="69"/>
                    </a:cubicBez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" name="iŝ1îḍè">
                <a:extLst>
                  <a:ext uri="{FF2B5EF4-FFF2-40B4-BE49-F238E27FC236}">
                    <a16:creationId xmlns:a16="http://schemas.microsoft.com/office/drawing/2014/main" id="{A0717637-B5D6-4581-8849-55DBC9ABE712}"/>
                  </a:ext>
                </a:extLst>
              </p:cNvPr>
              <p:cNvSpPr/>
              <p:nvPr/>
            </p:nvSpPr>
            <p:spPr bwMode="auto">
              <a:xfrm>
                <a:off x="5684838" y="884238"/>
                <a:ext cx="596900" cy="522288"/>
              </a:xfrm>
              <a:custGeom>
                <a:avLst/>
                <a:gdLst>
                  <a:gd name="T0" fmla="*/ 1 w 159"/>
                  <a:gd name="T1" fmla="*/ 98 h 139"/>
                  <a:gd name="T2" fmla="*/ 11 w 159"/>
                  <a:gd name="T3" fmla="*/ 97 h 139"/>
                  <a:gd name="T4" fmla="*/ 14 w 159"/>
                  <a:gd name="T5" fmla="*/ 114 h 139"/>
                  <a:gd name="T6" fmla="*/ 15 w 159"/>
                  <a:gd name="T7" fmla="*/ 117 h 139"/>
                  <a:gd name="T8" fmla="*/ 80 w 159"/>
                  <a:gd name="T9" fmla="*/ 62 h 139"/>
                  <a:gd name="T10" fmla="*/ 152 w 159"/>
                  <a:gd name="T11" fmla="*/ 3 h 139"/>
                  <a:gd name="T12" fmla="*/ 156 w 159"/>
                  <a:gd name="T13" fmla="*/ 9 h 139"/>
                  <a:gd name="T14" fmla="*/ 88 w 159"/>
                  <a:gd name="T15" fmla="*/ 70 h 139"/>
                  <a:gd name="T16" fmla="*/ 24 w 159"/>
                  <a:gd name="T17" fmla="*/ 125 h 139"/>
                  <a:gd name="T18" fmla="*/ 26 w 159"/>
                  <a:gd name="T19" fmla="*/ 125 h 139"/>
                  <a:gd name="T20" fmla="*/ 39 w 159"/>
                  <a:gd name="T21" fmla="*/ 123 h 139"/>
                  <a:gd name="T22" fmla="*/ 42 w 159"/>
                  <a:gd name="T23" fmla="*/ 131 h 139"/>
                  <a:gd name="T24" fmla="*/ 13 w 159"/>
                  <a:gd name="T25" fmla="*/ 137 h 139"/>
                  <a:gd name="T26" fmla="*/ 8 w 159"/>
                  <a:gd name="T27" fmla="*/ 134 h 139"/>
                  <a:gd name="T28" fmla="*/ 5 w 159"/>
                  <a:gd name="T29" fmla="*/ 125 h 139"/>
                  <a:gd name="T30" fmla="*/ 1 w 159"/>
                  <a:gd name="T31" fmla="*/ 98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9" h="139">
                    <a:moveTo>
                      <a:pt x="1" y="98"/>
                    </a:moveTo>
                    <a:cubicBezTo>
                      <a:pt x="0" y="92"/>
                      <a:pt x="10" y="91"/>
                      <a:pt x="11" y="97"/>
                    </a:cubicBezTo>
                    <a:cubicBezTo>
                      <a:pt x="12" y="103"/>
                      <a:pt x="13" y="108"/>
                      <a:pt x="14" y="114"/>
                    </a:cubicBezTo>
                    <a:cubicBezTo>
                      <a:pt x="14" y="115"/>
                      <a:pt x="15" y="116"/>
                      <a:pt x="15" y="117"/>
                    </a:cubicBezTo>
                    <a:cubicBezTo>
                      <a:pt x="37" y="98"/>
                      <a:pt x="58" y="80"/>
                      <a:pt x="80" y="62"/>
                    </a:cubicBezTo>
                    <a:cubicBezTo>
                      <a:pt x="103" y="42"/>
                      <a:pt x="126" y="20"/>
                      <a:pt x="152" y="3"/>
                    </a:cubicBezTo>
                    <a:cubicBezTo>
                      <a:pt x="156" y="0"/>
                      <a:pt x="159" y="6"/>
                      <a:pt x="156" y="9"/>
                    </a:cubicBezTo>
                    <a:cubicBezTo>
                      <a:pt x="136" y="31"/>
                      <a:pt x="111" y="50"/>
                      <a:pt x="88" y="70"/>
                    </a:cubicBezTo>
                    <a:cubicBezTo>
                      <a:pt x="67" y="88"/>
                      <a:pt x="45" y="107"/>
                      <a:pt x="24" y="125"/>
                    </a:cubicBezTo>
                    <a:cubicBezTo>
                      <a:pt x="24" y="125"/>
                      <a:pt x="25" y="125"/>
                      <a:pt x="26" y="125"/>
                    </a:cubicBezTo>
                    <a:cubicBezTo>
                      <a:pt x="31" y="124"/>
                      <a:pt x="34" y="122"/>
                      <a:pt x="39" y="123"/>
                    </a:cubicBezTo>
                    <a:cubicBezTo>
                      <a:pt x="41" y="125"/>
                      <a:pt x="44" y="128"/>
                      <a:pt x="42" y="131"/>
                    </a:cubicBezTo>
                    <a:cubicBezTo>
                      <a:pt x="36" y="139"/>
                      <a:pt x="22" y="138"/>
                      <a:pt x="13" y="137"/>
                    </a:cubicBezTo>
                    <a:cubicBezTo>
                      <a:pt x="11" y="137"/>
                      <a:pt x="9" y="136"/>
                      <a:pt x="8" y="134"/>
                    </a:cubicBezTo>
                    <a:cubicBezTo>
                      <a:pt x="5" y="132"/>
                      <a:pt x="3" y="128"/>
                      <a:pt x="5" y="125"/>
                    </a:cubicBezTo>
                    <a:cubicBezTo>
                      <a:pt x="3" y="116"/>
                      <a:pt x="1" y="107"/>
                      <a:pt x="1" y="98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" name="iṡḻíḋé">
                <a:extLst>
                  <a:ext uri="{FF2B5EF4-FFF2-40B4-BE49-F238E27FC236}">
                    <a16:creationId xmlns:a16="http://schemas.microsoft.com/office/drawing/2014/main" id="{639A1C4D-BB83-4E1C-BD78-C511196119E0}"/>
                  </a:ext>
                </a:extLst>
              </p:cNvPr>
              <p:cNvSpPr/>
              <p:nvPr/>
            </p:nvSpPr>
            <p:spPr bwMode="auto">
              <a:xfrm>
                <a:off x="6072188" y="922338"/>
                <a:ext cx="300037" cy="173038"/>
              </a:xfrm>
              <a:custGeom>
                <a:avLst/>
                <a:gdLst>
                  <a:gd name="T0" fmla="*/ 48 w 80"/>
                  <a:gd name="T1" fmla="*/ 3 h 46"/>
                  <a:gd name="T2" fmla="*/ 80 w 80"/>
                  <a:gd name="T3" fmla="*/ 0 h 46"/>
                  <a:gd name="T4" fmla="*/ 0 w 80"/>
                  <a:gd name="T5" fmla="*/ 43 h 46"/>
                  <a:gd name="T6" fmla="*/ 48 w 80"/>
                  <a:gd name="T7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46">
                    <a:moveTo>
                      <a:pt x="48" y="3"/>
                    </a:moveTo>
                    <a:cubicBezTo>
                      <a:pt x="58" y="2"/>
                      <a:pt x="69" y="1"/>
                      <a:pt x="80" y="0"/>
                    </a:cubicBezTo>
                    <a:cubicBezTo>
                      <a:pt x="65" y="28"/>
                      <a:pt x="32" y="46"/>
                      <a:pt x="0" y="43"/>
                    </a:cubicBezTo>
                    <a:cubicBezTo>
                      <a:pt x="15" y="30"/>
                      <a:pt x="33" y="15"/>
                      <a:pt x="48" y="3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" name="íṥlîḋè">
                <a:extLst>
                  <a:ext uri="{FF2B5EF4-FFF2-40B4-BE49-F238E27FC236}">
                    <a16:creationId xmlns:a16="http://schemas.microsoft.com/office/drawing/2014/main" id="{DB8EC1B5-76A6-4F4C-9B82-B8A7046A6DCB}"/>
                  </a:ext>
                </a:extLst>
              </p:cNvPr>
              <p:cNvSpPr/>
              <p:nvPr/>
            </p:nvSpPr>
            <p:spPr bwMode="auto">
              <a:xfrm>
                <a:off x="6053138" y="804863"/>
                <a:ext cx="206375" cy="274638"/>
              </a:xfrm>
              <a:custGeom>
                <a:avLst/>
                <a:gdLst>
                  <a:gd name="T0" fmla="*/ 47 w 55"/>
                  <a:gd name="T1" fmla="*/ 31 h 73"/>
                  <a:gd name="T2" fmla="*/ 55 w 55"/>
                  <a:gd name="T3" fmla="*/ 0 h 73"/>
                  <a:gd name="T4" fmla="*/ 0 w 55"/>
                  <a:gd name="T5" fmla="*/ 73 h 73"/>
                  <a:gd name="T6" fmla="*/ 47 w 55"/>
                  <a:gd name="T7" fmla="*/ 31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" h="73">
                    <a:moveTo>
                      <a:pt x="47" y="31"/>
                    </a:moveTo>
                    <a:cubicBezTo>
                      <a:pt x="49" y="21"/>
                      <a:pt x="52" y="10"/>
                      <a:pt x="55" y="0"/>
                    </a:cubicBezTo>
                    <a:cubicBezTo>
                      <a:pt x="24" y="10"/>
                      <a:pt x="2" y="41"/>
                      <a:pt x="0" y="73"/>
                    </a:cubicBezTo>
                    <a:cubicBezTo>
                      <a:pt x="15" y="60"/>
                      <a:pt x="32" y="44"/>
                      <a:pt x="47" y="31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6" name="îšlïdê">
              <a:extLst>
                <a:ext uri="{FF2B5EF4-FFF2-40B4-BE49-F238E27FC236}">
                  <a16:creationId xmlns:a16="http://schemas.microsoft.com/office/drawing/2014/main" id="{A65085D6-5D77-4979-89AB-0D84341FD0AC}"/>
                </a:ext>
              </a:extLst>
            </p:cNvPr>
            <p:cNvGrpSpPr/>
            <p:nvPr/>
          </p:nvGrpSpPr>
          <p:grpSpPr>
            <a:xfrm>
              <a:off x="6451749" y="2210653"/>
              <a:ext cx="538228" cy="609233"/>
              <a:chOff x="5372100" y="1887538"/>
              <a:chExt cx="601662" cy="681038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32" name="ïṡḻîḍè">
                <a:extLst>
                  <a:ext uri="{FF2B5EF4-FFF2-40B4-BE49-F238E27FC236}">
                    <a16:creationId xmlns:a16="http://schemas.microsoft.com/office/drawing/2014/main" id="{4485A6E6-66B6-4612-839C-E3793DEDD69C}"/>
                  </a:ext>
                </a:extLst>
              </p:cNvPr>
              <p:cNvSpPr/>
              <p:nvPr/>
            </p:nvSpPr>
            <p:spPr bwMode="auto">
              <a:xfrm>
                <a:off x="5372100" y="2481263"/>
                <a:ext cx="161925" cy="87313"/>
              </a:xfrm>
              <a:custGeom>
                <a:avLst/>
                <a:gdLst>
                  <a:gd name="T0" fmla="*/ 37 w 43"/>
                  <a:gd name="T1" fmla="*/ 5 h 23"/>
                  <a:gd name="T2" fmla="*/ 20 w 43"/>
                  <a:gd name="T3" fmla="*/ 5 h 23"/>
                  <a:gd name="T4" fmla="*/ 15 w 43"/>
                  <a:gd name="T5" fmla="*/ 1 h 23"/>
                  <a:gd name="T6" fmla="*/ 9 w 43"/>
                  <a:gd name="T7" fmla="*/ 1 h 23"/>
                  <a:gd name="T8" fmla="*/ 5 w 43"/>
                  <a:gd name="T9" fmla="*/ 2 h 23"/>
                  <a:gd name="T10" fmla="*/ 2 w 43"/>
                  <a:gd name="T11" fmla="*/ 8 h 23"/>
                  <a:gd name="T12" fmla="*/ 6 w 43"/>
                  <a:gd name="T13" fmla="*/ 20 h 23"/>
                  <a:gd name="T14" fmla="*/ 14 w 43"/>
                  <a:gd name="T15" fmla="*/ 23 h 23"/>
                  <a:gd name="T16" fmla="*/ 22 w 43"/>
                  <a:gd name="T17" fmla="*/ 17 h 23"/>
                  <a:gd name="T18" fmla="*/ 35 w 43"/>
                  <a:gd name="T19" fmla="*/ 16 h 23"/>
                  <a:gd name="T20" fmla="*/ 37 w 43"/>
                  <a:gd name="T21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23">
                    <a:moveTo>
                      <a:pt x="37" y="5"/>
                    </a:moveTo>
                    <a:cubicBezTo>
                      <a:pt x="31" y="4"/>
                      <a:pt x="26" y="4"/>
                      <a:pt x="20" y="5"/>
                    </a:cubicBezTo>
                    <a:cubicBezTo>
                      <a:pt x="19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1"/>
                    </a:cubicBezTo>
                    <a:cubicBezTo>
                      <a:pt x="8" y="1"/>
                      <a:pt x="6" y="2"/>
                      <a:pt x="5" y="2"/>
                    </a:cubicBezTo>
                    <a:cubicBezTo>
                      <a:pt x="3" y="4"/>
                      <a:pt x="2" y="6"/>
                      <a:pt x="2" y="8"/>
                    </a:cubicBezTo>
                    <a:cubicBezTo>
                      <a:pt x="0" y="13"/>
                      <a:pt x="3" y="17"/>
                      <a:pt x="6" y="20"/>
                    </a:cubicBezTo>
                    <a:cubicBezTo>
                      <a:pt x="8" y="22"/>
                      <a:pt x="11" y="23"/>
                      <a:pt x="14" y="23"/>
                    </a:cubicBezTo>
                    <a:cubicBezTo>
                      <a:pt x="17" y="23"/>
                      <a:pt x="20" y="20"/>
                      <a:pt x="22" y="17"/>
                    </a:cubicBezTo>
                    <a:cubicBezTo>
                      <a:pt x="26" y="16"/>
                      <a:pt x="31" y="16"/>
                      <a:pt x="35" y="16"/>
                    </a:cubicBezTo>
                    <a:cubicBezTo>
                      <a:pt x="42" y="16"/>
                      <a:pt x="43" y="6"/>
                      <a:pt x="3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" name="îšļîdé">
                <a:extLst>
                  <a:ext uri="{FF2B5EF4-FFF2-40B4-BE49-F238E27FC236}">
                    <a16:creationId xmlns:a16="http://schemas.microsoft.com/office/drawing/2014/main" id="{290C423F-CB32-416A-815F-1A1A73B972FD}"/>
                  </a:ext>
                </a:extLst>
              </p:cNvPr>
              <p:cNvSpPr/>
              <p:nvPr/>
            </p:nvSpPr>
            <p:spPr bwMode="auto">
              <a:xfrm>
                <a:off x="5580063" y="2466976"/>
                <a:ext cx="107950" cy="71438"/>
              </a:xfrm>
              <a:custGeom>
                <a:avLst/>
                <a:gdLst>
                  <a:gd name="T0" fmla="*/ 29 w 29"/>
                  <a:gd name="T1" fmla="*/ 5 h 19"/>
                  <a:gd name="T2" fmla="*/ 29 w 29"/>
                  <a:gd name="T3" fmla="*/ 4 h 19"/>
                  <a:gd name="T4" fmla="*/ 24 w 29"/>
                  <a:gd name="T5" fmla="*/ 1 h 19"/>
                  <a:gd name="T6" fmla="*/ 20 w 29"/>
                  <a:gd name="T7" fmla="*/ 2 h 19"/>
                  <a:gd name="T8" fmla="*/ 6 w 29"/>
                  <a:gd name="T9" fmla="*/ 7 h 19"/>
                  <a:gd name="T10" fmla="*/ 4 w 29"/>
                  <a:gd name="T11" fmla="*/ 15 h 19"/>
                  <a:gd name="T12" fmla="*/ 28 w 29"/>
                  <a:gd name="T13" fmla="*/ 10 h 19"/>
                  <a:gd name="T14" fmla="*/ 29 w 29"/>
                  <a:gd name="T15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19">
                    <a:moveTo>
                      <a:pt x="29" y="5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29" y="2"/>
                      <a:pt x="26" y="0"/>
                      <a:pt x="24" y="1"/>
                    </a:cubicBezTo>
                    <a:cubicBezTo>
                      <a:pt x="23" y="0"/>
                      <a:pt x="21" y="1"/>
                      <a:pt x="20" y="2"/>
                    </a:cubicBezTo>
                    <a:cubicBezTo>
                      <a:pt x="16" y="5"/>
                      <a:pt x="11" y="7"/>
                      <a:pt x="6" y="7"/>
                    </a:cubicBezTo>
                    <a:cubicBezTo>
                      <a:pt x="2" y="8"/>
                      <a:pt x="0" y="14"/>
                      <a:pt x="4" y="15"/>
                    </a:cubicBezTo>
                    <a:cubicBezTo>
                      <a:pt x="12" y="19"/>
                      <a:pt x="22" y="17"/>
                      <a:pt x="28" y="10"/>
                    </a:cubicBezTo>
                    <a:cubicBezTo>
                      <a:pt x="29" y="8"/>
                      <a:pt x="29" y="6"/>
                      <a:pt x="29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" name="îṡḷîdè">
                <a:extLst>
                  <a:ext uri="{FF2B5EF4-FFF2-40B4-BE49-F238E27FC236}">
                    <a16:creationId xmlns:a16="http://schemas.microsoft.com/office/drawing/2014/main" id="{C6F3907C-8988-402B-AEC4-EDD9F2A6D37B}"/>
                  </a:ext>
                </a:extLst>
              </p:cNvPr>
              <p:cNvSpPr/>
              <p:nvPr/>
            </p:nvSpPr>
            <p:spPr bwMode="auto">
              <a:xfrm>
                <a:off x="5756275" y="2324101"/>
                <a:ext cx="96837" cy="115888"/>
              </a:xfrm>
              <a:custGeom>
                <a:avLst/>
                <a:gdLst>
                  <a:gd name="T0" fmla="*/ 22 w 26"/>
                  <a:gd name="T1" fmla="*/ 2 h 31"/>
                  <a:gd name="T2" fmla="*/ 16 w 26"/>
                  <a:gd name="T3" fmla="*/ 2 h 31"/>
                  <a:gd name="T4" fmla="*/ 11 w 26"/>
                  <a:gd name="T5" fmla="*/ 13 h 31"/>
                  <a:gd name="T6" fmla="*/ 3 w 26"/>
                  <a:gd name="T7" fmla="*/ 23 h 31"/>
                  <a:gd name="T8" fmla="*/ 6 w 26"/>
                  <a:gd name="T9" fmla="*/ 29 h 31"/>
                  <a:gd name="T10" fmla="*/ 20 w 26"/>
                  <a:gd name="T11" fmla="*/ 19 h 31"/>
                  <a:gd name="T12" fmla="*/ 22 w 26"/>
                  <a:gd name="T13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1">
                    <a:moveTo>
                      <a:pt x="22" y="2"/>
                    </a:moveTo>
                    <a:cubicBezTo>
                      <a:pt x="20" y="0"/>
                      <a:pt x="18" y="0"/>
                      <a:pt x="16" y="2"/>
                    </a:cubicBezTo>
                    <a:cubicBezTo>
                      <a:pt x="13" y="5"/>
                      <a:pt x="13" y="10"/>
                      <a:pt x="11" y="13"/>
                    </a:cubicBezTo>
                    <a:cubicBezTo>
                      <a:pt x="10" y="17"/>
                      <a:pt x="7" y="20"/>
                      <a:pt x="3" y="23"/>
                    </a:cubicBezTo>
                    <a:cubicBezTo>
                      <a:pt x="0" y="25"/>
                      <a:pt x="2" y="31"/>
                      <a:pt x="6" y="29"/>
                    </a:cubicBezTo>
                    <a:cubicBezTo>
                      <a:pt x="12" y="27"/>
                      <a:pt x="16" y="24"/>
                      <a:pt x="20" y="19"/>
                    </a:cubicBezTo>
                    <a:cubicBezTo>
                      <a:pt x="23" y="15"/>
                      <a:pt x="26" y="6"/>
                      <a:pt x="2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" name="îṩļídè">
                <a:extLst>
                  <a:ext uri="{FF2B5EF4-FFF2-40B4-BE49-F238E27FC236}">
                    <a16:creationId xmlns:a16="http://schemas.microsoft.com/office/drawing/2014/main" id="{1D8AF005-B6AA-426B-B462-8B3BB3337FFF}"/>
                  </a:ext>
                </a:extLst>
              </p:cNvPr>
              <p:cNvSpPr/>
              <p:nvPr/>
            </p:nvSpPr>
            <p:spPr bwMode="auto">
              <a:xfrm>
                <a:off x="5849938" y="2170113"/>
                <a:ext cx="49212" cy="93663"/>
              </a:xfrm>
              <a:custGeom>
                <a:avLst/>
                <a:gdLst>
                  <a:gd name="T0" fmla="*/ 0 w 13"/>
                  <a:gd name="T1" fmla="*/ 19 h 25"/>
                  <a:gd name="T2" fmla="*/ 0 w 13"/>
                  <a:gd name="T3" fmla="*/ 11 h 25"/>
                  <a:gd name="T4" fmla="*/ 3 w 13"/>
                  <a:gd name="T5" fmla="*/ 3 h 25"/>
                  <a:gd name="T6" fmla="*/ 12 w 13"/>
                  <a:gd name="T7" fmla="*/ 5 h 25"/>
                  <a:gd name="T8" fmla="*/ 11 w 13"/>
                  <a:gd name="T9" fmla="*/ 12 h 25"/>
                  <a:gd name="T10" fmla="*/ 10 w 13"/>
                  <a:gd name="T11" fmla="*/ 19 h 25"/>
                  <a:gd name="T12" fmla="*/ 0 w 13"/>
                  <a:gd name="T13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5">
                    <a:moveTo>
                      <a:pt x="0" y="19"/>
                    </a:moveTo>
                    <a:cubicBezTo>
                      <a:pt x="0" y="16"/>
                      <a:pt x="0" y="14"/>
                      <a:pt x="0" y="11"/>
                    </a:cubicBezTo>
                    <a:cubicBezTo>
                      <a:pt x="0" y="8"/>
                      <a:pt x="1" y="5"/>
                      <a:pt x="3" y="3"/>
                    </a:cubicBezTo>
                    <a:cubicBezTo>
                      <a:pt x="6" y="0"/>
                      <a:pt x="11" y="1"/>
                      <a:pt x="12" y="5"/>
                    </a:cubicBezTo>
                    <a:cubicBezTo>
                      <a:pt x="13" y="8"/>
                      <a:pt x="12" y="10"/>
                      <a:pt x="11" y="12"/>
                    </a:cubicBezTo>
                    <a:cubicBezTo>
                      <a:pt x="11" y="14"/>
                      <a:pt x="11" y="17"/>
                      <a:pt x="10" y="19"/>
                    </a:cubicBezTo>
                    <a:cubicBezTo>
                      <a:pt x="9" y="24"/>
                      <a:pt x="1" y="25"/>
                      <a:pt x="0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" name="ïş1íḑé">
                <a:extLst>
                  <a:ext uri="{FF2B5EF4-FFF2-40B4-BE49-F238E27FC236}">
                    <a16:creationId xmlns:a16="http://schemas.microsoft.com/office/drawing/2014/main" id="{EE04B1C4-3349-4E9B-AC44-06FB1BD668DF}"/>
                  </a:ext>
                </a:extLst>
              </p:cNvPr>
              <p:cNvSpPr/>
              <p:nvPr/>
            </p:nvSpPr>
            <p:spPr bwMode="auto">
              <a:xfrm>
                <a:off x="5876925" y="2038351"/>
                <a:ext cx="52387" cy="93663"/>
              </a:xfrm>
              <a:custGeom>
                <a:avLst/>
                <a:gdLst>
                  <a:gd name="T0" fmla="*/ 0 w 14"/>
                  <a:gd name="T1" fmla="*/ 17 h 25"/>
                  <a:gd name="T2" fmla="*/ 3 w 14"/>
                  <a:gd name="T3" fmla="*/ 6 h 25"/>
                  <a:gd name="T4" fmla="*/ 13 w 14"/>
                  <a:gd name="T5" fmla="*/ 9 h 25"/>
                  <a:gd name="T6" fmla="*/ 10 w 14"/>
                  <a:gd name="T7" fmla="*/ 20 h 25"/>
                  <a:gd name="T8" fmla="*/ 0 w 14"/>
                  <a:gd name="T9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5">
                    <a:moveTo>
                      <a:pt x="0" y="17"/>
                    </a:moveTo>
                    <a:cubicBezTo>
                      <a:pt x="1" y="13"/>
                      <a:pt x="1" y="9"/>
                      <a:pt x="3" y="6"/>
                    </a:cubicBezTo>
                    <a:cubicBezTo>
                      <a:pt x="5" y="0"/>
                      <a:pt x="14" y="2"/>
                      <a:pt x="13" y="9"/>
                    </a:cubicBezTo>
                    <a:cubicBezTo>
                      <a:pt x="13" y="12"/>
                      <a:pt x="12" y="16"/>
                      <a:pt x="10" y="20"/>
                    </a:cubicBezTo>
                    <a:cubicBezTo>
                      <a:pt x="8" y="25"/>
                      <a:pt x="0" y="23"/>
                      <a:pt x="0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" name="ïṡliḍè">
                <a:extLst>
                  <a:ext uri="{FF2B5EF4-FFF2-40B4-BE49-F238E27FC236}">
                    <a16:creationId xmlns:a16="http://schemas.microsoft.com/office/drawing/2014/main" id="{690B4C16-A951-45BD-A4A0-F1BC02D789D9}"/>
                  </a:ext>
                </a:extLst>
              </p:cNvPr>
              <p:cNvSpPr/>
              <p:nvPr/>
            </p:nvSpPr>
            <p:spPr bwMode="auto">
              <a:xfrm>
                <a:off x="5880100" y="1887538"/>
                <a:ext cx="93662" cy="131763"/>
              </a:xfrm>
              <a:custGeom>
                <a:avLst/>
                <a:gdLst>
                  <a:gd name="T0" fmla="*/ 2 w 25"/>
                  <a:gd name="T1" fmla="*/ 6 h 35"/>
                  <a:gd name="T2" fmla="*/ 9 w 25"/>
                  <a:gd name="T3" fmla="*/ 0 h 35"/>
                  <a:gd name="T4" fmla="*/ 10 w 25"/>
                  <a:gd name="T5" fmla="*/ 0 h 35"/>
                  <a:gd name="T6" fmla="*/ 13 w 25"/>
                  <a:gd name="T7" fmla="*/ 0 h 35"/>
                  <a:gd name="T8" fmla="*/ 17 w 25"/>
                  <a:gd name="T9" fmla="*/ 0 h 35"/>
                  <a:gd name="T10" fmla="*/ 24 w 25"/>
                  <a:gd name="T11" fmla="*/ 5 h 35"/>
                  <a:gd name="T12" fmla="*/ 25 w 25"/>
                  <a:gd name="T13" fmla="*/ 12 h 35"/>
                  <a:gd name="T14" fmla="*/ 19 w 25"/>
                  <a:gd name="T15" fmla="*/ 22 h 35"/>
                  <a:gd name="T16" fmla="*/ 18 w 25"/>
                  <a:gd name="T17" fmla="*/ 23 h 35"/>
                  <a:gd name="T18" fmla="*/ 16 w 25"/>
                  <a:gd name="T19" fmla="*/ 31 h 35"/>
                  <a:gd name="T20" fmla="*/ 7 w 25"/>
                  <a:gd name="T21" fmla="*/ 31 h 35"/>
                  <a:gd name="T22" fmla="*/ 5 w 25"/>
                  <a:gd name="T23" fmla="*/ 22 h 35"/>
                  <a:gd name="T24" fmla="*/ 4 w 25"/>
                  <a:gd name="T25" fmla="*/ 21 h 35"/>
                  <a:gd name="T26" fmla="*/ 2 w 25"/>
                  <a:gd name="T27" fmla="*/ 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" h="35">
                    <a:moveTo>
                      <a:pt x="2" y="6"/>
                    </a:moveTo>
                    <a:cubicBezTo>
                      <a:pt x="4" y="3"/>
                      <a:pt x="6" y="1"/>
                      <a:pt x="9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2" y="0"/>
                      <a:pt x="13" y="0"/>
                    </a:cubicBezTo>
                    <a:cubicBezTo>
                      <a:pt x="14" y="0"/>
                      <a:pt x="15" y="0"/>
                      <a:pt x="17" y="0"/>
                    </a:cubicBezTo>
                    <a:cubicBezTo>
                      <a:pt x="19" y="1"/>
                      <a:pt x="22" y="3"/>
                      <a:pt x="24" y="5"/>
                    </a:cubicBezTo>
                    <a:cubicBezTo>
                      <a:pt x="25" y="7"/>
                      <a:pt x="25" y="10"/>
                      <a:pt x="25" y="12"/>
                    </a:cubicBezTo>
                    <a:cubicBezTo>
                      <a:pt x="25" y="16"/>
                      <a:pt x="22" y="20"/>
                      <a:pt x="19" y="22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18" y="26"/>
                      <a:pt x="17" y="28"/>
                      <a:pt x="16" y="31"/>
                    </a:cubicBezTo>
                    <a:cubicBezTo>
                      <a:pt x="14" y="34"/>
                      <a:pt x="8" y="35"/>
                      <a:pt x="7" y="31"/>
                    </a:cubicBezTo>
                    <a:cubicBezTo>
                      <a:pt x="6" y="28"/>
                      <a:pt x="5" y="25"/>
                      <a:pt x="5" y="22"/>
                    </a:cubicBezTo>
                    <a:cubicBezTo>
                      <a:pt x="5" y="22"/>
                      <a:pt x="5" y="21"/>
                      <a:pt x="4" y="21"/>
                    </a:cubicBezTo>
                    <a:cubicBezTo>
                      <a:pt x="0" y="17"/>
                      <a:pt x="0" y="10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59" name="ï$lîḑé">
              <a:extLst>
                <a:ext uri="{FF2B5EF4-FFF2-40B4-BE49-F238E27FC236}">
                  <a16:creationId xmlns:a16="http://schemas.microsoft.com/office/drawing/2014/main" id="{250328F2-4760-406E-8E6B-B42185DE74DF}"/>
                </a:ext>
              </a:extLst>
            </p:cNvPr>
            <p:cNvGrpSpPr/>
            <p:nvPr/>
          </p:nvGrpSpPr>
          <p:grpSpPr>
            <a:xfrm>
              <a:off x="7208697" y="1959290"/>
              <a:ext cx="568053" cy="536805"/>
              <a:chOff x="6218238" y="1606551"/>
              <a:chExt cx="635000" cy="60007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28" name="íṥlïdé">
                <a:extLst>
                  <a:ext uri="{FF2B5EF4-FFF2-40B4-BE49-F238E27FC236}">
                    <a16:creationId xmlns:a16="http://schemas.microsoft.com/office/drawing/2014/main" id="{C20BD39E-2783-44CC-B5E2-2AAD64C89771}"/>
                  </a:ext>
                </a:extLst>
              </p:cNvPr>
              <p:cNvSpPr/>
              <p:nvPr/>
            </p:nvSpPr>
            <p:spPr bwMode="auto">
              <a:xfrm>
                <a:off x="6218238" y="1606551"/>
                <a:ext cx="184150" cy="179388"/>
              </a:xfrm>
              <a:custGeom>
                <a:avLst/>
                <a:gdLst>
                  <a:gd name="T0" fmla="*/ 22 w 49"/>
                  <a:gd name="T1" fmla="*/ 3 h 48"/>
                  <a:gd name="T2" fmla="*/ 15 w 49"/>
                  <a:gd name="T3" fmla="*/ 0 h 48"/>
                  <a:gd name="T4" fmla="*/ 12 w 49"/>
                  <a:gd name="T5" fmla="*/ 0 h 48"/>
                  <a:gd name="T6" fmla="*/ 9 w 49"/>
                  <a:gd name="T7" fmla="*/ 2 h 48"/>
                  <a:gd name="T8" fmla="*/ 8 w 49"/>
                  <a:gd name="T9" fmla="*/ 2 h 48"/>
                  <a:gd name="T10" fmla="*/ 3 w 49"/>
                  <a:gd name="T11" fmla="*/ 7 h 48"/>
                  <a:gd name="T12" fmla="*/ 4 w 49"/>
                  <a:gd name="T13" fmla="*/ 20 h 48"/>
                  <a:gd name="T14" fmla="*/ 15 w 49"/>
                  <a:gd name="T15" fmla="*/ 24 h 48"/>
                  <a:gd name="T16" fmla="*/ 16 w 49"/>
                  <a:gd name="T17" fmla="*/ 24 h 48"/>
                  <a:gd name="T18" fmla="*/ 26 w 49"/>
                  <a:gd name="T19" fmla="*/ 34 h 48"/>
                  <a:gd name="T20" fmla="*/ 38 w 49"/>
                  <a:gd name="T21" fmla="*/ 45 h 48"/>
                  <a:gd name="T22" fmla="*/ 46 w 49"/>
                  <a:gd name="T23" fmla="*/ 38 h 48"/>
                  <a:gd name="T24" fmla="*/ 35 w 49"/>
                  <a:gd name="T25" fmla="*/ 26 h 48"/>
                  <a:gd name="T26" fmla="*/ 25 w 49"/>
                  <a:gd name="T27" fmla="*/ 16 h 48"/>
                  <a:gd name="T28" fmla="*/ 25 w 49"/>
                  <a:gd name="T29" fmla="*/ 16 h 48"/>
                  <a:gd name="T30" fmla="*/ 22 w 49"/>
                  <a:gd name="T31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" h="48">
                    <a:moveTo>
                      <a:pt x="22" y="3"/>
                    </a:moveTo>
                    <a:cubicBezTo>
                      <a:pt x="20" y="1"/>
                      <a:pt x="18" y="0"/>
                      <a:pt x="15" y="0"/>
                    </a:cubicBezTo>
                    <a:cubicBezTo>
                      <a:pt x="14" y="0"/>
                      <a:pt x="13" y="0"/>
                      <a:pt x="12" y="0"/>
                    </a:cubicBezTo>
                    <a:cubicBezTo>
                      <a:pt x="11" y="0"/>
                      <a:pt x="10" y="1"/>
                      <a:pt x="9" y="2"/>
                    </a:cubicBezTo>
                    <a:cubicBezTo>
                      <a:pt x="9" y="2"/>
                      <a:pt x="8" y="2"/>
                      <a:pt x="8" y="2"/>
                    </a:cubicBezTo>
                    <a:cubicBezTo>
                      <a:pt x="6" y="3"/>
                      <a:pt x="4" y="5"/>
                      <a:pt x="3" y="7"/>
                    </a:cubicBezTo>
                    <a:cubicBezTo>
                      <a:pt x="0" y="11"/>
                      <a:pt x="1" y="16"/>
                      <a:pt x="4" y="20"/>
                    </a:cubicBezTo>
                    <a:cubicBezTo>
                      <a:pt x="6" y="24"/>
                      <a:pt x="11" y="25"/>
                      <a:pt x="15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9" y="27"/>
                      <a:pt x="23" y="31"/>
                      <a:pt x="26" y="34"/>
                    </a:cubicBezTo>
                    <a:cubicBezTo>
                      <a:pt x="30" y="38"/>
                      <a:pt x="34" y="42"/>
                      <a:pt x="38" y="45"/>
                    </a:cubicBezTo>
                    <a:cubicBezTo>
                      <a:pt x="43" y="48"/>
                      <a:pt x="49" y="43"/>
                      <a:pt x="46" y="38"/>
                    </a:cubicBezTo>
                    <a:cubicBezTo>
                      <a:pt x="43" y="33"/>
                      <a:pt x="39" y="30"/>
                      <a:pt x="35" y="26"/>
                    </a:cubicBezTo>
                    <a:cubicBezTo>
                      <a:pt x="32" y="22"/>
                      <a:pt x="28" y="19"/>
                      <a:pt x="25" y="16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6" y="11"/>
                      <a:pt x="25" y="6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" name="ïṡlíḓê">
                <a:extLst>
                  <a:ext uri="{FF2B5EF4-FFF2-40B4-BE49-F238E27FC236}">
                    <a16:creationId xmlns:a16="http://schemas.microsoft.com/office/drawing/2014/main" id="{08FC0053-610E-482C-A57A-49CF4B2823B9}"/>
                  </a:ext>
                </a:extLst>
              </p:cNvPr>
              <p:cNvSpPr/>
              <p:nvPr/>
            </p:nvSpPr>
            <p:spPr bwMode="auto">
              <a:xfrm>
                <a:off x="6421438" y="1804988"/>
                <a:ext cx="123825" cy="109538"/>
              </a:xfrm>
              <a:custGeom>
                <a:avLst/>
                <a:gdLst>
                  <a:gd name="T0" fmla="*/ 29 w 33"/>
                  <a:gd name="T1" fmla="*/ 17 h 29"/>
                  <a:gd name="T2" fmla="*/ 10 w 33"/>
                  <a:gd name="T3" fmla="*/ 3 h 29"/>
                  <a:gd name="T4" fmla="*/ 4 w 33"/>
                  <a:gd name="T5" fmla="*/ 10 h 29"/>
                  <a:gd name="T6" fmla="*/ 22 w 33"/>
                  <a:gd name="T7" fmla="*/ 25 h 29"/>
                  <a:gd name="T8" fmla="*/ 29 w 33"/>
                  <a:gd name="T9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9">
                    <a:moveTo>
                      <a:pt x="29" y="17"/>
                    </a:moveTo>
                    <a:cubicBezTo>
                      <a:pt x="23" y="12"/>
                      <a:pt x="17" y="7"/>
                      <a:pt x="10" y="3"/>
                    </a:cubicBezTo>
                    <a:cubicBezTo>
                      <a:pt x="6" y="0"/>
                      <a:pt x="0" y="6"/>
                      <a:pt x="4" y="10"/>
                    </a:cubicBezTo>
                    <a:cubicBezTo>
                      <a:pt x="10" y="15"/>
                      <a:pt x="16" y="21"/>
                      <a:pt x="22" y="25"/>
                    </a:cubicBezTo>
                    <a:cubicBezTo>
                      <a:pt x="27" y="29"/>
                      <a:pt x="33" y="21"/>
                      <a:pt x="29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" name="ïŝľïďê">
                <a:extLst>
                  <a:ext uri="{FF2B5EF4-FFF2-40B4-BE49-F238E27FC236}">
                    <a16:creationId xmlns:a16="http://schemas.microsoft.com/office/drawing/2014/main" id="{8323F360-E5DA-4EEE-A445-E30AA3245354}"/>
                  </a:ext>
                </a:extLst>
              </p:cNvPr>
              <p:cNvSpPr/>
              <p:nvPr/>
            </p:nvSpPr>
            <p:spPr bwMode="auto">
              <a:xfrm>
                <a:off x="6564313" y="1928813"/>
                <a:ext cx="146050" cy="139700"/>
              </a:xfrm>
              <a:custGeom>
                <a:avLst/>
                <a:gdLst>
                  <a:gd name="T0" fmla="*/ 33 w 39"/>
                  <a:gd name="T1" fmla="*/ 23 h 37"/>
                  <a:gd name="T2" fmla="*/ 11 w 39"/>
                  <a:gd name="T3" fmla="*/ 4 h 37"/>
                  <a:gd name="T4" fmla="*/ 3 w 39"/>
                  <a:gd name="T5" fmla="*/ 10 h 37"/>
                  <a:gd name="T6" fmla="*/ 27 w 39"/>
                  <a:gd name="T7" fmla="*/ 33 h 37"/>
                  <a:gd name="T8" fmla="*/ 33 w 39"/>
                  <a:gd name="T9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7">
                    <a:moveTo>
                      <a:pt x="33" y="23"/>
                    </a:moveTo>
                    <a:cubicBezTo>
                      <a:pt x="25" y="18"/>
                      <a:pt x="18" y="11"/>
                      <a:pt x="11" y="4"/>
                    </a:cubicBezTo>
                    <a:cubicBezTo>
                      <a:pt x="7" y="0"/>
                      <a:pt x="0" y="4"/>
                      <a:pt x="3" y="10"/>
                    </a:cubicBezTo>
                    <a:cubicBezTo>
                      <a:pt x="9" y="19"/>
                      <a:pt x="18" y="27"/>
                      <a:pt x="27" y="33"/>
                    </a:cubicBezTo>
                    <a:cubicBezTo>
                      <a:pt x="33" y="37"/>
                      <a:pt x="39" y="27"/>
                      <a:pt x="33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" name="ïṣlîḓè">
                <a:extLst>
                  <a:ext uri="{FF2B5EF4-FFF2-40B4-BE49-F238E27FC236}">
                    <a16:creationId xmlns:a16="http://schemas.microsoft.com/office/drawing/2014/main" id="{7F5DFBB7-FE4A-44AA-A010-99428257B161}"/>
                  </a:ext>
                </a:extLst>
              </p:cNvPr>
              <p:cNvSpPr/>
              <p:nvPr/>
            </p:nvSpPr>
            <p:spPr bwMode="auto">
              <a:xfrm>
                <a:off x="6710363" y="2079626"/>
                <a:ext cx="142875" cy="127000"/>
              </a:xfrm>
              <a:custGeom>
                <a:avLst/>
                <a:gdLst>
                  <a:gd name="T0" fmla="*/ 30 w 38"/>
                  <a:gd name="T1" fmla="*/ 10 h 34"/>
                  <a:gd name="T2" fmla="*/ 22 w 38"/>
                  <a:gd name="T3" fmla="*/ 11 h 34"/>
                  <a:gd name="T4" fmla="*/ 19 w 38"/>
                  <a:gd name="T5" fmla="*/ 9 h 34"/>
                  <a:gd name="T6" fmla="*/ 10 w 38"/>
                  <a:gd name="T7" fmla="*/ 3 h 34"/>
                  <a:gd name="T8" fmla="*/ 4 w 38"/>
                  <a:gd name="T9" fmla="*/ 10 h 34"/>
                  <a:gd name="T10" fmla="*/ 15 w 38"/>
                  <a:gd name="T11" fmla="*/ 20 h 34"/>
                  <a:gd name="T12" fmla="*/ 15 w 38"/>
                  <a:gd name="T13" fmla="*/ 21 h 34"/>
                  <a:gd name="T14" fmla="*/ 19 w 38"/>
                  <a:gd name="T15" fmla="*/ 30 h 34"/>
                  <a:gd name="T16" fmla="*/ 34 w 38"/>
                  <a:gd name="T17" fmla="*/ 27 h 34"/>
                  <a:gd name="T18" fmla="*/ 30 w 38"/>
                  <a:gd name="T19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4">
                    <a:moveTo>
                      <a:pt x="30" y="10"/>
                    </a:moveTo>
                    <a:cubicBezTo>
                      <a:pt x="27" y="9"/>
                      <a:pt x="24" y="10"/>
                      <a:pt x="22" y="11"/>
                    </a:cubicBezTo>
                    <a:cubicBezTo>
                      <a:pt x="21" y="11"/>
                      <a:pt x="20" y="10"/>
                      <a:pt x="19" y="9"/>
                    </a:cubicBezTo>
                    <a:cubicBezTo>
                      <a:pt x="16" y="7"/>
                      <a:pt x="13" y="5"/>
                      <a:pt x="10" y="3"/>
                    </a:cubicBezTo>
                    <a:cubicBezTo>
                      <a:pt x="6" y="0"/>
                      <a:pt x="0" y="6"/>
                      <a:pt x="4" y="10"/>
                    </a:cubicBezTo>
                    <a:cubicBezTo>
                      <a:pt x="7" y="14"/>
                      <a:pt x="11" y="17"/>
                      <a:pt x="15" y="20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4" y="25"/>
                      <a:pt x="17" y="28"/>
                      <a:pt x="19" y="30"/>
                    </a:cubicBezTo>
                    <a:cubicBezTo>
                      <a:pt x="24" y="34"/>
                      <a:pt x="31" y="32"/>
                      <a:pt x="34" y="27"/>
                    </a:cubicBezTo>
                    <a:cubicBezTo>
                      <a:pt x="38" y="22"/>
                      <a:pt x="37" y="12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60" name="ï$ḷîḓê">
              <a:extLst>
                <a:ext uri="{FF2B5EF4-FFF2-40B4-BE49-F238E27FC236}">
                  <a16:creationId xmlns:a16="http://schemas.microsoft.com/office/drawing/2014/main" id="{4958F341-2131-4B4D-B8C4-C77C11CDDD6D}"/>
                </a:ext>
              </a:extLst>
            </p:cNvPr>
            <p:cNvGrpSpPr/>
            <p:nvPr/>
          </p:nvGrpSpPr>
          <p:grpSpPr>
            <a:xfrm>
              <a:off x="5004641" y="1672429"/>
              <a:ext cx="1131841" cy="127811"/>
              <a:chOff x="3754438" y="1285876"/>
              <a:chExt cx="1265237" cy="14287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22" name="i$lïďé">
                <a:extLst>
                  <a:ext uri="{FF2B5EF4-FFF2-40B4-BE49-F238E27FC236}">
                    <a16:creationId xmlns:a16="http://schemas.microsoft.com/office/drawing/2014/main" id="{B5182A03-B454-4DCA-B58F-77FBD270C24A}"/>
                  </a:ext>
                </a:extLst>
              </p:cNvPr>
              <p:cNvSpPr/>
              <p:nvPr/>
            </p:nvSpPr>
            <p:spPr bwMode="auto">
              <a:xfrm>
                <a:off x="3754438" y="1320801"/>
                <a:ext cx="179387" cy="107950"/>
              </a:xfrm>
              <a:custGeom>
                <a:avLst/>
                <a:gdLst>
                  <a:gd name="T0" fmla="*/ 40 w 48"/>
                  <a:gd name="T1" fmla="*/ 11 h 29"/>
                  <a:gd name="T2" fmla="*/ 26 w 48"/>
                  <a:gd name="T3" fmla="*/ 11 h 29"/>
                  <a:gd name="T4" fmla="*/ 10 w 48"/>
                  <a:gd name="T5" fmla="*/ 2 h 29"/>
                  <a:gd name="T6" fmla="*/ 3 w 48"/>
                  <a:gd name="T7" fmla="*/ 20 h 29"/>
                  <a:gd name="T8" fmla="*/ 21 w 48"/>
                  <a:gd name="T9" fmla="*/ 24 h 29"/>
                  <a:gd name="T10" fmla="*/ 23 w 48"/>
                  <a:gd name="T11" fmla="*/ 22 h 29"/>
                  <a:gd name="T12" fmla="*/ 40 w 48"/>
                  <a:gd name="T13" fmla="*/ 23 h 29"/>
                  <a:gd name="T14" fmla="*/ 40 w 48"/>
                  <a:gd name="T15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29">
                    <a:moveTo>
                      <a:pt x="40" y="11"/>
                    </a:moveTo>
                    <a:cubicBezTo>
                      <a:pt x="35" y="10"/>
                      <a:pt x="31" y="10"/>
                      <a:pt x="26" y="11"/>
                    </a:cubicBezTo>
                    <a:cubicBezTo>
                      <a:pt x="25" y="4"/>
                      <a:pt x="17" y="0"/>
                      <a:pt x="10" y="2"/>
                    </a:cubicBezTo>
                    <a:cubicBezTo>
                      <a:pt x="2" y="4"/>
                      <a:pt x="0" y="13"/>
                      <a:pt x="3" y="20"/>
                    </a:cubicBezTo>
                    <a:cubicBezTo>
                      <a:pt x="6" y="27"/>
                      <a:pt x="15" y="29"/>
                      <a:pt x="21" y="24"/>
                    </a:cubicBezTo>
                    <a:cubicBezTo>
                      <a:pt x="22" y="24"/>
                      <a:pt x="22" y="23"/>
                      <a:pt x="23" y="22"/>
                    </a:cubicBezTo>
                    <a:cubicBezTo>
                      <a:pt x="29" y="23"/>
                      <a:pt x="34" y="23"/>
                      <a:pt x="40" y="23"/>
                    </a:cubicBezTo>
                    <a:cubicBezTo>
                      <a:pt x="48" y="22"/>
                      <a:pt x="48" y="12"/>
                      <a:pt x="4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" name="íṡḻîḍé">
                <a:extLst>
                  <a:ext uri="{FF2B5EF4-FFF2-40B4-BE49-F238E27FC236}">
                    <a16:creationId xmlns:a16="http://schemas.microsoft.com/office/drawing/2014/main" id="{AA120F64-7D62-42E7-AA72-DAF445C38D92}"/>
                  </a:ext>
                </a:extLst>
              </p:cNvPr>
              <p:cNvSpPr/>
              <p:nvPr/>
            </p:nvSpPr>
            <p:spPr bwMode="auto">
              <a:xfrm>
                <a:off x="4035425" y="1354138"/>
                <a:ext cx="90487" cy="57150"/>
              </a:xfrm>
              <a:custGeom>
                <a:avLst/>
                <a:gdLst>
                  <a:gd name="T0" fmla="*/ 21 w 24"/>
                  <a:gd name="T1" fmla="*/ 3 h 15"/>
                  <a:gd name="T2" fmla="*/ 4 w 24"/>
                  <a:gd name="T3" fmla="*/ 3 h 15"/>
                  <a:gd name="T4" fmla="*/ 4 w 24"/>
                  <a:gd name="T5" fmla="*/ 12 h 15"/>
                  <a:gd name="T6" fmla="*/ 21 w 24"/>
                  <a:gd name="T7" fmla="*/ 12 h 15"/>
                  <a:gd name="T8" fmla="*/ 21 w 24"/>
                  <a:gd name="T9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5">
                    <a:moveTo>
                      <a:pt x="21" y="3"/>
                    </a:moveTo>
                    <a:cubicBezTo>
                      <a:pt x="16" y="0"/>
                      <a:pt x="10" y="2"/>
                      <a:pt x="4" y="3"/>
                    </a:cubicBezTo>
                    <a:cubicBezTo>
                      <a:pt x="0" y="4"/>
                      <a:pt x="0" y="11"/>
                      <a:pt x="4" y="12"/>
                    </a:cubicBezTo>
                    <a:cubicBezTo>
                      <a:pt x="10" y="13"/>
                      <a:pt x="16" y="15"/>
                      <a:pt x="21" y="12"/>
                    </a:cubicBezTo>
                    <a:cubicBezTo>
                      <a:pt x="24" y="10"/>
                      <a:pt x="24" y="5"/>
                      <a:pt x="2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" name="išľiḍê">
                <a:extLst>
                  <a:ext uri="{FF2B5EF4-FFF2-40B4-BE49-F238E27FC236}">
                    <a16:creationId xmlns:a16="http://schemas.microsoft.com/office/drawing/2014/main" id="{AB633B55-C201-46F8-89C0-F3A3091FE60D}"/>
                  </a:ext>
                </a:extLst>
              </p:cNvPr>
              <p:cNvSpPr/>
              <p:nvPr/>
            </p:nvSpPr>
            <p:spPr bwMode="auto">
              <a:xfrm>
                <a:off x="4222750" y="1362076"/>
                <a:ext cx="79375" cy="41275"/>
              </a:xfrm>
              <a:custGeom>
                <a:avLst/>
                <a:gdLst>
                  <a:gd name="T0" fmla="*/ 17 w 21"/>
                  <a:gd name="T1" fmla="*/ 1 h 11"/>
                  <a:gd name="T2" fmla="*/ 6 w 21"/>
                  <a:gd name="T3" fmla="*/ 1 h 11"/>
                  <a:gd name="T4" fmla="*/ 6 w 21"/>
                  <a:gd name="T5" fmla="*/ 10 h 11"/>
                  <a:gd name="T6" fmla="*/ 17 w 21"/>
                  <a:gd name="T7" fmla="*/ 10 h 11"/>
                  <a:gd name="T8" fmla="*/ 17 w 21"/>
                  <a:gd name="T9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1">
                    <a:moveTo>
                      <a:pt x="17" y="1"/>
                    </a:moveTo>
                    <a:cubicBezTo>
                      <a:pt x="14" y="0"/>
                      <a:pt x="9" y="1"/>
                      <a:pt x="6" y="1"/>
                    </a:cubicBezTo>
                    <a:cubicBezTo>
                      <a:pt x="0" y="1"/>
                      <a:pt x="0" y="10"/>
                      <a:pt x="6" y="10"/>
                    </a:cubicBezTo>
                    <a:cubicBezTo>
                      <a:pt x="9" y="10"/>
                      <a:pt x="14" y="11"/>
                      <a:pt x="17" y="10"/>
                    </a:cubicBezTo>
                    <a:cubicBezTo>
                      <a:pt x="21" y="8"/>
                      <a:pt x="21" y="3"/>
                      <a:pt x="1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" name="iṣ1iḑê">
                <a:extLst>
                  <a:ext uri="{FF2B5EF4-FFF2-40B4-BE49-F238E27FC236}">
                    <a16:creationId xmlns:a16="http://schemas.microsoft.com/office/drawing/2014/main" id="{FB9985DC-1B7C-4D47-9925-B68A29E8A2FF}"/>
                  </a:ext>
                </a:extLst>
              </p:cNvPr>
              <p:cNvSpPr/>
              <p:nvPr/>
            </p:nvSpPr>
            <p:spPr bwMode="auto">
              <a:xfrm>
                <a:off x="4406900" y="1343026"/>
                <a:ext cx="90487" cy="41275"/>
              </a:xfrm>
              <a:custGeom>
                <a:avLst/>
                <a:gdLst>
                  <a:gd name="T0" fmla="*/ 17 w 24"/>
                  <a:gd name="T1" fmla="*/ 0 h 11"/>
                  <a:gd name="T2" fmla="*/ 7 w 24"/>
                  <a:gd name="T3" fmla="*/ 0 h 11"/>
                  <a:gd name="T4" fmla="*/ 7 w 24"/>
                  <a:gd name="T5" fmla="*/ 10 h 11"/>
                  <a:gd name="T6" fmla="*/ 17 w 24"/>
                  <a:gd name="T7" fmla="*/ 10 h 11"/>
                  <a:gd name="T8" fmla="*/ 17 w 24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1">
                    <a:moveTo>
                      <a:pt x="17" y="0"/>
                    </a:moveTo>
                    <a:cubicBezTo>
                      <a:pt x="14" y="0"/>
                      <a:pt x="10" y="0"/>
                      <a:pt x="7" y="0"/>
                    </a:cubicBezTo>
                    <a:cubicBezTo>
                      <a:pt x="0" y="1"/>
                      <a:pt x="0" y="10"/>
                      <a:pt x="7" y="10"/>
                    </a:cubicBezTo>
                    <a:cubicBezTo>
                      <a:pt x="10" y="10"/>
                      <a:pt x="14" y="11"/>
                      <a:pt x="17" y="10"/>
                    </a:cubicBezTo>
                    <a:cubicBezTo>
                      <a:pt x="24" y="10"/>
                      <a:pt x="24" y="0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" name="iSľíḋê">
                <a:extLst>
                  <a:ext uri="{FF2B5EF4-FFF2-40B4-BE49-F238E27FC236}">
                    <a16:creationId xmlns:a16="http://schemas.microsoft.com/office/drawing/2014/main" id="{5D9DC687-B6B4-4717-8A25-2D48D8D21268}"/>
                  </a:ext>
                </a:extLst>
              </p:cNvPr>
              <p:cNvSpPr/>
              <p:nvPr/>
            </p:nvSpPr>
            <p:spPr bwMode="auto">
              <a:xfrm>
                <a:off x="4648200" y="1320801"/>
                <a:ext cx="104775" cy="41275"/>
              </a:xfrm>
              <a:custGeom>
                <a:avLst/>
                <a:gdLst>
                  <a:gd name="T0" fmla="*/ 24 w 28"/>
                  <a:gd name="T1" fmla="*/ 1 h 11"/>
                  <a:gd name="T2" fmla="*/ 7 w 28"/>
                  <a:gd name="T3" fmla="*/ 0 h 11"/>
                  <a:gd name="T4" fmla="*/ 7 w 28"/>
                  <a:gd name="T5" fmla="*/ 11 h 11"/>
                  <a:gd name="T6" fmla="*/ 24 w 28"/>
                  <a:gd name="T7" fmla="*/ 10 h 11"/>
                  <a:gd name="T8" fmla="*/ 24 w 28"/>
                  <a:gd name="T9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1">
                    <a:moveTo>
                      <a:pt x="24" y="1"/>
                    </a:moveTo>
                    <a:cubicBezTo>
                      <a:pt x="18" y="0"/>
                      <a:pt x="13" y="0"/>
                      <a:pt x="7" y="0"/>
                    </a:cubicBezTo>
                    <a:cubicBezTo>
                      <a:pt x="0" y="1"/>
                      <a:pt x="0" y="10"/>
                      <a:pt x="7" y="11"/>
                    </a:cubicBezTo>
                    <a:cubicBezTo>
                      <a:pt x="13" y="11"/>
                      <a:pt x="18" y="11"/>
                      <a:pt x="24" y="10"/>
                    </a:cubicBezTo>
                    <a:cubicBezTo>
                      <a:pt x="28" y="9"/>
                      <a:pt x="28" y="2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" name="iŝḻîḑê">
                <a:extLst>
                  <a:ext uri="{FF2B5EF4-FFF2-40B4-BE49-F238E27FC236}">
                    <a16:creationId xmlns:a16="http://schemas.microsoft.com/office/drawing/2014/main" id="{B75DB5D3-E89B-4135-B406-32A541F7B1C3}"/>
                  </a:ext>
                </a:extLst>
              </p:cNvPr>
              <p:cNvSpPr/>
              <p:nvPr/>
            </p:nvSpPr>
            <p:spPr bwMode="auto">
              <a:xfrm>
                <a:off x="4873625" y="1285876"/>
                <a:ext cx="146050" cy="79375"/>
              </a:xfrm>
              <a:custGeom>
                <a:avLst/>
                <a:gdLst>
                  <a:gd name="T0" fmla="*/ 36 w 39"/>
                  <a:gd name="T1" fmla="*/ 7 h 21"/>
                  <a:gd name="T2" fmla="*/ 25 w 39"/>
                  <a:gd name="T3" fmla="*/ 0 h 21"/>
                  <a:gd name="T4" fmla="*/ 23 w 39"/>
                  <a:gd name="T5" fmla="*/ 0 h 21"/>
                  <a:gd name="T6" fmla="*/ 17 w 39"/>
                  <a:gd name="T7" fmla="*/ 5 h 21"/>
                  <a:gd name="T8" fmla="*/ 5 w 39"/>
                  <a:gd name="T9" fmla="*/ 8 h 21"/>
                  <a:gd name="T10" fmla="*/ 6 w 39"/>
                  <a:gd name="T11" fmla="*/ 16 h 21"/>
                  <a:gd name="T12" fmla="*/ 17 w 39"/>
                  <a:gd name="T13" fmla="*/ 15 h 21"/>
                  <a:gd name="T14" fmla="*/ 17 w 39"/>
                  <a:gd name="T15" fmla="*/ 16 h 21"/>
                  <a:gd name="T16" fmla="*/ 22 w 39"/>
                  <a:gd name="T17" fmla="*/ 19 h 21"/>
                  <a:gd name="T18" fmla="*/ 29 w 39"/>
                  <a:gd name="T19" fmla="*/ 20 h 21"/>
                  <a:gd name="T20" fmla="*/ 36 w 39"/>
                  <a:gd name="T21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" h="21">
                    <a:moveTo>
                      <a:pt x="36" y="7"/>
                    </a:moveTo>
                    <a:cubicBezTo>
                      <a:pt x="35" y="3"/>
                      <a:pt x="30" y="0"/>
                      <a:pt x="25" y="0"/>
                    </a:cubicBezTo>
                    <a:cubicBezTo>
                      <a:pt x="25" y="0"/>
                      <a:pt x="24" y="0"/>
                      <a:pt x="23" y="0"/>
                    </a:cubicBezTo>
                    <a:cubicBezTo>
                      <a:pt x="21" y="1"/>
                      <a:pt x="19" y="3"/>
                      <a:pt x="17" y="5"/>
                    </a:cubicBezTo>
                    <a:cubicBezTo>
                      <a:pt x="13" y="6"/>
                      <a:pt x="9" y="7"/>
                      <a:pt x="5" y="8"/>
                    </a:cubicBezTo>
                    <a:cubicBezTo>
                      <a:pt x="0" y="9"/>
                      <a:pt x="1" y="17"/>
                      <a:pt x="6" y="16"/>
                    </a:cubicBezTo>
                    <a:cubicBezTo>
                      <a:pt x="9" y="16"/>
                      <a:pt x="13" y="16"/>
                      <a:pt x="17" y="15"/>
                    </a:cubicBezTo>
                    <a:cubicBezTo>
                      <a:pt x="17" y="15"/>
                      <a:pt x="17" y="16"/>
                      <a:pt x="17" y="16"/>
                    </a:cubicBezTo>
                    <a:cubicBezTo>
                      <a:pt x="18" y="18"/>
                      <a:pt x="20" y="19"/>
                      <a:pt x="22" y="19"/>
                    </a:cubicBezTo>
                    <a:cubicBezTo>
                      <a:pt x="24" y="21"/>
                      <a:pt x="27" y="21"/>
                      <a:pt x="29" y="20"/>
                    </a:cubicBezTo>
                    <a:cubicBezTo>
                      <a:pt x="35" y="19"/>
                      <a:pt x="39" y="12"/>
                      <a:pt x="3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61" name="i$ļïdè">
              <a:extLst>
                <a:ext uri="{FF2B5EF4-FFF2-40B4-BE49-F238E27FC236}">
                  <a16:creationId xmlns:a16="http://schemas.microsoft.com/office/drawing/2014/main" id="{A9E21182-3928-418A-B0EC-3209C5AE39EB}"/>
                </a:ext>
              </a:extLst>
            </p:cNvPr>
            <p:cNvGrpSpPr/>
            <p:nvPr/>
          </p:nvGrpSpPr>
          <p:grpSpPr>
            <a:xfrm>
              <a:off x="8610329" y="2714798"/>
              <a:ext cx="460120" cy="1022488"/>
              <a:chOff x="7785100" y="2451101"/>
              <a:chExt cx="514350" cy="1143000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15" name="íšľîďè">
                <a:extLst>
                  <a:ext uri="{FF2B5EF4-FFF2-40B4-BE49-F238E27FC236}">
                    <a16:creationId xmlns:a16="http://schemas.microsoft.com/office/drawing/2014/main" id="{5035C4F2-FEE3-4F38-B5E8-C6E4642C5D40}"/>
                  </a:ext>
                </a:extLst>
              </p:cNvPr>
              <p:cNvSpPr/>
              <p:nvPr/>
            </p:nvSpPr>
            <p:spPr bwMode="auto">
              <a:xfrm>
                <a:off x="7785100" y="2451101"/>
                <a:ext cx="239712" cy="180975"/>
              </a:xfrm>
              <a:custGeom>
                <a:avLst/>
                <a:gdLst>
                  <a:gd name="T0" fmla="*/ 5 w 64"/>
                  <a:gd name="T1" fmla="*/ 20 h 48"/>
                  <a:gd name="T2" fmla="*/ 39 w 64"/>
                  <a:gd name="T3" fmla="*/ 26 h 48"/>
                  <a:gd name="T4" fmla="*/ 54 w 64"/>
                  <a:gd name="T5" fmla="*/ 30 h 48"/>
                  <a:gd name="T6" fmla="*/ 50 w 64"/>
                  <a:gd name="T7" fmla="*/ 44 h 48"/>
                  <a:gd name="T8" fmla="*/ 33 w 64"/>
                  <a:gd name="T9" fmla="*/ 39 h 48"/>
                  <a:gd name="T10" fmla="*/ 5 w 64"/>
                  <a:gd name="T11" fmla="*/ 2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48">
                    <a:moveTo>
                      <a:pt x="5" y="20"/>
                    </a:moveTo>
                    <a:cubicBezTo>
                      <a:pt x="11" y="0"/>
                      <a:pt x="40" y="7"/>
                      <a:pt x="39" y="26"/>
                    </a:cubicBezTo>
                    <a:cubicBezTo>
                      <a:pt x="44" y="26"/>
                      <a:pt x="49" y="28"/>
                      <a:pt x="54" y="30"/>
                    </a:cubicBezTo>
                    <a:cubicBezTo>
                      <a:pt x="64" y="33"/>
                      <a:pt x="60" y="47"/>
                      <a:pt x="50" y="44"/>
                    </a:cubicBezTo>
                    <a:cubicBezTo>
                      <a:pt x="44" y="43"/>
                      <a:pt x="38" y="41"/>
                      <a:pt x="33" y="39"/>
                    </a:cubicBezTo>
                    <a:cubicBezTo>
                      <a:pt x="22" y="48"/>
                      <a:pt x="0" y="38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" name="ïṡlïḑe">
                <a:extLst>
                  <a:ext uri="{FF2B5EF4-FFF2-40B4-BE49-F238E27FC236}">
                    <a16:creationId xmlns:a16="http://schemas.microsoft.com/office/drawing/2014/main" id="{73DB55D1-25DA-43F2-B976-BDCBEFC8FB90}"/>
                  </a:ext>
                </a:extLst>
              </p:cNvPr>
              <p:cNvSpPr/>
              <p:nvPr/>
            </p:nvSpPr>
            <p:spPr bwMode="auto">
              <a:xfrm>
                <a:off x="8077200" y="2590801"/>
                <a:ext cx="104775" cy="93663"/>
              </a:xfrm>
              <a:custGeom>
                <a:avLst/>
                <a:gdLst>
                  <a:gd name="T0" fmla="*/ 3 w 28"/>
                  <a:gd name="T1" fmla="*/ 12 h 25"/>
                  <a:gd name="T2" fmla="*/ 13 w 28"/>
                  <a:gd name="T3" fmla="*/ 5 h 25"/>
                  <a:gd name="T4" fmla="*/ 23 w 28"/>
                  <a:gd name="T5" fmla="*/ 10 h 25"/>
                  <a:gd name="T6" fmla="*/ 28 w 28"/>
                  <a:gd name="T7" fmla="*/ 17 h 25"/>
                  <a:gd name="T8" fmla="*/ 21 w 28"/>
                  <a:gd name="T9" fmla="*/ 24 h 25"/>
                  <a:gd name="T10" fmla="*/ 3 w 28"/>
                  <a:gd name="T11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25">
                    <a:moveTo>
                      <a:pt x="3" y="12"/>
                    </a:moveTo>
                    <a:cubicBezTo>
                      <a:pt x="0" y="6"/>
                      <a:pt x="8" y="0"/>
                      <a:pt x="13" y="5"/>
                    </a:cubicBezTo>
                    <a:cubicBezTo>
                      <a:pt x="16" y="8"/>
                      <a:pt x="19" y="9"/>
                      <a:pt x="23" y="10"/>
                    </a:cubicBezTo>
                    <a:cubicBezTo>
                      <a:pt x="26" y="11"/>
                      <a:pt x="28" y="14"/>
                      <a:pt x="28" y="17"/>
                    </a:cubicBezTo>
                    <a:cubicBezTo>
                      <a:pt x="28" y="21"/>
                      <a:pt x="25" y="23"/>
                      <a:pt x="21" y="24"/>
                    </a:cubicBezTo>
                    <a:cubicBezTo>
                      <a:pt x="14" y="25"/>
                      <a:pt x="6" y="19"/>
                      <a:pt x="3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" name="íṧlíḍe">
                <a:extLst>
                  <a:ext uri="{FF2B5EF4-FFF2-40B4-BE49-F238E27FC236}">
                    <a16:creationId xmlns:a16="http://schemas.microsoft.com/office/drawing/2014/main" id="{2189E702-11FE-4C26-943D-5F0CADF40A9F}"/>
                  </a:ext>
                </a:extLst>
              </p:cNvPr>
              <p:cNvSpPr/>
              <p:nvPr/>
            </p:nvSpPr>
            <p:spPr bwMode="auto">
              <a:xfrm>
                <a:off x="8208963" y="2673351"/>
                <a:ext cx="90487" cy="104775"/>
              </a:xfrm>
              <a:custGeom>
                <a:avLst/>
                <a:gdLst>
                  <a:gd name="T0" fmla="*/ 7 w 24"/>
                  <a:gd name="T1" fmla="*/ 23 h 28"/>
                  <a:gd name="T2" fmla="*/ 2 w 24"/>
                  <a:gd name="T3" fmla="*/ 12 h 28"/>
                  <a:gd name="T4" fmla="*/ 14 w 24"/>
                  <a:gd name="T5" fmla="*/ 5 h 28"/>
                  <a:gd name="T6" fmla="*/ 22 w 24"/>
                  <a:gd name="T7" fmla="*/ 15 h 28"/>
                  <a:gd name="T8" fmla="*/ 18 w 24"/>
                  <a:gd name="T9" fmla="*/ 26 h 28"/>
                  <a:gd name="T10" fmla="*/ 7 w 24"/>
                  <a:gd name="T11" fmla="*/ 2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8">
                    <a:moveTo>
                      <a:pt x="7" y="23"/>
                    </a:moveTo>
                    <a:cubicBezTo>
                      <a:pt x="5" y="19"/>
                      <a:pt x="4" y="16"/>
                      <a:pt x="2" y="12"/>
                    </a:cubicBezTo>
                    <a:cubicBezTo>
                      <a:pt x="0" y="5"/>
                      <a:pt x="10" y="0"/>
                      <a:pt x="14" y="5"/>
                    </a:cubicBezTo>
                    <a:cubicBezTo>
                      <a:pt x="17" y="8"/>
                      <a:pt x="20" y="11"/>
                      <a:pt x="22" y="15"/>
                    </a:cubicBezTo>
                    <a:cubicBezTo>
                      <a:pt x="24" y="19"/>
                      <a:pt x="22" y="24"/>
                      <a:pt x="18" y="26"/>
                    </a:cubicBezTo>
                    <a:cubicBezTo>
                      <a:pt x="14" y="28"/>
                      <a:pt x="10" y="27"/>
                      <a:pt x="7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" name="íşļíďê">
                <a:extLst>
                  <a:ext uri="{FF2B5EF4-FFF2-40B4-BE49-F238E27FC236}">
                    <a16:creationId xmlns:a16="http://schemas.microsoft.com/office/drawing/2014/main" id="{054CF80E-0362-437D-AC75-AD4096EEA5DC}"/>
                  </a:ext>
                </a:extLst>
              </p:cNvPr>
              <p:cNvSpPr/>
              <p:nvPr/>
            </p:nvSpPr>
            <p:spPr bwMode="auto">
              <a:xfrm>
                <a:off x="8220075" y="2852738"/>
                <a:ext cx="71437" cy="139700"/>
              </a:xfrm>
              <a:custGeom>
                <a:avLst/>
                <a:gdLst>
                  <a:gd name="T0" fmla="*/ 1 w 19"/>
                  <a:gd name="T1" fmla="*/ 31 h 37"/>
                  <a:gd name="T2" fmla="*/ 2 w 19"/>
                  <a:gd name="T3" fmla="*/ 18 h 37"/>
                  <a:gd name="T4" fmla="*/ 5 w 19"/>
                  <a:gd name="T5" fmla="*/ 7 h 37"/>
                  <a:gd name="T6" fmla="*/ 17 w 19"/>
                  <a:gd name="T7" fmla="*/ 9 h 37"/>
                  <a:gd name="T8" fmla="*/ 16 w 19"/>
                  <a:gd name="T9" fmla="*/ 31 h 37"/>
                  <a:gd name="T10" fmla="*/ 8 w 19"/>
                  <a:gd name="T11" fmla="*/ 37 h 37"/>
                  <a:gd name="T12" fmla="*/ 1 w 19"/>
                  <a:gd name="T13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7">
                    <a:moveTo>
                      <a:pt x="1" y="31"/>
                    </a:moveTo>
                    <a:cubicBezTo>
                      <a:pt x="0" y="26"/>
                      <a:pt x="1" y="22"/>
                      <a:pt x="2" y="18"/>
                    </a:cubicBezTo>
                    <a:cubicBezTo>
                      <a:pt x="2" y="14"/>
                      <a:pt x="4" y="11"/>
                      <a:pt x="5" y="7"/>
                    </a:cubicBezTo>
                    <a:cubicBezTo>
                      <a:pt x="7" y="0"/>
                      <a:pt x="17" y="2"/>
                      <a:pt x="17" y="9"/>
                    </a:cubicBezTo>
                    <a:cubicBezTo>
                      <a:pt x="17" y="16"/>
                      <a:pt x="19" y="24"/>
                      <a:pt x="16" y="31"/>
                    </a:cubicBezTo>
                    <a:cubicBezTo>
                      <a:pt x="15" y="34"/>
                      <a:pt x="12" y="37"/>
                      <a:pt x="8" y="37"/>
                    </a:cubicBezTo>
                    <a:cubicBezTo>
                      <a:pt x="5" y="36"/>
                      <a:pt x="1" y="34"/>
                      <a:pt x="1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" name="íş1iḍé">
                <a:extLst>
                  <a:ext uri="{FF2B5EF4-FFF2-40B4-BE49-F238E27FC236}">
                    <a16:creationId xmlns:a16="http://schemas.microsoft.com/office/drawing/2014/main" id="{E9CA3C40-CF26-4582-B9CE-D487724813C5}"/>
                  </a:ext>
                </a:extLst>
              </p:cNvPr>
              <p:cNvSpPr/>
              <p:nvPr/>
            </p:nvSpPr>
            <p:spPr bwMode="auto">
              <a:xfrm>
                <a:off x="8186738" y="3052763"/>
                <a:ext cx="63500" cy="90488"/>
              </a:xfrm>
              <a:custGeom>
                <a:avLst/>
                <a:gdLst>
                  <a:gd name="T0" fmla="*/ 1 w 17"/>
                  <a:gd name="T1" fmla="*/ 14 h 24"/>
                  <a:gd name="T2" fmla="*/ 3 w 17"/>
                  <a:gd name="T3" fmla="*/ 8 h 24"/>
                  <a:gd name="T4" fmla="*/ 5 w 17"/>
                  <a:gd name="T5" fmla="*/ 6 h 24"/>
                  <a:gd name="T6" fmla="*/ 6 w 17"/>
                  <a:gd name="T7" fmla="*/ 5 h 24"/>
                  <a:gd name="T8" fmla="*/ 6 w 17"/>
                  <a:gd name="T9" fmla="*/ 5 h 24"/>
                  <a:gd name="T10" fmla="*/ 16 w 17"/>
                  <a:gd name="T11" fmla="*/ 8 h 24"/>
                  <a:gd name="T12" fmla="*/ 16 w 17"/>
                  <a:gd name="T13" fmla="*/ 8 h 24"/>
                  <a:gd name="T14" fmla="*/ 17 w 17"/>
                  <a:gd name="T15" fmla="*/ 12 h 24"/>
                  <a:gd name="T16" fmla="*/ 16 w 17"/>
                  <a:gd name="T17" fmla="*/ 18 h 24"/>
                  <a:gd name="T18" fmla="*/ 7 w 17"/>
                  <a:gd name="T19" fmla="*/ 23 h 24"/>
                  <a:gd name="T20" fmla="*/ 1 w 17"/>
                  <a:gd name="T2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24">
                    <a:moveTo>
                      <a:pt x="1" y="14"/>
                    </a:moveTo>
                    <a:cubicBezTo>
                      <a:pt x="2" y="12"/>
                      <a:pt x="2" y="10"/>
                      <a:pt x="3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5" y="5"/>
                      <a:pt x="6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9" y="0"/>
                      <a:pt x="17" y="2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9"/>
                      <a:pt x="17" y="11"/>
                      <a:pt x="17" y="12"/>
                    </a:cubicBezTo>
                    <a:cubicBezTo>
                      <a:pt x="17" y="14"/>
                      <a:pt x="17" y="16"/>
                      <a:pt x="16" y="18"/>
                    </a:cubicBezTo>
                    <a:cubicBezTo>
                      <a:pt x="15" y="22"/>
                      <a:pt x="11" y="24"/>
                      <a:pt x="7" y="23"/>
                    </a:cubicBezTo>
                    <a:cubicBezTo>
                      <a:pt x="2" y="22"/>
                      <a:pt x="0" y="18"/>
                      <a:pt x="1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" name="îṥlîḓé">
                <a:extLst>
                  <a:ext uri="{FF2B5EF4-FFF2-40B4-BE49-F238E27FC236}">
                    <a16:creationId xmlns:a16="http://schemas.microsoft.com/office/drawing/2014/main" id="{643CF9B5-9C5C-4442-9E91-7B3142F18E29}"/>
                  </a:ext>
                </a:extLst>
              </p:cNvPr>
              <p:cNvSpPr/>
              <p:nvPr/>
            </p:nvSpPr>
            <p:spPr bwMode="auto">
              <a:xfrm>
                <a:off x="8148638" y="3221038"/>
                <a:ext cx="79375" cy="125413"/>
              </a:xfrm>
              <a:custGeom>
                <a:avLst/>
                <a:gdLst>
                  <a:gd name="T0" fmla="*/ 2 w 21"/>
                  <a:gd name="T1" fmla="*/ 26 h 33"/>
                  <a:gd name="T2" fmla="*/ 9 w 21"/>
                  <a:gd name="T3" fmla="*/ 5 h 33"/>
                  <a:gd name="T4" fmla="*/ 21 w 21"/>
                  <a:gd name="T5" fmla="*/ 9 h 33"/>
                  <a:gd name="T6" fmla="*/ 15 w 21"/>
                  <a:gd name="T7" fmla="*/ 29 h 33"/>
                  <a:gd name="T8" fmla="*/ 2 w 21"/>
                  <a:gd name="T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33">
                    <a:moveTo>
                      <a:pt x="2" y="26"/>
                    </a:moveTo>
                    <a:cubicBezTo>
                      <a:pt x="0" y="18"/>
                      <a:pt x="6" y="12"/>
                      <a:pt x="9" y="5"/>
                    </a:cubicBezTo>
                    <a:cubicBezTo>
                      <a:pt x="11" y="0"/>
                      <a:pt x="21" y="2"/>
                      <a:pt x="21" y="9"/>
                    </a:cubicBezTo>
                    <a:cubicBezTo>
                      <a:pt x="20" y="16"/>
                      <a:pt x="21" y="24"/>
                      <a:pt x="15" y="29"/>
                    </a:cubicBezTo>
                    <a:cubicBezTo>
                      <a:pt x="11" y="33"/>
                      <a:pt x="4" y="31"/>
                      <a:pt x="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" name="íṣḷîḋè">
                <a:extLst>
                  <a:ext uri="{FF2B5EF4-FFF2-40B4-BE49-F238E27FC236}">
                    <a16:creationId xmlns:a16="http://schemas.microsoft.com/office/drawing/2014/main" id="{219D9872-C815-4911-BE06-97CEA41177FD}"/>
                  </a:ext>
                </a:extLst>
              </p:cNvPr>
              <p:cNvSpPr/>
              <p:nvPr/>
            </p:nvSpPr>
            <p:spPr bwMode="auto">
              <a:xfrm>
                <a:off x="8043863" y="3394076"/>
                <a:ext cx="161925" cy="200025"/>
              </a:xfrm>
              <a:custGeom>
                <a:avLst/>
                <a:gdLst>
                  <a:gd name="T0" fmla="*/ 3 w 43"/>
                  <a:gd name="T1" fmla="*/ 25 h 53"/>
                  <a:gd name="T2" fmla="*/ 21 w 43"/>
                  <a:gd name="T3" fmla="*/ 11 h 53"/>
                  <a:gd name="T4" fmla="*/ 22 w 43"/>
                  <a:gd name="T5" fmla="*/ 10 h 53"/>
                  <a:gd name="T6" fmla="*/ 25 w 43"/>
                  <a:gd name="T7" fmla="*/ 5 h 53"/>
                  <a:gd name="T8" fmla="*/ 26 w 43"/>
                  <a:gd name="T9" fmla="*/ 4 h 53"/>
                  <a:gd name="T10" fmla="*/ 34 w 43"/>
                  <a:gd name="T11" fmla="*/ 7 h 53"/>
                  <a:gd name="T12" fmla="*/ 34 w 43"/>
                  <a:gd name="T13" fmla="*/ 8 h 53"/>
                  <a:gd name="T14" fmla="*/ 35 w 43"/>
                  <a:gd name="T15" fmla="*/ 12 h 53"/>
                  <a:gd name="T16" fmla="*/ 34 w 43"/>
                  <a:gd name="T17" fmla="*/ 13 h 53"/>
                  <a:gd name="T18" fmla="*/ 35 w 43"/>
                  <a:gd name="T19" fmla="*/ 16 h 53"/>
                  <a:gd name="T20" fmla="*/ 41 w 43"/>
                  <a:gd name="T21" fmla="*/ 36 h 53"/>
                  <a:gd name="T22" fmla="*/ 16 w 43"/>
                  <a:gd name="T23" fmla="*/ 50 h 53"/>
                  <a:gd name="T24" fmla="*/ 3 w 43"/>
                  <a:gd name="T25" fmla="*/ 2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" h="53">
                    <a:moveTo>
                      <a:pt x="3" y="25"/>
                    </a:moveTo>
                    <a:cubicBezTo>
                      <a:pt x="5" y="17"/>
                      <a:pt x="13" y="12"/>
                      <a:pt x="21" y="11"/>
                    </a:cubicBezTo>
                    <a:cubicBezTo>
                      <a:pt x="22" y="11"/>
                      <a:pt x="22" y="10"/>
                      <a:pt x="22" y="10"/>
                    </a:cubicBezTo>
                    <a:cubicBezTo>
                      <a:pt x="23" y="8"/>
                      <a:pt x="24" y="6"/>
                      <a:pt x="25" y="5"/>
                    </a:cubicBezTo>
                    <a:cubicBezTo>
                      <a:pt x="25" y="5"/>
                      <a:pt x="26" y="5"/>
                      <a:pt x="26" y="4"/>
                    </a:cubicBezTo>
                    <a:cubicBezTo>
                      <a:pt x="28" y="0"/>
                      <a:pt x="35" y="2"/>
                      <a:pt x="34" y="7"/>
                    </a:cubicBezTo>
                    <a:cubicBezTo>
                      <a:pt x="34" y="7"/>
                      <a:pt x="34" y="7"/>
                      <a:pt x="34" y="8"/>
                    </a:cubicBezTo>
                    <a:cubicBezTo>
                      <a:pt x="34" y="9"/>
                      <a:pt x="34" y="11"/>
                      <a:pt x="35" y="12"/>
                    </a:cubicBezTo>
                    <a:cubicBezTo>
                      <a:pt x="35" y="13"/>
                      <a:pt x="35" y="13"/>
                      <a:pt x="34" y="13"/>
                    </a:cubicBezTo>
                    <a:cubicBezTo>
                      <a:pt x="34" y="14"/>
                      <a:pt x="34" y="15"/>
                      <a:pt x="35" y="16"/>
                    </a:cubicBezTo>
                    <a:cubicBezTo>
                      <a:pt x="40" y="21"/>
                      <a:pt x="43" y="29"/>
                      <a:pt x="41" y="36"/>
                    </a:cubicBezTo>
                    <a:cubicBezTo>
                      <a:pt x="38" y="47"/>
                      <a:pt x="27" y="53"/>
                      <a:pt x="16" y="50"/>
                    </a:cubicBezTo>
                    <a:cubicBezTo>
                      <a:pt x="6" y="47"/>
                      <a:pt x="0" y="36"/>
                      <a:pt x="3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62" name="ís1ïḓè">
              <a:extLst>
                <a:ext uri="{FF2B5EF4-FFF2-40B4-BE49-F238E27FC236}">
                  <a16:creationId xmlns:a16="http://schemas.microsoft.com/office/drawing/2014/main" id="{16A438CA-EB28-4454-AD0B-7A717F902F15}"/>
                </a:ext>
              </a:extLst>
            </p:cNvPr>
            <p:cNvGrpSpPr/>
            <p:nvPr/>
          </p:nvGrpSpPr>
          <p:grpSpPr>
            <a:xfrm>
              <a:off x="3794692" y="3673381"/>
              <a:ext cx="1256812" cy="1072193"/>
              <a:chOff x="2401888" y="3522663"/>
              <a:chExt cx="1404937" cy="1198563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03" name="îśļídè">
                <a:extLst>
                  <a:ext uri="{FF2B5EF4-FFF2-40B4-BE49-F238E27FC236}">
                    <a16:creationId xmlns:a16="http://schemas.microsoft.com/office/drawing/2014/main" id="{6BDD3B90-F08C-473B-818D-1CF918AB5462}"/>
                  </a:ext>
                </a:extLst>
              </p:cNvPr>
              <p:cNvSpPr/>
              <p:nvPr/>
            </p:nvSpPr>
            <p:spPr bwMode="auto">
              <a:xfrm>
                <a:off x="2401888" y="3522663"/>
                <a:ext cx="142875" cy="209550"/>
              </a:xfrm>
              <a:custGeom>
                <a:avLst/>
                <a:gdLst>
                  <a:gd name="T0" fmla="*/ 21 w 38"/>
                  <a:gd name="T1" fmla="*/ 1 h 56"/>
                  <a:gd name="T2" fmla="*/ 17 w 38"/>
                  <a:gd name="T3" fmla="*/ 33 h 56"/>
                  <a:gd name="T4" fmla="*/ 17 w 38"/>
                  <a:gd name="T5" fmla="*/ 37 h 56"/>
                  <a:gd name="T6" fmla="*/ 16 w 38"/>
                  <a:gd name="T7" fmla="*/ 52 h 56"/>
                  <a:gd name="T8" fmla="*/ 23 w 38"/>
                  <a:gd name="T9" fmla="*/ 52 h 56"/>
                  <a:gd name="T10" fmla="*/ 25 w 38"/>
                  <a:gd name="T11" fmla="*/ 40 h 56"/>
                  <a:gd name="T12" fmla="*/ 25 w 38"/>
                  <a:gd name="T13" fmla="*/ 33 h 56"/>
                  <a:gd name="T14" fmla="*/ 21 w 38"/>
                  <a:gd name="T15" fmla="*/ 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56">
                    <a:moveTo>
                      <a:pt x="21" y="1"/>
                    </a:moveTo>
                    <a:cubicBezTo>
                      <a:pt x="3" y="0"/>
                      <a:pt x="0" y="30"/>
                      <a:pt x="17" y="33"/>
                    </a:cubicBezTo>
                    <a:cubicBezTo>
                      <a:pt x="17" y="34"/>
                      <a:pt x="17" y="36"/>
                      <a:pt x="17" y="37"/>
                    </a:cubicBezTo>
                    <a:cubicBezTo>
                      <a:pt x="16" y="42"/>
                      <a:pt x="15" y="47"/>
                      <a:pt x="16" y="52"/>
                    </a:cubicBezTo>
                    <a:cubicBezTo>
                      <a:pt x="17" y="56"/>
                      <a:pt x="21" y="56"/>
                      <a:pt x="23" y="52"/>
                    </a:cubicBezTo>
                    <a:cubicBezTo>
                      <a:pt x="25" y="48"/>
                      <a:pt x="24" y="44"/>
                      <a:pt x="25" y="40"/>
                    </a:cubicBezTo>
                    <a:cubicBezTo>
                      <a:pt x="25" y="37"/>
                      <a:pt x="25" y="35"/>
                      <a:pt x="25" y="33"/>
                    </a:cubicBezTo>
                    <a:cubicBezTo>
                      <a:pt x="38" y="27"/>
                      <a:pt x="38" y="2"/>
                      <a:pt x="2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îṣľïḍé">
                <a:extLst>
                  <a:ext uri="{FF2B5EF4-FFF2-40B4-BE49-F238E27FC236}">
                    <a16:creationId xmlns:a16="http://schemas.microsoft.com/office/drawing/2014/main" id="{1B0DB735-97FE-444F-AD2A-8B8FC4DD311B}"/>
                  </a:ext>
                </a:extLst>
              </p:cNvPr>
              <p:cNvSpPr/>
              <p:nvPr/>
            </p:nvSpPr>
            <p:spPr bwMode="auto">
              <a:xfrm>
                <a:off x="2462213" y="3773488"/>
                <a:ext cx="44450" cy="142875"/>
              </a:xfrm>
              <a:custGeom>
                <a:avLst/>
                <a:gdLst>
                  <a:gd name="T0" fmla="*/ 7 w 12"/>
                  <a:gd name="T1" fmla="*/ 4 h 38"/>
                  <a:gd name="T2" fmla="*/ 0 w 12"/>
                  <a:gd name="T3" fmla="*/ 7 h 38"/>
                  <a:gd name="T4" fmla="*/ 1 w 12"/>
                  <a:gd name="T5" fmla="*/ 20 h 38"/>
                  <a:gd name="T6" fmla="*/ 0 w 12"/>
                  <a:gd name="T7" fmla="*/ 32 h 38"/>
                  <a:gd name="T8" fmla="*/ 9 w 12"/>
                  <a:gd name="T9" fmla="*/ 33 h 38"/>
                  <a:gd name="T10" fmla="*/ 7 w 12"/>
                  <a:gd name="T11" fmla="*/ 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38">
                    <a:moveTo>
                      <a:pt x="7" y="4"/>
                    </a:moveTo>
                    <a:cubicBezTo>
                      <a:pt x="5" y="0"/>
                      <a:pt x="0" y="3"/>
                      <a:pt x="0" y="7"/>
                    </a:cubicBezTo>
                    <a:cubicBezTo>
                      <a:pt x="0" y="12"/>
                      <a:pt x="1" y="16"/>
                      <a:pt x="1" y="20"/>
                    </a:cubicBezTo>
                    <a:cubicBezTo>
                      <a:pt x="1" y="24"/>
                      <a:pt x="0" y="28"/>
                      <a:pt x="0" y="32"/>
                    </a:cubicBezTo>
                    <a:cubicBezTo>
                      <a:pt x="0" y="38"/>
                      <a:pt x="7" y="37"/>
                      <a:pt x="9" y="33"/>
                    </a:cubicBezTo>
                    <a:cubicBezTo>
                      <a:pt x="12" y="25"/>
                      <a:pt x="11" y="12"/>
                      <a:pt x="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iṧḻîḋê">
                <a:extLst>
                  <a:ext uri="{FF2B5EF4-FFF2-40B4-BE49-F238E27FC236}">
                    <a16:creationId xmlns:a16="http://schemas.microsoft.com/office/drawing/2014/main" id="{1961811F-9B94-489C-8BD5-F2884BA5CDB3}"/>
                  </a:ext>
                </a:extLst>
              </p:cNvPr>
              <p:cNvSpPr/>
              <p:nvPr/>
            </p:nvSpPr>
            <p:spPr bwMode="auto">
              <a:xfrm>
                <a:off x="2473325" y="3976688"/>
                <a:ext cx="41275" cy="112713"/>
              </a:xfrm>
              <a:custGeom>
                <a:avLst/>
                <a:gdLst>
                  <a:gd name="T0" fmla="*/ 8 w 11"/>
                  <a:gd name="T1" fmla="*/ 5 h 30"/>
                  <a:gd name="T2" fmla="*/ 0 w 11"/>
                  <a:gd name="T3" fmla="*/ 5 h 30"/>
                  <a:gd name="T4" fmla="*/ 0 w 11"/>
                  <a:gd name="T5" fmla="*/ 16 h 30"/>
                  <a:gd name="T6" fmla="*/ 1 w 11"/>
                  <a:gd name="T7" fmla="*/ 26 h 30"/>
                  <a:gd name="T8" fmla="*/ 9 w 11"/>
                  <a:gd name="T9" fmla="*/ 25 h 30"/>
                  <a:gd name="T10" fmla="*/ 8 w 11"/>
                  <a:gd name="T11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30">
                    <a:moveTo>
                      <a:pt x="8" y="5"/>
                    </a:moveTo>
                    <a:cubicBezTo>
                      <a:pt x="7" y="0"/>
                      <a:pt x="0" y="0"/>
                      <a:pt x="0" y="5"/>
                    </a:cubicBezTo>
                    <a:cubicBezTo>
                      <a:pt x="0" y="9"/>
                      <a:pt x="0" y="12"/>
                      <a:pt x="0" y="16"/>
                    </a:cubicBezTo>
                    <a:cubicBezTo>
                      <a:pt x="0" y="19"/>
                      <a:pt x="0" y="23"/>
                      <a:pt x="1" y="26"/>
                    </a:cubicBezTo>
                    <a:cubicBezTo>
                      <a:pt x="3" y="29"/>
                      <a:pt x="8" y="30"/>
                      <a:pt x="9" y="25"/>
                    </a:cubicBezTo>
                    <a:cubicBezTo>
                      <a:pt x="11" y="19"/>
                      <a:pt x="9" y="11"/>
                      <a:pt x="8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íṧḻîde">
                <a:extLst>
                  <a:ext uri="{FF2B5EF4-FFF2-40B4-BE49-F238E27FC236}">
                    <a16:creationId xmlns:a16="http://schemas.microsoft.com/office/drawing/2014/main" id="{2123404F-8B23-4F05-AF8E-57ED417D4DF3}"/>
                  </a:ext>
                </a:extLst>
              </p:cNvPr>
              <p:cNvSpPr/>
              <p:nvPr/>
            </p:nvSpPr>
            <p:spPr bwMode="auto">
              <a:xfrm>
                <a:off x="2484438" y="4146551"/>
                <a:ext cx="49212" cy="127000"/>
              </a:xfrm>
              <a:custGeom>
                <a:avLst/>
                <a:gdLst>
                  <a:gd name="T0" fmla="*/ 12 w 13"/>
                  <a:gd name="T1" fmla="*/ 26 h 34"/>
                  <a:gd name="T2" fmla="*/ 8 w 13"/>
                  <a:gd name="T3" fmla="*/ 4 h 34"/>
                  <a:gd name="T4" fmla="*/ 0 w 13"/>
                  <a:gd name="T5" fmla="*/ 6 h 34"/>
                  <a:gd name="T6" fmla="*/ 3 w 13"/>
                  <a:gd name="T7" fmla="*/ 28 h 34"/>
                  <a:gd name="T8" fmla="*/ 12 w 13"/>
                  <a:gd name="T9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34">
                    <a:moveTo>
                      <a:pt x="12" y="26"/>
                    </a:moveTo>
                    <a:cubicBezTo>
                      <a:pt x="12" y="18"/>
                      <a:pt x="10" y="11"/>
                      <a:pt x="8" y="4"/>
                    </a:cubicBezTo>
                    <a:cubicBezTo>
                      <a:pt x="6" y="0"/>
                      <a:pt x="0" y="1"/>
                      <a:pt x="0" y="6"/>
                    </a:cubicBezTo>
                    <a:cubicBezTo>
                      <a:pt x="0" y="13"/>
                      <a:pt x="1" y="21"/>
                      <a:pt x="3" y="28"/>
                    </a:cubicBezTo>
                    <a:cubicBezTo>
                      <a:pt x="4" y="34"/>
                      <a:pt x="13" y="33"/>
                      <a:pt x="1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ïṧ1îdê">
                <a:extLst>
                  <a:ext uri="{FF2B5EF4-FFF2-40B4-BE49-F238E27FC236}">
                    <a16:creationId xmlns:a16="http://schemas.microsoft.com/office/drawing/2014/main" id="{5D5B5067-A735-453F-A3F7-20B5FFBC5EDD}"/>
                  </a:ext>
                </a:extLst>
              </p:cNvPr>
              <p:cNvSpPr/>
              <p:nvPr/>
            </p:nvSpPr>
            <p:spPr bwMode="auto">
              <a:xfrm>
                <a:off x="2522538" y="4303713"/>
                <a:ext cx="85725" cy="112713"/>
              </a:xfrm>
              <a:custGeom>
                <a:avLst/>
                <a:gdLst>
                  <a:gd name="T0" fmla="*/ 18 w 23"/>
                  <a:gd name="T1" fmla="*/ 17 h 30"/>
                  <a:gd name="T2" fmla="*/ 8 w 23"/>
                  <a:gd name="T3" fmla="*/ 4 h 30"/>
                  <a:gd name="T4" fmla="*/ 0 w 23"/>
                  <a:gd name="T5" fmla="*/ 7 h 30"/>
                  <a:gd name="T6" fmla="*/ 12 w 23"/>
                  <a:gd name="T7" fmla="*/ 26 h 30"/>
                  <a:gd name="T8" fmla="*/ 18 w 23"/>
                  <a:gd name="T9" fmla="*/ 1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0">
                    <a:moveTo>
                      <a:pt x="18" y="17"/>
                    </a:moveTo>
                    <a:cubicBezTo>
                      <a:pt x="14" y="14"/>
                      <a:pt x="10" y="9"/>
                      <a:pt x="8" y="4"/>
                    </a:cubicBezTo>
                    <a:cubicBezTo>
                      <a:pt x="6" y="0"/>
                      <a:pt x="0" y="2"/>
                      <a:pt x="0" y="7"/>
                    </a:cubicBezTo>
                    <a:cubicBezTo>
                      <a:pt x="2" y="15"/>
                      <a:pt x="6" y="22"/>
                      <a:pt x="12" y="26"/>
                    </a:cubicBezTo>
                    <a:cubicBezTo>
                      <a:pt x="17" y="30"/>
                      <a:pt x="23" y="21"/>
                      <a:pt x="1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íṣḷíďé">
                <a:extLst>
                  <a:ext uri="{FF2B5EF4-FFF2-40B4-BE49-F238E27FC236}">
                    <a16:creationId xmlns:a16="http://schemas.microsoft.com/office/drawing/2014/main" id="{B5EBC67E-3963-4E72-B2BA-761E095A0049}"/>
                  </a:ext>
                </a:extLst>
              </p:cNvPr>
              <p:cNvSpPr/>
              <p:nvPr/>
            </p:nvSpPr>
            <p:spPr bwMode="auto">
              <a:xfrm>
                <a:off x="2605088" y="4408488"/>
                <a:ext cx="93662" cy="76200"/>
              </a:xfrm>
              <a:custGeom>
                <a:avLst/>
                <a:gdLst>
                  <a:gd name="T0" fmla="*/ 21 w 25"/>
                  <a:gd name="T1" fmla="*/ 8 h 20"/>
                  <a:gd name="T2" fmla="*/ 9 w 25"/>
                  <a:gd name="T3" fmla="*/ 1 h 20"/>
                  <a:gd name="T4" fmla="*/ 4 w 25"/>
                  <a:gd name="T5" fmla="*/ 9 h 20"/>
                  <a:gd name="T6" fmla="*/ 16 w 25"/>
                  <a:gd name="T7" fmla="*/ 18 h 20"/>
                  <a:gd name="T8" fmla="*/ 21 w 25"/>
                  <a:gd name="T9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0">
                    <a:moveTo>
                      <a:pt x="21" y="8"/>
                    </a:moveTo>
                    <a:cubicBezTo>
                      <a:pt x="17" y="5"/>
                      <a:pt x="13" y="3"/>
                      <a:pt x="9" y="1"/>
                    </a:cubicBezTo>
                    <a:cubicBezTo>
                      <a:pt x="5" y="0"/>
                      <a:pt x="0" y="5"/>
                      <a:pt x="4" y="9"/>
                    </a:cubicBezTo>
                    <a:cubicBezTo>
                      <a:pt x="7" y="13"/>
                      <a:pt x="12" y="16"/>
                      <a:pt x="16" y="18"/>
                    </a:cubicBezTo>
                    <a:cubicBezTo>
                      <a:pt x="21" y="20"/>
                      <a:pt x="25" y="12"/>
                      <a:pt x="2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íšḻîḑê">
                <a:extLst>
                  <a:ext uri="{FF2B5EF4-FFF2-40B4-BE49-F238E27FC236}">
                    <a16:creationId xmlns:a16="http://schemas.microsoft.com/office/drawing/2014/main" id="{AD434F94-C107-428E-B3AF-02CEDA164477}"/>
                  </a:ext>
                </a:extLst>
              </p:cNvPr>
              <p:cNvSpPr/>
              <p:nvPr/>
            </p:nvSpPr>
            <p:spPr bwMode="auto">
              <a:xfrm>
                <a:off x="2765425" y="4491038"/>
                <a:ext cx="98425" cy="60325"/>
              </a:xfrm>
              <a:custGeom>
                <a:avLst/>
                <a:gdLst>
                  <a:gd name="T0" fmla="*/ 26 w 26"/>
                  <a:gd name="T1" fmla="*/ 7 h 16"/>
                  <a:gd name="T2" fmla="*/ 17 w 26"/>
                  <a:gd name="T3" fmla="*/ 2 h 16"/>
                  <a:gd name="T4" fmla="*/ 5 w 26"/>
                  <a:gd name="T5" fmla="*/ 0 h 16"/>
                  <a:gd name="T6" fmla="*/ 4 w 26"/>
                  <a:gd name="T7" fmla="*/ 9 h 16"/>
                  <a:gd name="T8" fmla="*/ 14 w 26"/>
                  <a:gd name="T9" fmla="*/ 12 h 16"/>
                  <a:gd name="T10" fmla="*/ 25 w 26"/>
                  <a:gd name="T11" fmla="*/ 12 h 16"/>
                  <a:gd name="T12" fmla="*/ 26 w 26"/>
                  <a:gd name="T1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16">
                    <a:moveTo>
                      <a:pt x="26" y="7"/>
                    </a:moveTo>
                    <a:cubicBezTo>
                      <a:pt x="24" y="3"/>
                      <a:pt x="21" y="3"/>
                      <a:pt x="17" y="2"/>
                    </a:cubicBezTo>
                    <a:cubicBezTo>
                      <a:pt x="13" y="1"/>
                      <a:pt x="9" y="0"/>
                      <a:pt x="5" y="0"/>
                    </a:cubicBezTo>
                    <a:cubicBezTo>
                      <a:pt x="1" y="0"/>
                      <a:pt x="0" y="7"/>
                      <a:pt x="4" y="9"/>
                    </a:cubicBezTo>
                    <a:cubicBezTo>
                      <a:pt x="7" y="10"/>
                      <a:pt x="10" y="11"/>
                      <a:pt x="14" y="12"/>
                    </a:cubicBezTo>
                    <a:cubicBezTo>
                      <a:pt x="17" y="13"/>
                      <a:pt x="22" y="16"/>
                      <a:pt x="25" y="12"/>
                    </a:cubicBezTo>
                    <a:cubicBezTo>
                      <a:pt x="26" y="11"/>
                      <a:pt x="26" y="9"/>
                      <a:pt x="2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íş1îḍê">
                <a:extLst>
                  <a:ext uri="{FF2B5EF4-FFF2-40B4-BE49-F238E27FC236}">
                    <a16:creationId xmlns:a16="http://schemas.microsoft.com/office/drawing/2014/main" id="{1E0859B4-E083-401B-91DF-A3423F66AE44}"/>
                  </a:ext>
                </a:extLst>
              </p:cNvPr>
              <p:cNvSpPr/>
              <p:nvPr/>
            </p:nvSpPr>
            <p:spPr bwMode="auto">
              <a:xfrm>
                <a:off x="2932113" y="4529138"/>
                <a:ext cx="93662" cy="49213"/>
              </a:xfrm>
              <a:custGeom>
                <a:avLst/>
                <a:gdLst>
                  <a:gd name="T0" fmla="*/ 25 w 25"/>
                  <a:gd name="T1" fmla="*/ 6 h 13"/>
                  <a:gd name="T2" fmla="*/ 19 w 25"/>
                  <a:gd name="T3" fmla="*/ 1 h 13"/>
                  <a:gd name="T4" fmla="*/ 12 w 25"/>
                  <a:gd name="T5" fmla="*/ 1 h 13"/>
                  <a:gd name="T6" fmla="*/ 6 w 25"/>
                  <a:gd name="T7" fmla="*/ 1 h 13"/>
                  <a:gd name="T8" fmla="*/ 3 w 25"/>
                  <a:gd name="T9" fmla="*/ 7 h 13"/>
                  <a:gd name="T10" fmla="*/ 6 w 25"/>
                  <a:gd name="T11" fmla="*/ 10 h 13"/>
                  <a:gd name="T12" fmla="*/ 11 w 25"/>
                  <a:gd name="T13" fmla="*/ 12 h 13"/>
                  <a:gd name="T14" fmla="*/ 21 w 25"/>
                  <a:gd name="T15" fmla="*/ 12 h 13"/>
                  <a:gd name="T16" fmla="*/ 25 w 25"/>
                  <a:gd name="T1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13">
                    <a:moveTo>
                      <a:pt x="25" y="6"/>
                    </a:moveTo>
                    <a:cubicBezTo>
                      <a:pt x="24" y="3"/>
                      <a:pt x="22" y="1"/>
                      <a:pt x="19" y="1"/>
                    </a:cubicBezTo>
                    <a:cubicBezTo>
                      <a:pt x="17" y="2"/>
                      <a:pt x="14" y="2"/>
                      <a:pt x="12" y="1"/>
                    </a:cubicBezTo>
                    <a:cubicBezTo>
                      <a:pt x="10" y="1"/>
                      <a:pt x="8" y="1"/>
                      <a:pt x="6" y="1"/>
                    </a:cubicBezTo>
                    <a:cubicBezTo>
                      <a:pt x="3" y="0"/>
                      <a:pt x="0" y="5"/>
                      <a:pt x="3" y="7"/>
                    </a:cubicBezTo>
                    <a:cubicBezTo>
                      <a:pt x="4" y="8"/>
                      <a:pt x="5" y="9"/>
                      <a:pt x="6" y="10"/>
                    </a:cubicBezTo>
                    <a:cubicBezTo>
                      <a:pt x="7" y="11"/>
                      <a:pt x="9" y="12"/>
                      <a:pt x="11" y="12"/>
                    </a:cubicBezTo>
                    <a:cubicBezTo>
                      <a:pt x="14" y="13"/>
                      <a:pt x="18" y="13"/>
                      <a:pt x="21" y="12"/>
                    </a:cubicBezTo>
                    <a:cubicBezTo>
                      <a:pt x="24" y="12"/>
                      <a:pt x="25" y="9"/>
                      <a:pt x="2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îṣlïḋè">
                <a:extLst>
                  <a:ext uri="{FF2B5EF4-FFF2-40B4-BE49-F238E27FC236}">
                    <a16:creationId xmlns:a16="http://schemas.microsoft.com/office/drawing/2014/main" id="{5F0C0C71-D9FB-4887-88EC-F92FA0AFA8B5}"/>
                  </a:ext>
                </a:extLst>
              </p:cNvPr>
              <p:cNvSpPr/>
              <p:nvPr/>
            </p:nvSpPr>
            <p:spPr bwMode="auto">
              <a:xfrm>
                <a:off x="3108325" y="4545013"/>
                <a:ext cx="96837" cy="47625"/>
              </a:xfrm>
              <a:custGeom>
                <a:avLst/>
                <a:gdLst>
                  <a:gd name="T0" fmla="*/ 20 w 26"/>
                  <a:gd name="T1" fmla="*/ 1 h 13"/>
                  <a:gd name="T2" fmla="*/ 5 w 26"/>
                  <a:gd name="T3" fmla="*/ 1 h 13"/>
                  <a:gd name="T4" fmla="*/ 4 w 26"/>
                  <a:gd name="T5" fmla="*/ 10 h 13"/>
                  <a:gd name="T6" fmla="*/ 19 w 26"/>
                  <a:gd name="T7" fmla="*/ 13 h 13"/>
                  <a:gd name="T8" fmla="*/ 20 w 26"/>
                  <a:gd name="T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3">
                    <a:moveTo>
                      <a:pt x="20" y="1"/>
                    </a:moveTo>
                    <a:cubicBezTo>
                      <a:pt x="15" y="0"/>
                      <a:pt x="10" y="0"/>
                      <a:pt x="5" y="1"/>
                    </a:cubicBezTo>
                    <a:cubicBezTo>
                      <a:pt x="0" y="1"/>
                      <a:pt x="0" y="9"/>
                      <a:pt x="4" y="10"/>
                    </a:cubicBezTo>
                    <a:cubicBezTo>
                      <a:pt x="9" y="12"/>
                      <a:pt x="13" y="13"/>
                      <a:pt x="19" y="13"/>
                    </a:cubicBezTo>
                    <a:cubicBezTo>
                      <a:pt x="26" y="13"/>
                      <a:pt x="26" y="2"/>
                      <a:pt x="2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íš1íḑe">
                <a:extLst>
                  <a:ext uri="{FF2B5EF4-FFF2-40B4-BE49-F238E27FC236}">
                    <a16:creationId xmlns:a16="http://schemas.microsoft.com/office/drawing/2014/main" id="{FEA22EA9-4A24-46FA-8D06-B7454CC29C66}"/>
                  </a:ext>
                </a:extLst>
              </p:cNvPr>
              <p:cNvSpPr/>
              <p:nvPr/>
            </p:nvSpPr>
            <p:spPr bwMode="auto">
              <a:xfrm>
                <a:off x="3281363" y="4578351"/>
                <a:ext cx="115887" cy="55563"/>
              </a:xfrm>
              <a:custGeom>
                <a:avLst/>
                <a:gdLst>
                  <a:gd name="T0" fmla="*/ 26 w 31"/>
                  <a:gd name="T1" fmla="*/ 2 h 15"/>
                  <a:gd name="T2" fmla="*/ 5 w 31"/>
                  <a:gd name="T3" fmla="*/ 1 h 15"/>
                  <a:gd name="T4" fmla="*/ 4 w 31"/>
                  <a:gd name="T5" fmla="*/ 11 h 15"/>
                  <a:gd name="T6" fmla="*/ 25 w 31"/>
                  <a:gd name="T7" fmla="*/ 14 h 15"/>
                  <a:gd name="T8" fmla="*/ 26 w 31"/>
                  <a:gd name="T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5">
                    <a:moveTo>
                      <a:pt x="26" y="2"/>
                    </a:moveTo>
                    <a:cubicBezTo>
                      <a:pt x="20" y="0"/>
                      <a:pt x="12" y="1"/>
                      <a:pt x="5" y="1"/>
                    </a:cubicBezTo>
                    <a:cubicBezTo>
                      <a:pt x="1" y="2"/>
                      <a:pt x="0" y="10"/>
                      <a:pt x="4" y="11"/>
                    </a:cubicBezTo>
                    <a:cubicBezTo>
                      <a:pt x="11" y="13"/>
                      <a:pt x="18" y="15"/>
                      <a:pt x="25" y="14"/>
                    </a:cubicBezTo>
                    <a:cubicBezTo>
                      <a:pt x="31" y="13"/>
                      <a:pt x="31" y="4"/>
                      <a:pt x="2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íSľîḑé">
                <a:extLst>
                  <a:ext uri="{FF2B5EF4-FFF2-40B4-BE49-F238E27FC236}">
                    <a16:creationId xmlns:a16="http://schemas.microsoft.com/office/drawing/2014/main" id="{4D323B3B-8D0C-40E4-A3B7-7FEA64092A7A}"/>
                  </a:ext>
                </a:extLst>
              </p:cNvPr>
              <p:cNvSpPr/>
              <p:nvPr/>
            </p:nvSpPr>
            <p:spPr bwMode="auto">
              <a:xfrm>
                <a:off x="3468688" y="4600576"/>
                <a:ext cx="112712" cy="63500"/>
              </a:xfrm>
              <a:custGeom>
                <a:avLst/>
                <a:gdLst>
                  <a:gd name="T0" fmla="*/ 27 w 30"/>
                  <a:gd name="T1" fmla="*/ 4 h 17"/>
                  <a:gd name="T2" fmla="*/ 5 w 30"/>
                  <a:gd name="T3" fmla="*/ 2 h 17"/>
                  <a:gd name="T4" fmla="*/ 4 w 30"/>
                  <a:gd name="T5" fmla="*/ 12 h 17"/>
                  <a:gd name="T6" fmla="*/ 26 w 30"/>
                  <a:gd name="T7" fmla="*/ 14 h 17"/>
                  <a:gd name="T8" fmla="*/ 27 w 30"/>
                  <a:gd name="T9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7" y="4"/>
                    </a:moveTo>
                    <a:cubicBezTo>
                      <a:pt x="21" y="0"/>
                      <a:pt x="12" y="2"/>
                      <a:pt x="5" y="2"/>
                    </a:cubicBezTo>
                    <a:cubicBezTo>
                      <a:pt x="0" y="3"/>
                      <a:pt x="0" y="11"/>
                      <a:pt x="4" y="12"/>
                    </a:cubicBezTo>
                    <a:cubicBezTo>
                      <a:pt x="11" y="14"/>
                      <a:pt x="19" y="17"/>
                      <a:pt x="26" y="14"/>
                    </a:cubicBezTo>
                    <a:cubicBezTo>
                      <a:pt x="29" y="12"/>
                      <a:pt x="30" y="6"/>
                      <a:pt x="2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ïşḻíḍè">
                <a:extLst>
                  <a:ext uri="{FF2B5EF4-FFF2-40B4-BE49-F238E27FC236}">
                    <a16:creationId xmlns:a16="http://schemas.microsoft.com/office/drawing/2014/main" id="{9058002E-7F4E-4F8E-A904-14503857B7C2}"/>
                  </a:ext>
                </a:extLst>
              </p:cNvPr>
              <p:cNvSpPr/>
              <p:nvPr/>
            </p:nvSpPr>
            <p:spPr bwMode="auto">
              <a:xfrm>
                <a:off x="3644900" y="4608513"/>
                <a:ext cx="161925" cy="112713"/>
              </a:xfrm>
              <a:custGeom>
                <a:avLst/>
                <a:gdLst>
                  <a:gd name="T0" fmla="*/ 31 w 43"/>
                  <a:gd name="T1" fmla="*/ 1 h 30"/>
                  <a:gd name="T2" fmla="*/ 19 w 43"/>
                  <a:gd name="T3" fmla="*/ 7 h 30"/>
                  <a:gd name="T4" fmla="*/ 15 w 43"/>
                  <a:gd name="T5" fmla="*/ 7 h 30"/>
                  <a:gd name="T6" fmla="*/ 6 w 43"/>
                  <a:gd name="T7" fmla="*/ 8 h 30"/>
                  <a:gd name="T8" fmla="*/ 5 w 43"/>
                  <a:gd name="T9" fmla="*/ 16 h 30"/>
                  <a:gd name="T10" fmla="*/ 13 w 43"/>
                  <a:gd name="T11" fmla="*/ 18 h 30"/>
                  <a:gd name="T12" fmla="*/ 17 w 43"/>
                  <a:gd name="T13" fmla="*/ 19 h 30"/>
                  <a:gd name="T14" fmla="*/ 28 w 43"/>
                  <a:gd name="T15" fmla="*/ 30 h 30"/>
                  <a:gd name="T16" fmla="*/ 43 w 43"/>
                  <a:gd name="T17" fmla="*/ 16 h 30"/>
                  <a:gd name="T18" fmla="*/ 31 w 43"/>
                  <a:gd name="T19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30">
                    <a:moveTo>
                      <a:pt x="31" y="1"/>
                    </a:moveTo>
                    <a:cubicBezTo>
                      <a:pt x="26" y="0"/>
                      <a:pt x="22" y="3"/>
                      <a:pt x="19" y="7"/>
                    </a:cubicBezTo>
                    <a:cubicBezTo>
                      <a:pt x="18" y="7"/>
                      <a:pt x="17" y="7"/>
                      <a:pt x="15" y="7"/>
                    </a:cubicBezTo>
                    <a:cubicBezTo>
                      <a:pt x="12" y="7"/>
                      <a:pt x="9" y="8"/>
                      <a:pt x="6" y="8"/>
                    </a:cubicBezTo>
                    <a:cubicBezTo>
                      <a:pt x="1" y="8"/>
                      <a:pt x="0" y="15"/>
                      <a:pt x="5" y="16"/>
                    </a:cubicBezTo>
                    <a:cubicBezTo>
                      <a:pt x="8" y="17"/>
                      <a:pt x="10" y="18"/>
                      <a:pt x="13" y="18"/>
                    </a:cubicBezTo>
                    <a:cubicBezTo>
                      <a:pt x="14" y="19"/>
                      <a:pt x="16" y="19"/>
                      <a:pt x="17" y="19"/>
                    </a:cubicBezTo>
                    <a:cubicBezTo>
                      <a:pt x="18" y="25"/>
                      <a:pt x="23" y="29"/>
                      <a:pt x="28" y="30"/>
                    </a:cubicBezTo>
                    <a:cubicBezTo>
                      <a:pt x="35" y="30"/>
                      <a:pt x="42" y="24"/>
                      <a:pt x="43" y="16"/>
                    </a:cubicBezTo>
                    <a:cubicBezTo>
                      <a:pt x="43" y="9"/>
                      <a:pt x="38" y="1"/>
                      <a:pt x="3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63" name="ïṡlîḑe">
              <a:extLst>
                <a:ext uri="{FF2B5EF4-FFF2-40B4-BE49-F238E27FC236}">
                  <a16:creationId xmlns:a16="http://schemas.microsoft.com/office/drawing/2014/main" id="{DA2A7A66-0A5F-494D-948D-E72D4C720FD0}"/>
                </a:ext>
              </a:extLst>
            </p:cNvPr>
            <p:cNvGrpSpPr/>
            <p:nvPr/>
          </p:nvGrpSpPr>
          <p:grpSpPr>
            <a:xfrm>
              <a:off x="3462378" y="1794558"/>
              <a:ext cx="389114" cy="708641"/>
              <a:chOff x="2030413" y="1422401"/>
              <a:chExt cx="434975" cy="792162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97" name="ïṧliḋe">
                <a:extLst>
                  <a:ext uri="{FF2B5EF4-FFF2-40B4-BE49-F238E27FC236}">
                    <a16:creationId xmlns:a16="http://schemas.microsoft.com/office/drawing/2014/main" id="{3A53EAE0-0A9C-4F3F-9312-710DCD9C1342}"/>
                  </a:ext>
                </a:extLst>
              </p:cNvPr>
              <p:cNvSpPr/>
              <p:nvPr/>
            </p:nvSpPr>
            <p:spPr bwMode="auto">
              <a:xfrm>
                <a:off x="2262188" y="1422401"/>
                <a:ext cx="203200" cy="149225"/>
              </a:xfrm>
              <a:custGeom>
                <a:avLst/>
                <a:gdLst>
                  <a:gd name="T0" fmla="*/ 50 w 54"/>
                  <a:gd name="T1" fmla="*/ 17 h 40"/>
                  <a:gd name="T2" fmla="*/ 21 w 54"/>
                  <a:gd name="T3" fmla="*/ 21 h 40"/>
                  <a:gd name="T4" fmla="*/ 8 w 54"/>
                  <a:gd name="T5" fmla="*/ 24 h 40"/>
                  <a:gd name="T6" fmla="*/ 12 w 54"/>
                  <a:gd name="T7" fmla="*/ 36 h 40"/>
                  <a:gd name="T8" fmla="*/ 26 w 54"/>
                  <a:gd name="T9" fmla="*/ 32 h 40"/>
                  <a:gd name="T10" fmla="*/ 50 w 54"/>
                  <a:gd name="T11" fmla="*/ 1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40">
                    <a:moveTo>
                      <a:pt x="50" y="17"/>
                    </a:moveTo>
                    <a:cubicBezTo>
                      <a:pt x="46" y="0"/>
                      <a:pt x="21" y="5"/>
                      <a:pt x="21" y="21"/>
                    </a:cubicBezTo>
                    <a:cubicBezTo>
                      <a:pt x="17" y="21"/>
                      <a:pt x="13" y="23"/>
                      <a:pt x="8" y="24"/>
                    </a:cubicBezTo>
                    <a:cubicBezTo>
                      <a:pt x="0" y="26"/>
                      <a:pt x="3" y="38"/>
                      <a:pt x="12" y="36"/>
                    </a:cubicBezTo>
                    <a:cubicBezTo>
                      <a:pt x="17" y="35"/>
                      <a:pt x="21" y="34"/>
                      <a:pt x="26" y="32"/>
                    </a:cubicBezTo>
                    <a:cubicBezTo>
                      <a:pt x="35" y="40"/>
                      <a:pt x="54" y="32"/>
                      <a:pt x="50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ïsľiďé">
                <a:extLst>
                  <a:ext uri="{FF2B5EF4-FFF2-40B4-BE49-F238E27FC236}">
                    <a16:creationId xmlns:a16="http://schemas.microsoft.com/office/drawing/2014/main" id="{80D9EBE9-2E14-4704-BB76-FE01174F0FAE}"/>
                  </a:ext>
                </a:extLst>
              </p:cNvPr>
              <p:cNvSpPr/>
              <p:nvPr/>
            </p:nvSpPr>
            <p:spPr bwMode="auto">
              <a:xfrm>
                <a:off x="2127250" y="1530351"/>
                <a:ext cx="90487" cy="79375"/>
              </a:xfrm>
              <a:custGeom>
                <a:avLst/>
                <a:gdLst>
                  <a:gd name="T0" fmla="*/ 21 w 24"/>
                  <a:gd name="T1" fmla="*/ 11 h 21"/>
                  <a:gd name="T2" fmla="*/ 13 w 24"/>
                  <a:gd name="T3" fmla="*/ 4 h 21"/>
                  <a:gd name="T4" fmla="*/ 4 w 24"/>
                  <a:gd name="T5" fmla="*/ 8 h 21"/>
                  <a:gd name="T6" fmla="*/ 0 w 24"/>
                  <a:gd name="T7" fmla="*/ 14 h 21"/>
                  <a:gd name="T8" fmla="*/ 6 w 24"/>
                  <a:gd name="T9" fmla="*/ 20 h 21"/>
                  <a:gd name="T10" fmla="*/ 21 w 24"/>
                  <a:gd name="T11" fmla="*/ 1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1">
                    <a:moveTo>
                      <a:pt x="21" y="11"/>
                    </a:moveTo>
                    <a:cubicBezTo>
                      <a:pt x="24" y="6"/>
                      <a:pt x="17" y="0"/>
                      <a:pt x="13" y="4"/>
                    </a:cubicBezTo>
                    <a:cubicBezTo>
                      <a:pt x="10" y="7"/>
                      <a:pt x="8" y="7"/>
                      <a:pt x="4" y="8"/>
                    </a:cubicBezTo>
                    <a:cubicBezTo>
                      <a:pt x="2" y="9"/>
                      <a:pt x="0" y="11"/>
                      <a:pt x="0" y="14"/>
                    </a:cubicBezTo>
                    <a:cubicBezTo>
                      <a:pt x="0" y="17"/>
                      <a:pt x="2" y="19"/>
                      <a:pt x="6" y="20"/>
                    </a:cubicBezTo>
                    <a:cubicBezTo>
                      <a:pt x="12" y="21"/>
                      <a:pt x="18" y="16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íṡľiďe">
                <a:extLst>
                  <a:ext uri="{FF2B5EF4-FFF2-40B4-BE49-F238E27FC236}">
                    <a16:creationId xmlns:a16="http://schemas.microsoft.com/office/drawing/2014/main" id="{C51E6D3A-7811-47A8-AE85-BEC8BF0EF6E5}"/>
                  </a:ext>
                </a:extLst>
              </p:cNvPr>
              <p:cNvSpPr/>
              <p:nvPr/>
            </p:nvSpPr>
            <p:spPr bwMode="auto">
              <a:xfrm>
                <a:off x="2030413" y="1593851"/>
                <a:ext cx="74612" cy="95250"/>
              </a:xfrm>
              <a:custGeom>
                <a:avLst/>
                <a:gdLst>
                  <a:gd name="T0" fmla="*/ 13 w 20"/>
                  <a:gd name="T1" fmla="*/ 20 h 25"/>
                  <a:gd name="T2" fmla="*/ 18 w 20"/>
                  <a:gd name="T3" fmla="*/ 11 h 25"/>
                  <a:gd name="T4" fmla="*/ 8 w 20"/>
                  <a:gd name="T5" fmla="*/ 5 h 25"/>
                  <a:gd name="T6" fmla="*/ 2 w 20"/>
                  <a:gd name="T7" fmla="*/ 13 h 25"/>
                  <a:gd name="T8" fmla="*/ 4 w 20"/>
                  <a:gd name="T9" fmla="*/ 23 h 25"/>
                  <a:gd name="T10" fmla="*/ 13 w 20"/>
                  <a:gd name="T11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25">
                    <a:moveTo>
                      <a:pt x="13" y="20"/>
                    </a:moveTo>
                    <a:cubicBezTo>
                      <a:pt x="15" y="17"/>
                      <a:pt x="17" y="14"/>
                      <a:pt x="18" y="11"/>
                    </a:cubicBezTo>
                    <a:cubicBezTo>
                      <a:pt x="20" y="5"/>
                      <a:pt x="12" y="0"/>
                      <a:pt x="8" y="5"/>
                    </a:cubicBezTo>
                    <a:cubicBezTo>
                      <a:pt x="5" y="7"/>
                      <a:pt x="3" y="10"/>
                      <a:pt x="2" y="13"/>
                    </a:cubicBezTo>
                    <a:cubicBezTo>
                      <a:pt x="0" y="16"/>
                      <a:pt x="1" y="21"/>
                      <a:pt x="4" y="23"/>
                    </a:cubicBezTo>
                    <a:cubicBezTo>
                      <a:pt x="7" y="25"/>
                      <a:pt x="11" y="23"/>
                      <a:pt x="13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íṧlîḋé">
                <a:extLst>
                  <a:ext uri="{FF2B5EF4-FFF2-40B4-BE49-F238E27FC236}">
                    <a16:creationId xmlns:a16="http://schemas.microsoft.com/office/drawing/2014/main" id="{3DBBAAE8-ED4A-4D89-B848-EF6ACD1D9D31}"/>
                  </a:ext>
                </a:extLst>
              </p:cNvPr>
              <p:cNvSpPr/>
              <p:nvPr/>
            </p:nvSpPr>
            <p:spPr bwMode="auto">
              <a:xfrm>
                <a:off x="2030413" y="1752601"/>
                <a:ext cx="55562" cy="112713"/>
              </a:xfrm>
              <a:custGeom>
                <a:avLst/>
                <a:gdLst>
                  <a:gd name="T0" fmla="*/ 15 w 15"/>
                  <a:gd name="T1" fmla="*/ 25 h 30"/>
                  <a:gd name="T2" fmla="*/ 14 w 15"/>
                  <a:gd name="T3" fmla="*/ 14 h 30"/>
                  <a:gd name="T4" fmla="*/ 12 w 15"/>
                  <a:gd name="T5" fmla="*/ 5 h 30"/>
                  <a:gd name="T6" fmla="*/ 2 w 15"/>
                  <a:gd name="T7" fmla="*/ 6 h 30"/>
                  <a:gd name="T8" fmla="*/ 2 w 15"/>
                  <a:gd name="T9" fmla="*/ 25 h 30"/>
                  <a:gd name="T10" fmla="*/ 8 w 15"/>
                  <a:gd name="T11" fmla="*/ 30 h 30"/>
                  <a:gd name="T12" fmla="*/ 15 w 15"/>
                  <a:gd name="T1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0">
                    <a:moveTo>
                      <a:pt x="15" y="25"/>
                    </a:moveTo>
                    <a:cubicBezTo>
                      <a:pt x="15" y="21"/>
                      <a:pt x="15" y="18"/>
                      <a:pt x="14" y="14"/>
                    </a:cubicBezTo>
                    <a:cubicBezTo>
                      <a:pt x="14" y="11"/>
                      <a:pt x="12" y="8"/>
                      <a:pt x="12" y="5"/>
                    </a:cubicBezTo>
                    <a:cubicBezTo>
                      <a:pt x="10" y="0"/>
                      <a:pt x="2" y="1"/>
                      <a:pt x="2" y="6"/>
                    </a:cubicBezTo>
                    <a:cubicBezTo>
                      <a:pt x="2" y="12"/>
                      <a:pt x="0" y="19"/>
                      <a:pt x="2" y="25"/>
                    </a:cubicBezTo>
                    <a:cubicBezTo>
                      <a:pt x="3" y="28"/>
                      <a:pt x="5" y="30"/>
                      <a:pt x="8" y="30"/>
                    </a:cubicBezTo>
                    <a:cubicBezTo>
                      <a:pt x="11" y="30"/>
                      <a:pt x="14" y="28"/>
                      <a:pt x="15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íṧľíḓè">
                <a:extLst>
                  <a:ext uri="{FF2B5EF4-FFF2-40B4-BE49-F238E27FC236}">
                    <a16:creationId xmlns:a16="http://schemas.microsoft.com/office/drawing/2014/main" id="{966EEF06-E239-4154-8D15-846FEA029CA7}"/>
                  </a:ext>
                </a:extLst>
              </p:cNvPr>
              <p:cNvSpPr/>
              <p:nvPr/>
            </p:nvSpPr>
            <p:spPr bwMode="auto">
              <a:xfrm>
                <a:off x="2060575" y="1917701"/>
                <a:ext cx="52387" cy="74613"/>
              </a:xfrm>
              <a:custGeom>
                <a:avLst/>
                <a:gdLst>
                  <a:gd name="T0" fmla="*/ 13 w 14"/>
                  <a:gd name="T1" fmla="*/ 12 h 20"/>
                  <a:gd name="T2" fmla="*/ 11 w 14"/>
                  <a:gd name="T3" fmla="*/ 7 h 20"/>
                  <a:gd name="T4" fmla="*/ 10 w 14"/>
                  <a:gd name="T5" fmla="*/ 5 h 20"/>
                  <a:gd name="T6" fmla="*/ 9 w 14"/>
                  <a:gd name="T7" fmla="*/ 4 h 20"/>
                  <a:gd name="T8" fmla="*/ 9 w 14"/>
                  <a:gd name="T9" fmla="*/ 4 h 20"/>
                  <a:gd name="T10" fmla="*/ 0 w 14"/>
                  <a:gd name="T11" fmla="*/ 6 h 20"/>
                  <a:gd name="T12" fmla="*/ 0 w 14"/>
                  <a:gd name="T13" fmla="*/ 6 h 20"/>
                  <a:gd name="T14" fmla="*/ 0 w 14"/>
                  <a:gd name="T15" fmla="*/ 10 h 20"/>
                  <a:gd name="T16" fmla="*/ 1 w 14"/>
                  <a:gd name="T17" fmla="*/ 15 h 20"/>
                  <a:gd name="T18" fmla="*/ 8 w 14"/>
                  <a:gd name="T19" fmla="*/ 19 h 20"/>
                  <a:gd name="T20" fmla="*/ 13 w 14"/>
                  <a:gd name="T21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20">
                    <a:moveTo>
                      <a:pt x="13" y="12"/>
                    </a:moveTo>
                    <a:cubicBezTo>
                      <a:pt x="13" y="10"/>
                      <a:pt x="12" y="9"/>
                      <a:pt x="11" y="7"/>
                    </a:cubicBezTo>
                    <a:cubicBezTo>
                      <a:pt x="11" y="6"/>
                      <a:pt x="11" y="6"/>
                      <a:pt x="10" y="5"/>
                    </a:cubicBezTo>
                    <a:cubicBezTo>
                      <a:pt x="10" y="5"/>
                      <a:pt x="9" y="4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7" y="0"/>
                      <a:pt x="0" y="2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0" y="9"/>
                      <a:pt x="0" y="10"/>
                    </a:cubicBezTo>
                    <a:cubicBezTo>
                      <a:pt x="0" y="12"/>
                      <a:pt x="0" y="13"/>
                      <a:pt x="1" y="15"/>
                    </a:cubicBezTo>
                    <a:cubicBezTo>
                      <a:pt x="2" y="18"/>
                      <a:pt x="5" y="20"/>
                      <a:pt x="8" y="19"/>
                    </a:cubicBezTo>
                    <a:cubicBezTo>
                      <a:pt x="12" y="18"/>
                      <a:pt x="14" y="15"/>
                      <a:pt x="13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i$1ïďè">
                <a:extLst>
                  <a:ext uri="{FF2B5EF4-FFF2-40B4-BE49-F238E27FC236}">
                    <a16:creationId xmlns:a16="http://schemas.microsoft.com/office/drawing/2014/main" id="{0A63A140-A20B-4FC0-8903-3B0F6D85FEF7}"/>
                  </a:ext>
                </a:extLst>
              </p:cNvPr>
              <p:cNvSpPr/>
              <p:nvPr/>
            </p:nvSpPr>
            <p:spPr bwMode="auto">
              <a:xfrm>
                <a:off x="2060575" y="2049463"/>
                <a:ext cx="134937" cy="165100"/>
              </a:xfrm>
              <a:custGeom>
                <a:avLst/>
                <a:gdLst>
                  <a:gd name="T0" fmla="*/ 34 w 36"/>
                  <a:gd name="T1" fmla="*/ 23 h 44"/>
                  <a:gd name="T2" fmla="*/ 20 w 36"/>
                  <a:gd name="T3" fmla="*/ 9 h 44"/>
                  <a:gd name="T4" fmla="*/ 19 w 36"/>
                  <a:gd name="T5" fmla="*/ 8 h 44"/>
                  <a:gd name="T6" fmla="*/ 17 w 36"/>
                  <a:gd name="T7" fmla="*/ 4 h 44"/>
                  <a:gd name="T8" fmla="*/ 17 w 36"/>
                  <a:gd name="T9" fmla="*/ 3 h 44"/>
                  <a:gd name="T10" fmla="*/ 9 w 36"/>
                  <a:gd name="T11" fmla="*/ 5 h 44"/>
                  <a:gd name="T12" fmla="*/ 9 w 36"/>
                  <a:gd name="T13" fmla="*/ 5 h 44"/>
                  <a:gd name="T14" fmla="*/ 9 w 36"/>
                  <a:gd name="T15" fmla="*/ 9 h 44"/>
                  <a:gd name="T16" fmla="*/ 9 w 36"/>
                  <a:gd name="T17" fmla="*/ 10 h 44"/>
                  <a:gd name="T18" fmla="*/ 8 w 36"/>
                  <a:gd name="T19" fmla="*/ 12 h 44"/>
                  <a:gd name="T20" fmla="*/ 1 w 36"/>
                  <a:gd name="T21" fmla="*/ 29 h 44"/>
                  <a:gd name="T22" fmla="*/ 21 w 36"/>
                  <a:gd name="T23" fmla="*/ 42 h 44"/>
                  <a:gd name="T24" fmla="*/ 34 w 36"/>
                  <a:gd name="T25" fmla="*/ 2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44">
                    <a:moveTo>
                      <a:pt x="34" y="23"/>
                    </a:moveTo>
                    <a:cubicBezTo>
                      <a:pt x="33" y="15"/>
                      <a:pt x="27" y="10"/>
                      <a:pt x="20" y="9"/>
                    </a:cubicBezTo>
                    <a:cubicBezTo>
                      <a:pt x="20" y="9"/>
                      <a:pt x="19" y="8"/>
                      <a:pt x="19" y="8"/>
                    </a:cubicBezTo>
                    <a:cubicBezTo>
                      <a:pt x="19" y="6"/>
                      <a:pt x="18" y="5"/>
                      <a:pt x="17" y="4"/>
                    </a:cubicBezTo>
                    <a:cubicBezTo>
                      <a:pt x="17" y="4"/>
                      <a:pt x="17" y="3"/>
                      <a:pt x="17" y="3"/>
                    </a:cubicBezTo>
                    <a:cubicBezTo>
                      <a:pt x="15" y="0"/>
                      <a:pt x="9" y="1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7"/>
                      <a:pt x="9" y="8"/>
                      <a:pt x="9" y="9"/>
                    </a:cubicBezTo>
                    <a:cubicBezTo>
                      <a:pt x="8" y="10"/>
                      <a:pt x="8" y="10"/>
                      <a:pt x="9" y="10"/>
                    </a:cubicBezTo>
                    <a:cubicBezTo>
                      <a:pt x="9" y="11"/>
                      <a:pt x="9" y="11"/>
                      <a:pt x="8" y="12"/>
                    </a:cubicBezTo>
                    <a:cubicBezTo>
                      <a:pt x="3" y="16"/>
                      <a:pt x="0" y="22"/>
                      <a:pt x="1" y="29"/>
                    </a:cubicBezTo>
                    <a:cubicBezTo>
                      <a:pt x="3" y="38"/>
                      <a:pt x="12" y="44"/>
                      <a:pt x="21" y="42"/>
                    </a:cubicBezTo>
                    <a:cubicBezTo>
                      <a:pt x="30" y="40"/>
                      <a:pt x="36" y="32"/>
                      <a:pt x="34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64" name="iṡ1iḋe">
              <a:extLst>
                <a:ext uri="{FF2B5EF4-FFF2-40B4-BE49-F238E27FC236}">
                  <a16:creationId xmlns:a16="http://schemas.microsoft.com/office/drawing/2014/main" id="{6EB16A0A-37AB-4A8B-80BC-F587E784E27B}"/>
                </a:ext>
              </a:extLst>
            </p:cNvPr>
            <p:cNvGrpSpPr/>
            <p:nvPr/>
          </p:nvGrpSpPr>
          <p:grpSpPr>
            <a:xfrm>
              <a:off x="3105930" y="4264158"/>
              <a:ext cx="1200006" cy="1157403"/>
              <a:chOff x="1631950" y="4183063"/>
              <a:chExt cx="1341437" cy="1293813"/>
            </a:xfrm>
          </p:grpSpPr>
          <p:sp>
            <p:nvSpPr>
              <p:cNvPr id="87" name="iṡļïḑè">
                <a:extLst>
                  <a:ext uri="{FF2B5EF4-FFF2-40B4-BE49-F238E27FC236}">
                    <a16:creationId xmlns:a16="http://schemas.microsoft.com/office/drawing/2014/main" id="{D46D671E-E452-4EED-8979-68D8904E3E92}"/>
                  </a:ext>
                </a:extLst>
              </p:cNvPr>
              <p:cNvSpPr/>
              <p:nvPr/>
            </p:nvSpPr>
            <p:spPr bwMode="auto">
              <a:xfrm>
                <a:off x="2292350" y="4976813"/>
                <a:ext cx="485775" cy="500063"/>
              </a:xfrm>
              <a:custGeom>
                <a:avLst/>
                <a:gdLst>
                  <a:gd name="T0" fmla="*/ 64 w 129"/>
                  <a:gd name="T1" fmla="*/ 0 h 133"/>
                  <a:gd name="T2" fmla="*/ 18 w 129"/>
                  <a:gd name="T3" fmla="*/ 75 h 133"/>
                  <a:gd name="T4" fmla="*/ 3 w 129"/>
                  <a:gd name="T5" fmla="*/ 90 h 133"/>
                  <a:gd name="T6" fmla="*/ 12 w 129"/>
                  <a:gd name="T7" fmla="*/ 113 h 133"/>
                  <a:gd name="T8" fmla="*/ 94 w 129"/>
                  <a:gd name="T9" fmla="*/ 87 h 133"/>
                  <a:gd name="T10" fmla="*/ 121 w 129"/>
                  <a:gd name="T11" fmla="*/ 24 h 133"/>
                  <a:gd name="T12" fmla="*/ 64 w 129"/>
                  <a:gd name="T13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" h="133">
                    <a:moveTo>
                      <a:pt x="64" y="0"/>
                    </a:moveTo>
                    <a:cubicBezTo>
                      <a:pt x="60" y="30"/>
                      <a:pt x="43" y="58"/>
                      <a:pt x="18" y="75"/>
                    </a:cubicBezTo>
                    <a:cubicBezTo>
                      <a:pt x="12" y="79"/>
                      <a:pt x="6" y="83"/>
                      <a:pt x="3" y="90"/>
                    </a:cubicBezTo>
                    <a:cubicBezTo>
                      <a:pt x="0" y="98"/>
                      <a:pt x="5" y="108"/>
                      <a:pt x="12" y="113"/>
                    </a:cubicBezTo>
                    <a:cubicBezTo>
                      <a:pt x="40" y="133"/>
                      <a:pt x="74" y="111"/>
                      <a:pt x="94" y="87"/>
                    </a:cubicBezTo>
                    <a:cubicBezTo>
                      <a:pt x="98" y="83"/>
                      <a:pt x="129" y="25"/>
                      <a:pt x="121" y="24"/>
                    </a:cubicBezTo>
                    <a:cubicBezTo>
                      <a:pt x="105" y="21"/>
                      <a:pt x="79" y="6"/>
                      <a:pt x="64" y="0"/>
                    </a:cubicBezTo>
                    <a:close/>
                  </a:path>
                </a:pathLst>
              </a:custGeom>
              <a:solidFill>
                <a:srgbClr val="1E60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ï$1ïde">
                <a:extLst>
                  <a:ext uri="{FF2B5EF4-FFF2-40B4-BE49-F238E27FC236}">
                    <a16:creationId xmlns:a16="http://schemas.microsoft.com/office/drawing/2014/main" id="{C5FF0A34-A406-42F4-B05F-E363B61F4126}"/>
                  </a:ext>
                </a:extLst>
              </p:cNvPr>
              <p:cNvSpPr/>
              <p:nvPr/>
            </p:nvSpPr>
            <p:spPr bwMode="auto">
              <a:xfrm>
                <a:off x="1947863" y="4360863"/>
                <a:ext cx="968375" cy="758825"/>
              </a:xfrm>
              <a:custGeom>
                <a:avLst/>
                <a:gdLst>
                  <a:gd name="T0" fmla="*/ 257 w 258"/>
                  <a:gd name="T1" fmla="*/ 146 h 202"/>
                  <a:gd name="T2" fmla="*/ 234 w 258"/>
                  <a:gd name="T3" fmla="*/ 202 h 202"/>
                  <a:gd name="T4" fmla="*/ 168 w 258"/>
                  <a:gd name="T5" fmla="*/ 187 h 202"/>
                  <a:gd name="T6" fmla="*/ 0 w 258"/>
                  <a:gd name="T7" fmla="*/ 174 h 202"/>
                  <a:gd name="T8" fmla="*/ 21 w 258"/>
                  <a:gd name="T9" fmla="*/ 84 h 202"/>
                  <a:gd name="T10" fmla="*/ 40 w 258"/>
                  <a:gd name="T11" fmla="*/ 0 h 202"/>
                  <a:gd name="T12" fmla="*/ 189 w 258"/>
                  <a:gd name="T13" fmla="*/ 83 h 202"/>
                  <a:gd name="T14" fmla="*/ 251 w 258"/>
                  <a:gd name="T15" fmla="*/ 100 h 202"/>
                  <a:gd name="T16" fmla="*/ 257 w 258"/>
                  <a:gd name="T17" fmla="*/ 146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8" h="202">
                    <a:moveTo>
                      <a:pt x="257" y="146"/>
                    </a:moveTo>
                    <a:cubicBezTo>
                      <a:pt x="257" y="166"/>
                      <a:pt x="251" y="188"/>
                      <a:pt x="234" y="202"/>
                    </a:cubicBezTo>
                    <a:cubicBezTo>
                      <a:pt x="234" y="202"/>
                      <a:pt x="205" y="195"/>
                      <a:pt x="168" y="187"/>
                    </a:cubicBezTo>
                    <a:cubicBezTo>
                      <a:pt x="111" y="175"/>
                      <a:pt x="32" y="162"/>
                      <a:pt x="0" y="174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95" y="51"/>
                      <a:pt x="189" y="83"/>
                    </a:cubicBezTo>
                    <a:cubicBezTo>
                      <a:pt x="208" y="90"/>
                      <a:pt x="229" y="96"/>
                      <a:pt x="251" y="100"/>
                    </a:cubicBezTo>
                    <a:cubicBezTo>
                      <a:pt x="251" y="100"/>
                      <a:pt x="258" y="122"/>
                      <a:pt x="257" y="146"/>
                    </a:cubicBezTo>
                    <a:close/>
                  </a:path>
                </a:pathLst>
              </a:custGeom>
              <a:solidFill>
                <a:srgbClr val="D1D1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íṧ1ïďé">
                <a:extLst>
                  <a:ext uri="{FF2B5EF4-FFF2-40B4-BE49-F238E27FC236}">
                    <a16:creationId xmlns:a16="http://schemas.microsoft.com/office/drawing/2014/main" id="{76F9DAAF-4904-40C1-AA16-36F41C357EEE}"/>
                  </a:ext>
                </a:extLst>
              </p:cNvPr>
              <p:cNvSpPr/>
              <p:nvPr/>
            </p:nvSpPr>
            <p:spPr bwMode="auto">
              <a:xfrm>
                <a:off x="1800225" y="4183063"/>
                <a:ext cx="461962" cy="947738"/>
              </a:xfrm>
              <a:custGeom>
                <a:avLst/>
                <a:gdLst>
                  <a:gd name="T0" fmla="*/ 1 w 123"/>
                  <a:gd name="T1" fmla="*/ 211 h 252"/>
                  <a:gd name="T2" fmla="*/ 8 w 123"/>
                  <a:gd name="T3" fmla="*/ 238 h 252"/>
                  <a:gd name="T4" fmla="*/ 38 w 123"/>
                  <a:gd name="T5" fmla="*/ 251 h 252"/>
                  <a:gd name="T6" fmla="*/ 69 w 123"/>
                  <a:gd name="T7" fmla="*/ 226 h 252"/>
                  <a:gd name="T8" fmla="*/ 117 w 123"/>
                  <a:gd name="T9" fmla="*/ 96 h 252"/>
                  <a:gd name="T10" fmla="*/ 100 w 123"/>
                  <a:gd name="T11" fmla="*/ 18 h 252"/>
                  <a:gd name="T12" fmla="*/ 35 w 123"/>
                  <a:gd name="T13" fmla="*/ 65 h 252"/>
                  <a:gd name="T14" fmla="*/ 1 w 123"/>
                  <a:gd name="T15" fmla="*/ 211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3" h="252">
                    <a:moveTo>
                      <a:pt x="1" y="211"/>
                    </a:moveTo>
                    <a:cubicBezTo>
                      <a:pt x="1" y="220"/>
                      <a:pt x="2" y="230"/>
                      <a:pt x="8" y="238"/>
                    </a:cubicBezTo>
                    <a:cubicBezTo>
                      <a:pt x="13" y="246"/>
                      <a:pt x="26" y="252"/>
                      <a:pt x="38" y="251"/>
                    </a:cubicBezTo>
                    <a:cubicBezTo>
                      <a:pt x="54" y="249"/>
                      <a:pt x="63" y="237"/>
                      <a:pt x="69" y="226"/>
                    </a:cubicBezTo>
                    <a:cubicBezTo>
                      <a:pt x="95" y="185"/>
                      <a:pt x="114" y="141"/>
                      <a:pt x="117" y="96"/>
                    </a:cubicBezTo>
                    <a:cubicBezTo>
                      <a:pt x="118" y="77"/>
                      <a:pt x="123" y="31"/>
                      <a:pt x="100" y="18"/>
                    </a:cubicBezTo>
                    <a:cubicBezTo>
                      <a:pt x="68" y="0"/>
                      <a:pt x="43" y="49"/>
                      <a:pt x="35" y="65"/>
                    </a:cubicBezTo>
                    <a:cubicBezTo>
                      <a:pt x="13" y="112"/>
                      <a:pt x="0" y="161"/>
                      <a:pt x="1" y="211"/>
                    </a:cubicBezTo>
                    <a:close/>
                  </a:path>
                </a:pathLst>
              </a:custGeom>
              <a:solidFill>
                <a:srgbClr val="A22D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iśļîḑé">
                <a:extLst>
                  <a:ext uri="{FF2B5EF4-FFF2-40B4-BE49-F238E27FC236}">
                    <a16:creationId xmlns:a16="http://schemas.microsoft.com/office/drawing/2014/main" id="{3F026131-FEE4-4850-9991-6FD59849A61A}"/>
                  </a:ext>
                </a:extLst>
              </p:cNvPr>
              <p:cNvSpPr/>
              <p:nvPr/>
            </p:nvSpPr>
            <p:spPr bwMode="auto">
              <a:xfrm>
                <a:off x="1827213" y="4210051"/>
                <a:ext cx="409575" cy="882650"/>
              </a:xfrm>
              <a:custGeom>
                <a:avLst/>
                <a:gdLst>
                  <a:gd name="T0" fmla="*/ 102 w 109"/>
                  <a:gd name="T1" fmla="*/ 92 h 235"/>
                  <a:gd name="T2" fmla="*/ 100 w 109"/>
                  <a:gd name="T3" fmla="*/ 108 h 235"/>
                  <a:gd name="T4" fmla="*/ 100 w 109"/>
                  <a:gd name="T5" fmla="*/ 108 h 235"/>
                  <a:gd name="T6" fmla="*/ 78 w 109"/>
                  <a:gd name="T7" fmla="*/ 173 h 235"/>
                  <a:gd name="T8" fmla="*/ 57 w 109"/>
                  <a:gd name="T9" fmla="*/ 213 h 235"/>
                  <a:gd name="T10" fmla="*/ 30 w 109"/>
                  <a:gd name="T11" fmla="*/ 234 h 235"/>
                  <a:gd name="T12" fmla="*/ 5 w 109"/>
                  <a:gd name="T13" fmla="*/ 221 h 235"/>
                  <a:gd name="T14" fmla="*/ 0 w 109"/>
                  <a:gd name="T15" fmla="*/ 195 h 235"/>
                  <a:gd name="T16" fmla="*/ 34 w 109"/>
                  <a:gd name="T17" fmla="*/ 59 h 235"/>
                  <a:gd name="T18" fmla="*/ 90 w 109"/>
                  <a:gd name="T19" fmla="*/ 18 h 235"/>
                  <a:gd name="T20" fmla="*/ 102 w 109"/>
                  <a:gd name="T21" fmla="*/ 9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9" h="235">
                    <a:moveTo>
                      <a:pt x="102" y="92"/>
                    </a:moveTo>
                    <a:cubicBezTo>
                      <a:pt x="101" y="98"/>
                      <a:pt x="101" y="103"/>
                      <a:pt x="100" y="108"/>
                    </a:cubicBezTo>
                    <a:cubicBezTo>
                      <a:pt x="100" y="108"/>
                      <a:pt x="100" y="108"/>
                      <a:pt x="100" y="108"/>
                    </a:cubicBezTo>
                    <a:cubicBezTo>
                      <a:pt x="96" y="131"/>
                      <a:pt x="88" y="152"/>
                      <a:pt x="78" y="173"/>
                    </a:cubicBezTo>
                    <a:cubicBezTo>
                      <a:pt x="72" y="187"/>
                      <a:pt x="65" y="200"/>
                      <a:pt x="57" y="213"/>
                    </a:cubicBezTo>
                    <a:cubicBezTo>
                      <a:pt x="51" y="222"/>
                      <a:pt x="43" y="233"/>
                      <a:pt x="30" y="234"/>
                    </a:cubicBezTo>
                    <a:cubicBezTo>
                      <a:pt x="19" y="235"/>
                      <a:pt x="9" y="229"/>
                      <a:pt x="5" y="221"/>
                    </a:cubicBezTo>
                    <a:cubicBezTo>
                      <a:pt x="0" y="213"/>
                      <a:pt x="0" y="204"/>
                      <a:pt x="0" y="195"/>
                    </a:cubicBezTo>
                    <a:cubicBezTo>
                      <a:pt x="1" y="148"/>
                      <a:pt x="14" y="103"/>
                      <a:pt x="34" y="59"/>
                    </a:cubicBezTo>
                    <a:cubicBezTo>
                      <a:pt x="41" y="45"/>
                      <a:pt x="65" y="0"/>
                      <a:pt x="90" y="18"/>
                    </a:cubicBezTo>
                    <a:cubicBezTo>
                      <a:pt x="109" y="31"/>
                      <a:pt x="103" y="74"/>
                      <a:pt x="102" y="92"/>
                    </a:cubicBezTo>
                    <a:close/>
                  </a:path>
                </a:pathLst>
              </a:custGeom>
              <a:solidFill>
                <a:srgbClr val="4220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ïṥľidé">
                <a:extLst>
                  <a:ext uri="{FF2B5EF4-FFF2-40B4-BE49-F238E27FC236}">
                    <a16:creationId xmlns:a16="http://schemas.microsoft.com/office/drawing/2014/main" id="{7871EDF4-DFEA-4F74-A56D-9CABEB68027A}"/>
                  </a:ext>
                </a:extLst>
              </p:cNvPr>
              <p:cNvSpPr/>
              <p:nvPr/>
            </p:nvSpPr>
            <p:spPr bwMode="auto">
              <a:xfrm>
                <a:off x="2578100" y="4672013"/>
                <a:ext cx="395287" cy="447675"/>
              </a:xfrm>
              <a:custGeom>
                <a:avLst/>
                <a:gdLst>
                  <a:gd name="T0" fmla="*/ 66 w 105"/>
                  <a:gd name="T1" fmla="*/ 119 h 119"/>
                  <a:gd name="T2" fmla="*/ 0 w 105"/>
                  <a:gd name="T3" fmla="*/ 104 h 119"/>
                  <a:gd name="T4" fmla="*/ 21 w 105"/>
                  <a:gd name="T5" fmla="*/ 0 h 119"/>
                  <a:gd name="T6" fmla="*/ 83 w 105"/>
                  <a:gd name="T7" fmla="*/ 17 h 119"/>
                  <a:gd name="T8" fmla="*/ 66 w 105"/>
                  <a:gd name="T9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" h="119">
                    <a:moveTo>
                      <a:pt x="66" y="119"/>
                    </a:moveTo>
                    <a:cubicBezTo>
                      <a:pt x="66" y="119"/>
                      <a:pt x="37" y="112"/>
                      <a:pt x="0" y="104"/>
                    </a:cubicBezTo>
                    <a:cubicBezTo>
                      <a:pt x="16" y="72"/>
                      <a:pt x="23" y="36"/>
                      <a:pt x="21" y="0"/>
                    </a:cubicBezTo>
                    <a:cubicBezTo>
                      <a:pt x="40" y="7"/>
                      <a:pt x="61" y="13"/>
                      <a:pt x="83" y="17"/>
                    </a:cubicBezTo>
                    <a:cubicBezTo>
                      <a:pt x="83" y="17"/>
                      <a:pt x="105" y="87"/>
                      <a:pt x="66" y="119"/>
                    </a:cubicBezTo>
                    <a:close/>
                  </a:path>
                </a:pathLst>
              </a:custGeom>
              <a:solidFill>
                <a:srgbClr val="A1A1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íṥľïďé">
                <a:extLst>
                  <a:ext uri="{FF2B5EF4-FFF2-40B4-BE49-F238E27FC236}">
                    <a16:creationId xmlns:a16="http://schemas.microsoft.com/office/drawing/2014/main" id="{CBE5D6B3-F64E-4131-A263-2077967994B0}"/>
                  </a:ext>
                </a:extLst>
              </p:cNvPr>
              <p:cNvSpPr/>
              <p:nvPr/>
            </p:nvSpPr>
            <p:spPr bwMode="auto">
              <a:xfrm>
                <a:off x="1931988" y="4592638"/>
                <a:ext cx="271462" cy="266700"/>
              </a:xfrm>
              <a:custGeom>
                <a:avLst/>
                <a:gdLst>
                  <a:gd name="T0" fmla="*/ 72 w 72"/>
                  <a:gd name="T1" fmla="*/ 6 h 71"/>
                  <a:gd name="T2" fmla="*/ 72 w 72"/>
                  <a:gd name="T3" fmla="*/ 6 h 71"/>
                  <a:gd name="T4" fmla="*/ 50 w 72"/>
                  <a:gd name="T5" fmla="*/ 71 h 71"/>
                  <a:gd name="T6" fmla="*/ 9 w 72"/>
                  <a:gd name="T7" fmla="*/ 43 h 71"/>
                  <a:gd name="T8" fmla="*/ 20 w 72"/>
                  <a:gd name="T9" fmla="*/ 0 h 71"/>
                  <a:gd name="T10" fmla="*/ 72 w 72"/>
                  <a:gd name="T11" fmla="*/ 5 h 71"/>
                  <a:gd name="T12" fmla="*/ 72 w 72"/>
                  <a:gd name="T13" fmla="*/ 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71">
                    <a:moveTo>
                      <a:pt x="72" y="6"/>
                    </a:moveTo>
                    <a:cubicBezTo>
                      <a:pt x="72" y="6"/>
                      <a:pt x="72" y="6"/>
                      <a:pt x="72" y="6"/>
                    </a:cubicBezTo>
                    <a:cubicBezTo>
                      <a:pt x="68" y="29"/>
                      <a:pt x="60" y="50"/>
                      <a:pt x="50" y="71"/>
                    </a:cubicBezTo>
                    <a:cubicBezTo>
                      <a:pt x="36" y="62"/>
                      <a:pt x="23" y="53"/>
                      <a:pt x="9" y="43"/>
                    </a:cubicBezTo>
                    <a:cubicBezTo>
                      <a:pt x="0" y="27"/>
                      <a:pt x="0" y="14"/>
                      <a:pt x="20" y="0"/>
                    </a:cubicBezTo>
                    <a:cubicBezTo>
                      <a:pt x="37" y="1"/>
                      <a:pt x="55" y="2"/>
                      <a:pt x="72" y="5"/>
                    </a:cubicBezTo>
                    <a:cubicBezTo>
                      <a:pt x="72" y="5"/>
                      <a:pt x="72" y="6"/>
                      <a:pt x="72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îṥlïďê">
                <a:extLst>
                  <a:ext uri="{FF2B5EF4-FFF2-40B4-BE49-F238E27FC236}">
                    <a16:creationId xmlns:a16="http://schemas.microsoft.com/office/drawing/2014/main" id="{8DED1938-C5F3-4970-B3E6-BF8C15907A7D}"/>
                  </a:ext>
                </a:extLst>
              </p:cNvPr>
              <p:cNvSpPr/>
              <p:nvPr/>
            </p:nvSpPr>
            <p:spPr bwMode="auto">
              <a:xfrm>
                <a:off x="1722438" y="4352926"/>
                <a:ext cx="165100" cy="120650"/>
              </a:xfrm>
              <a:custGeom>
                <a:avLst/>
                <a:gdLst>
                  <a:gd name="T0" fmla="*/ 4 w 44"/>
                  <a:gd name="T1" fmla="*/ 1 h 32"/>
                  <a:gd name="T2" fmla="*/ 23 w 44"/>
                  <a:gd name="T3" fmla="*/ 13 h 32"/>
                  <a:gd name="T4" fmla="*/ 42 w 44"/>
                  <a:gd name="T5" fmla="*/ 27 h 32"/>
                  <a:gd name="T6" fmla="*/ 39 w 44"/>
                  <a:gd name="T7" fmla="*/ 31 h 32"/>
                  <a:gd name="T8" fmla="*/ 18 w 44"/>
                  <a:gd name="T9" fmla="*/ 17 h 32"/>
                  <a:gd name="T10" fmla="*/ 1 w 44"/>
                  <a:gd name="T11" fmla="*/ 4 h 32"/>
                  <a:gd name="T12" fmla="*/ 4 w 44"/>
                  <a:gd name="T13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32">
                    <a:moveTo>
                      <a:pt x="4" y="1"/>
                    </a:moveTo>
                    <a:cubicBezTo>
                      <a:pt x="11" y="2"/>
                      <a:pt x="17" y="9"/>
                      <a:pt x="23" y="13"/>
                    </a:cubicBezTo>
                    <a:cubicBezTo>
                      <a:pt x="30" y="17"/>
                      <a:pt x="36" y="22"/>
                      <a:pt x="42" y="27"/>
                    </a:cubicBezTo>
                    <a:cubicBezTo>
                      <a:pt x="44" y="29"/>
                      <a:pt x="41" y="32"/>
                      <a:pt x="39" y="31"/>
                    </a:cubicBezTo>
                    <a:cubicBezTo>
                      <a:pt x="32" y="27"/>
                      <a:pt x="25" y="22"/>
                      <a:pt x="18" y="17"/>
                    </a:cubicBezTo>
                    <a:cubicBezTo>
                      <a:pt x="12" y="13"/>
                      <a:pt x="4" y="10"/>
                      <a:pt x="1" y="4"/>
                    </a:cubicBezTo>
                    <a:cubicBezTo>
                      <a:pt x="0" y="2"/>
                      <a:pt x="2" y="0"/>
                      <a:pt x="4" y="1"/>
                    </a:cubicBezTo>
                    <a:close/>
                  </a:path>
                </a:pathLst>
              </a:custGeom>
              <a:solidFill>
                <a:srgbClr val="455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íṣḷiďê">
                <a:extLst>
                  <a:ext uri="{FF2B5EF4-FFF2-40B4-BE49-F238E27FC236}">
                    <a16:creationId xmlns:a16="http://schemas.microsoft.com/office/drawing/2014/main" id="{0C8597AE-AB36-4873-8E13-E905D764ED1F}"/>
                  </a:ext>
                </a:extLst>
              </p:cNvPr>
              <p:cNvSpPr/>
              <p:nvPr/>
            </p:nvSpPr>
            <p:spPr bwMode="auto">
              <a:xfrm>
                <a:off x="1657350" y="4532313"/>
                <a:ext cx="158750" cy="60325"/>
              </a:xfrm>
              <a:custGeom>
                <a:avLst/>
                <a:gdLst>
                  <a:gd name="T0" fmla="*/ 4 w 42"/>
                  <a:gd name="T1" fmla="*/ 1 h 16"/>
                  <a:gd name="T2" fmla="*/ 39 w 42"/>
                  <a:gd name="T3" fmla="*/ 10 h 16"/>
                  <a:gd name="T4" fmla="*/ 38 w 42"/>
                  <a:gd name="T5" fmla="*/ 16 h 16"/>
                  <a:gd name="T6" fmla="*/ 3 w 42"/>
                  <a:gd name="T7" fmla="*/ 7 h 16"/>
                  <a:gd name="T8" fmla="*/ 4 w 42"/>
                  <a:gd name="T9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6">
                    <a:moveTo>
                      <a:pt x="4" y="1"/>
                    </a:moveTo>
                    <a:cubicBezTo>
                      <a:pt x="16" y="2"/>
                      <a:pt x="28" y="6"/>
                      <a:pt x="39" y="10"/>
                    </a:cubicBezTo>
                    <a:cubicBezTo>
                      <a:pt x="42" y="12"/>
                      <a:pt x="41" y="16"/>
                      <a:pt x="38" y="16"/>
                    </a:cubicBezTo>
                    <a:cubicBezTo>
                      <a:pt x="26" y="14"/>
                      <a:pt x="14" y="11"/>
                      <a:pt x="3" y="7"/>
                    </a:cubicBezTo>
                    <a:cubicBezTo>
                      <a:pt x="0" y="6"/>
                      <a:pt x="0" y="0"/>
                      <a:pt x="4" y="1"/>
                    </a:cubicBezTo>
                    <a:close/>
                  </a:path>
                </a:pathLst>
              </a:custGeom>
              <a:solidFill>
                <a:srgbClr val="455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íṡlíďé">
                <a:extLst>
                  <a:ext uri="{FF2B5EF4-FFF2-40B4-BE49-F238E27FC236}">
                    <a16:creationId xmlns:a16="http://schemas.microsoft.com/office/drawing/2014/main" id="{B60BDF53-84CD-474D-A4EB-ADE66DD096CD}"/>
                  </a:ext>
                </a:extLst>
              </p:cNvPr>
              <p:cNvSpPr/>
              <p:nvPr/>
            </p:nvSpPr>
            <p:spPr bwMode="auto">
              <a:xfrm>
                <a:off x="1631950" y="4713288"/>
                <a:ext cx="150812" cy="60325"/>
              </a:xfrm>
              <a:custGeom>
                <a:avLst/>
                <a:gdLst>
                  <a:gd name="T0" fmla="*/ 5 w 40"/>
                  <a:gd name="T1" fmla="*/ 7 h 16"/>
                  <a:gd name="T2" fmla="*/ 36 w 40"/>
                  <a:gd name="T3" fmla="*/ 1 h 16"/>
                  <a:gd name="T4" fmla="*/ 37 w 40"/>
                  <a:gd name="T5" fmla="*/ 6 h 16"/>
                  <a:gd name="T6" fmla="*/ 7 w 40"/>
                  <a:gd name="T7" fmla="*/ 15 h 16"/>
                  <a:gd name="T8" fmla="*/ 5 w 40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6">
                    <a:moveTo>
                      <a:pt x="5" y="7"/>
                    </a:moveTo>
                    <a:cubicBezTo>
                      <a:pt x="15" y="5"/>
                      <a:pt x="26" y="2"/>
                      <a:pt x="36" y="1"/>
                    </a:cubicBezTo>
                    <a:cubicBezTo>
                      <a:pt x="39" y="0"/>
                      <a:pt x="40" y="5"/>
                      <a:pt x="37" y="6"/>
                    </a:cubicBezTo>
                    <a:cubicBezTo>
                      <a:pt x="28" y="10"/>
                      <a:pt x="17" y="12"/>
                      <a:pt x="7" y="15"/>
                    </a:cubicBezTo>
                    <a:cubicBezTo>
                      <a:pt x="2" y="16"/>
                      <a:pt x="0" y="9"/>
                      <a:pt x="5" y="7"/>
                    </a:cubicBezTo>
                    <a:close/>
                  </a:path>
                </a:pathLst>
              </a:custGeom>
              <a:solidFill>
                <a:srgbClr val="455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ïṩḷïde">
                <a:extLst>
                  <a:ext uri="{FF2B5EF4-FFF2-40B4-BE49-F238E27FC236}">
                    <a16:creationId xmlns:a16="http://schemas.microsoft.com/office/drawing/2014/main" id="{E7751812-FE56-427F-ADFF-C909A9EBE69A}"/>
                  </a:ext>
                </a:extLst>
              </p:cNvPr>
              <p:cNvSpPr/>
              <p:nvPr/>
            </p:nvSpPr>
            <p:spPr bwMode="auto">
              <a:xfrm>
                <a:off x="1643063" y="4894263"/>
                <a:ext cx="120650" cy="101600"/>
              </a:xfrm>
              <a:custGeom>
                <a:avLst/>
                <a:gdLst>
                  <a:gd name="T0" fmla="*/ 2 w 32"/>
                  <a:gd name="T1" fmla="*/ 21 h 27"/>
                  <a:gd name="T2" fmla="*/ 13 w 32"/>
                  <a:gd name="T3" fmla="*/ 12 h 27"/>
                  <a:gd name="T4" fmla="*/ 25 w 32"/>
                  <a:gd name="T5" fmla="*/ 2 h 27"/>
                  <a:gd name="T6" fmla="*/ 29 w 32"/>
                  <a:gd name="T7" fmla="*/ 7 h 27"/>
                  <a:gd name="T8" fmla="*/ 18 w 32"/>
                  <a:gd name="T9" fmla="*/ 17 h 27"/>
                  <a:gd name="T10" fmla="*/ 7 w 32"/>
                  <a:gd name="T11" fmla="*/ 26 h 27"/>
                  <a:gd name="T12" fmla="*/ 2 w 32"/>
                  <a:gd name="T13" fmla="*/ 2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7">
                    <a:moveTo>
                      <a:pt x="2" y="21"/>
                    </a:moveTo>
                    <a:cubicBezTo>
                      <a:pt x="5" y="17"/>
                      <a:pt x="9" y="15"/>
                      <a:pt x="13" y="12"/>
                    </a:cubicBezTo>
                    <a:cubicBezTo>
                      <a:pt x="17" y="8"/>
                      <a:pt x="21" y="5"/>
                      <a:pt x="25" y="2"/>
                    </a:cubicBezTo>
                    <a:cubicBezTo>
                      <a:pt x="28" y="0"/>
                      <a:pt x="32" y="5"/>
                      <a:pt x="29" y="7"/>
                    </a:cubicBezTo>
                    <a:cubicBezTo>
                      <a:pt x="26" y="11"/>
                      <a:pt x="22" y="14"/>
                      <a:pt x="18" y="17"/>
                    </a:cubicBezTo>
                    <a:cubicBezTo>
                      <a:pt x="14" y="20"/>
                      <a:pt x="11" y="24"/>
                      <a:pt x="7" y="26"/>
                    </a:cubicBezTo>
                    <a:cubicBezTo>
                      <a:pt x="4" y="27"/>
                      <a:pt x="0" y="24"/>
                      <a:pt x="2" y="21"/>
                    </a:cubicBezTo>
                    <a:close/>
                  </a:path>
                </a:pathLst>
              </a:custGeom>
              <a:solidFill>
                <a:srgbClr val="4558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65" name="îṥḷîďê">
              <a:extLst>
                <a:ext uri="{FF2B5EF4-FFF2-40B4-BE49-F238E27FC236}">
                  <a16:creationId xmlns:a16="http://schemas.microsoft.com/office/drawing/2014/main" id="{CA30EE6C-2470-4B03-9EBA-7A50127073C0}"/>
                </a:ext>
              </a:extLst>
            </p:cNvPr>
            <p:cNvGrpSpPr/>
            <p:nvPr/>
          </p:nvGrpSpPr>
          <p:grpSpPr>
            <a:xfrm>
              <a:off x="7477040" y="1511956"/>
              <a:ext cx="772544" cy="480002"/>
              <a:chOff x="6518275" y="1106488"/>
              <a:chExt cx="863600" cy="53657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80" name="iŝlíḍé">
                <a:extLst>
                  <a:ext uri="{FF2B5EF4-FFF2-40B4-BE49-F238E27FC236}">
                    <a16:creationId xmlns:a16="http://schemas.microsoft.com/office/drawing/2014/main" id="{FCD15FAB-D28F-4B2B-A9F5-B2BC530561A2}"/>
                  </a:ext>
                </a:extLst>
              </p:cNvPr>
              <p:cNvSpPr/>
              <p:nvPr/>
            </p:nvSpPr>
            <p:spPr bwMode="auto">
              <a:xfrm>
                <a:off x="7243763" y="1452563"/>
                <a:ext cx="138112" cy="190500"/>
              </a:xfrm>
              <a:custGeom>
                <a:avLst/>
                <a:gdLst>
                  <a:gd name="T0" fmla="*/ 19 w 37"/>
                  <a:gd name="T1" fmla="*/ 50 h 51"/>
                  <a:gd name="T2" fmla="*/ 22 w 37"/>
                  <a:gd name="T3" fmla="*/ 21 h 51"/>
                  <a:gd name="T4" fmla="*/ 22 w 37"/>
                  <a:gd name="T5" fmla="*/ 8 h 51"/>
                  <a:gd name="T6" fmla="*/ 9 w 37"/>
                  <a:gd name="T7" fmla="*/ 9 h 51"/>
                  <a:gd name="T8" fmla="*/ 10 w 37"/>
                  <a:gd name="T9" fmla="*/ 24 h 51"/>
                  <a:gd name="T10" fmla="*/ 19 w 37"/>
                  <a:gd name="T11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51">
                    <a:moveTo>
                      <a:pt x="19" y="50"/>
                    </a:moveTo>
                    <a:cubicBezTo>
                      <a:pt x="37" y="50"/>
                      <a:pt x="37" y="24"/>
                      <a:pt x="22" y="21"/>
                    </a:cubicBezTo>
                    <a:cubicBezTo>
                      <a:pt x="22" y="17"/>
                      <a:pt x="22" y="13"/>
                      <a:pt x="22" y="8"/>
                    </a:cubicBezTo>
                    <a:cubicBezTo>
                      <a:pt x="22" y="0"/>
                      <a:pt x="9" y="0"/>
                      <a:pt x="9" y="9"/>
                    </a:cubicBezTo>
                    <a:cubicBezTo>
                      <a:pt x="9" y="14"/>
                      <a:pt x="9" y="19"/>
                      <a:pt x="10" y="24"/>
                    </a:cubicBezTo>
                    <a:cubicBezTo>
                      <a:pt x="0" y="31"/>
                      <a:pt x="4" y="51"/>
                      <a:pt x="19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îṥḷîḋè">
                <a:extLst>
                  <a:ext uri="{FF2B5EF4-FFF2-40B4-BE49-F238E27FC236}">
                    <a16:creationId xmlns:a16="http://schemas.microsoft.com/office/drawing/2014/main" id="{4472911F-0236-4D56-BBFA-617757399E7F}"/>
                  </a:ext>
                </a:extLst>
              </p:cNvPr>
              <p:cNvSpPr/>
              <p:nvPr/>
            </p:nvSpPr>
            <p:spPr bwMode="auto">
              <a:xfrm>
                <a:off x="7258050" y="1301751"/>
                <a:ext cx="71437" cy="96838"/>
              </a:xfrm>
              <a:custGeom>
                <a:avLst/>
                <a:gdLst>
                  <a:gd name="T0" fmla="*/ 8 w 19"/>
                  <a:gd name="T1" fmla="*/ 22 h 26"/>
                  <a:gd name="T2" fmla="*/ 16 w 19"/>
                  <a:gd name="T3" fmla="*/ 16 h 26"/>
                  <a:gd name="T4" fmla="*/ 14 w 19"/>
                  <a:gd name="T5" fmla="*/ 6 h 26"/>
                  <a:gd name="T6" fmla="*/ 10 w 19"/>
                  <a:gd name="T7" fmla="*/ 1 h 26"/>
                  <a:gd name="T8" fmla="*/ 2 w 19"/>
                  <a:gd name="T9" fmla="*/ 5 h 26"/>
                  <a:gd name="T10" fmla="*/ 8 w 19"/>
                  <a:gd name="T1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6">
                    <a:moveTo>
                      <a:pt x="8" y="22"/>
                    </a:moveTo>
                    <a:cubicBezTo>
                      <a:pt x="12" y="26"/>
                      <a:pt x="19" y="21"/>
                      <a:pt x="16" y="16"/>
                    </a:cubicBezTo>
                    <a:cubicBezTo>
                      <a:pt x="14" y="12"/>
                      <a:pt x="14" y="10"/>
                      <a:pt x="14" y="6"/>
                    </a:cubicBezTo>
                    <a:cubicBezTo>
                      <a:pt x="14" y="4"/>
                      <a:pt x="12" y="1"/>
                      <a:pt x="10" y="1"/>
                    </a:cubicBezTo>
                    <a:cubicBezTo>
                      <a:pt x="6" y="0"/>
                      <a:pt x="4" y="2"/>
                      <a:pt x="2" y="5"/>
                    </a:cubicBezTo>
                    <a:cubicBezTo>
                      <a:pt x="0" y="11"/>
                      <a:pt x="3" y="18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íśľîḋê">
                <a:extLst>
                  <a:ext uri="{FF2B5EF4-FFF2-40B4-BE49-F238E27FC236}">
                    <a16:creationId xmlns:a16="http://schemas.microsoft.com/office/drawing/2014/main" id="{4CBF7883-535C-4802-ACFC-5BD592D3CAA7}"/>
                  </a:ext>
                </a:extLst>
              </p:cNvPr>
              <p:cNvSpPr/>
              <p:nvPr/>
            </p:nvSpPr>
            <p:spPr bwMode="auto">
              <a:xfrm>
                <a:off x="7210425" y="1192213"/>
                <a:ext cx="82550" cy="82550"/>
              </a:xfrm>
              <a:custGeom>
                <a:avLst/>
                <a:gdLst>
                  <a:gd name="T0" fmla="*/ 2 w 22"/>
                  <a:gd name="T1" fmla="*/ 12 h 22"/>
                  <a:gd name="T2" fmla="*/ 11 w 22"/>
                  <a:gd name="T3" fmla="*/ 19 h 22"/>
                  <a:gd name="T4" fmla="*/ 19 w 22"/>
                  <a:gd name="T5" fmla="*/ 10 h 22"/>
                  <a:gd name="T6" fmla="*/ 12 w 22"/>
                  <a:gd name="T7" fmla="*/ 2 h 22"/>
                  <a:gd name="T8" fmla="*/ 2 w 22"/>
                  <a:gd name="T9" fmla="*/ 3 h 22"/>
                  <a:gd name="T10" fmla="*/ 2 w 22"/>
                  <a:gd name="T11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22">
                    <a:moveTo>
                      <a:pt x="2" y="12"/>
                    </a:moveTo>
                    <a:cubicBezTo>
                      <a:pt x="5" y="15"/>
                      <a:pt x="8" y="17"/>
                      <a:pt x="11" y="19"/>
                    </a:cubicBezTo>
                    <a:cubicBezTo>
                      <a:pt x="16" y="22"/>
                      <a:pt x="22" y="15"/>
                      <a:pt x="19" y="10"/>
                    </a:cubicBezTo>
                    <a:cubicBezTo>
                      <a:pt x="17" y="7"/>
                      <a:pt x="15" y="5"/>
                      <a:pt x="12" y="2"/>
                    </a:cubicBezTo>
                    <a:cubicBezTo>
                      <a:pt x="9" y="0"/>
                      <a:pt x="5" y="0"/>
                      <a:pt x="2" y="3"/>
                    </a:cubicBezTo>
                    <a:cubicBezTo>
                      <a:pt x="0" y="5"/>
                      <a:pt x="0" y="10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ïṣļîḓé">
                <a:extLst>
                  <a:ext uri="{FF2B5EF4-FFF2-40B4-BE49-F238E27FC236}">
                    <a16:creationId xmlns:a16="http://schemas.microsoft.com/office/drawing/2014/main" id="{E1D0CAE6-70D6-4515-B64F-0366436F22FC}"/>
                  </a:ext>
                </a:extLst>
              </p:cNvPr>
              <p:cNvSpPr/>
              <p:nvPr/>
            </p:nvSpPr>
            <p:spPr bwMode="auto">
              <a:xfrm>
                <a:off x="7032625" y="1155701"/>
                <a:ext cx="112712" cy="58738"/>
              </a:xfrm>
              <a:custGeom>
                <a:avLst/>
                <a:gdLst>
                  <a:gd name="T0" fmla="*/ 3 w 30"/>
                  <a:gd name="T1" fmla="*/ 13 h 16"/>
                  <a:gd name="T2" fmla="*/ 14 w 30"/>
                  <a:gd name="T3" fmla="*/ 15 h 16"/>
                  <a:gd name="T4" fmla="*/ 24 w 30"/>
                  <a:gd name="T5" fmla="*/ 15 h 16"/>
                  <a:gd name="T6" fmla="*/ 25 w 30"/>
                  <a:gd name="T7" fmla="*/ 5 h 16"/>
                  <a:gd name="T8" fmla="*/ 7 w 30"/>
                  <a:gd name="T9" fmla="*/ 1 h 16"/>
                  <a:gd name="T10" fmla="*/ 0 w 30"/>
                  <a:gd name="T11" fmla="*/ 6 h 16"/>
                  <a:gd name="T12" fmla="*/ 3 w 30"/>
                  <a:gd name="T13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6">
                    <a:moveTo>
                      <a:pt x="3" y="13"/>
                    </a:moveTo>
                    <a:cubicBezTo>
                      <a:pt x="7" y="15"/>
                      <a:pt x="10" y="15"/>
                      <a:pt x="14" y="15"/>
                    </a:cubicBezTo>
                    <a:cubicBezTo>
                      <a:pt x="17" y="16"/>
                      <a:pt x="20" y="15"/>
                      <a:pt x="24" y="15"/>
                    </a:cubicBezTo>
                    <a:cubicBezTo>
                      <a:pt x="29" y="15"/>
                      <a:pt x="30" y="6"/>
                      <a:pt x="25" y="5"/>
                    </a:cubicBezTo>
                    <a:cubicBezTo>
                      <a:pt x="19" y="3"/>
                      <a:pt x="13" y="0"/>
                      <a:pt x="7" y="1"/>
                    </a:cubicBezTo>
                    <a:cubicBezTo>
                      <a:pt x="4" y="1"/>
                      <a:pt x="1" y="3"/>
                      <a:pt x="0" y="6"/>
                    </a:cubicBezTo>
                    <a:cubicBezTo>
                      <a:pt x="0" y="8"/>
                      <a:pt x="1" y="12"/>
                      <a:pt x="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íşḷïďè">
                <a:extLst>
                  <a:ext uri="{FF2B5EF4-FFF2-40B4-BE49-F238E27FC236}">
                    <a16:creationId xmlns:a16="http://schemas.microsoft.com/office/drawing/2014/main" id="{7B63906F-B4C3-4282-8BFC-8B99F6D500AE}"/>
                  </a:ext>
                </a:extLst>
              </p:cNvPr>
              <p:cNvSpPr/>
              <p:nvPr/>
            </p:nvSpPr>
            <p:spPr bwMode="auto">
              <a:xfrm>
                <a:off x="6905625" y="1150938"/>
                <a:ext cx="71437" cy="49213"/>
              </a:xfrm>
              <a:custGeom>
                <a:avLst/>
                <a:gdLst>
                  <a:gd name="T0" fmla="*/ 6 w 19"/>
                  <a:gd name="T1" fmla="*/ 13 h 13"/>
                  <a:gd name="T2" fmla="*/ 11 w 19"/>
                  <a:gd name="T3" fmla="*/ 13 h 13"/>
                  <a:gd name="T4" fmla="*/ 13 w 19"/>
                  <a:gd name="T5" fmla="*/ 12 h 13"/>
                  <a:gd name="T6" fmla="*/ 15 w 19"/>
                  <a:gd name="T7" fmla="*/ 11 h 13"/>
                  <a:gd name="T8" fmla="*/ 15 w 19"/>
                  <a:gd name="T9" fmla="*/ 11 h 13"/>
                  <a:gd name="T10" fmla="*/ 14 w 19"/>
                  <a:gd name="T11" fmla="*/ 2 h 13"/>
                  <a:gd name="T12" fmla="*/ 14 w 19"/>
                  <a:gd name="T13" fmla="*/ 2 h 13"/>
                  <a:gd name="T14" fmla="*/ 11 w 19"/>
                  <a:gd name="T15" fmla="*/ 1 h 13"/>
                  <a:gd name="T16" fmla="*/ 6 w 19"/>
                  <a:gd name="T17" fmla="*/ 1 h 13"/>
                  <a:gd name="T18" fmla="*/ 0 w 19"/>
                  <a:gd name="T19" fmla="*/ 7 h 13"/>
                  <a:gd name="T20" fmla="*/ 6 w 19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13">
                    <a:moveTo>
                      <a:pt x="6" y="13"/>
                    </a:moveTo>
                    <a:cubicBezTo>
                      <a:pt x="8" y="13"/>
                      <a:pt x="10" y="13"/>
                      <a:pt x="11" y="13"/>
                    </a:cubicBezTo>
                    <a:cubicBezTo>
                      <a:pt x="12" y="13"/>
                      <a:pt x="13" y="13"/>
                      <a:pt x="13" y="12"/>
                    </a:cubicBezTo>
                    <a:cubicBezTo>
                      <a:pt x="14" y="12"/>
                      <a:pt x="14" y="12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9" y="10"/>
                      <a:pt x="19" y="3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9" y="1"/>
                      <a:pt x="8" y="0"/>
                      <a:pt x="6" y="1"/>
                    </a:cubicBezTo>
                    <a:cubicBezTo>
                      <a:pt x="3" y="1"/>
                      <a:pt x="0" y="3"/>
                      <a:pt x="0" y="7"/>
                    </a:cubicBezTo>
                    <a:cubicBezTo>
                      <a:pt x="0" y="11"/>
                      <a:pt x="3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îṥľiḓe">
                <a:extLst>
                  <a:ext uri="{FF2B5EF4-FFF2-40B4-BE49-F238E27FC236}">
                    <a16:creationId xmlns:a16="http://schemas.microsoft.com/office/drawing/2014/main" id="{B2382E98-A5A4-49A4-9287-4F5F9ED62FCD}"/>
                  </a:ext>
                </a:extLst>
              </p:cNvPr>
              <p:cNvSpPr/>
              <p:nvPr/>
            </p:nvSpPr>
            <p:spPr bwMode="auto">
              <a:xfrm>
                <a:off x="6729413" y="1128713"/>
                <a:ext cx="104775" cy="68263"/>
              </a:xfrm>
              <a:custGeom>
                <a:avLst/>
                <a:gdLst>
                  <a:gd name="T0" fmla="*/ 5 w 28"/>
                  <a:gd name="T1" fmla="*/ 15 h 18"/>
                  <a:gd name="T2" fmla="*/ 23 w 28"/>
                  <a:gd name="T3" fmla="*/ 14 h 18"/>
                  <a:gd name="T4" fmla="*/ 23 w 28"/>
                  <a:gd name="T5" fmla="*/ 3 h 18"/>
                  <a:gd name="T6" fmla="*/ 5 w 28"/>
                  <a:gd name="T7" fmla="*/ 3 h 18"/>
                  <a:gd name="T8" fmla="*/ 5 w 2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8">
                    <a:moveTo>
                      <a:pt x="5" y="15"/>
                    </a:moveTo>
                    <a:cubicBezTo>
                      <a:pt x="11" y="18"/>
                      <a:pt x="17" y="15"/>
                      <a:pt x="23" y="14"/>
                    </a:cubicBezTo>
                    <a:cubicBezTo>
                      <a:pt x="28" y="13"/>
                      <a:pt x="28" y="4"/>
                      <a:pt x="23" y="3"/>
                    </a:cubicBezTo>
                    <a:cubicBezTo>
                      <a:pt x="17" y="2"/>
                      <a:pt x="10" y="0"/>
                      <a:pt x="5" y="3"/>
                    </a:cubicBezTo>
                    <a:cubicBezTo>
                      <a:pt x="0" y="6"/>
                      <a:pt x="1" y="12"/>
                      <a:pt x="5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îs1iḑè">
                <a:extLst>
                  <a:ext uri="{FF2B5EF4-FFF2-40B4-BE49-F238E27FC236}">
                    <a16:creationId xmlns:a16="http://schemas.microsoft.com/office/drawing/2014/main" id="{FAC2CFE3-1C3A-4667-80E9-F42A33390493}"/>
                  </a:ext>
                </a:extLst>
              </p:cNvPr>
              <p:cNvSpPr/>
              <p:nvPr/>
            </p:nvSpPr>
            <p:spPr bwMode="auto">
              <a:xfrm>
                <a:off x="6518275" y="1106488"/>
                <a:ext cx="161925" cy="123825"/>
              </a:xfrm>
              <a:custGeom>
                <a:avLst/>
                <a:gdLst>
                  <a:gd name="T0" fmla="*/ 18 w 43"/>
                  <a:gd name="T1" fmla="*/ 33 h 33"/>
                  <a:gd name="T2" fmla="*/ 33 w 43"/>
                  <a:gd name="T3" fmla="*/ 21 h 33"/>
                  <a:gd name="T4" fmla="*/ 35 w 43"/>
                  <a:gd name="T5" fmla="*/ 21 h 33"/>
                  <a:gd name="T6" fmla="*/ 39 w 43"/>
                  <a:gd name="T7" fmla="*/ 19 h 33"/>
                  <a:gd name="T8" fmla="*/ 40 w 43"/>
                  <a:gd name="T9" fmla="*/ 19 h 33"/>
                  <a:gd name="T10" fmla="*/ 40 w 43"/>
                  <a:gd name="T11" fmla="*/ 12 h 33"/>
                  <a:gd name="T12" fmla="*/ 39 w 43"/>
                  <a:gd name="T13" fmla="*/ 11 h 33"/>
                  <a:gd name="T14" fmla="*/ 35 w 43"/>
                  <a:gd name="T15" fmla="*/ 10 h 33"/>
                  <a:gd name="T16" fmla="*/ 34 w 43"/>
                  <a:gd name="T17" fmla="*/ 10 h 33"/>
                  <a:gd name="T18" fmla="*/ 32 w 43"/>
                  <a:gd name="T19" fmla="*/ 9 h 33"/>
                  <a:gd name="T20" fmla="*/ 17 w 43"/>
                  <a:gd name="T21" fmla="*/ 0 h 33"/>
                  <a:gd name="T22" fmla="*/ 1 w 43"/>
                  <a:gd name="T23" fmla="*/ 17 h 33"/>
                  <a:gd name="T24" fmla="*/ 18 w 43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" h="33">
                    <a:moveTo>
                      <a:pt x="18" y="33"/>
                    </a:moveTo>
                    <a:cubicBezTo>
                      <a:pt x="25" y="33"/>
                      <a:pt x="31" y="28"/>
                      <a:pt x="33" y="21"/>
                    </a:cubicBezTo>
                    <a:cubicBezTo>
                      <a:pt x="34" y="21"/>
                      <a:pt x="34" y="21"/>
                      <a:pt x="35" y="21"/>
                    </a:cubicBezTo>
                    <a:cubicBezTo>
                      <a:pt x="36" y="20"/>
                      <a:pt x="38" y="20"/>
                      <a:pt x="39" y="19"/>
                    </a:cubicBezTo>
                    <a:cubicBezTo>
                      <a:pt x="39" y="19"/>
                      <a:pt x="40" y="19"/>
                      <a:pt x="40" y="19"/>
                    </a:cubicBezTo>
                    <a:cubicBezTo>
                      <a:pt x="43" y="18"/>
                      <a:pt x="43" y="12"/>
                      <a:pt x="40" y="12"/>
                    </a:cubicBezTo>
                    <a:cubicBezTo>
                      <a:pt x="39" y="12"/>
                      <a:pt x="39" y="12"/>
                      <a:pt x="39" y="11"/>
                    </a:cubicBezTo>
                    <a:cubicBezTo>
                      <a:pt x="38" y="11"/>
                      <a:pt x="37" y="11"/>
                      <a:pt x="35" y="10"/>
                    </a:cubicBezTo>
                    <a:cubicBezTo>
                      <a:pt x="35" y="10"/>
                      <a:pt x="34" y="10"/>
                      <a:pt x="34" y="10"/>
                    </a:cubicBezTo>
                    <a:cubicBezTo>
                      <a:pt x="34" y="10"/>
                      <a:pt x="33" y="10"/>
                      <a:pt x="32" y="9"/>
                    </a:cubicBezTo>
                    <a:cubicBezTo>
                      <a:pt x="30" y="4"/>
                      <a:pt x="24" y="0"/>
                      <a:pt x="17" y="0"/>
                    </a:cubicBezTo>
                    <a:cubicBezTo>
                      <a:pt x="8" y="0"/>
                      <a:pt x="0" y="8"/>
                      <a:pt x="1" y="17"/>
                    </a:cubicBezTo>
                    <a:cubicBezTo>
                      <a:pt x="1" y="26"/>
                      <a:pt x="9" y="33"/>
                      <a:pt x="1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66" name="ïš1ïḓê">
              <a:extLst>
                <a:ext uri="{FF2B5EF4-FFF2-40B4-BE49-F238E27FC236}">
                  <a16:creationId xmlns:a16="http://schemas.microsoft.com/office/drawing/2014/main" id="{12C1D118-4F00-4538-B920-7CB71DBCDAA8}"/>
                </a:ext>
              </a:extLst>
            </p:cNvPr>
            <p:cNvGrpSpPr/>
            <p:nvPr/>
          </p:nvGrpSpPr>
          <p:grpSpPr>
            <a:xfrm>
              <a:off x="7548076" y="1773257"/>
              <a:ext cx="332309" cy="269824"/>
              <a:chOff x="6597650" y="1398588"/>
              <a:chExt cx="371475" cy="301625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78" name="iŝ1ïďé">
                <a:extLst>
                  <a:ext uri="{FF2B5EF4-FFF2-40B4-BE49-F238E27FC236}">
                    <a16:creationId xmlns:a16="http://schemas.microsoft.com/office/drawing/2014/main" id="{F02621DB-EDC0-4574-B68F-63458F3C522C}"/>
                  </a:ext>
                </a:extLst>
              </p:cNvPr>
              <p:cNvSpPr/>
              <p:nvPr/>
            </p:nvSpPr>
            <p:spPr bwMode="auto">
              <a:xfrm>
                <a:off x="6597650" y="1398588"/>
                <a:ext cx="371475" cy="301625"/>
              </a:xfrm>
              <a:custGeom>
                <a:avLst/>
                <a:gdLst>
                  <a:gd name="T0" fmla="*/ 23 w 99"/>
                  <a:gd name="T1" fmla="*/ 80 h 80"/>
                  <a:gd name="T2" fmla="*/ 2 w 99"/>
                  <a:gd name="T3" fmla="*/ 48 h 80"/>
                  <a:gd name="T4" fmla="*/ 2 w 99"/>
                  <a:gd name="T5" fmla="*/ 45 h 80"/>
                  <a:gd name="T6" fmla="*/ 1 w 99"/>
                  <a:gd name="T7" fmla="*/ 37 h 80"/>
                  <a:gd name="T8" fmla="*/ 0 w 99"/>
                  <a:gd name="T9" fmla="*/ 28 h 80"/>
                  <a:gd name="T10" fmla="*/ 5 w 99"/>
                  <a:gd name="T11" fmla="*/ 10 h 80"/>
                  <a:gd name="T12" fmla="*/ 22 w 99"/>
                  <a:gd name="T13" fmla="*/ 4 h 80"/>
                  <a:gd name="T14" fmla="*/ 78 w 99"/>
                  <a:gd name="T15" fmla="*/ 0 h 80"/>
                  <a:gd name="T16" fmla="*/ 81 w 99"/>
                  <a:gd name="T17" fmla="*/ 0 h 80"/>
                  <a:gd name="T18" fmla="*/ 92 w 99"/>
                  <a:gd name="T19" fmla="*/ 4 h 80"/>
                  <a:gd name="T20" fmla="*/ 96 w 99"/>
                  <a:gd name="T21" fmla="*/ 19 h 80"/>
                  <a:gd name="T22" fmla="*/ 96 w 99"/>
                  <a:gd name="T23" fmla="*/ 28 h 80"/>
                  <a:gd name="T24" fmla="*/ 97 w 99"/>
                  <a:gd name="T25" fmla="*/ 46 h 80"/>
                  <a:gd name="T26" fmla="*/ 98 w 99"/>
                  <a:gd name="T27" fmla="*/ 51 h 80"/>
                  <a:gd name="T28" fmla="*/ 90 w 99"/>
                  <a:gd name="T29" fmla="*/ 73 h 80"/>
                  <a:gd name="T30" fmla="*/ 74 w 99"/>
                  <a:gd name="T31" fmla="*/ 76 h 80"/>
                  <a:gd name="T32" fmla="*/ 71 w 99"/>
                  <a:gd name="T33" fmla="*/ 76 h 80"/>
                  <a:gd name="T34" fmla="*/ 66 w 99"/>
                  <a:gd name="T35" fmla="*/ 76 h 80"/>
                  <a:gd name="T36" fmla="*/ 25 w 99"/>
                  <a:gd name="T37" fmla="*/ 79 h 80"/>
                  <a:gd name="T38" fmla="*/ 23 w 99"/>
                  <a:gd name="T39" fmla="*/ 80 h 80"/>
                  <a:gd name="T40" fmla="*/ 81 w 99"/>
                  <a:gd name="T41" fmla="*/ 8 h 80"/>
                  <a:gd name="T42" fmla="*/ 79 w 99"/>
                  <a:gd name="T43" fmla="*/ 8 h 80"/>
                  <a:gd name="T44" fmla="*/ 23 w 99"/>
                  <a:gd name="T45" fmla="*/ 12 h 80"/>
                  <a:gd name="T46" fmla="*/ 11 w 99"/>
                  <a:gd name="T47" fmla="*/ 16 h 80"/>
                  <a:gd name="T48" fmla="*/ 8 w 99"/>
                  <a:gd name="T49" fmla="*/ 28 h 80"/>
                  <a:gd name="T50" fmla="*/ 9 w 99"/>
                  <a:gd name="T51" fmla="*/ 36 h 80"/>
                  <a:gd name="T52" fmla="*/ 10 w 99"/>
                  <a:gd name="T53" fmla="*/ 45 h 80"/>
                  <a:gd name="T54" fmla="*/ 10 w 99"/>
                  <a:gd name="T55" fmla="*/ 47 h 80"/>
                  <a:gd name="T56" fmla="*/ 24 w 99"/>
                  <a:gd name="T57" fmla="*/ 72 h 80"/>
                  <a:gd name="T58" fmla="*/ 66 w 99"/>
                  <a:gd name="T59" fmla="*/ 68 h 80"/>
                  <a:gd name="T60" fmla="*/ 71 w 99"/>
                  <a:gd name="T61" fmla="*/ 68 h 80"/>
                  <a:gd name="T62" fmla="*/ 74 w 99"/>
                  <a:gd name="T63" fmla="*/ 68 h 80"/>
                  <a:gd name="T64" fmla="*/ 86 w 99"/>
                  <a:gd name="T65" fmla="*/ 66 h 80"/>
                  <a:gd name="T66" fmla="*/ 90 w 99"/>
                  <a:gd name="T67" fmla="*/ 52 h 80"/>
                  <a:gd name="T68" fmla="*/ 89 w 99"/>
                  <a:gd name="T69" fmla="*/ 46 h 80"/>
                  <a:gd name="T70" fmla="*/ 88 w 99"/>
                  <a:gd name="T71" fmla="*/ 28 h 80"/>
                  <a:gd name="T72" fmla="*/ 88 w 99"/>
                  <a:gd name="T73" fmla="*/ 19 h 80"/>
                  <a:gd name="T74" fmla="*/ 86 w 99"/>
                  <a:gd name="T75" fmla="*/ 9 h 80"/>
                  <a:gd name="T76" fmla="*/ 81 w 99"/>
                  <a:gd name="T77" fmla="*/ 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9" h="80">
                    <a:moveTo>
                      <a:pt x="23" y="80"/>
                    </a:moveTo>
                    <a:cubicBezTo>
                      <a:pt x="4" y="80"/>
                      <a:pt x="3" y="64"/>
                      <a:pt x="2" y="48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2"/>
                      <a:pt x="1" y="40"/>
                      <a:pt x="1" y="37"/>
                    </a:cubicBezTo>
                    <a:cubicBezTo>
                      <a:pt x="1" y="34"/>
                      <a:pt x="0" y="31"/>
                      <a:pt x="0" y="28"/>
                    </a:cubicBezTo>
                    <a:cubicBezTo>
                      <a:pt x="0" y="23"/>
                      <a:pt x="0" y="16"/>
                      <a:pt x="5" y="10"/>
                    </a:cubicBezTo>
                    <a:cubicBezTo>
                      <a:pt x="10" y="5"/>
                      <a:pt x="17" y="4"/>
                      <a:pt x="22" y="4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9" y="0"/>
                      <a:pt x="80" y="0"/>
                      <a:pt x="81" y="0"/>
                    </a:cubicBezTo>
                    <a:cubicBezTo>
                      <a:pt x="83" y="0"/>
                      <a:pt x="88" y="0"/>
                      <a:pt x="92" y="4"/>
                    </a:cubicBezTo>
                    <a:cubicBezTo>
                      <a:pt x="96" y="8"/>
                      <a:pt x="96" y="13"/>
                      <a:pt x="96" y="19"/>
                    </a:cubicBezTo>
                    <a:cubicBezTo>
                      <a:pt x="96" y="22"/>
                      <a:pt x="96" y="25"/>
                      <a:pt x="96" y="28"/>
                    </a:cubicBezTo>
                    <a:cubicBezTo>
                      <a:pt x="97" y="33"/>
                      <a:pt x="97" y="40"/>
                      <a:pt x="97" y="46"/>
                    </a:cubicBezTo>
                    <a:cubicBezTo>
                      <a:pt x="97" y="48"/>
                      <a:pt x="97" y="49"/>
                      <a:pt x="98" y="51"/>
                    </a:cubicBezTo>
                    <a:cubicBezTo>
                      <a:pt x="99" y="59"/>
                      <a:pt x="99" y="68"/>
                      <a:pt x="90" y="73"/>
                    </a:cubicBezTo>
                    <a:cubicBezTo>
                      <a:pt x="85" y="76"/>
                      <a:pt x="80" y="76"/>
                      <a:pt x="74" y="76"/>
                    </a:cubicBezTo>
                    <a:cubicBezTo>
                      <a:pt x="71" y="76"/>
                      <a:pt x="71" y="76"/>
                      <a:pt x="71" y="76"/>
                    </a:cubicBezTo>
                    <a:cubicBezTo>
                      <a:pt x="70" y="76"/>
                      <a:pt x="68" y="76"/>
                      <a:pt x="66" y="76"/>
                    </a:cubicBezTo>
                    <a:cubicBezTo>
                      <a:pt x="53" y="78"/>
                      <a:pt x="39" y="79"/>
                      <a:pt x="25" y="79"/>
                    </a:cubicBezTo>
                    <a:cubicBezTo>
                      <a:pt x="24" y="80"/>
                      <a:pt x="23" y="80"/>
                      <a:pt x="23" y="80"/>
                    </a:cubicBezTo>
                    <a:close/>
                    <a:moveTo>
                      <a:pt x="81" y="8"/>
                    </a:moveTo>
                    <a:cubicBezTo>
                      <a:pt x="81" y="8"/>
                      <a:pt x="80" y="8"/>
                      <a:pt x="79" y="8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8" y="12"/>
                      <a:pt x="14" y="13"/>
                      <a:pt x="11" y="16"/>
                    </a:cubicBezTo>
                    <a:cubicBezTo>
                      <a:pt x="9" y="18"/>
                      <a:pt x="8" y="23"/>
                      <a:pt x="8" y="28"/>
                    </a:cubicBezTo>
                    <a:cubicBezTo>
                      <a:pt x="8" y="31"/>
                      <a:pt x="9" y="33"/>
                      <a:pt x="9" y="36"/>
                    </a:cubicBezTo>
                    <a:cubicBezTo>
                      <a:pt x="9" y="39"/>
                      <a:pt x="10" y="42"/>
                      <a:pt x="10" y="45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1" y="67"/>
                      <a:pt x="12" y="72"/>
                      <a:pt x="24" y="72"/>
                    </a:cubicBezTo>
                    <a:cubicBezTo>
                      <a:pt x="38" y="71"/>
                      <a:pt x="52" y="70"/>
                      <a:pt x="66" y="68"/>
                    </a:cubicBezTo>
                    <a:cubicBezTo>
                      <a:pt x="68" y="68"/>
                      <a:pt x="69" y="68"/>
                      <a:pt x="71" y="68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9" y="68"/>
                      <a:pt x="83" y="68"/>
                      <a:pt x="86" y="66"/>
                    </a:cubicBezTo>
                    <a:cubicBezTo>
                      <a:pt x="91" y="63"/>
                      <a:pt x="91" y="61"/>
                      <a:pt x="90" y="52"/>
                    </a:cubicBezTo>
                    <a:cubicBezTo>
                      <a:pt x="89" y="50"/>
                      <a:pt x="89" y="48"/>
                      <a:pt x="89" y="46"/>
                    </a:cubicBezTo>
                    <a:cubicBezTo>
                      <a:pt x="89" y="40"/>
                      <a:pt x="89" y="34"/>
                      <a:pt x="88" y="28"/>
                    </a:cubicBezTo>
                    <a:cubicBezTo>
                      <a:pt x="88" y="25"/>
                      <a:pt x="88" y="22"/>
                      <a:pt x="88" y="19"/>
                    </a:cubicBezTo>
                    <a:cubicBezTo>
                      <a:pt x="88" y="15"/>
                      <a:pt x="88" y="11"/>
                      <a:pt x="86" y="9"/>
                    </a:cubicBezTo>
                    <a:cubicBezTo>
                      <a:pt x="85" y="8"/>
                      <a:pt x="84" y="8"/>
                      <a:pt x="8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íślïdé">
                <a:extLst>
                  <a:ext uri="{FF2B5EF4-FFF2-40B4-BE49-F238E27FC236}">
                    <a16:creationId xmlns:a16="http://schemas.microsoft.com/office/drawing/2014/main" id="{A559AD60-6441-49AB-9048-4250D24FE600}"/>
                  </a:ext>
                </a:extLst>
              </p:cNvPr>
              <p:cNvSpPr/>
              <p:nvPr/>
            </p:nvSpPr>
            <p:spPr bwMode="auto">
              <a:xfrm>
                <a:off x="6735763" y="1489076"/>
                <a:ext cx="123825" cy="117475"/>
              </a:xfrm>
              <a:custGeom>
                <a:avLst/>
                <a:gdLst>
                  <a:gd name="T0" fmla="*/ 33 w 33"/>
                  <a:gd name="T1" fmla="*/ 15 h 31"/>
                  <a:gd name="T2" fmla="*/ 0 w 33"/>
                  <a:gd name="T3" fmla="*/ 0 h 31"/>
                  <a:gd name="T4" fmla="*/ 4 w 33"/>
                  <a:gd name="T5" fmla="*/ 31 h 31"/>
                  <a:gd name="T6" fmla="*/ 33 w 33"/>
                  <a:gd name="T7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" h="31">
                    <a:moveTo>
                      <a:pt x="33" y="15"/>
                    </a:moveTo>
                    <a:cubicBezTo>
                      <a:pt x="24" y="8"/>
                      <a:pt x="12" y="3"/>
                      <a:pt x="0" y="0"/>
                    </a:cubicBezTo>
                    <a:cubicBezTo>
                      <a:pt x="0" y="10"/>
                      <a:pt x="1" y="21"/>
                      <a:pt x="4" y="31"/>
                    </a:cubicBezTo>
                    <a:cubicBezTo>
                      <a:pt x="13" y="27"/>
                      <a:pt x="24" y="20"/>
                      <a:pt x="33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67" name="íšḷïḍê">
              <a:extLst>
                <a:ext uri="{FF2B5EF4-FFF2-40B4-BE49-F238E27FC236}">
                  <a16:creationId xmlns:a16="http://schemas.microsoft.com/office/drawing/2014/main" id="{BC216C4C-BCE0-4BCF-A1D9-25B3435366AE}"/>
                </a:ext>
              </a:extLst>
            </p:cNvPr>
            <p:cNvGrpSpPr/>
            <p:nvPr/>
          </p:nvGrpSpPr>
          <p:grpSpPr>
            <a:xfrm>
              <a:off x="7007009" y="2466278"/>
              <a:ext cx="406155" cy="332310"/>
              <a:chOff x="5992813" y="2173288"/>
              <a:chExt cx="454024" cy="371476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73" name="îṥḻîďè">
                <a:extLst>
                  <a:ext uri="{FF2B5EF4-FFF2-40B4-BE49-F238E27FC236}">
                    <a16:creationId xmlns:a16="http://schemas.microsoft.com/office/drawing/2014/main" id="{0849847B-A6B5-40B3-8B42-B8BF63ABDF06}"/>
                  </a:ext>
                </a:extLst>
              </p:cNvPr>
              <p:cNvSpPr/>
              <p:nvPr/>
            </p:nvSpPr>
            <p:spPr bwMode="auto">
              <a:xfrm>
                <a:off x="5992813" y="2371726"/>
                <a:ext cx="192087" cy="173038"/>
              </a:xfrm>
              <a:custGeom>
                <a:avLst/>
                <a:gdLst>
                  <a:gd name="T0" fmla="*/ 26 w 51"/>
                  <a:gd name="T1" fmla="*/ 46 h 46"/>
                  <a:gd name="T2" fmla="*/ 10 w 51"/>
                  <a:gd name="T3" fmla="*/ 41 h 46"/>
                  <a:gd name="T4" fmla="*/ 2 w 51"/>
                  <a:gd name="T5" fmla="*/ 16 h 46"/>
                  <a:gd name="T6" fmla="*/ 24 w 51"/>
                  <a:gd name="T7" fmla="*/ 0 h 46"/>
                  <a:gd name="T8" fmla="*/ 24 w 51"/>
                  <a:gd name="T9" fmla="*/ 0 h 46"/>
                  <a:gd name="T10" fmla="*/ 41 w 51"/>
                  <a:gd name="T11" fmla="*/ 6 h 46"/>
                  <a:gd name="T12" fmla="*/ 50 w 51"/>
                  <a:gd name="T13" fmla="*/ 21 h 46"/>
                  <a:gd name="T14" fmla="*/ 44 w 51"/>
                  <a:gd name="T15" fmla="*/ 39 h 46"/>
                  <a:gd name="T16" fmla="*/ 27 w 51"/>
                  <a:gd name="T17" fmla="*/ 46 h 46"/>
                  <a:gd name="T18" fmla="*/ 26 w 51"/>
                  <a:gd name="T19" fmla="*/ 46 h 46"/>
                  <a:gd name="T20" fmla="*/ 24 w 51"/>
                  <a:gd name="T21" fmla="*/ 8 h 46"/>
                  <a:gd name="T22" fmla="*/ 10 w 51"/>
                  <a:gd name="T23" fmla="*/ 18 h 46"/>
                  <a:gd name="T24" fmla="*/ 15 w 51"/>
                  <a:gd name="T25" fmla="*/ 35 h 46"/>
                  <a:gd name="T26" fmla="*/ 27 w 51"/>
                  <a:gd name="T27" fmla="*/ 38 h 46"/>
                  <a:gd name="T28" fmla="*/ 39 w 51"/>
                  <a:gd name="T29" fmla="*/ 33 h 46"/>
                  <a:gd name="T30" fmla="*/ 42 w 51"/>
                  <a:gd name="T31" fmla="*/ 22 h 46"/>
                  <a:gd name="T32" fmla="*/ 36 w 51"/>
                  <a:gd name="T33" fmla="*/ 13 h 46"/>
                  <a:gd name="T34" fmla="*/ 24 w 51"/>
                  <a:gd name="T35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1" h="46">
                    <a:moveTo>
                      <a:pt x="26" y="46"/>
                    </a:moveTo>
                    <a:cubicBezTo>
                      <a:pt x="20" y="46"/>
                      <a:pt x="15" y="44"/>
                      <a:pt x="10" y="41"/>
                    </a:cubicBezTo>
                    <a:cubicBezTo>
                      <a:pt x="3" y="35"/>
                      <a:pt x="0" y="25"/>
                      <a:pt x="2" y="16"/>
                    </a:cubicBezTo>
                    <a:cubicBezTo>
                      <a:pt x="5" y="7"/>
                      <a:pt x="14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30" y="0"/>
                      <a:pt x="36" y="2"/>
                      <a:pt x="41" y="6"/>
                    </a:cubicBezTo>
                    <a:cubicBezTo>
                      <a:pt x="46" y="11"/>
                      <a:pt x="50" y="16"/>
                      <a:pt x="50" y="21"/>
                    </a:cubicBezTo>
                    <a:cubicBezTo>
                      <a:pt x="51" y="28"/>
                      <a:pt x="49" y="34"/>
                      <a:pt x="44" y="39"/>
                    </a:cubicBezTo>
                    <a:cubicBezTo>
                      <a:pt x="40" y="43"/>
                      <a:pt x="34" y="46"/>
                      <a:pt x="27" y="46"/>
                    </a:cubicBezTo>
                    <a:cubicBezTo>
                      <a:pt x="27" y="46"/>
                      <a:pt x="26" y="46"/>
                      <a:pt x="26" y="46"/>
                    </a:cubicBezTo>
                    <a:close/>
                    <a:moveTo>
                      <a:pt x="24" y="8"/>
                    </a:moveTo>
                    <a:cubicBezTo>
                      <a:pt x="18" y="8"/>
                      <a:pt x="12" y="13"/>
                      <a:pt x="10" y="18"/>
                    </a:cubicBezTo>
                    <a:cubicBezTo>
                      <a:pt x="8" y="24"/>
                      <a:pt x="10" y="31"/>
                      <a:pt x="15" y="35"/>
                    </a:cubicBezTo>
                    <a:cubicBezTo>
                      <a:pt x="18" y="37"/>
                      <a:pt x="23" y="38"/>
                      <a:pt x="27" y="38"/>
                    </a:cubicBezTo>
                    <a:cubicBezTo>
                      <a:pt x="31" y="38"/>
                      <a:pt x="36" y="36"/>
                      <a:pt x="39" y="33"/>
                    </a:cubicBezTo>
                    <a:cubicBezTo>
                      <a:pt x="42" y="30"/>
                      <a:pt x="43" y="26"/>
                      <a:pt x="42" y="22"/>
                    </a:cubicBezTo>
                    <a:cubicBezTo>
                      <a:pt x="42" y="19"/>
                      <a:pt x="40" y="16"/>
                      <a:pt x="36" y="13"/>
                    </a:cubicBezTo>
                    <a:cubicBezTo>
                      <a:pt x="32" y="10"/>
                      <a:pt x="28" y="8"/>
                      <a:pt x="2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ïṧļíďé">
                <a:extLst>
                  <a:ext uri="{FF2B5EF4-FFF2-40B4-BE49-F238E27FC236}">
                    <a16:creationId xmlns:a16="http://schemas.microsoft.com/office/drawing/2014/main" id="{C3560722-BC8A-4439-A460-6973BA052121}"/>
                  </a:ext>
                </a:extLst>
              </p:cNvPr>
              <p:cNvSpPr/>
              <p:nvPr/>
            </p:nvSpPr>
            <p:spPr bwMode="auto">
              <a:xfrm>
                <a:off x="6146800" y="2173288"/>
                <a:ext cx="195262" cy="173038"/>
              </a:xfrm>
              <a:custGeom>
                <a:avLst/>
                <a:gdLst>
                  <a:gd name="T0" fmla="*/ 27 w 52"/>
                  <a:gd name="T1" fmla="*/ 46 h 46"/>
                  <a:gd name="T2" fmla="*/ 11 w 52"/>
                  <a:gd name="T3" fmla="*/ 41 h 46"/>
                  <a:gd name="T4" fmla="*/ 3 w 52"/>
                  <a:gd name="T5" fmla="*/ 16 h 46"/>
                  <a:gd name="T6" fmla="*/ 25 w 52"/>
                  <a:gd name="T7" fmla="*/ 0 h 46"/>
                  <a:gd name="T8" fmla="*/ 42 w 52"/>
                  <a:gd name="T9" fmla="*/ 6 h 46"/>
                  <a:gd name="T10" fmla="*/ 51 w 52"/>
                  <a:gd name="T11" fmla="*/ 21 h 46"/>
                  <a:gd name="T12" fmla="*/ 45 w 52"/>
                  <a:gd name="T13" fmla="*/ 39 h 46"/>
                  <a:gd name="T14" fmla="*/ 28 w 52"/>
                  <a:gd name="T15" fmla="*/ 46 h 46"/>
                  <a:gd name="T16" fmla="*/ 27 w 52"/>
                  <a:gd name="T17" fmla="*/ 46 h 46"/>
                  <a:gd name="T18" fmla="*/ 25 w 52"/>
                  <a:gd name="T19" fmla="*/ 8 h 46"/>
                  <a:gd name="T20" fmla="*/ 11 w 52"/>
                  <a:gd name="T21" fmla="*/ 18 h 46"/>
                  <a:gd name="T22" fmla="*/ 16 w 52"/>
                  <a:gd name="T23" fmla="*/ 35 h 46"/>
                  <a:gd name="T24" fmla="*/ 28 w 52"/>
                  <a:gd name="T25" fmla="*/ 38 h 46"/>
                  <a:gd name="T26" fmla="*/ 39 w 52"/>
                  <a:gd name="T27" fmla="*/ 33 h 46"/>
                  <a:gd name="T28" fmla="*/ 43 w 52"/>
                  <a:gd name="T29" fmla="*/ 22 h 46"/>
                  <a:gd name="T30" fmla="*/ 37 w 52"/>
                  <a:gd name="T31" fmla="*/ 13 h 46"/>
                  <a:gd name="T32" fmla="*/ 25 w 52"/>
                  <a:gd name="T33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6">
                    <a:moveTo>
                      <a:pt x="27" y="46"/>
                    </a:moveTo>
                    <a:cubicBezTo>
                      <a:pt x="21" y="46"/>
                      <a:pt x="15" y="44"/>
                      <a:pt x="11" y="41"/>
                    </a:cubicBezTo>
                    <a:cubicBezTo>
                      <a:pt x="3" y="35"/>
                      <a:pt x="0" y="25"/>
                      <a:pt x="3" y="16"/>
                    </a:cubicBezTo>
                    <a:cubicBezTo>
                      <a:pt x="6" y="7"/>
                      <a:pt x="15" y="0"/>
                      <a:pt x="25" y="0"/>
                    </a:cubicBezTo>
                    <a:cubicBezTo>
                      <a:pt x="31" y="0"/>
                      <a:pt x="37" y="2"/>
                      <a:pt x="42" y="6"/>
                    </a:cubicBezTo>
                    <a:cubicBezTo>
                      <a:pt x="47" y="11"/>
                      <a:pt x="50" y="16"/>
                      <a:pt x="51" y="21"/>
                    </a:cubicBezTo>
                    <a:cubicBezTo>
                      <a:pt x="52" y="28"/>
                      <a:pt x="50" y="34"/>
                      <a:pt x="45" y="39"/>
                    </a:cubicBezTo>
                    <a:cubicBezTo>
                      <a:pt x="41" y="43"/>
                      <a:pt x="35" y="46"/>
                      <a:pt x="28" y="46"/>
                    </a:cubicBezTo>
                    <a:cubicBezTo>
                      <a:pt x="28" y="46"/>
                      <a:pt x="27" y="46"/>
                      <a:pt x="27" y="46"/>
                    </a:cubicBezTo>
                    <a:close/>
                    <a:moveTo>
                      <a:pt x="25" y="8"/>
                    </a:moveTo>
                    <a:cubicBezTo>
                      <a:pt x="19" y="8"/>
                      <a:pt x="13" y="13"/>
                      <a:pt x="11" y="18"/>
                    </a:cubicBezTo>
                    <a:cubicBezTo>
                      <a:pt x="9" y="24"/>
                      <a:pt x="11" y="31"/>
                      <a:pt x="16" y="35"/>
                    </a:cubicBezTo>
                    <a:cubicBezTo>
                      <a:pt x="19" y="37"/>
                      <a:pt x="23" y="38"/>
                      <a:pt x="28" y="38"/>
                    </a:cubicBezTo>
                    <a:cubicBezTo>
                      <a:pt x="32" y="38"/>
                      <a:pt x="36" y="36"/>
                      <a:pt x="39" y="33"/>
                    </a:cubicBezTo>
                    <a:cubicBezTo>
                      <a:pt x="42" y="30"/>
                      <a:pt x="44" y="26"/>
                      <a:pt x="43" y="22"/>
                    </a:cubicBezTo>
                    <a:cubicBezTo>
                      <a:pt x="43" y="19"/>
                      <a:pt x="40" y="16"/>
                      <a:pt x="37" y="13"/>
                    </a:cubicBezTo>
                    <a:cubicBezTo>
                      <a:pt x="33" y="10"/>
                      <a:pt x="29" y="8"/>
                      <a:pt x="2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ïṡľiďe">
                <a:extLst>
                  <a:ext uri="{FF2B5EF4-FFF2-40B4-BE49-F238E27FC236}">
                    <a16:creationId xmlns:a16="http://schemas.microsoft.com/office/drawing/2014/main" id="{14E56715-A586-43F7-9A00-C6AF63EBE298}"/>
                  </a:ext>
                </a:extLst>
              </p:cNvPr>
              <p:cNvSpPr/>
              <p:nvPr/>
            </p:nvSpPr>
            <p:spPr bwMode="auto">
              <a:xfrm>
                <a:off x="6251575" y="2365376"/>
                <a:ext cx="195262" cy="173038"/>
              </a:xfrm>
              <a:custGeom>
                <a:avLst/>
                <a:gdLst>
                  <a:gd name="T0" fmla="*/ 27 w 52"/>
                  <a:gd name="T1" fmla="*/ 46 h 46"/>
                  <a:gd name="T2" fmla="*/ 11 w 52"/>
                  <a:gd name="T3" fmla="*/ 41 h 46"/>
                  <a:gd name="T4" fmla="*/ 3 w 52"/>
                  <a:gd name="T5" fmla="*/ 16 h 46"/>
                  <a:gd name="T6" fmla="*/ 25 w 52"/>
                  <a:gd name="T7" fmla="*/ 0 h 46"/>
                  <a:gd name="T8" fmla="*/ 25 w 52"/>
                  <a:gd name="T9" fmla="*/ 0 h 46"/>
                  <a:gd name="T10" fmla="*/ 42 w 52"/>
                  <a:gd name="T11" fmla="*/ 6 h 46"/>
                  <a:gd name="T12" fmla="*/ 51 w 52"/>
                  <a:gd name="T13" fmla="*/ 21 h 46"/>
                  <a:gd name="T14" fmla="*/ 45 w 52"/>
                  <a:gd name="T15" fmla="*/ 39 h 46"/>
                  <a:gd name="T16" fmla="*/ 28 w 52"/>
                  <a:gd name="T17" fmla="*/ 46 h 46"/>
                  <a:gd name="T18" fmla="*/ 27 w 52"/>
                  <a:gd name="T19" fmla="*/ 46 h 46"/>
                  <a:gd name="T20" fmla="*/ 25 w 52"/>
                  <a:gd name="T21" fmla="*/ 8 h 46"/>
                  <a:gd name="T22" fmla="*/ 11 w 52"/>
                  <a:gd name="T23" fmla="*/ 18 h 46"/>
                  <a:gd name="T24" fmla="*/ 16 w 52"/>
                  <a:gd name="T25" fmla="*/ 35 h 46"/>
                  <a:gd name="T26" fmla="*/ 28 w 52"/>
                  <a:gd name="T27" fmla="*/ 38 h 46"/>
                  <a:gd name="T28" fmla="*/ 39 w 52"/>
                  <a:gd name="T29" fmla="*/ 33 h 46"/>
                  <a:gd name="T30" fmla="*/ 43 w 52"/>
                  <a:gd name="T31" fmla="*/ 22 h 46"/>
                  <a:gd name="T32" fmla="*/ 37 w 52"/>
                  <a:gd name="T33" fmla="*/ 13 h 46"/>
                  <a:gd name="T34" fmla="*/ 25 w 52"/>
                  <a:gd name="T35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46">
                    <a:moveTo>
                      <a:pt x="27" y="46"/>
                    </a:moveTo>
                    <a:cubicBezTo>
                      <a:pt x="21" y="46"/>
                      <a:pt x="15" y="44"/>
                      <a:pt x="11" y="41"/>
                    </a:cubicBezTo>
                    <a:cubicBezTo>
                      <a:pt x="4" y="35"/>
                      <a:pt x="0" y="25"/>
                      <a:pt x="3" y="16"/>
                    </a:cubicBezTo>
                    <a:cubicBezTo>
                      <a:pt x="6" y="7"/>
                      <a:pt x="1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1" y="0"/>
                      <a:pt x="37" y="2"/>
                      <a:pt x="42" y="6"/>
                    </a:cubicBezTo>
                    <a:cubicBezTo>
                      <a:pt x="47" y="11"/>
                      <a:pt x="50" y="16"/>
                      <a:pt x="51" y="21"/>
                    </a:cubicBezTo>
                    <a:cubicBezTo>
                      <a:pt x="52" y="28"/>
                      <a:pt x="50" y="34"/>
                      <a:pt x="45" y="39"/>
                    </a:cubicBezTo>
                    <a:cubicBezTo>
                      <a:pt x="41" y="43"/>
                      <a:pt x="35" y="46"/>
                      <a:pt x="28" y="46"/>
                    </a:cubicBezTo>
                    <a:cubicBezTo>
                      <a:pt x="28" y="46"/>
                      <a:pt x="27" y="46"/>
                      <a:pt x="27" y="46"/>
                    </a:cubicBezTo>
                    <a:close/>
                    <a:moveTo>
                      <a:pt x="25" y="8"/>
                    </a:moveTo>
                    <a:cubicBezTo>
                      <a:pt x="19" y="8"/>
                      <a:pt x="13" y="13"/>
                      <a:pt x="11" y="18"/>
                    </a:cubicBezTo>
                    <a:cubicBezTo>
                      <a:pt x="9" y="24"/>
                      <a:pt x="11" y="31"/>
                      <a:pt x="16" y="35"/>
                    </a:cubicBezTo>
                    <a:cubicBezTo>
                      <a:pt x="19" y="37"/>
                      <a:pt x="23" y="38"/>
                      <a:pt x="28" y="38"/>
                    </a:cubicBezTo>
                    <a:cubicBezTo>
                      <a:pt x="32" y="38"/>
                      <a:pt x="37" y="36"/>
                      <a:pt x="39" y="33"/>
                    </a:cubicBezTo>
                    <a:cubicBezTo>
                      <a:pt x="42" y="30"/>
                      <a:pt x="44" y="26"/>
                      <a:pt x="43" y="22"/>
                    </a:cubicBezTo>
                    <a:cubicBezTo>
                      <a:pt x="43" y="19"/>
                      <a:pt x="41" y="16"/>
                      <a:pt x="37" y="13"/>
                    </a:cubicBezTo>
                    <a:cubicBezTo>
                      <a:pt x="33" y="10"/>
                      <a:pt x="29" y="8"/>
                      <a:pt x="25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ïṧ1iḍe">
                <a:extLst>
                  <a:ext uri="{FF2B5EF4-FFF2-40B4-BE49-F238E27FC236}">
                    <a16:creationId xmlns:a16="http://schemas.microsoft.com/office/drawing/2014/main" id="{3B635AF5-45BA-46B8-B10A-EA9A4DC8879C}"/>
                  </a:ext>
                </a:extLst>
              </p:cNvPr>
              <p:cNvSpPr/>
              <p:nvPr/>
            </p:nvSpPr>
            <p:spPr bwMode="auto">
              <a:xfrm>
                <a:off x="6113463" y="2297113"/>
                <a:ext cx="104775" cy="112713"/>
              </a:xfrm>
              <a:custGeom>
                <a:avLst/>
                <a:gdLst>
                  <a:gd name="T0" fmla="*/ 5 w 28"/>
                  <a:gd name="T1" fmla="*/ 30 h 30"/>
                  <a:gd name="T2" fmla="*/ 2 w 28"/>
                  <a:gd name="T3" fmla="*/ 29 h 30"/>
                  <a:gd name="T4" fmla="*/ 2 w 28"/>
                  <a:gd name="T5" fmla="*/ 24 h 30"/>
                  <a:gd name="T6" fmla="*/ 20 w 28"/>
                  <a:gd name="T7" fmla="*/ 2 h 30"/>
                  <a:gd name="T8" fmla="*/ 26 w 28"/>
                  <a:gd name="T9" fmla="*/ 1 h 30"/>
                  <a:gd name="T10" fmla="*/ 26 w 28"/>
                  <a:gd name="T11" fmla="*/ 7 h 30"/>
                  <a:gd name="T12" fmla="*/ 8 w 28"/>
                  <a:gd name="T13" fmla="*/ 29 h 30"/>
                  <a:gd name="T14" fmla="*/ 5 w 2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30">
                    <a:moveTo>
                      <a:pt x="5" y="30"/>
                    </a:moveTo>
                    <a:cubicBezTo>
                      <a:pt x="4" y="30"/>
                      <a:pt x="3" y="30"/>
                      <a:pt x="2" y="29"/>
                    </a:cubicBezTo>
                    <a:cubicBezTo>
                      <a:pt x="0" y="28"/>
                      <a:pt x="0" y="26"/>
                      <a:pt x="2" y="24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2" y="0"/>
                      <a:pt x="24" y="0"/>
                      <a:pt x="26" y="1"/>
                    </a:cubicBezTo>
                    <a:cubicBezTo>
                      <a:pt x="28" y="3"/>
                      <a:pt x="28" y="5"/>
                      <a:pt x="26" y="7"/>
                    </a:cubicBezTo>
                    <a:cubicBezTo>
                      <a:pt x="8" y="29"/>
                      <a:pt x="8" y="29"/>
                      <a:pt x="8" y="29"/>
                    </a:cubicBezTo>
                    <a:cubicBezTo>
                      <a:pt x="7" y="30"/>
                      <a:pt x="6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îṥḻiḑé">
                <a:extLst>
                  <a:ext uri="{FF2B5EF4-FFF2-40B4-BE49-F238E27FC236}">
                    <a16:creationId xmlns:a16="http://schemas.microsoft.com/office/drawing/2014/main" id="{12701C7B-6853-4E7A-82AC-BFBE340FC1C2}"/>
                  </a:ext>
                </a:extLst>
              </p:cNvPr>
              <p:cNvSpPr/>
              <p:nvPr/>
            </p:nvSpPr>
            <p:spPr bwMode="auto">
              <a:xfrm>
                <a:off x="6149975" y="2439988"/>
                <a:ext cx="142875" cy="33338"/>
              </a:xfrm>
              <a:custGeom>
                <a:avLst/>
                <a:gdLst>
                  <a:gd name="T0" fmla="*/ 4 w 38"/>
                  <a:gd name="T1" fmla="*/ 9 h 9"/>
                  <a:gd name="T2" fmla="*/ 0 w 38"/>
                  <a:gd name="T3" fmla="*/ 5 h 9"/>
                  <a:gd name="T4" fmla="*/ 4 w 38"/>
                  <a:gd name="T5" fmla="*/ 1 h 9"/>
                  <a:gd name="T6" fmla="*/ 34 w 38"/>
                  <a:gd name="T7" fmla="*/ 0 h 9"/>
                  <a:gd name="T8" fmla="*/ 34 w 38"/>
                  <a:gd name="T9" fmla="*/ 0 h 9"/>
                  <a:gd name="T10" fmla="*/ 38 w 38"/>
                  <a:gd name="T11" fmla="*/ 4 h 9"/>
                  <a:gd name="T12" fmla="*/ 34 w 38"/>
                  <a:gd name="T13" fmla="*/ 8 h 9"/>
                  <a:gd name="T14" fmla="*/ 4 w 38"/>
                  <a:gd name="T15" fmla="*/ 9 h 9"/>
                  <a:gd name="T16" fmla="*/ 4 w 38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9">
                    <a:moveTo>
                      <a:pt x="4" y="9"/>
                    </a:moveTo>
                    <a:cubicBezTo>
                      <a:pt x="2" y="9"/>
                      <a:pt x="0" y="7"/>
                      <a:pt x="0" y="5"/>
                    </a:cubicBezTo>
                    <a:cubicBezTo>
                      <a:pt x="0" y="3"/>
                      <a:pt x="2" y="1"/>
                      <a:pt x="4" y="1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6" y="0"/>
                      <a:pt x="38" y="2"/>
                      <a:pt x="38" y="4"/>
                    </a:cubicBezTo>
                    <a:cubicBezTo>
                      <a:pt x="38" y="7"/>
                      <a:pt x="36" y="8"/>
                      <a:pt x="34" y="8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68" name="îšļïḓè">
              <a:extLst>
                <a:ext uri="{FF2B5EF4-FFF2-40B4-BE49-F238E27FC236}">
                  <a16:creationId xmlns:a16="http://schemas.microsoft.com/office/drawing/2014/main" id="{D4E3839B-A1F7-47B0-A34E-7F975966F9A7}"/>
                </a:ext>
              </a:extLst>
            </p:cNvPr>
            <p:cNvGrpSpPr/>
            <p:nvPr/>
          </p:nvGrpSpPr>
          <p:grpSpPr>
            <a:xfrm>
              <a:off x="8546424" y="1608525"/>
              <a:ext cx="524025" cy="599294"/>
              <a:chOff x="7713663" y="1214438"/>
              <a:chExt cx="585787" cy="669926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69" name="íšľïḑè">
                <a:extLst>
                  <a:ext uri="{FF2B5EF4-FFF2-40B4-BE49-F238E27FC236}">
                    <a16:creationId xmlns:a16="http://schemas.microsoft.com/office/drawing/2014/main" id="{5CA05F62-68F0-429B-91DF-03DF25DC651C}"/>
                  </a:ext>
                </a:extLst>
              </p:cNvPr>
              <p:cNvSpPr/>
              <p:nvPr/>
            </p:nvSpPr>
            <p:spPr bwMode="auto">
              <a:xfrm>
                <a:off x="7713663" y="1214438"/>
                <a:ext cx="498475" cy="439738"/>
              </a:xfrm>
              <a:custGeom>
                <a:avLst/>
                <a:gdLst>
                  <a:gd name="T0" fmla="*/ 131 w 133"/>
                  <a:gd name="T1" fmla="*/ 16 h 117"/>
                  <a:gd name="T2" fmla="*/ 131 w 133"/>
                  <a:gd name="T3" fmla="*/ 4 h 117"/>
                  <a:gd name="T4" fmla="*/ 128 w 133"/>
                  <a:gd name="T5" fmla="*/ 1 h 117"/>
                  <a:gd name="T6" fmla="*/ 114 w 133"/>
                  <a:gd name="T7" fmla="*/ 1 h 117"/>
                  <a:gd name="T8" fmla="*/ 106 w 133"/>
                  <a:gd name="T9" fmla="*/ 3 h 117"/>
                  <a:gd name="T10" fmla="*/ 106 w 133"/>
                  <a:gd name="T11" fmla="*/ 4 h 117"/>
                  <a:gd name="T12" fmla="*/ 114 w 133"/>
                  <a:gd name="T13" fmla="*/ 7 h 117"/>
                  <a:gd name="T14" fmla="*/ 120 w 133"/>
                  <a:gd name="T15" fmla="*/ 7 h 117"/>
                  <a:gd name="T16" fmla="*/ 101 w 133"/>
                  <a:gd name="T17" fmla="*/ 37 h 117"/>
                  <a:gd name="T18" fmla="*/ 89 w 133"/>
                  <a:gd name="T19" fmla="*/ 48 h 117"/>
                  <a:gd name="T20" fmla="*/ 70 w 133"/>
                  <a:gd name="T21" fmla="*/ 33 h 117"/>
                  <a:gd name="T22" fmla="*/ 67 w 133"/>
                  <a:gd name="T23" fmla="*/ 33 h 117"/>
                  <a:gd name="T24" fmla="*/ 2 w 133"/>
                  <a:gd name="T25" fmla="*/ 113 h 117"/>
                  <a:gd name="T26" fmla="*/ 6 w 133"/>
                  <a:gd name="T27" fmla="*/ 115 h 117"/>
                  <a:gd name="T28" fmla="*/ 69 w 133"/>
                  <a:gd name="T29" fmla="*/ 38 h 117"/>
                  <a:gd name="T30" fmla="*/ 90 w 133"/>
                  <a:gd name="T31" fmla="*/ 56 h 117"/>
                  <a:gd name="T32" fmla="*/ 99 w 133"/>
                  <a:gd name="T33" fmla="*/ 56 h 117"/>
                  <a:gd name="T34" fmla="*/ 101 w 133"/>
                  <a:gd name="T35" fmla="*/ 50 h 117"/>
                  <a:gd name="T36" fmla="*/ 108 w 133"/>
                  <a:gd name="T37" fmla="*/ 35 h 117"/>
                  <a:gd name="T38" fmla="*/ 125 w 133"/>
                  <a:gd name="T39" fmla="*/ 10 h 117"/>
                  <a:gd name="T40" fmla="*/ 125 w 133"/>
                  <a:gd name="T41" fmla="*/ 15 h 117"/>
                  <a:gd name="T42" fmla="*/ 128 w 133"/>
                  <a:gd name="T43" fmla="*/ 24 h 117"/>
                  <a:gd name="T44" fmla="*/ 132 w 133"/>
                  <a:gd name="T45" fmla="*/ 23 h 117"/>
                  <a:gd name="T46" fmla="*/ 131 w 133"/>
                  <a:gd name="T47" fmla="*/ 16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3" h="117">
                    <a:moveTo>
                      <a:pt x="131" y="16"/>
                    </a:moveTo>
                    <a:cubicBezTo>
                      <a:pt x="131" y="12"/>
                      <a:pt x="131" y="8"/>
                      <a:pt x="131" y="4"/>
                    </a:cubicBezTo>
                    <a:cubicBezTo>
                      <a:pt x="131" y="2"/>
                      <a:pt x="129" y="1"/>
                      <a:pt x="128" y="1"/>
                    </a:cubicBezTo>
                    <a:cubicBezTo>
                      <a:pt x="123" y="1"/>
                      <a:pt x="119" y="1"/>
                      <a:pt x="114" y="1"/>
                    </a:cubicBezTo>
                    <a:cubicBezTo>
                      <a:pt x="111" y="1"/>
                      <a:pt x="108" y="0"/>
                      <a:pt x="106" y="3"/>
                    </a:cubicBezTo>
                    <a:cubicBezTo>
                      <a:pt x="106" y="4"/>
                      <a:pt x="106" y="4"/>
                      <a:pt x="106" y="4"/>
                    </a:cubicBezTo>
                    <a:cubicBezTo>
                      <a:pt x="108" y="7"/>
                      <a:pt x="111" y="7"/>
                      <a:pt x="114" y="7"/>
                    </a:cubicBezTo>
                    <a:cubicBezTo>
                      <a:pt x="116" y="7"/>
                      <a:pt x="118" y="7"/>
                      <a:pt x="120" y="7"/>
                    </a:cubicBezTo>
                    <a:cubicBezTo>
                      <a:pt x="112" y="16"/>
                      <a:pt x="106" y="26"/>
                      <a:pt x="101" y="37"/>
                    </a:cubicBezTo>
                    <a:cubicBezTo>
                      <a:pt x="98" y="42"/>
                      <a:pt x="96" y="54"/>
                      <a:pt x="89" y="48"/>
                    </a:cubicBezTo>
                    <a:cubicBezTo>
                      <a:pt x="83" y="43"/>
                      <a:pt x="77" y="38"/>
                      <a:pt x="70" y="33"/>
                    </a:cubicBezTo>
                    <a:cubicBezTo>
                      <a:pt x="69" y="32"/>
                      <a:pt x="68" y="31"/>
                      <a:pt x="67" y="33"/>
                    </a:cubicBezTo>
                    <a:cubicBezTo>
                      <a:pt x="43" y="58"/>
                      <a:pt x="20" y="84"/>
                      <a:pt x="2" y="113"/>
                    </a:cubicBezTo>
                    <a:cubicBezTo>
                      <a:pt x="0" y="115"/>
                      <a:pt x="4" y="117"/>
                      <a:pt x="6" y="115"/>
                    </a:cubicBezTo>
                    <a:cubicBezTo>
                      <a:pt x="26" y="89"/>
                      <a:pt x="46" y="62"/>
                      <a:pt x="69" y="38"/>
                    </a:cubicBezTo>
                    <a:cubicBezTo>
                      <a:pt x="76" y="44"/>
                      <a:pt x="83" y="50"/>
                      <a:pt x="90" y="56"/>
                    </a:cubicBezTo>
                    <a:cubicBezTo>
                      <a:pt x="93" y="58"/>
                      <a:pt x="96" y="59"/>
                      <a:pt x="99" y="56"/>
                    </a:cubicBezTo>
                    <a:cubicBezTo>
                      <a:pt x="100" y="55"/>
                      <a:pt x="101" y="52"/>
                      <a:pt x="101" y="50"/>
                    </a:cubicBezTo>
                    <a:cubicBezTo>
                      <a:pt x="103" y="45"/>
                      <a:pt x="106" y="40"/>
                      <a:pt x="108" y="35"/>
                    </a:cubicBezTo>
                    <a:cubicBezTo>
                      <a:pt x="113" y="26"/>
                      <a:pt x="118" y="18"/>
                      <a:pt x="125" y="10"/>
                    </a:cubicBezTo>
                    <a:cubicBezTo>
                      <a:pt x="125" y="12"/>
                      <a:pt x="125" y="13"/>
                      <a:pt x="125" y="15"/>
                    </a:cubicBezTo>
                    <a:cubicBezTo>
                      <a:pt x="125" y="18"/>
                      <a:pt x="125" y="22"/>
                      <a:pt x="128" y="24"/>
                    </a:cubicBezTo>
                    <a:cubicBezTo>
                      <a:pt x="129" y="25"/>
                      <a:pt x="131" y="25"/>
                      <a:pt x="132" y="23"/>
                    </a:cubicBezTo>
                    <a:cubicBezTo>
                      <a:pt x="133" y="21"/>
                      <a:pt x="132" y="18"/>
                      <a:pt x="131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í$lîḋê">
                <a:extLst>
                  <a:ext uri="{FF2B5EF4-FFF2-40B4-BE49-F238E27FC236}">
                    <a16:creationId xmlns:a16="http://schemas.microsoft.com/office/drawing/2014/main" id="{28D86916-249D-4983-9B15-95E63E8A3356}"/>
                  </a:ext>
                </a:extLst>
              </p:cNvPr>
              <p:cNvSpPr/>
              <p:nvPr/>
            </p:nvSpPr>
            <p:spPr bwMode="auto">
              <a:xfrm>
                <a:off x="7735888" y="1670051"/>
                <a:ext cx="179387" cy="214313"/>
              </a:xfrm>
              <a:custGeom>
                <a:avLst/>
                <a:gdLst>
                  <a:gd name="T0" fmla="*/ 48 w 48"/>
                  <a:gd name="T1" fmla="*/ 54 h 57"/>
                  <a:gd name="T2" fmla="*/ 38 w 48"/>
                  <a:gd name="T3" fmla="*/ 0 h 57"/>
                  <a:gd name="T4" fmla="*/ 0 w 48"/>
                  <a:gd name="T5" fmla="*/ 9 h 57"/>
                  <a:gd name="T6" fmla="*/ 13 w 48"/>
                  <a:gd name="T7" fmla="*/ 57 h 57"/>
                  <a:gd name="T8" fmla="*/ 48 w 48"/>
                  <a:gd name="T9" fmla="*/ 5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57">
                    <a:moveTo>
                      <a:pt x="48" y="54"/>
                    </a:moveTo>
                    <a:cubicBezTo>
                      <a:pt x="44" y="36"/>
                      <a:pt x="41" y="18"/>
                      <a:pt x="38" y="0"/>
                    </a:cubicBezTo>
                    <a:cubicBezTo>
                      <a:pt x="26" y="2"/>
                      <a:pt x="12" y="7"/>
                      <a:pt x="0" y="9"/>
                    </a:cubicBezTo>
                    <a:cubicBezTo>
                      <a:pt x="4" y="25"/>
                      <a:pt x="9" y="41"/>
                      <a:pt x="13" y="57"/>
                    </a:cubicBezTo>
                    <a:cubicBezTo>
                      <a:pt x="24" y="55"/>
                      <a:pt x="38" y="56"/>
                      <a:pt x="48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ṧḻíďé">
                <a:extLst>
                  <a:ext uri="{FF2B5EF4-FFF2-40B4-BE49-F238E27FC236}">
                    <a16:creationId xmlns:a16="http://schemas.microsoft.com/office/drawing/2014/main" id="{900184EB-3EE6-4E52-86C4-7E0C13E416A7}"/>
                  </a:ext>
                </a:extLst>
              </p:cNvPr>
              <p:cNvSpPr/>
              <p:nvPr/>
            </p:nvSpPr>
            <p:spPr bwMode="auto">
              <a:xfrm>
                <a:off x="7950200" y="1519238"/>
                <a:ext cx="184150" cy="346075"/>
              </a:xfrm>
              <a:custGeom>
                <a:avLst/>
                <a:gdLst>
                  <a:gd name="T0" fmla="*/ 49 w 49"/>
                  <a:gd name="T1" fmla="*/ 87 h 92"/>
                  <a:gd name="T2" fmla="*/ 36 w 49"/>
                  <a:gd name="T3" fmla="*/ 0 h 92"/>
                  <a:gd name="T4" fmla="*/ 0 w 49"/>
                  <a:gd name="T5" fmla="*/ 9 h 92"/>
                  <a:gd name="T6" fmla="*/ 16 w 49"/>
                  <a:gd name="T7" fmla="*/ 92 h 92"/>
                  <a:gd name="T8" fmla="*/ 49 w 49"/>
                  <a:gd name="T9" fmla="*/ 8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92">
                    <a:moveTo>
                      <a:pt x="49" y="87"/>
                    </a:moveTo>
                    <a:cubicBezTo>
                      <a:pt x="46" y="58"/>
                      <a:pt x="40" y="28"/>
                      <a:pt x="36" y="0"/>
                    </a:cubicBezTo>
                    <a:cubicBezTo>
                      <a:pt x="25" y="3"/>
                      <a:pt x="12" y="7"/>
                      <a:pt x="0" y="9"/>
                    </a:cubicBezTo>
                    <a:cubicBezTo>
                      <a:pt x="6" y="36"/>
                      <a:pt x="12" y="64"/>
                      <a:pt x="16" y="92"/>
                    </a:cubicBezTo>
                    <a:cubicBezTo>
                      <a:pt x="27" y="90"/>
                      <a:pt x="39" y="89"/>
                      <a:pt x="49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isľiďè">
                <a:extLst>
                  <a:ext uri="{FF2B5EF4-FFF2-40B4-BE49-F238E27FC236}">
                    <a16:creationId xmlns:a16="http://schemas.microsoft.com/office/drawing/2014/main" id="{0B5E9815-6065-4EC7-AC0C-23A9913AC8BD}"/>
                  </a:ext>
                </a:extLst>
              </p:cNvPr>
              <p:cNvSpPr/>
              <p:nvPr/>
            </p:nvSpPr>
            <p:spPr bwMode="auto">
              <a:xfrm>
                <a:off x="8140700" y="1425576"/>
                <a:ext cx="158750" cy="401638"/>
              </a:xfrm>
              <a:custGeom>
                <a:avLst/>
                <a:gdLst>
                  <a:gd name="T0" fmla="*/ 42 w 42"/>
                  <a:gd name="T1" fmla="*/ 105 h 107"/>
                  <a:gd name="T2" fmla="*/ 29 w 42"/>
                  <a:gd name="T3" fmla="*/ 0 h 107"/>
                  <a:gd name="T4" fmla="*/ 0 w 42"/>
                  <a:gd name="T5" fmla="*/ 7 h 107"/>
                  <a:gd name="T6" fmla="*/ 17 w 42"/>
                  <a:gd name="T7" fmla="*/ 107 h 107"/>
                  <a:gd name="T8" fmla="*/ 42 w 42"/>
                  <a:gd name="T9" fmla="*/ 10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07">
                    <a:moveTo>
                      <a:pt x="42" y="105"/>
                    </a:moveTo>
                    <a:cubicBezTo>
                      <a:pt x="40" y="71"/>
                      <a:pt x="36" y="34"/>
                      <a:pt x="29" y="0"/>
                    </a:cubicBezTo>
                    <a:cubicBezTo>
                      <a:pt x="20" y="3"/>
                      <a:pt x="9" y="5"/>
                      <a:pt x="0" y="7"/>
                    </a:cubicBezTo>
                    <a:cubicBezTo>
                      <a:pt x="6" y="40"/>
                      <a:pt x="11" y="74"/>
                      <a:pt x="17" y="107"/>
                    </a:cubicBezTo>
                    <a:cubicBezTo>
                      <a:pt x="23" y="106"/>
                      <a:pt x="35" y="106"/>
                      <a:pt x="4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3AD672AA-52A9-477B-BCA5-86116727B233}"/>
              </a:ext>
            </a:extLst>
          </p:cNvPr>
          <p:cNvSpPr txBox="1"/>
          <p:nvPr/>
        </p:nvSpPr>
        <p:spPr>
          <a:xfrm>
            <a:off x="669924" y="1268963"/>
            <a:ext cx="38834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trait</a:t>
            </a:r>
            <a:r>
              <a:rPr lang="zh-CN" altLang="en-US" dirty="0"/>
              <a:t>是什么？特征？特性？特点？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814E8D0-CEDB-42FF-88C3-81AA214B12E9}"/>
              </a:ext>
            </a:extLst>
          </p:cNvPr>
          <p:cNvSpPr txBox="1"/>
          <p:nvPr/>
        </p:nvSpPr>
        <p:spPr>
          <a:xfrm>
            <a:off x="742815" y="1829860"/>
            <a:ext cx="1071805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A trait tells the Rust compiler about functionality a particular type has and can share with other types. We can use traits to define shared behavior in an abstract way. We can use trait bounds to specify that a generic can be any type that has certain behavior.</a:t>
            </a:r>
          </a:p>
          <a:p>
            <a:endParaRPr lang="en-US" altLang="zh-CN" dirty="0"/>
          </a:p>
          <a:p>
            <a:r>
              <a:rPr lang="zh-CN" altLang="en-US" dirty="0"/>
              <a:t>引用</a:t>
            </a:r>
            <a:r>
              <a:rPr lang="en-US" altLang="zh-CN" dirty="0"/>
              <a:t>-</a:t>
            </a:r>
            <a:r>
              <a:rPr lang="zh-CN" altLang="en-US" dirty="0"/>
              <a:t>官方文档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D5C1337-DAF8-466F-96DD-6E97120CB21A}"/>
              </a:ext>
            </a:extLst>
          </p:cNvPr>
          <p:cNvSpPr txBox="1"/>
          <p:nvPr/>
        </p:nvSpPr>
        <p:spPr>
          <a:xfrm>
            <a:off x="5949261" y="511106"/>
            <a:ext cx="55741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Wow!!!!                                           trait 0</a:t>
            </a:r>
            <a:r>
              <a:rPr lang="zh-CN" altLang="en-US" dirty="0"/>
              <a:t>开销的抽象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9AE19998-B4EE-4CB8-9AAA-129DD0B6E93D}"/>
              </a:ext>
            </a:extLst>
          </p:cNvPr>
          <p:cNvSpPr/>
          <p:nvPr/>
        </p:nvSpPr>
        <p:spPr>
          <a:xfrm>
            <a:off x="2896861" y="3571094"/>
            <a:ext cx="6396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000000"/>
                </a:solidFill>
                <a:latin typeface="Fira Sans"/>
              </a:rPr>
              <a:t>trait</a:t>
            </a:r>
            <a:r>
              <a:rPr lang="zh-CN" altLang="en-US" dirty="0">
                <a:solidFill>
                  <a:srgbClr val="000000"/>
                </a:solidFill>
                <a:latin typeface="Fira Sans"/>
              </a:rPr>
              <a:t>不是</a:t>
            </a:r>
            <a:r>
              <a:rPr lang="en-US" altLang="zh-CN" dirty="0">
                <a:solidFill>
                  <a:srgbClr val="000000"/>
                </a:solidFill>
                <a:latin typeface="Fira Sans"/>
              </a:rPr>
              <a:t>interface</a:t>
            </a:r>
            <a:r>
              <a:rPr lang="zh-CN" altLang="en-US" dirty="0">
                <a:solidFill>
                  <a:srgbClr val="000000"/>
                </a:solidFill>
                <a:latin typeface="Fira Sans"/>
              </a:rPr>
              <a:t>，但  </a:t>
            </a:r>
            <a:r>
              <a:rPr lang="en-US" altLang="zh-CN" b="1" dirty="0">
                <a:solidFill>
                  <a:srgbClr val="000000"/>
                </a:solidFill>
                <a:latin typeface="Fira Sans"/>
              </a:rPr>
              <a:t>Traits are Rust‘s sole notion of interface</a:t>
            </a:r>
            <a:r>
              <a:rPr lang="en-US" altLang="zh-CN" dirty="0">
                <a:solidFill>
                  <a:srgbClr val="000000"/>
                </a:solidFill>
                <a:latin typeface="Fira Sans"/>
              </a:rPr>
              <a:t>.  </a:t>
            </a:r>
            <a:endParaRPr lang="zh-CN" altLang="en-US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E148ED37-AF35-4B53-B17F-471A7AD06D67}"/>
              </a:ext>
            </a:extLst>
          </p:cNvPr>
          <p:cNvSpPr txBox="1"/>
          <p:nvPr/>
        </p:nvSpPr>
        <p:spPr>
          <a:xfrm>
            <a:off x="807080" y="4397750"/>
            <a:ext cx="209196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静态派发</a:t>
            </a:r>
          </a:p>
        </p:txBody>
      </p:sp>
      <p:sp>
        <p:nvSpPr>
          <p:cNvPr id="195" name="文本框 194">
            <a:extLst>
              <a:ext uri="{FF2B5EF4-FFF2-40B4-BE49-F238E27FC236}">
                <a16:creationId xmlns:a16="http://schemas.microsoft.com/office/drawing/2014/main" id="{9579A4D8-131B-4CF7-9040-E18AECACF102}"/>
              </a:ext>
            </a:extLst>
          </p:cNvPr>
          <p:cNvSpPr txBox="1"/>
          <p:nvPr/>
        </p:nvSpPr>
        <p:spPr>
          <a:xfrm>
            <a:off x="9558775" y="4392166"/>
            <a:ext cx="209196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动态派发</a:t>
            </a:r>
          </a:p>
        </p:txBody>
      </p:sp>
    </p:spTree>
    <p:extLst>
      <p:ext uri="{BB962C8B-B14F-4D97-AF65-F5344CB8AC3E}">
        <p14:creationId xmlns:p14="http://schemas.microsoft.com/office/powerpoint/2010/main" val="34216257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D11EE5-47E1-4035-A2B7-19C2E3AF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lf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7666BC-59F7-4E7F-8671-AA1B72E44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85EB3A-2EBC-4BF1-9376-F73050A0C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95" name="6a2856a5-2ed6-473a-9f9c-a0dc1bc809f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4055610-C3C1-42A7-B7E3-8440351CAF2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949697" y="3429000"/>
            <a:ext cx="2291016" cy="2273528"/>
            <a:chOff x="3570288" y="1003300"/>
            <a:chExt cx="4991100" cy="4953001"/>
          </a:xfrm>
        </p:grpSpPr>
        <p:sp>
          <p:nvSpPr>
            <p:cNvPr id="196" name="í$ļîḑè">
              <a:extLst>
                <a:ext uri="{FF2B5EF4-FFF2-40B4-BE49-F238E27FC236}">
                  <a16:creationId xmlns:a16="http://schemas.microsoft.com/office/drawing/2014/main" id="{7C68E614-B14F-4EBC-802F-E1A65C15D672}"/>
                </a:ext>
              </a:extLst>
            </p:cNvPr>
            <p:cNvSpPr/>
            <p:nvPr/>
          </p:nvSpPr>
          <p:spPr bwMode="auto">
            <a:xfrm>
              <a:off x="3570288" y="1244600"/>
              <a:ext cx="4991100" cy="4278313"/>
            </a:xfrm>
            <a:custGeom>
              <a:avLst/>
              <a:gdLst>
                <a:gd name="T0" fmla="*/ 287 w 495"/>
                <a:gd name="T1" fmla="*/ 414 h 425"/>
                <a:gd name="T2" fmla="*/ 246 w 495"/>
                <a:gd name="T3" fmla="*/ 410 h 425"/>
                <a:gd name="T4" fmla="*/ 155 w 495"/>
                <a:gd name="T5" fmla="*/ 420 h 425"/>
                <a:gd name="T6" fmla="*/ 90 w 495"/>
                <a:gd name="T7" fmla="*/ 420 h 425"/>
                <a:gd name="T8" fmla="*/ 44 w 495"/>
                <a:gd name="T9" fmla="*/ 267 h 425"/>
                <a:gd name="T10" fmla="*/ 17 w 495"/>
                <a:gd name="T11" fmla="*/ 179 h 425"/>
                <a:gd name="T12" fmla="*/ 85 w 495"/>
                <a:gd name="T13" fmla="*/ 24 h 425"/>
                <a:gd name="T14" fmla="*/ 214 w 495"/>
                <a:gd name="T15" fmla="*/ 16 h 425"/>
                <a:gd name="T16" fmla="*/ 283 w 495"/>
                <a:gd name="T17" fmla="*/ 78 h 425"/>
                <a:gd name="T18" fmla="*/ 345 w 495"/>
                <a:gd name="T19" fmla="*/ 139 h 425"/>
                <a:gd name="T20" fmla="*/ 430 w 495"/>
                <a:gd name="T21" fmla="*/ 148 h 425"/>
                <a:gd name="T22" fmla="*/ 464 w 495"/>
                <a:gd name="T23" fmla="*/ 165 h 425"/>
                <a:gd name="T24" fmla="*/ 454 w 495"/>
                <a:gd name="T25" fmla="*/ 223 h 425"/>
                <a:gd name="T26" fmla="*/ 475 w 495"/>
                <a:gd name="T27" fmla="*/ 285 h 425"/>
                <a:gd name="T28" fmla="*/ 482 w 495"/>
                <a:gd name="T29" fmla="*/ 363 h 425"/>
                <a:gd name="T30" fmla="*/ 456 w 495"/>
                <a:gd name="T31" fmla="*/ 391 h 425"/>
                <a:gd name="T32" fmla="*/ 311 w 495"/>
                <a:gd name="T33" fmla="*/ 418 h 425"/>
                <a:gd name="T34" fmla="*/ 287 w 495"/>
                <a:gd name="T35" fmla="*/ 414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5" h="425">
                  <a:moveTo>
                    <a:pt x="287" y="414"/>
                  </a:moveTo>
                  <a:cubicBezTo>
                    <a:pt x="274" y="411"/>
                    <a:pt x="261" y="409"/>
                    <a:pt x="246" y="410"/>
                  </a:cubicBezTo>
                  <a:cubicBezTo>
                    <a:pt x="215" y="413"/>
                    <a:pt x="185" y="417"/>
                    <a:pt x="155" y="420"/>
                  </a:cubicBezTo>
                  <a:cubicBezTo>
                    <a:pt x="139" y="421"/>
                    <a:pt x="106" y="425"/>
                    <a:pt x="90" y="420"/>
                  </a:cubicBezTo>
                  <a:cubicBezTo>
                    <a:pt x="19" y="400"/>
                    <a:pt x="50" y="324"/>
                    <a:pt x="44" y="267"/>
                  </a:cubicBezTo>
                  <a:cubicBezTo>
                    <a:pt x="41" y="236"/>
                    <a:pt x="26" y="208"/>
                    <a:pt x="17" y="179"/>
                  </a:cubicBezTo>
                  <a:cubicBezTo>
                    <a:pt x="0" y="120"/>
                    <a:pt x="29" y="46"/>
                    <a:pt x="85" y="24"/>
                  </a:cubicBezTo>
                  <a:cubicBezTo>
                    <a:pt x="126" y="8"/>
                    <a:pt x="173" y="0"/>
                    <a:pt x="214" y="16"/>
                  </a:cubicBezTo>
                  <a:cubicBezTo>
                    <a:pt x="242" y="28"/>
                    <a:pt x="268" y="52"/>
                    <a:pt x="283" y="78"/>
                  </a:cubicBezTo>
                  <a:cubicBezTo>
                    <a:pt x="300" y="107"/>
                    <a:pt x="310" y="130"/>
                    <a:pt x="345" y="139"/>
                  </a:cubicBezTo>
                  <a:cubicBezTo>
                    <a:pt x="373" y="147"/>
                    <a:pt x="402" y="144"/>
                    <a:pt x="430" y="148"/>
                  </a:cubicBezTo>
                  <a:cubicBezTo>
                    <a:pt x="443" y="149"/>
                    <a:pt x="458" y="153"/>
                    <a:pt x="464" y="165"/>
                  </a:cubicBezTo>
                  <a:cubicBezTo>
                    <a:pt x="473" y="183"/>
                    <a:pt x="458" y="204"/>
                    <a:pt x="454" y="223"/>
                  </a:cubicBezTo>
                  <a:cubicBezTo>
                    <a:pt x="449" y="249"/>
                    <a:pt x="465" y="265"/>
                    <a:pt x="475" y="285"/>
                  </a:cubicBezTo>
                  <a:cubicBezTo>
                    <a:pt x="487" y="309"/>
                    <a:pt x="495" y="337"/>
                    <a:pt x="482" y="363"/>
                  </a:cubicBezTo>
                  <a:cubicBezTo>
                    <a:pt x="477" y="374"/>
                    <a:pt x="467" y="383"/>
                    <a:pt x="456" y="391"/>
                  </a:cubicBezTo>
                  <a:cubicBezTo>
                    <a:pt x="414" y="421"/>
                    <a:pt x="360" y="422"/>
                    <a:pt x="311" y="418"/>
                  </a:cubicBezTo>
                  <a:cubicBezTo>
                    <a:pt x="303" y="417"/>
                    <a:pt x="295" y="416"/>
                    <a:pt x="287" y="414"/>
                  </a:cubicBezTo>
                </a:path>
              </a:pathLst>
            </a:custGeom>
            <a:solidFill>
              <a:srgbClr val="CDE0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ïşḻídé">
              <a:extLst>
                <a:ext uri="{FF2B5EF4-FFF2-40B4-BE49-F238E27FC236}">
                  <a16:creationId xmlns:a16="http://schemas.microsoft.com/office/drawing/2014/main" id="{A2C6BB3B-48F2-464A-876B-29AAB944E397}"/>
                </a:ext>
              </a:extLst>
            </p:cNvPr>
            <p:cNvSpPr/>
            <p:nvPr/>
          </p:nvSpPr>
          <p:spPr bwMode="auto">
            <a:xfrm>
              <a:off x="3792538" y="1798638"/>
              <a:ext cx="4365625" cy="3644900"/>
            </a:xfrm>
            <a:custGeom>
              <a:avLst/>
              <a:gdLst>
                <a:gd name="T0" fmla="*/ 423 w 433"/>
                <a:gd name="T1" fmla="*/ 270 h 362"/>
                <a:gd name="T2" fmla="*/ 408 w 433"/>
                <a:gd name="T3" fmla="*/ 206 h 362"/>
                <a:gd name="T4" fmla="*/ 411 w 433"/>
                <a:gd name="T5" fmla="*/ 143 h 362"/>
                <a:gd name="T6" fmla="*/ 372 w 433"/>
                <a:gd name="T7" fmla="*/ 125 h 362"/>
                <a:gd name="T8" fmla="*/ 311 w 433"/>
                <a:gd name="T9" fmla="*/ 116 h 362"/>
                <a:gd name="T10" fmla="*/ 289 w 433"/>
                <a:gd name="T11" fmla="*/ 99 h 362"/>
                <a:gd name="T12" fmla="*/ 277 w 433"/>
                <a:gd name="T13" fmla="*/ 69 h 362"/>
                <a:gd name="T14" fmla="*/ 215 w 433"/>
                <a:gd name="T15" fmla="*/ 37 h 362"/>
                <a:gd name="T16" fmla="*/ 146 w 433"/>
                <a:gd name="T17" fmla="*/ 36 h 362"/>
                <a:gd name="T18" fmla="*/ 34 w 433"/>
                <a:gd name="T19" fmla="*/ 20 h 362"/>
                <a:gd name="T20" fmla="*/ 9 w 433"/>
                <a:gd name="T21" fmla="*/ 102 h 362"/>
                <a:gd name="T22" fmla="*/ 37 w 433"/>
                <a:gd name="T23" fmla="*/ 146 h 362"/>
                <a:gd name="T24" fmla="*/ 71 w 433"/>
                <a:gd name="T25" fmla="*/ 189 h 362"/>
                <a:gd name="T26" fmla="*/ 38 w 433"/>
                <a:gd name="T27" fmla="*/ 292 h 362"/>
                <a:gd name="T28" fmla="*/ 102 w 433"/>
                <a:gd name="T29" fmla="*/ 340 h 362"/>
                <a:gd name="T30" fmla="*/ 190 w 433"/>
                <a:gd name="T31" fmla="*/ 316 h 362"/>
                <a:gd name="T32" fmla="*/ 214 w 433"/>
                <a:gd name="T33" fmla="*/ 347 h 362"/>
                <a:gd name="T34" fmla="*/ 218 w 433"/>
                <a:gd name="T35" fmla="*/ 352 h 362"/>
                <a:gd name="T36" fmla="*/ 228 w 433"/>
                <a:gd name="T37" fmla="*/ 355 h 362"/>
                <a:gd name="T38" fmla="*/ 295 w 433"/>
                <a:gd name="T39" fmla="*/ 361 h 362"/>
                <a:gd name="T40" fmla="*/ 356 w 433"/>
                <a:gd name="T41" fmla="*/ 354 h 362"/>
                <a:gd name="T42" fmla="*/ 411 w 433"/>
                <a:gd name="T43" fmla="*/ 342 h 362"/>
                <a:gd name="T44" fmla="*/ 423 w 433"/>
                <a:gd name="T45" fmla="*/ 27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3" h="362">
                  <a:moveTo>
                    <a:pt x="423" y="270"/>
                  </a:moveTo>
                  <a:cubicBezTo>
                    <a:pt x="417" y="247"/>
                    <a:pt x="408" y="225"/>
                    <a:pt x="408" y="206"/>
                  </a:cubicBezTo>
                  <a:cubicBezTo>
                    <a:pt x="409" y="186"/>
                    <a:pt x="424" y="162"/>
                    <a:pt x="411" y="143"/>
                  </a:cubicBezTo>
                  <a:cubicBezTo>
                    <a:pt x="403" y="130"/>
                    <a:pt x="386" y="126"/>
                    <a:pt x="372" y="125"/>
                  </a:cubicBezTo>
                  <a:cubicBezTo>
                    <a:pt x="352" y="123"/>
                    <a:pt x="330" y="124"/>
                    <a:pt x="311" y="116"/>
                  </a:cubicBezTo>
                  <a:cubicBezTo>
                    <a:pt x="303" y="112"/>
                    <a:pt x="295" y="107"/>
                    <a:pt x="289" y="99"/>
                  </a:cubicBezTo>
                  <a:cubicBezTo>
                    <a:pt x="283" y="90"/>
                    <a:pt x="282" y="79"/>
                    <a:pt x="277" y="69"/>
                  </a:cubicBezTo>
                  <a:cubicBezTo>
                    <a:pt x="266" y="45"/>
                    <a:pt x="241" y="35"/>
                    <a:pt x="215" y="37"/>
                  </a:cubicBezTo>
                  <a:cubicBezTo>
                    <a:pt x="192" y="38"/>
                    <a:pt x="168" y="46"/>
                    <a:pt x="146" y="36"/>
                  </a:cubicBezTo>
                  <a:cubicBezTo>
                    <a:pt x="110" y="20"/>
                    <a:pt x="70" y="0"/>
                    <a:pt x="34" y="20"/>
                  </a:cubicBezTo>
                  <a:cubicBezTo>
                    <a:pt x="5" y="36"/>
                    <a:pt x="0" y="74"/>
                    <a:pt x="9" y="102"/>
                  </a:cubicBezTo>
                  <a:cubicBezTo>
                    <a:pt x="15" y="118"/>
                    <a:pt x="24" y="133"/>
                    <a:pt x="37" y="146"/>
                  </a:cubicBezTo>
                  <a:cubicBezTo>
                    <a:pt x="50" y="160"/>
                    <a:pt x="68" y="167"/>
                    <a:pt x="71" y="189"/>
                  </a:cubicBezTo>
                  <a:cubicBezTo>
                    <a:pt x="76" y="226"/>
                    <a:pt x="50" y="259"/>
                    <a:pt x="38" y="292"/>
                  </a:cubicBezTo>
                  <a:cubicBezTo>
                    <a:pt x="22" y="336"/>
                    <a:pt x="66" y="360"/>
                    <a:pt x="102" y="340"/>
                  </a:cubicBezTo>
                  <a:cubicBezTo>
                    <a:pt x="130" y="328"/>
                    <a:pt x="154" y="296"/>
                    <a:pt x="190" y="316"/>
                  </a:cubicBezTo>
                  <a:cubicBezTo>
                    <a:pt x="201" y="325"/>
                    <a:pt x="207" y="335"/>
                    <a:pt x="214" y="347"/>
                  </a:cubicBezTo>
                  <a:cubicBezTo>
                    <a:pt x="215" y="349"/>
                    <a:pt x="216" y="351"/>
                    <a:pt x="218" y="352"/>
                  </a:cubicBezTo>
                  <a:cubicBezTo>
                    <a:pt x="221" y="354"/>
                    <a:pt x="225" y="355"/>
                    <a:pt x="228" y="355"/>
                  </a:cubicBezTo>
                  <a:cubicBezTo>
                    <a:pt x="251" y="357"/>
                    <a:pt x="273" y="361"/>
                    <a:pt x="295" y="361"/>
                  </a:cubicBezTo>
                  <a:cubicBezTo>
                    <a:pt x="316" y="362"/>
                    <a:pt x="336" y="358"/>
                    <a:pt x="356" y="354"/>
                  </a:cubicBezTo>
                  <a:cubicBezTo>
                    <a:pt x="374" y="351"/>
                    <a:pt x="396" y="354"/>
                    <a:pt x="411" y="342"/>
                  </a:cubicBezTo>
                  <a:cubicBezTo>
                    <a:pt x="433" y="324"/>
                    <a:pt x="430" y="297"/>
                    <a:pt x="423" y="270"/>
                  </a:cubicBezTo>
                </a:path>
              </a:pathLst>
            </a:custGeom>
            <a:solidFill>
              <a:srgbClr val="B6C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îŝlidê">
              <a:extLst>
                <a:ext uri="{FF2B5EF4-FFF2-40B4-BE49-F238E27FC236}">
                  <a16:creationId xmlns:a16="http://schemas.microsoft.com/office/drawing/2014/main" id="{C8E13FFF-ECD0-47FE-9C71-A5E1EBCEEA55}"/>
                </a:ext>
              </a:extLst>
            </p:cNvPr>
            <p:cNvSpPr/>
            <p:nvPr/>
          </p:nvSpPr>
          <p:spPr bwMode="auto">
            <a:xfrm>
              <a:off x="4003676" y="2139950"/>
              <a:ext cx="3952875" cy="3303588"/>
            </a:xfrm>
            <a:custGeom>
              <a:avLst/>
              <a:gdLst>
                <a:gd name="T0" fmla="*/ 382 w 392"/>
                <a:gd name="T1" fmla="*/ 245 h 328"/>
                <a:gd name="T2" fmla="*/ 369 w 392"/>
                <a:gd name="T3" fmla="*/ 187 h 328"/>
                <a:gd name="T4" fmla="*/ 372 w 392"/>
                <a:gd name="T5" fmla="*/ 129 h 328"/>
                <a:gd name="T6" fmla="*/ 336 w 392"/>
                <a:gd name="T7" fmla="*/ 113 h 328"/>
                <a:gd name="T8" fmla="*/ 282 w 392"/>
                <a:gd name="T9" fmla="*/ 105 h 328"/>
                <a:gd name="T10" fmla="*/ 261 w 392"/>
                <a:gd name="T11" fmla="*/ 90 h 328"/>
                <a:gd name="T12" fmla="*/ 251 w 392"/>
                <a:gd name="T13" fmla="*/ 63 h 328"/>
                <a:gd name="T14" fmla="*/ 194 w 392"/>
                <a:gd name="T15" fmla="*/ 33 h 328"/>
                <a:gd name="T16" fmla="*/ 131 w 392"/>
                <a:gd name="T17" fmla="*/ 33 h 328"/>
                <a:gd name="T18" fmla="*/ 30 w 392"/>
                <a:gd name="T19" fmla="*/ 18 h 328"/>
                <a:gd name="T20" fmla="*/ 8 w 392"/>
                <a:gd name="T21" fmla="*/ 92 h 328"/>
                <a:gd name="T22" fmla="*/ 33 w 392"/>
                <a:gd name="T23" fmla="*/ 132 h 328"/>
                <a:gd name="T24" fmla="*/ 64 w 392"/>
                <a:gd name="T25" fmla="*/ 171 h 328"/>
                <a:gd name="T26" fmla="*/ 33 w 392"/>
                <a:gd name="T27" fmla="*/ 264 h 328"/>
                <a:gd name="T28" fmla="*/ 91 w 392"/>
                <a:gd name="T29" fmla="*/ 308 h 328"/>
                <a:gd name="T30" fmla="*/ 171 w 392"/>
                <a:gd name="T31" fmla="*/ 286 h 328"/>
                <a:gd name="T32" fmla="*/ 193 w 392"/>
                <a:gd name="T33" fmla="*/ 314 h 328"/>
                <a:gd name="T34" fmla="*/ 197 w 392"/>
                <a:gd name="T35" fmla="*/ 319 h 328"/>
                <a:gd name="T36" fmla="*/ 206 w 392"/>
                <a:gd name="T37" fmla="*/ 322 h 328"/>
                <a:gd name="T38" fmla="*/ 267 w 392"/>
                <a:gd name="T39" fmla="*/ 327 h 328"/>
                <a:gd name="T40" fmla="*/ 322 w 392"/>
                <a:gd name="T41" fmla="*/ 321 h 328"/>
                <a:gd name="T42" fmla="*/ 372 w 392"/>
                <a:gd name="T43" fmla="*/ 310 h 328"/>
                <a:gd name="T44" fmla="*/ 382 w 392"/>
                <a:gd name="T45" fmla="*/ 245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2" h="328">
                  <a:moveTo>
                    <a:pt x="382" y="245"/>
                  </a:moveTo>
                  <a:cubicBezTo>
                    <a:pt x="377" y="224"/>
                    <a:pt x="369" y="204"/>
                    <a:pt x="369" y="187"/>
                  </a:cubicBezTo>
                  <a:cubicBezTo>
                    <a:pt x="370" y="168"/>
                    <a:pt x="383" y="147"/>
                    <a:pt x="372" y="129"/>
                  </a:cubicBezTo>
                  <a:cubicBezTo>
                    <a:pt x="364" y="118"/>
                    <a:pt x="349" y="114"/>
                    <a:pt x="336" y="113"/>
                  </a:cubicBezTo>
                  <a:cubicBezTo>
                    <a:pt x="318" y="111"/>
                    <a:pt x="299" y="112"/>
                    <a:pt x="282" y="105"/>
                  </a:cubicBezTo>
                  <a:cubicBezTo>
                    <a:pt x="274" y="102"/>
                    <a:pt x="266" y="97"/>
                    <a:pt x="261" y="90"/>
                  </a:cubicBezTo>
                  <a:cubicBezTo>
                    <a:pt x="256" y="82"/>
                    <a:pt x="255" y="72"/>
                    <a:pt x="251" y="63"/>
                  </a:cubicBezTo>
                  <a:cubicBezTo>
                    <a:pt x="240" y="41"/>
                    <a:pt x="217" y="32"/>
                    <a:pt x="194" y="33"/>
                  </a:cubicBezTo>
                  <a:cubicBezTo>
                    <a:pt x="173" y="34"/>
                    <a:pt x="152" y="42"/>
                    <a:pt x="131" y="33"/>
                  </a:cubicBezTo>
                  <a:cubicBezTo>
                    <a:pt x="99" y="18"/>
                    <a:pt x="62" y="0"/>
                    <a:pt x="30" y="18"/>
                  </a:cubicBezTo>
                  <a:cubicBezTo>
                    <a:pt x="4" y="32"/>
                    <a:pt x="0" y="67"/>
                    <a:pt x="8" y="92"/>
                  </a:cubicBezTo>
                  <a:cubicBezTo>
                    <a:pt x="13" y="107"/>
                    <a:pt x="22" y="121"/>
                    <a:pt x="33" y="132"/>
                  </a:cubicBezTo>
                  <a:cubicBezTo>
                    <a:pt x="45" y="145"/>
                    <a:pt x="61" y="151"/>
                    <a:pt x="64" y="171"/>
                  </a:cubicBezTo>
                  <a:cubicBezTo>
                    <a:pt x="69" y="205"/>
                    <a:pt x="44" y="235"/>
                    <a:pt x="33" y="264"/>
                  </a:cubicBezTo>
                  <a:cubicBezTo>
                    <a:pt x="19" y="304"/>
                    <a:pt x="59" y="326"/>
                    <a:pt x="91" y="308"/>
                  </a:cubicBezTo>
                  <a:cubicBezTo>
                    <a:pt x="117" y="297"/>
                    <a:pt x="139" y="268"/>
                    <a:pt x="171" y="286"/>
                  </a:cubicBezTo>
                  <a:cubicBezTo>
                    <a:pt x="181" y="294"/>
                    <a:pt x="187" y="304"/>
                    <a:pt x="193" y="314"/>
                  </a:cubicBezTo>
                  <a:cubicBezTo>
                    <a:pt x="194" y="316"/>
                    <a:pt x="195" y="318"/>
                    <a:pt x="197" y="319"/>
                  </a:cubicBezTo>
                  <a:cubicBezTo>
                    <a:pt x="199" y="321"/>
                    <a:pt x="203" y="321"/>
                    <a:pt x="206" y="322"/>
                  </a:cubicBezTo>
                  <a:cubicBezTo>
                    <a:pt x="226" y="324"/>
                    <a:pt x="247" y="327"/>
                    <a:pt x="267" y="327"/>
                  </a:cubicBezTo>
                  <a:cubicBezTo>
                    <a:pt x="285" y="328"/>
                    <a:pt x="304" y="324"/>
                    <a:pt x="322" y="321"/>
                  </a:cubicBezTo>
                  <a:cubicBezTo>
                    <a:pt x="338" y="318"/>
                    <a:pt x="358" y="321"/>
                    <a:pt x="372" y="310"/>
                  </a:cubicBezTo>
                  <a:cubicBezTo>
                    <a:pt x="392" y="293"/>
                    <a:pt x="389" y="269"/>
                    <a:pt x="382" y="245"/>
                  </a:cubicBezTo>
                </a:path>
              </a:pathLst>
            </a:custGeom>
            <a:solidFill>
              <a:srgbClr val="9ABC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íSļíḋé">
              <a:extLst>
                <a:ext uri="{FF2B5EF4-FFF2-40B4-BE49-F238E27FC236}">
                  <a16:creationId xmlns:a16="http://schemas.microsoft.com/office/drawing/2014/main" id="{818398DF-A4E7-432D-BA5C-66878BD06AF2}"/>
                </a:ext>
              </a:extLst>
            </p:cNvPr>
            <p:cNvSpPr/>
            <p:nvPr/>
          </p:nvSpPr>
          <p:spPr bwMode="auto">
            <a:xfrm>
              <a:off x="3963988" y="2573338"/>
              <a:ext cx="2187575" cy="2728913"/>
            </a:xfrm>
            <a:custGeom>
              <a:avLst/>
              <a:gdLst>
                <a:gd name="T0" fmla="*/ 178 w 217"/>
                <a:gd name="T1" fmla="*/ 11 h 271"/>
                <a:gd name="T2" fmla="*/ 23 w 217"/>
                <a:gd name="T3" fmla="*/ 56 h 271"/>
                <a:gd name="T4" fmla="*/ 14 w 217"/>
                <a:gd name="T5" fmla="*/ 135 h 271"/>
                <a:gd name="T6" fmla="*/ 80 w 217"/>
                <a:gd name="T7" fmla="*/ 261 h 271"/>
                <a:gd name="T8" fmla="*/ 187 w 217"/>
                <a:gd name="T9" fmla="*/ 234 h 271"/>
                <a:gd name="T10" fmla="*/ 178 w 217"/>
                <a:gd name="T11" fmla="*/ 1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7" h="271">
                  <a:moveTo>
                    <a:pt x="178" y="11"/>
                  </a:moveTo>
                  <a:cubicBezTo>
                    <a:pt x="178" y="11"/>
                    <a:pt x="27" y="51"/>
                    <a:pt x="23" y="56"/>
                  </a:cubicBezTo>
                  <a:cubicBezTo>
                    <a:pt x="19" y="61"/>
                    <a:pt x="0" y="76"/>
                    <a:pt x="14" y="135"/>
                  </a:cubicBezTo>
                  <a:cubicBezTo>
                    <a:pt x="29" y="193"/>
                    <a:pt x="39" y="271"/>
                    <a:pt x="80" y="261"/>
                  </a:cubicBezTo>
                  <a:cubicBezTo>
                    <a:pt x="122" y="251"/>
                    <a:pt x="186" y="242"/>
                    <a:pt x="187" y="234"/>
                  </a:cubicBezTo>
                  <a:cubicBezTo>
                    <a:pt x="188" y="225"/>
                    <a:pt x="217" y="0"/>
                    <a:pt x="178" y="11"/>
                  </a:cubicBezTo>
                </a:path>
              </a:pathLst>
            </a:custGeom>
            <a:solidFill>
              <a:srgbClr val="2A2B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íśḻiḍè">
              <a:extLst>
                <a:ext uri="{FF2B5EF4-FFF2-40B4-BE49-F238E27FC236}">
                  <a16:creationId xmlns:a16="http://schemas.microsoft.com/office/drawing/2014/main" id="{323C7DC5-7739-48AA-A994-6A9AD15ADFB1}"/>
                </a:ext>
              </a:extLst>
            </p:cNvPr>
            <p:cNvSpPr/>
            <p:nvPr/>
          </p:nvSpPr>
          <p:spPr bwMode="auto">
            <a:xfrm>
              <a:off x="4144963" y="2684463"/>
              <a:ext cx="2097088" cy="2516188"/>
            </a:xfrm>
            <a:custGeom>
              <a:avLst/>
              <a:gdLst>
                <a:gd name="T0" fmla="*/ 160 w 208"/>
                <a:gd name="T1" fmla="*/ 0 h 250"/>
                <a:gd name="T2" fmla="*/ 6 w 208"/>
                <a:gd name="T3" fmla="*/ 44 h 250"/>
                <a:gd name="T4" fmla="*/ 28 w 208"/>
                <a:gd name="T5" fmla="*/ 67 h 250"/>
                <a:gd name="T6" fmla="*/ 18 w 208"/>
                <a:gd name="T7" fmla="*/ 131 h 250"/>
                <a:gd name="T8" fmla="*/ 46 w 208"/>
                <a:gd name="T9" fmla="*/ 149 h 250"/>
                <a:gd name="T10" fmla="*/ 37 w 208"/>
                <a:gd name="T11" fmla="*/ 191 h 250"/>
                <a:gd name="T12" fmla="*/ 58 w 208"/>
                <a:gd name="T13" fmla="*/ 212 h 250"/>
                <a:gd name="T14" fmla="*/ 62 w 208"/>
                <a:gd name="T15" fmla="*/ 250 h 250"/>
                <a:gd name="T16" fmla="*/ 62 w 208"/>
                <a:gd name="T17" fmla="*/ 250 h 250"/>
                <a:gd name="T18" fmla="*/ 196 w 208"/>
                <a:gd name="T19" fmla="*/ 212 h 250"/>
                <a:gd name="T20" fmla="*/ 160 w 208"/>
                <a:gd name="T21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8" h="250">
                  <a:moveTo>
                    <a:pt x="160" y="0"/>
                  </a:moveTo>
                  <a:cubicBezTo>
                    <a:pt x="160" y="0"/>
                    <a:pt x="23" y="36"/>
                    <a:pt x="6" y="44"/>
                  </a:cubicBezTo>
                  <a:cubicBezTo>
                    <a:pt x="0" y="59"/>
                    <a:pt x="25" y="59"/>
                    <a:pt x="28" y="67"/>
                  </a:cubicBezTo>
                  <a:cubicBezTo>
                    <a:pt x="40" y="90"/>
                    <a:pt x="36" y="114"/>
                    <a:pt x="18" y="131"/>
                  </a:cubicBezTo>
                  <a:cubicBezTo>
                    <a:pt x="30" y="131"/>
                    <a:pt x="40" y="137"/>
                    <a:pt x="46" y="149"/>
                  </a:cubicBezTo>
                  <a:cubicBezTo>
                    <a:pt x="54" y="173"/>
                    <a:pt x="47" y="184"/>
                    <a:pt x="37" y="191"/>
                  </a:cubicBezTo>
                  <a:cubicBezTo>
                    <a:pt x="45" y="196"/>
                    <a:pt x="52" y="200"/>
                    <a:pt x="58" y="212"/>
                  </a:cubicBezTo>
                  <a:cubicBezTo>
                    <a:pt x="63" y="226"/>
                    <a:pt x="72" y="241"/>
                    <a:pt x="62" y="250"/>
                  </a:cubicBezTo>
                  <a:cubicBezTo>
                    <a:pt x="62" y="250"/>
                    <a:pt x="62" y="250"/>
                    <a:pt x="62" y="250"/>
                  </a:cubicBezTo>
                  <a:cubicBezTo>
                    <a:pt x="104" y="240"/>
                    <a:pt x="200" y="220"/>
                    <a:pt x="196" y="212"/>
                  </a:cubicBezTo>
                  <a:cubicBezTo>
                    <a:pt x="179" y="183"/>
                    <a:pt x="208" y="9"/>
                    <a:pt x="160" y="0"/>
                  </a:cubicBezTo>
                </a:path>
              </a:pathLst>
            </a:custGeom>
            <a:solidFill>
              <a:srgbClr val="676B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îšḷíḋê">
              <a:extLst>
                <a:ext uri="{FF2B5EF4-FFF2-40B4-BE49-F238E27FC236}">
                  <a16:creationId xmlns:a16="http://schemas.microsoft.com/office/drawing/2014/main" id="{7CC32EB6-4CE1-4173-BEA8-9C1533C2B216}"/>
                </a:ext>
              </a:extLst>
            </p:cNvPr>
            <p:cNvSpPr/>
            <p:nvPr/>
          </p:nvSpPr>
          <p:spPr bwMode="auto">
            <a:xfrm>
              <a:off x="5022851" y="4525963"/>
              <a:ext cx="3498850" cy="1430338"/>
            </a:xfrm>
            <a:custGeom>
              <a:avLst/>
              <a:gdLst>
                <a:gd name="T0" fmla="*/ 238 w 347"/>
                <a:gd name="T1" fmla="*/ 0 h 142"/>
                <a:gd name="T2" fmla="*/ 0 w 347"/>
                <a:gd name="T3" fmla="*/ 94 h 142"/>
                <a:gd name="T4" fmla="*/ 32 w 347"/>
                <a:gd name="T5" fmla="*/ 108 h 142"/>
                <a:gd name="T6" fmla="*/ 267 w 347"/>
                <a:gd name="T7" fmla="*/ 95 h 142"/>
                <a:gd name="T8" fmla="*/ 326 w 347"/>
                <a:gd name="T9" fmla="*/ 60 h 142"/>
                <a:gd name="T10" fmla="*/ 317 w 347"/>
                <a:gd name="T11" fmla="*/ 13 h 142"/>
                <a:gd name="T12" fmla="*/ 238 w 347"/>
                <a:gd name="T1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142">
                  <a:moveTo>
                    <a:pt x="238" y="0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108" y="142"/>
                    <a:pt x="195" y="138"/>
                    <a:pt x="267" y="95"/>
                  </a:cubicBezTo>
                  <a:cubicBezTo>
                    <a:pt x="326" y="60"/>
                    <a:pt x="326" y="60"/>
                    <a:pt x="326" y="60"/>
                  </a:cubicBezTo>
                  <a:cubicBezTo>
                    <a:pt x="347" y="48"/>
                    <a:pt x="341" y="16"/>
                    <a:pt x="317" y="13"/>
                  </a:cubicBezTo>
                  <a:lnTo>
                    <a:pt x="238" y="0"/>
                  </a:lnTo>
                  <a:close/>
                </a:path>
              </a:pathLst>
            </a:custGeom>
            <a:solidFill>
              <a:srgbClr val="F4E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íṡľîdê">
              <a:extLst>
                <a:ext uri="{FF2B5EF4-FFF2-40B4-BE49-F238E27FC236}">
                  <a16:creationId xmlns:a16="http://schemas.microsoft.com/office/drawing/2014/main" id="{E0BBB78A-243F-43DD-8ACC-2216796EE376}"/>
                </a:ext>
              </a:extLst>
            </p:cNvPr>
            <p:cNvSpPr/>
            <p:nvPr/>
          </p:nvSpPr>
          <p:spPr bwMode="auto">
            <a:xfrm>
              <a:off x="5718176" y="3167063"/>
              <a:ext cx="1654175" cy="1430338"/>
            </a:xfrm>
            <a:custGeom>
              <a:avLst/>
              <a:gdLst>
                <a:gd name="T0" fmla="*/ 0 w 164"/>
                <a:gd name="T1" fmla="*/ 24 h 142"/>
                <a:gd name="T2" fmla="*/ 43 w 164"/>
                <a:gd name="T3" fmla="*/ 51 h 142"/>
                <a:gd name="T4" fmla="*/ 48 w 164"/>
                <a:gd name="T5" fmla="*/ 78 h 142"/>
                <a:gd name="T6" fmla="*/ 117 w 164"/>
                <a:gd name="T7" fmla="*/ 97 h 142"/>
                <a:gd name="T8" fmla="*/ 159 w 164"/>
                <a:gd name="T9" fmla="*/ 112 h 142"/>
                <a:gd name="T10" fmla="*/ 162 w 164"/>
                <a:gd name="T11" fmla="*/ 128 h 142"/>
                <a:gd name="T12" fmla="*/ 154 w 164"/>
                <a:gd name="T13" fmla="*/ 134 h 142"/>
                <a:gd name="T14" fmla="*/ 152 w 164"/>
                <a:gd name="T15" fmla="*/ 140 h 142"/>
                <a:gd name="T16" fmla="*/ 143 w 164"/>
                <a:gd name="T17" fmla="*/ 123 h 142"/>
                <a:gd name="T18" fmla="*/ 140 w 164"/>
                <a:gd name="T19" fmla="*/ 130 h 142"/>
                <a:gd name="T20" fmla="*/ 127 w 164"/>
                <a:gd name="T21" fmla="*/ 116 h 142"/>
                <a:gd name="T22" fmla="*/ 31 w 164"/>
                <a:gd name="T23" fmla="*/ 108 h 142"/>
                <a:gd name="T24" fmla="*/ 0 w 164"/>
                <a:gd name="T25" fmla="*/ 2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4" h="142">
                  <a:moveTo>
                    <a:pt x="0" y="24"/>
                  </a:moveTo>
                  <a:cubicBezTo>
                    <a:pt x="0" y="24"/>
                    <a:pt x="34" y="0"/>
                    <a:pt x="43" y="51"/>
                  </a:cubicBezTo>
                  <a:cubicBezTo>
                    <a:pt x="47" y="72"/>
                    <a:pt x="48" y="78"/>
                    <a:pt x="48" y="78"/>
                  </a:cubicBezTo>
                  <a:cubicBezTo>
                    <a:pt x="77" y="82"/>
                    <a:pt x="81" y="93"/>
                    <a:pt x="117" y="97"/>
                  </a:cubicBezTo>
                  <a:cubicBezTo>
                    <a:pt x="145" y="97"/>
                    <a:pt x="159" y="112"/>
                    <a:pt x="159" y="112"/>
                  </a:cubicBezTo>
                  <a:cubicBezTo>
                    <a:pt x="159" y="112"/>
                    <a:pt x="164" y="123"/>
                    <a:pt x="162" y="128"/>
                  </a:cubicBezTo>
                  <a:cubicBezTo>
                    <a:pt x="160" y="133"/>
                    <a:pt x="154" y="134"/>
                    <a:pt x="154" y="134"/>
                  </a:cubicBezTo>
                  <a:cubicBezTo>
                    <a:pt x="154" y="134"/>
                    <a:pt x="154" y="139"/>
                    <a:pt x="152" y="140"/>
                  </a:cubicBezTo>
                  <a:cubicBezTo>
                    <a:pt x="150" y="142"/>
                    <a:pt x="148" y="126"/>
                    <a:pt x="143" y="123"/>
                  </a:cubicBezTo>
                  <a:cubicBezTo>
                    <a:pt x="138" y="120"/>
                    <a:pt x="142" y="129"/>
                    <a:pt x="140" y="130"/>
                  </a:cubicBezTo>
                  <a:cubicBezTo>
                    <a:pt x="139" y="131"/>
                    <a:pt x="132" y="124"/>
                    <a:pt x="127" y="116"/>
                  </a:cubicBezTo>
                  <a:cubicBezTo>
                    <a:pt x="122" y="108"/>
                    <a:pt x="105" y="122"/>
                    <a:pt x="31" y="108"/>
                  </a:cubicBezTo>
                  <a:cubicBezTo>
                    <a:pt x="7" y="85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FFD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ïşḷiḋê">
              <a:extLst>
                <a:ext uri="{FF2B5EF4-FFF2-40B4-BE49-F238E27FC236}">
                  <a16:creationId xmlns:a16="http://schemas.microsoft.com/office/drawing/2014/main" id="{97DF62D0-C7E2-4D49-8653-DE11C41A9055}"/>
                </a:ext>
              </a:extLst>
            </p:cNvPr>
            <p:cNvSpPr/>
            <p:nvPr/>
          </p:nvSpPr>
          <p:spPr bwMode="auto">
            <a:xfrm>
              <a:off x="5718176" y="2976563"/>
              <a:ext cx="523875" cy="865188"/>
            </a:xfrm>
            <a:custGeom>
              <a:avLst/>
              <a:gdLst>
                <a:gd name="T0" fmla="*/ 52 w 52"/>
                <a:gd name="T1" fmla="*/ 72 h 86"/>
                <a:gd name="T2" fmla="*/ 45 w 52"/>
                <a:gd name="T3" fmla="*/ 55 h 86"/>
                <a:gd name="T4" fmla="*/ 0 w 52"/>
                <a:gd name="T5" fmla="*/ 9 h 86"/>
                <a:gd name="T6" fmla="*/ 18 w 52"/>
                <a:gd name="T7" fmla="*/ 86 h 86"/>
                <a:gd name="T8" fmla="*/ 52 w 52"/>
                <a:gd name="T9" fmla="*/ 7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86">
                  <a:moveTo>
                    <a:pt x="52" y="72"/>
                  </a:moveTo>
                  <a:cubicBezTo>
                    <a:pt x="50" y="68"/>
                    <a:pt x="47" y="60"/>
                    <a:pt x="45" y="55"/>
                  </a:cubicBezTo>
                  <a:cubicBezTo>
                    <a:pt x="25" y="0"/>
                    <a:pt x="0" y="9"/>
                    <a:pt x="0" y="9"/>
                  </a:cubicBezTo>
                  <a:cubicBezTo>
                    <a:pt x="0" y="9"/>
                    <a:pt x="6" y="53"/>
                    <a:pt x="18" y="86"/>
                  </a:cubicBezTo>
                  <a:cubicBezTo>
                    <a:pt x="26" y="84"/>
                    <a:pt x="44" y="77"/>
                    <a:pt x="52" y="72"/>
                  </a:cubicBezTo>
                  <a:close/>
                </a:path>
              </a:pathLst>
            </a:custGeom>
            <a:solidFill>
              <a:srgbClr val="EF6A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ïṣḻîḍé">
              <a:extLst>
                <a:ext uri="{FF2B5EF4-FFF2-40B4-BE49-F238E27FC236}">
                  <a16:creationId xmlns:a16="http://schemas.microsoft.com/office/drawing/2014/main" id="{CDF03CF5-1CE7-48FF-AEB1-B65432600585}"/>
                </a:ext>
              </a:extLst>
            </p:cNvPr>
            <p:cNvSpPr/>
            <p:nvPr/>
          </p:nvSpPr>
          <p:spPr bwMode="auto">
            <a:xfrm>
              <a:off x="4386263" y="2886075"/>
              <a:ext cx="1704975" cy="2325688"/>
            </a:xfrm>
            <a:custGeom>
              <a:avLst/>
              <a:gdLst>
                <a:gd name="T0" fmla="*/ 164 w 169"/>
                <a:gd name="T1" fmla="*/ 207 h 231"/>
                <a:gd name="T2" fmla="*/ 90 w 169"/>
                <a:gd name="T3" fmla="*/ 230 h 231"/>
                <a:gd name="T4" fmla="*/ 57 w 169"/>
                <a:gd name="T5" fmla="*/ 226 h 231"/>
                <a:gd name="T6" fmla="*/ 25 w 169"/>
                <a:gd name="T7" fmla="*/ 116 h 231"/>
                <a:gd name="T8" fmla="*/ 17 w 169"/>
                <a:gd name="T9" fmla="*/ 118 h 231"/>
                <a:gd name="T10" fmla="*/ 0 w 169"/>
                <a:gd name="T11" fmla="*/ 62 h 231"/>
                <a:gd name="T12" fmla="*/ 54 w 169"/>
                <a:gd name="T13" fmla="*/ 12 h 231"/>
                <a:gd name="T14" fmla="*/ 145 w 169"/>
                <a:gd name="T15" fmla="*/ 19 h 231"/>
                <a:gd name="T16" fmla="*/ 164 w 169"/>
                <a:gd name="T17" fmla="*/ 20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231">
                  <a:moveTo>
                    <a:pt x="164" y="207"/>
                  </a:moveTo>
                  <a:cubicBezTo>
                    <a:pt x="150" y="221"/>
                    <a:pt x="115" y="231"/>
                    <a:pt x="90" y="230"/>
                  </a:cubicBezTo>
                  <a:cubicBezTo>
                    <a:pt x="78" y="230"/>
                    <a:pt x="71" y="228"/>
                    <a:pt x="57" y="226"/>
                  </a:cubicBezTo>
                  <a:cubicBezTo>
                    <a:pt x="26" y="170"/>
                    <a:pt x="25" y="116"/>
                    <a:pt x="25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" y="94"/>
                    <a:pt x="0" y="62"/>
                  </a:cubicBezTo>
                  <a:cubicBezTo>
                    <a:pt x="0" y="30"/>
                    <a:pt x="50" y="13"/>
                    <a:pt x="54" y="12"/>
                  </a:cubicBezTo>
                  <a:cubicBezTo>
                    <a:pt x="90" y="0"/>
                    <a:pt x="121" y="10"/>
                    <a:pt x="145" y="19"/>
                  </a:cubicBezTo>
                  <a:cubicBezTo>
                    <a:pt x="169" y="72"/>
                    <a:pt x="148" y="148"/>
                    <a:pt x="164" y="207"/>
                  </a:cubicBezTo>
                </a:path>
              </a:pathLst>
            </a:custGeom>
            <a:solidFill>
              <a:srgbClr val="FA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ïşḻïde">
              <a:extLst>
                <a:ext uri="{FF2B5EF4-FFF2-40B4-BE49-F238E27FC236}">
                  <a16:creationId xmlns:a16="http://schemas.microsoft.com/office/drawing/2014/main" id="{EE253F1D-45ED-4575-91A1-CDDF649A4470}"/>
                </a:ext>
              </a:extLst>
            </p:cNvPr>
            <p:cNvSpPr/>
            <p:nvPr/>
          </p:nvSpPr>
          <p:spPr bwMode="auto">
            <a:xfrm>
              <a:off x="4638676" y="3560763"/>
              <a:ext cx="898525" cy="1639888"/>
            </a:xfrm>
            <a:custGeom>
              <a:avLst/>
              <a:gdLst>
                <a:gd name="T0" fmla="*/ 24 w 89"/>
                <a:gd name="T1" fmla="*/ 0 h 163"/>
                <a:gd name="T2" fmla="*/ 37 w 89"/>
                <a:gd name="T3" fmla="*/ 26 h 163"/>
                <a:gd name="T4" fmla="*/ 36 w 89"/>
                <a:gd name="T5" fmla="*/ 26 h 163"/>
                <a:gd name="T6" fmla="*/ 21 w 89"/>
                <a:gd name="T7" fmla="*/ 36 h 163"/>
                <a:gd name="T8" fmla="*/ 2 w 89"/>
                <a:gd name="T9" fmla="*/ 49 h 163"/>
                <a:gd name="T10" fmla="*/ 0 w 89"/>
                <a:gd name="T11" fmla="*/ 49 h 163"/>
                <a:gd name="T12" fmla="*/ 37 w 89"/>
                <a:gd name="T13" fmla="*/ 156 h 163"/>
                <a:gd name="T14" fmla="*/ 65 w 89"/>
                <a:gd name="T15" fmla="*/ 163 h 163"/>
                <a:gd name="T16" fmla="*/ 53 w 89"/>
                <a:gd name="T17" fmla="*/ 119 h 163"/>
                <a:gd name="T18" fmla="*/ 89 w 89"/>
                <a:gd name="T19" fmla="*/ 64 h 163"/>
                <a:gd name="T20" fmla="*/ 50 w 89"/>
                <a:gd name="T21" fmla="*/ 49 h 163"/>
                <a:gd name="T22" fmla="*/ 24 w 89"/>
                <a:gd name="T2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" h="163">
                  <a:moveTo>
                    <a:pt x="24" y="0"/>
                  </a:moveTo>
                  <a:cubicBezTo>
                    <a:pt x="31" y="10"/>
                    <a:pt x="37" y="26"/>
                    <a:pt x="37" y="26"/>
                  </a:cubicBezTo>
                  <a:cubicBezTo>
                    <a:pt x="37" y="26"/>
                    <a:pt x="37" y="26"/>
                    <a:pt x="36" y="26"/>
                  </a:cubicBezTo>
                  <a:cubicBezTo>
                    <a:pt x="34" y="26"/>
                    <a:pt x="28" y="27"/>
                    <a:pt x="21" y="36"/>
                  </a:cubicBezTo>
                  <a:cubicBezTo>
                    <a:pt x="13" y="47"/>
                    <a:pt x="2" y="49"/>
                    <a:pt x="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10" y="123"/>
                    <a:pt x="37" y="156"/>
                  </a:cubicBezTo>
                  <a:cubicBezTo>
                    <a:pt x="42" y="161"/>
                    <a:pt x="53" y="163"/>
                    <a:pt x="65" y="163"/>
                  </a:cubicBezTo>
                  <a:cubicBezTo>
                    <a:pt x="65" y="162"/>
                    <a:pt x="68" y="154"/>
                    <a:pt x="53" y="119"/>
                  </a:cubicBezTo>
                  <a:cubicBezTo>
                    <a:pt x="37" y="82"/>
                    <a:pt x="89" y="64"/>
                    <a:pt x="89" y="64"/>
                  </a:cubicBezTo>
                  <a:cubicBezTo>
                    <a:pt x="89" y="64"/>
                    <a:pt x="50" y="63"/>
                    <a:pt x="50" y="49"/>
                  </a:cubicBezTo>
                  <a:cubicBezTo>
                    <a:pt x="49" y="36"/>
                    <a:pt x="36" y="8"/>
                    <a:pt x="24" y="0"/>
                  </a:cubicBezTo>
                </a:path>
              </a:pathLst>
            </a:custGeom>
            <a:solidFill>
              <a:srgbClr val="E165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íṣļíḑè">
              <a:extLst>
                <a:ext uri="{FF2B5EF4-FFF2-40B4-BE49-F238E27FC236}">
                  <a16:creationId xmlns:a16="http://schemas.microsoft.com/office/drawing/2014/main" id="{79441ECA-C10F-43F9-BC2D-BC9F1430E750}"/>
                </a:ext>
              </a:extLst>
            </p:cNvPr>
            <p:cNvSpPr/>
            <p:nvPr/>
          </p:nvSpPr>
          <p:spPr bwMode="auto">
            <a:xfrm>
              <a:off x="4810126" y="2895600"/>
              <a:ext cx="484188" cy="503238"/>
            </a:xfrm>
            <a:custGeom>
              <a:avLst/>
              <a:gdLst>
                <a:gd name="T0" fmla="*/ 13 w 48"/>
                <a:gd name="T1" fmla="*/ 0 h 50"/>
                <a:gd name="T2" fmla="*/ 0 w 48"/>
                <a:gd name="T3" fmla="*/ 16 h 50"/>
                <a:gd name="T4" fmla="*/ 35 w 48"/>
                <a:gd name="T5" fmla="*/ 48 h 50"/>
                <a:gd name="T6" fmla="*/ 48 w 48"/>
                <a:gd name="T7" fmla="*/ 33 h 50"/>
                <a:gd name="T8" fmla="*/ 48 w 48"/>
                <a:gd name="T9" fmla="*/ 13 h 50"/>
                <a:gd name="T10" fmla="*/ 13 w 48"/>
                <a:gd name="T1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50">
                  <a:moveTo>
                    <a:pt x="13" y="0"/>
                  </a:moveTo>
                  <a:cubicBezTo>
                    <a:pt x="13" y="0"/>
                    <a:pt x="2" y="10"/>
                    <a:pt x="0" y="16"/>
                  </a:cubicBezTo>
                  <a:cubicBezTo>
                    <a:pt x="3" y="29"/>
                    <a:pt x="27" y="50"/>
                    <a:pt x="35" y="48"/>
                  </a:cubicBezTo>
                  <a:cubicBezTo>
                    <a:pt x="42" y="34"/>
                    <a:pt x="48" y="33"/>
                    <a:pt x="48" y="33"/>
                  </a:cubicBezTo>
                  <a:cubicBezTo>
                    <a:pt x="48" y="13"/>
                    <a:pt x="48" y="13"/>
                    <a:pt x="48" y="13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ïsľíďé">
              <a:extLst>
                <a:ext uri="{FF2B5EF4-FFF2-40B4-BE49-F238E27FC236}">
                  <a16:creationId xmlns:a16="http://schemas.microsoft.com/office/drawing/2014/main" id="{150C837B-CE0F-4159-A035-9EB9BCA2E6B3}"/>
                </a:ext>
              </a:extLst>
            </p:cNvPr>
            <p:cNvSpPr/>
            <p:nvPr/>
          </p:nvSpPr>
          <p:spPr bwMode="auto">
            <a:xfrm>
              <a:off x="5294313" y="2835275"/>
              <a:ext cx="363538" cy="523875"/>
            </a:xfrm>
            <a:custGeom>
              <a:avLst/>
              <a:gdLst>
                <a:gd name="T0" fmla="*/ 0 w 36"/>
                <a:gd name="T1" fmla="*/ 39 h 52"/>
                <a:gd name="T2" fmla="*/ 14 w 36"/>
                <a:gd name="T3" fmla="*/ 52 h 52"/>
                <a:gd name="T4" fmla="*/ 31 w 36"/>
                <a:gd name="T5" fmla="*/ 14 h 52"/>
                <a:gd name="T6" fmla="*/ 9 w 36"/>
                <a:gd name="T7" fmla="*/ 0 h 52"/>
                <a:gd name="T8" fmla="*/ 0 w 36"/>
                <a:gd name="T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2">
                  <a:moveTo>
                    <a:pt x="0" y="39"/>
                  </a:moveTo>
                  <a:cubicBezTo>
                    <a:pt x="0" y="39"/>
                    <a:pt x="12" y="41"/>
                    <a:pt x="14" y="52"/>
                  </a:cubicBezTo>
                  <a:cubicBezTo>
                    <a:pt x="23" y="52"/>
                    <a:pt x="36" y="32"/>
                    <a:pt x="31" y="14"/>
                  </a:cubicBezTo>
                  <a:cubicBezTo>
                    <a:pt x="25" y="4"/>
                    <a:pt x="9" y="0"/>
                    <a:pt x="9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íŝḻîḑè">
              <a:extLst>
                <a:ext uri="{FF2B5EF4-FFF2-40B4-BE49-F238E27FC236}">
                  <a16:creationId xmlns:a16="http://schemas.microsoft.com/office/drawing/2014/main" id="{7A0F9254-E372-4FC3-B1DF-4A65499F17AB}"/>
                </a:ext>
              </a:extLst>
            </p:cNvPr>
            <p:cNvSpPr/>
            <p:nvPr/>
          </p:nvSpPr>
          <p:spPr bwMode="auto">
            <a:xfrm>
              <a:off x="4900613" y="2814638"/>
              <a:ext cx="595313" cy="412750"/>
            </a:xfrm>
            <a:custGeom>
              <a:avLst/>
              <a:gdLst>
                <a:gd name="T0" fmla="*/ 58 w 59"/>
                <a:gd name="T1" fmla="*/ 16 h 41"/>
                <a:gd name="T2" fmla="*/ 39 w 59"/>
                <a:gd name="T3" fmla="*/ 41 h 41"/>
                <a:gd name="T4" fmla="*/ 5 w 59"/>
                <a:gd name="T5" fmla="*/ 19 h 41"/>
                <a:gd name="T6" fmla="*/ 2 w 59"/>
                <a:gd name="T7" fmla="*/ 15 h 41"/>
                <a:gd name="T8" fmla="*/ 2 w 59"/>
                <a:gd name="T9" fmla="*/ 15 h 41"/>
                <a:gd name="T10" fmla="*/ 1 w 59"/>
                <a:gd name="T11" fmla="*/ 14 h 41"/>
                <a:gd name="T12" fmla="*/ 7 w 59"/>
                <a:gd name="T13" fmla="*/ 7 h 41"/>
                <a:gd name="T14" fmla="*/ 7 w 59"/>
                <a:gd name="T15" fmla="*/ 6 h 41"/>
                <a:gd name="T16" fmla="*/ 32 w 59"/>
                <a:gd name="T17" fmla="*/ 2 h 41"/>
                <a:gd name="T18" fmla="*/ 50 w 59"/>
                <a:gd name="T19" fmla="*/ 2 h 41"/>
                <a:gd name="T20" fmla="*/ 51 w 59"/>
                <a:gd name="T21" fmla="*/ 3 h 41"/>
                <a:gd name="T22" fmla="*/ 56 w 59"/>
                <a:gd name="T23" fmla="*/ 5 h 41"/>
                <a:gd name="T24" fmla="*/ 59 w 59"/>
                <a:gd name="T25" fmla="*/ 9 h 41"/>
                <a:gd name="T26" fmla="*/ 58 w 59"/>
                <a:gd name="T27" fmla="*/ 1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41">
                  <a:moveTo>
                    <a:pt x="58" y="16"/>
                  </a:moveTo>
                  <a:cubicBezTo>
                    <a:pt x="55" y="22"/>
                    <a:pt x="49" y="30"/>
                    <a:pt x="39" y="41"/>
                  </a:cubicBezTo>
                  <a:cubicBezTo>
                    <a:pt x="36" y="32"/>
                    <a:pt x="14" y="26"/>
                    <a:pt x="5" y="19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0"/>
                    <a:pt x="3" y="8"/>
                    <a:pt x="7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6" y="3"/>
                    <a:pt x="32" y="2"/>
                    <a:pt x="32" y="2"/>
                  </a:cubicBezTo>
                  <a:cubicBezTo>
                    <a:pt x="32" y="2"/>
                    <a:pt x="42" y="0"/>
                    <a:pt x="50" y="2"/>
                  </a:cubicBezTo>
                  <a:cubicBezTo>
                    <a:pt x="51" y="2"/>
                    <a:pt x="51" y="3"/>
                    <a:pt x="51" y="3"/>
                  </a:cubicBezTo>
                  <a:cubicBezTo>
                    <a:pt x="53" y="3"/>
                    <a:pt x="54" y="4"/>
                    <a:pt x="56" y="5"/>
                  </a:cubicBezTo>
                  <a:cubicBezTo>
                    <a:pt x="57" y="6"/>
                    <a:pt x="58" y="7"/>
                    <a:pt x="59" y="9"/>
                  </a:cubicBezTo>
                  <a:cubicBezTo>
                    <a:pt x="59" y="11"/>
                    <a:pt x="59" y="13"/>
                    <a:pt x="58" y="16"/>
                  </a:cubicBezTo>
                  <a:close/>
                </a:path>
              </a:pathLst>
            </a:custGeom>
            <a:solidFill>
              <a:srgbClr val="E2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ï$1iḍê">
              <a:extLst>
                <a:ext uri="{FF2B5EF4-FFF2-40B4-BE49-F238E27FC236}">
                  <a16:creationId xmlns:a16="http://schemas.microsoft.com/office/drawing/2014/main" id="{28374718-1922-41E0-BB28-CC9F377C939C}"/>
                </a:ext>
              </a:extLst>
            </p:cNvPr>
            <p:cNvSpPr/>
            <p:nvPr/>
          </p:nvSpPr>
          <p:spPr bwMode="auto">
            <a:xfrm>
              <a:off x="4851401" y="2543175"/>
              <a:ext cx="635000" cy="684213"/>
            </a:xfrm>
            <a:custGeom>
              <a:avLst/>
              <a:gdLst>
                <a:gd name="T0" fmla="*/ 63 w 63"/>
                <a:gd name="T1" fmla="*/ 43 h 68"/>
                <a:gd name="T2" fmla="*/ 44 w 63"/>
                <a:gd name="T3" fmla="*/ 68 h 68"/>
                <a:gd name="T4" fmla="*/ 10 w 63"/>
                <a:gd name="T5" fmla="*/ 46 h 68"/>
                <a:gd name="T6" fmla="*/ 12 w 63"/>
                <a:gd name="T7" fmla="*/ 41 h 68"/>
                <a:gd name="T8" fmla="*/ 12 w 63"/>
                <a:gd name="T9" fmla="*/ 33 h 68"/>
                <a:gd name="T10" fmla="*/ 12 w 63"/>
                <a:gd name="T11" fmla="*/ 32 h 68"/>
                <a:gd name="T12" fmla="*/ 17 w 63"/>
                <a:gd name="T13" fmla="*/ 0 h 68"/>
                <a:gd name="T14" fmla="*/ 55 w 63"/>
                <a:gd name="T15" fmla="*/ 9 h 68"/>
                <a:gd name="T16" fmla="*/ 55 w 63"/>
                <a:gd name="T17" fmla="*/ 29 h 68"/>
                <a:gd name="T18" fmla="*/ 56 w 63"/>
                <a:gd name="T19" fmla="*/ 37 h 68"/>
                <a:gd name="T20" fmla="*/ 58 w 63"/>
                <a:gd name="T21" fmla="*/ 40 h 68"/>
                <a:gd name="T22" fmla="*/ 63 w 63"/>
                <a:gd name="T23" fmla="*/ 4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" h="68">
                  <a:moveTo>
                    <a:pt x="63" y="43"/>
                  </a:moveTo>
                  <a:cubicBezTo>
                    <a:pt x="60" y="49"/>
                    <a:pt x="54" y="57"/>
                    <a:pt x="44" y="68"/>
                  </a:cubicBezTo>
                  <a:cubicBezTo>
                    <a:pt x="41" y="59"/>
                    <a:pt x="19" y="53"/>
                    <a:pt x="10" y="46"/>
                  </a:cubicBezTo>
                  <a:cubicBezTo>
                    <a:pt x="11" y="44"/>
                    <a:pt x="11" y="43"/>
                    <a:pt x="12" y="41"/>
                  </a:cubicBezTo>
                  <a:cubicBezTo>
                    <a:pt x="12" y="39"/>
                    <a:pt x="12" y="37"/>
                    <a:pt x="12" y="33"/>
                  </a:cubicBezTo>
                  <a:cubicBezTo>
                    <a:pt x="12" y="33"/>
                    <a:pt x="12" y="32"/>
                    <a:pt x="12" y="32"/>
                  </a:cubicBezTo>
                  <a:cubicBezTo>
                    <a:pt x="11" y="17"/>
                    <a:pt x="0" y="0"/>
                    <a:pt x="17" y="0"/>
                  </a:cubicBezTo>
                  <a:cubicBezTo>
                    <a:pt x="34" y="0"/>
                    <a:pt x="55" y="8"/>
                    <a:pt x="55" y="9"/>
                  </a:cubicBezTo>
                  <a:cubicBezTo>
                    <a:pt x="55" y="9"/>
                    <a:pt x="55" y="20"/>
                    <a:pt x="55" y="29"/>
                  </a:cubicBezTo>
                  <a:cubicBezTo>
                    <a:pt x="56" y="32"/>
                    <a:pt x="56" y="35"/>
                    <a:pt x="56" y="37"/>
                  </a:cubicBezTo>
                  <a:cubicBezTo>
                    <a:pt x="57" y="39"/>
                    <a:pt x="57" y="40"/>
                    <a:pt x="58" y="40"/>
                  </a:cubicBezTo>
                  <a:cubicBezTo>
                    <a:pt x="60" y="42"/>
                    <a:pt x="62" y="42"/>
                    <a:pt x="63" y="43"/>
                  </a:cubicBezTo>
                  <a:close/>
                </a:path>
              </a:pathLst>
            </a:custGeom>
            <a:solidFill>
              <a:srgbClr val="FFC9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îSľiḓè">
              <a:extLst>
                <a:ext uri="{FF2B5EF4-FFF2-40B4-BE49-F238E27FC236}">
                  <a16:creationId xmlns:a16="http://schemas.microsoft.com/office/drawing/2014/main" id="{74BE79D9-6426-4E1A-9DF3-7F999963DCA3}"/>
                </a:ext>
              </a:extLst>
            </p:cNvPr>
            <p:cNvSpPr/>
            <p:nvPr/>
          </p:nvSpPr>
          <p:spPr bwMode="auto">
            <a:xfrm>
              <a:off x="4941888" y="2543175"/>
              <a:ext cx="544513" cy="544513"/>
            </a:xfrm>
            <a:custGeom>
              <a:avLst/>
              <a:gdLst>
                <a:gd name="T0" fmla="*/ 47 w 54"/>
                <a:gd name="T1" fmla="*/ 54 h 54"/>
                <a:gd name="T2" fmla="*/ 54 w 54"/>
                <a:gd name="T3" fmla="*/ 43 h 54"/>
                <a:gd name="T4" fmla="*/ 49 w 54"/>
                <a:gd name="T5" fmla="*/ 40 h 54"/>
                <a:gd name="T6" fmla="*/ 47 w 54"/>
                <a:gd name="T7" fmla="*/ 37 h 54"/>
                <a:gd name="T8" fmla="*/ 46 w 54"/>
                <a:gd name="T9" fmla="*/ 29 h 54"/>
                <a:gd name="T10" fmla="*/ 46 w 54"/>
                <a:gd name="T11" fmla="*/ 9 h 54"/>
                <a:gd name="T12" fmla="*/ 8 w 54"/>
                <a:gd name="T13" fmla="*/ 0 h 54"/>
                <a:gd name="T14" fmla="*/ 0 w 54"/>
                <a:gd name="T15" fmla="*/ 3 h 54"/>
                <a:gd name="T16" fmla="*/ 47 w 54"/>
                <a:gd name="T1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54">
                  <a:moveTo>
                    <a:pt x="47" y="54"/>
                  </a:moveTo>
                  <a:cubicBezTo>
                    <a:pt x="50" y="50"/>
                    <a:pt x="53" y="46"/>
                    <a:pt x="54" y="43"/>
                  </a:cubicBezTo>
                  <a:cubicBezTo>
                    <a:pt x="53" y="42"/>
                    <a:pt x="51" y="42"/>
                    <a:pt x="49" y="40"/>
                  </a:cubicBezTo>
                  <a:cubicBezTo>
                    <a:pt x="48" y="40"/>
                    <a:pt x="48" y="39"/>
                    <a:pt x="47" y="37"/>
                  </a:cubicBezTo>
                  <a:cubicBezTo>
                    <a:pt x="47" y="35"/>
                    <a:pt x="47" y="32"/>
                    <a:pt x="46" y="29"/>
                  </a:cubicBezTo>
                  <a:cubicBezTo>
                    <a:pt x="46" y="20"/>
                    <a:pt x="46" y="9"/>
                    <a:pt x="46" y="9"/>
                  </a:cubicBezTo>
                  <a:cubicBezTo>
                    <a:pt x="46" y="8"/>
                    <a:pt x="25" y="0"/>
                    <a:pt x="8" y="0"/>
                  </a:cubicBezTo>
                  <a:cubicBezTo>
                    <a:pt x="4" y="0"/>
                    <a:pt x="2" y="1"/>
                    <a:pt x="0" y="3"/>
                  </a:cubicBezTo>
                  <a:cubicBezTo>
                    <a:pt x="4" y="29"/>
                    <a:pt x="25" y="44"/>
                    <a:pt x="47" y="54"/>
                  </a:cubicBezTo>
                  <a:close/>
                </a:path>
              </a:pathLst>
            </a:custGeom>
            <a:solidFill>
              <a:srgbClr val="EF9D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ïṡliḋè">
              <a:extLst>
                <a:ext uri="{FF2B5EF4-FFF2-40B4-BE49-F238E27FC236}">
                  <a16:creationId xmlns:a16="http://schemas.microsoft.com/office/drawing/2014/main" id="{B4974E55-CB80-4F14-8F92-893A947BD29F}"/>
                </a:ext>
              </a:extLst>
            </p:cNvPr>
            <p:cNvSpPr/>
            <p:nvPr/>
          </p:nvSpPr>
          <p:spPr bwMode="auto">
            <a:xfrm>
              <a:off x="4821238" y="1566863"/>
              <a:ext cx="936625" cy="1338263"/>
            </a:xfrm>
            <a:custGeom>
              <a:avLst/>
              <a:gdLst>
                <a:gd name="T0" fmla="*/ 85 w 93"/>
                <a:gd name="T1" fmla="*/ 78 h 133"/>
                <a:gd name="T2" fmla="*/ 73 w 93"/>
                <a:gd name="T3" fmla="*/ 122 h 133"/>
                <a:gd name="T4" fmla="*/ 61 w 93"/>
                <a:gd name="T5" fmla="*/ 132 h 133"/>
                <a:gd name="T6" fmla="*/ 0 w 93"/>
                <a:gd name="T7" fmla="*/ 65 h 133"/>
                <a:gd name="T8" fmla="*/ 85 w 93"/>
                <a:gd name="T9" fmla="*/ 78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33">
                  <a:moveTo>
                    <a:pt x="85" y="78"/>
                  </a:moveTo>
                  <a:cubicBezTo>
                    <a:pt x="85" y="78"/>
                    <a:pt x="93" y="102"/>
                    <a:pt x="73" y="122"/>
                  </a:cubicBezTo>
                  <a:cubicBezTo>
                    <a:pt x="68" y="127"/>
                    <a:pt x="71" y="130"/>
                    <a:pt x="61" y="132"/>
                  </a:cubicBezTo>
                  <a:cubicBezTo>
                    <a:pt x="10" y="133"/>
                    <a:pt x="1" y="82"/>
                    <a:pt x="0" y="65"/>
                  </a:cubicBezTo>
                  <a:cubicBezTo>
                    <a:pt x="0" y="49"/>
                    <a:pt x="90" y="0"/>
                    <a:pt x="85" y="78"/>
                  </a:cubicBezTo>
                  <a:close/>
                </a:path>
              </a:pathLst>
            </a:custGeom>
            <a:solidFill>
              <a:srgbClr val="FFD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íṩľíḍe">
              <a:extLst>
                <a:ext uri="{FF2B5EF4-FFF2-40B4-BE49-F238E27FC236}">
                  <a16:creationId xmlns:a16="http://schemas.microsoft.com/office/drawing/2014/main" id="{4369AAD4-0B72-4786-81AE-088C1A23D51A}"/>
                </a:ext>
              </a:extLst>
            </p:cNvPr>
            <p:cNvSpPr/>
            <p:nvPr/>
          </p:nvSpPr>
          <p:spPr bwMode="auto">
            <a:xfrm>
              <a:off x="4518026" y="1666875"/>
              <a:ext cx="1281113" cy="1047750"/>
            </a:xfrm>
            <a:custGeom>
              <a:avLst/>
              <a:gdLst>
                <a:gd name="T0" fmla="*/ 28 w 127"/>
                <a:gd name="T1" fmla="*/ 95 h 104"/>
                <a:gd name="T2" fmla="*/ 38 w 127"/>
                <a:gd name="T3" fmla="*/ 102 h 104"/>
                <a:gd name="T4" fmla="*/ 47 w 127"/>
                <a:gd name="T5" fmla="*/ 103 h 104"/>
                <a:gd name="T6" fmla="*/ 39 w 127"/>
                <a:gd name="T7" fmla="*/ 80 h 104"/>
                <a:gd name="T8" fmla="*/ 41 w 127"/>
                <a:gd name="T9" fmla="*/ 75 h 104"/>
                <a:gd name="T10" fmla="*/ 45 w 127"/>
                <a:gd name="T11" fmla="*/ 76 h 104"/>
                <a:gd name="T12" fmla="*/ 52 w 127"/>
                <a:gd name="T13" fmla="*/ 87 h 104"/>
                <a:gd name="T14" fmla="*/ 58 w 127"/>
                <a:gd name="T15" fmla="*/ 68 h 104"/>
                <a:gd name="T16" fmla="*/ 75 w 127"/>
                <a:gd name="T17" fmla="*/ 58 h 104"/>
                <a:gd name="T18" fmla="*/ 94 w 127"/>
                <a:gd name="T19" fmla="*/ 60 h 104"/>
                <a:gd name="T20" fmla="*/ 121 w 127"/>
                <a:gd name="T21" fmla="*/ 49 h 104"/>
                <a:gd name="T22" fmla="*/ 124 w 127"/>
                <a:gd name="T23" fmla="*/ 23 h 104"/>
                <a:gd name="T24" fmla="*/ 107 w 127"/>
                <a:gd name="T25" fmla="*/ 21 h 104"/>
                <a:gd name="T26" fmla="*/ 94 w 127"/>
                <a:gd name="T27" fmla="*/ 10 h 104"/>
                <a:gd name="T28" fmla="*/ 64 w 127"/>
                <a:gd name="T29" fmla="*/ 1 h 104"/>
                <a:gd name="T30" fmla="*/ 43 w 127"/>
                <a:gd name="T31" fmla="*/ 3 h 104"/>
                <a:gd name="T32" fmla="*/ 27 w 127"/>
                <a:gd name="T33" fmla="*/ 10 h 104"/>
                <a:gd name="T34" fmla="*/ 23 w 127"/>
                <a:gd name="T35" fmla="*/ 16 h 104"/>
                <a:gd name="T36" fmla="*/ 5 w 127"/>
                <a:gd name="T37" fmla="*/ 46 h 104"/>
                <a:gd name="T38" fmla="*/ 28 w 127"/>
                <a:gd name="T39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7" h="104">
                  <a:moveTo>
                    <a:pt x="28" y="95"/>
                  </a:moveTo>
                  <a:cubicBezTo>
                    <a:pt x="31" y="98"/>
                    <a:pt x="35" y="100"/>
                    <a:pt x="38" y="102"/>
                  </a:cubicBezTo>
                  <a:cubicBezTo>
                    <a:pt x="41" y="103"/>
                    <a:pt x="44" y="104"/>
                    <a:pt x="47" y="103"/>
                  </a:cubicBezTo>
                  <a:cubicBezTo>
                    <a:pt x="43" y="96"/>
                    <a:pt x="40" y="88"/>
                    <a:pt x="39" y="80"/>
                  </a:cubicBezTo>
                  <a:cubicBezTo>
                    <a:pt x="39" y="78"/>
                    <a:pt x="39" y="75"/>
                    <a:pt x="41" y="75"/>
                  </a:cubicBezTo>
                  <a:cubicBezTo>
                    <a:pt x="43" y="74"/>
                    <a:pt x="44" y="75"/>
                    <a:pt x="45" y="76"/>
                  </a:cubicBezTo>
                  <a:cubicBezTo>
                    <a:pt x="49" y="79"/>
                    <a:pt x="51" y="83"/>
                    <a:pt x="52" y="87"/>
                  </a:cubicBezTo>
                  <a:cubicBezTo>
                    <a:pt x="51" y="80"/>
                    <a:pt x="53" y="73"/>
                    <a:pt x="58" y="68"/>
                  </a:cubicBezTo>
                  <a:cubicBezTo>
                    <a:pt x="62" y="62"/>
                    <a:pt x="69" y="59"/>
                    <a:pt x="75" y="58"/>
                  </a:cubicBezTo>
                  <a:cubicBezTo>
                    <a:pt x="82" y="57"/>
                    <a:pt x="88" y="60"/>
                    <a:pt x="94" y="60"/>
                  </a:cubicBezTo>
                  <a:cubicBezTo>
                    <a:pt x="105" y="59"/>
                    <a:pt x="115" y="58"/>
                    <a:pt x="121" y="49"/>
                  </a:cubicBezTo>
                  <a:cubicBezTo>
                    <a:pt x="126" y="41"/>
                    <a:pt x="127" y="32"/>
                    <a:pt x="124" y="23"/>
                  </a:cubicBezTo>
                  <a:cubicBezTo>
                    <a:pt x="119" y="26"/>
                    <a:pt x="112" y="25"/>
                    <a:pt x="107" y="21"/>
                  </a:cubicBezTo>
                  <a:cubicBezTo>
                    <a:pt x="102" y="18"/>
                    <a:pt x="98" y="14"/>
                    <a:pt x="94" y="10"/>
                  </a:cubicBezTo>
                  <a:cubicBezTo>
                    <a:pt x="85" y="4"/>
                    <a:pt x="75" y="1"/>
                    <a:pt x="64" y="1"/>
                  </a:cubicBezTo>
                  <a:cubicBezTo>
                    <a:pt x="57" y="0"/>
                    <a:pt x="50" y="1"/>
                    <a:pt x="43" y="3"/>
                  </a:cubicBezTo>
                  <a:cubicBezTo>
                    <a:pt x="37" y="4"/>
                    <a:pt x="31" y="5"/>
                    <a:pt x="27" y="10"/>
                  </a:cubicBezTo>
                  <a:cubicBezTo>
                    <a:pt x="26" y="10"/>
                    <a:pt x="23" y="16"/>
                    <a:pt x="23" y="16"/>
                  </a:cubicBezTo>
                  <a:cubicBezTo>
                    <a:pt x="14" y="16"/>
                    <a:pt x="0" y="26"/>
                    <a:pt x="5" y="46"/>
                  </a:cubicBezTo>
                  <a:cubicBezTo>
                    <a:pt x="8" y="63"/>
                    <a:pt x="14" y="83"/>
                    <a:pt x="28" y="95"/>
                  </a:cubicBezTo>
                  <a:close/>
                </a:path>
              </a:pathLst>
            </a:custGeom>
            <a:solidFill>
              <a:srgbClr val="332B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íṡḷiḋê">
              <a:extLst>
                <a:ext uri="{FF2B5EF4-FFF2-40B4-BE49-F238E27FC236}">
                  <a16:creationId xmlns:a16="http://schemas.microsoft.com/office/drawing/2014/main" id="{DEAD3F58-7277-4427-8D6A-9589815A285E}"/>
                </a:ext>
              </a:extLst>
            </p:cNvPr>
            <p:cNvSpPr/>
            <p:nvPr/>
          </p:nvSpPr>
          <p:spPr bwMode="auto">
            <a:xfrm>
              <a:off x="4860926" y="2513013"/>
              <a:ext cx="342900" cy="452438"/>
            </a:xfrm>
            <a:custGeom>
              <a:avLst/>
              <a:gdLst>
                <a:gd name="T0" fmla="*/ 18 w 34"/>
                <a:gd name="T1" fmla="*/ 42 h 45"/>
                <a:gd name="T2" fmla="*/ 1 w 34"/>
                <a:gd name="T3" fmla="*/ 17 h 45"/>
                <a:gd name="T4" fmla="*/ 1 w 34"/>
                <a:gd name="T5" fmla="*/ 13 h 45"/>
                <a:gd name="T6" fmla="*/ 8 w 34"/>
                <a:gd name="T7" fmla="*/ 2 h 45"/>
                <a:gd name="T8" fmla="*/ 14 w 34"/>
                <a:gd name="T9" fmla="*/ 2 h 45"/>
                <a:gd name="T10" fmla="*/ 33 w 34"/>
                <a:gd name="T11" fmla="*/ 34 h 45"/>
                <a:gd name="T12" fmla="*/ 31 w 34"/>
                <a:gd name="T13" fmla="*/ 39 h 45"/>
                <a:gd name="T14" fmla="*/ 21 w 34"/>
                <a:gd name="T15" fmla="*/ 45 h 45"/>
                <a:gd name="T16" fmla="*/ 18 w 34"/>
                <a:gd name="T17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5">
                  <a:moveTo>
                    <a:pt x="18" y="42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0" y="16"/>
                    <a:pt x="0" y="14"/>
                    <a:pt x="1" y="1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0"/>
                    <a:pt x="13" y="0"/>
                    <a:pt x="14" y="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4" y="36"/>
                    <a:pt x="33" y="38"/>
                    <a:pt x="31" y="39"/>
                  </a:cubicBezTo>
                  <a:cubicBezTo>
                    <a:pt x="21" y="45"/>
                    <a:pt x="21" y="45"/>
                    <a:pt x="21" y="45"/>
                  </a:cubicBezTo>
                  <a:lnTo>
                    <a:pt x="18" y="42"/>
                  </a:lnTo>
                  <a:close/>
                </a:path>
              </a:pathLst>
            </a:custGeom>
            <a:solidFill>
              <a:srgbClr val="676B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ïsľîďê">
              <a:extLst>
                <a:ext uri="{FF2B5EF4-FFF2-40B4-BE49-F238E27FC236}">
                  <a16:creationId xmlns:a16="http://schemas.microsoft.com/office/drawing/2014/main" id="{8F37B168-6DA4-4A06-A87E-6E25387A00C9}"/>
                </a:ext>
              </a:extLst>
            </p:cNvPr>
            <p:cNvSpPr/>
            <p:nvPr/>
          </p:nvSpPr>
          <p:spPr bwMode="auto">
            <a:xfrm>
              <a:off x="4870451" y="2543175"/>
              <a:ext cx="303213" cy="412750"/>
            </a:xfrm>
            <a:custGeom>
              <a:avLst/>
              <a:gdLst>
                <a:gd name="T0" fmla="*/ 16 w 30"/>
                <a:gd name="T1" fmla="*/ 38 h 41"/>
                <a:gd name="T2" fmla="*/ 0 w 30"/>
                <a:gd name="T3" fmla="*/ 15 h 41"/>
                <a:gd name="T4" fmla="*/ 0 w 30"/>
                <a:gd name="T5" fmla="*/ 11 h 41"/>
                <a:gd name="T6" fmla="*/ 7 w 30"/>
                <a:gd name="T7" fmla="*/ 2 h 41"/>
                <a:gd name="T8" fmla="*/ 12 w 30"/>
                <a:gd name="T9" fmla="*/ 2 h 41"/>
                <a:gd name="T10" fmla="*/ 29 w 30"/>
                <a:gd name="T11" fmla="*/ 32 h 41"/>
                <a:gd name="T12" fmla="*/ 28 w 30"/>
                <a:gd name="T13" fmla="*/ 36 h 41"/>
                <a:gd name="T14" fmla="*/ 19 w 30"/>
                <a:gd name="T15" fmla="*/ 41 h 41"/>
                <a:gd name="T16" fmla="*/ 16 w 30"/>
                <a:gd name="T17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41">
                  <a:moveTo>
                    <a:pt x="16" y="38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2"/>
                    <a:pt x="0" y="1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0"/>
                    <a:pt x="11" y="0"/>
                    <a:pt x="12" y="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0" y="33"/>
                    <a:pt x="30" y="35"/>
                    <a:pt x="28" y="36"/>
                  </a:cubicBezTo>
                  <a:cubicBezTo>
                    <a:pt x="19" y="41"/>
                    <a:pt x="19" y="41"/>
                    <a:pt x="19" y="41"/>
                  </a:cubicBezTo>
                  <a:lnTo>
                    <a:pt x="16" y="38"/>
                  </a:lnTo>
                  <a:close/>
                </a:path>
              </a:pathLst>
            </a:custGeom>
            <a:solidFill>
              <a:srgbClr val="FA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i$lîďé">
              <a:extLst>
                <a:ext uri="{FF2B5EF4-FFF2-40B4-BE49-F238E27FC236}">
                  <a16:creationId xmlns:a16="http://schemas.microsoft.com/office/drawing/2014/main" id="{B6E2E568-DD51-4158-9384-C851D1929583}"/>
                </a:ext>
              </a:extLst>
            </p:cNvPr>
            <p:cNvSpPr/>
            <p:nvPr/>
          </p:nvSpPr>
          <p:spPr bwMode="auto">
            <a:xfrm>
              <a:off x="4930776" y="2644775"/>
              <a:ext cx="50800" cy="603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ïŝľiḍé">
              <a:extLst>
                <a:ext uri="{FF2B5EF4-FFF2-40B4-BE49-F238E27FC236}">
                  <a16:creationId xmlns:a16="http://schemas.microsoft.com/office/drawing/2014/main" id="{F856C962-37B7-456B-A287-B3A75346A6D9}"/>
                </a:ext>
              </a:extLst>
            </p:cNvPr>
            <p:cNvSpPr/>
            <p:nvPr/>
          </p:nvSpPr>
          <p:spPr bwMode="auto">
            <a:xfrm>
              <a:off x="4668838" y="2744788"/>
              <a:ext cx="746125" cy="1660525"/>
            </a:xfrm>
            <a:custGeom>
              <a:avLst/>
              <a:gdLst>
                <a:gd name="T0" fmla="*/ 0 w 74"/>
                <a:gd name="T1" fmla="*/ 130 h 165"/>
                <a:gd name="T2" fmla="*/ 34 w 74"/>
                <a:gd name="T3" fmla="*/ 107 h 165"/>
                <a:gd name="T4" fmla="*/ 35 w 74"/>
                <a:gd name="T5" fmla="*/ 110 h 165"/>
                <a:gd name="T6" fmla="*/ 49 w 74"/>
                <a:gd name="T7" fmla="*/ 52 h 165"/>
                <a:gd name="T8" fmla="*/ 35 w 74"/>
                <a:gd name="T9" fmla="*/ 24 h 165"/>
                <a:gd name="T10" fmla="*/ 45 w 74"/>
                <a:gd name="T11" fmla="*/ 0 h 165"/>
                <a:gd name="T12" fmla="*/ 51 w 74"/>
                <a:gd name="T13" fmla="*/ 5 h 165"/>
                <a:gd name="T14" fmla="*/ 55 w 74"/>
                <a:gd name="T15" fmla="*/ 11 h 165"/>
                <a:gd name="T16" fmla="*/ 61 w 74"/>
                <a:gd name="T17" fmla="*/ 19 h 165"/>
                <a:gd name="T18" fmla="*/ 65 w 74"/>
                <a:gd name="T19" fmla="*/ 31 h 165"/>
                <a:gd name="T20" fmla="*/ 66 w 74"/>
                <a:gd name="T21" fmla="*/ 55 h 165"/>
                <a:gd name="T22" fmla="*/ 48 w 74"/>
                <a:gd name="T23" fmla="*/ 157 h 165"/>
                <a:gd name="T24" fmla="*/ 0 w 74"/>
                <a:gd name="T25" fmla="*/ 13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165">
                  <a:moveTo>
                    <a:pt x="0" y="130"/>
                  </a:moveTo>
                  <a:cubicBezTo>
                    <a:pt x="22" y="124"/>
                    <a:pt x="17" y="108"/>
                    <a:pt x="34" y="107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6" y="92"/>
                    <a:pt x="49" y="52"/>
                  </a:cubicBezTo>
                  <a:cubicBezTo>
                    <a:pt x="49" y="52"/>
                    <a:pt x="36" y="29"/>
                    <a:pt x="35" y="24"/>
                  </a:cubicBezTo>
                  <a:cubicBezTo>
                    <a:pt x="34" y="18"/>
                    <a:pt x="39" y="0"/>
                    <a:pt x="45" y="0"/>
                  </a:cubicBezTo>
                  <a:cubicBezTo>
                    <a:pt x="50" y="0"/>
                    <a:pt x="51" y="5"/>
                    <a:pt x="51" y="5"/>
                  </a:cubicBezTo>
                  <a:cubicBezTo>
                    <a:pt x="51" y="5"/>
                    <a:pt x="55" y="6"/>
                    <a:pt x="55" y="11"/>
                  </a:cubicBezTo>
                  <a:cubicBezTo>
                    <a:pt x="55" y="11"/>
                    <a:pt x="61" y="10"/>
                    <a:pt x="61" y="19"/>
                  </a:cubicBezTo>
                  <a:cubicBezTo>
                    <a:pt x="63" y="19"/>
                    <a:pt x="68" y="23"/>
                    <a:pt x="65" y="31"/>
                  </a:cubicBezTo>
                  <a:cubicBezTo>
                    <a:pt x="63" y="40"/>
                    <a:pt x="72" y="51"/>
                    <a:pt x="66" y="55"/>
                  </a:cubicBezTo>
                  <a:cubicBezTo>
                    <a:pt x="65" y="70"/>
                    <a:pt x="74" y="131"/>
                    <a:pt x="48" y="157"/>
                  </a:cubicBezTo>
                  <a:cubicBezTo>
                    <a:pt x="30" y="165"/>
                    <a:pt x="9" y="142"/>
                    <a:pt x="0" y="130"/>
                  </a:cubicBezTo>
                  <a:close/>
                </a:path>
              </a:pathLst>
            </a:custGeom>
            <a:solidFill>
              <a:srgbClr val="FFD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śļíḋe">
              <a:extLst>
                <a:ext uri="{FF2B5EF4-FFF2-40B4-BE49-F238E27FC236}">
                  <a16:creationId xmlns:a16="http://schemas.microsoft.com/office/drawing/2014/main" id="{A6721ED4-22B0-446F-ADEA-722D664015DD}"/>
                </a:ext>
              </a:extLst>
            </p:cNvPr>
            <p:cNvSpPr/>
            <p:nvPr/>
          </p:nvSpPr>
          <p:spPr bwMode="auto">
            <a:xfrm>
              <a:off x="6130926" y="4657725"/>
              <a:ext cx="1825625" cy="815975"/>
            </a:xfrm>
            <a:custGeom>
              <a:avLst/>
              <a:gdLst>
                <a:gd name="T0" fmla="*/ 180 w 181"/>
                <a:gd name="T1" fmla="*/ 18 h 81"/>
                <a:gd name="T2" fmla="*/ 177 w 181"/>
                <a:gd name="T3" fmla="*/ 23 h 81"/>
                <a:gd name="T4" fmla="*/ 80 w 181"/>
                <a:gd name="T5" fmla="*/ 79 h 81"/>
                <a:gd name="T6" fmla="*/ 75 w 181"/>
                <a:gd name="T7" fmla="*/ 80 h 81"/>
                <a:gd name="T8" fmla="*/ 7 w 181"/>
                <a:gd name="T9" fmla="*/ 60 h 81"/>
                <a:gd name="T10" fmla="*/ 6 w 181"/>
                <a:gd name="T11" fmla="*/ 47 h 81"/>
                <a:gd name="T12" fmla="*/ 94 w 181"/>
                <a:gd name="T13" fmla="*/ 10 h 81"/>
                <a:gd name="T14" fmla="*/ 116 w 181"/>
                <a:gd name="T15" fmla="*/ 1 h 81"/>
                <a:gd name="T16" fmla="*/ 120 w 181"/>
                <a:gd name="T17" fmla="*/ 0 h 81"/>
                <a:gd name="T18" fmla="*/ 175 w 181"/>
                <a:gd name="T19" fmla="*/ 11 h 81"/>
                <a:gd name="T20" fmla="*/ 180 w 181"/>
                <a:gd name="T21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81">
                  <a:moveTo>
                    <a:pt x="180" y="18"/>
                  </a:moveTo>
                  <a:cubicBezTo>
                    <a:pt x="180" y="20"/>
                    <a:pt x="179" y="22"/>
                    <a:pt x="177" y="23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79" y="80"/>
                    <a:pt x="77" y="81"/>
                    <a:pt x="75" y="8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1" y="58"/>
                    <a:pt x="0" y="50"/>
                    <a:pt x="6" y="47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7" y="0"/>
                    <a:pt x="118" y="0"/>
                    <a:pt x="120" y="0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9" y="11"/>
                    <a:pt x="181" y="15"/>
                    <a:pt x="180" y="18"/>
                  </a:cubicBezTo>
                  <a:close/>
                </a:path>
              </a:pathLst>
            </a:custGeom>
            <a:solidFill>
              <a:srgbClr val="2E31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ïṥḻïḓê">
              <a:extLst>
                <a:ext uri="{FF2B5EF4-FFF2-40B4-BE49-F238E27FC236}">
                  <a16:creationId xmlns:a16="http://schemas.microsoft.com/office/drawing/2014/main" id="{06DC7CF0-70FE-4F17-BC51-BCE219AB2A28}"/>
                </a:ext>
              </a:extLst>
            </p:cNvPr>
            <p:cNvSpPr/>
            <p:nvPr/>
          </p:nvSpPr>
          <p:spPr bwMode="auto">
            <a:xfrm>
              <a:off x="6130926" y="4657725"/>
              <a:ext cx="1825625" cy="804863"/>
            </a:xfrm>
            <a:custGeom>
              <a:avLst/>
              <a:gdLst>
                <a:gd name="T0" fmla="*/ 180 w 181"/>
                <a:gd name="T1" fmla="*/ 18 h 80"/>
                <a:gd name="T2" fmla="*/ 177 w 181"/>
                <a:gd name="T3" fmla="*/ 23 h 80"/>
                <a:gd name="T4" fmla="*/ 80 w 181"/>
                <a:gd name="T5" fmla="*/ 79 h 80"/>
                <a:gd name="T6" fmla="*/ 78 w 181"/>
                <a:gd name="T7" fmla="*/ 77 h 80"/>
                <a:gd name="T8" fmla="*/ 9 w 181"/>
                <a:gd name="T9" fmla="*/ 57 h 80"/>
                <a:gd name="T10" fmla="*/ 6 w 181"/>
                <a:gd name="T11" fmla="*/ 47 h 80"/>
                <a:gd name="T12" fmla="*/ 94 w 181"/>
                <a:gd name="T13" fmla="*/ 10 h 80"/>
                <a:gd name="T14" fmla="*/ 116 w 181"/>
                <a:gd name="T15" fmla="*/ 1 h 80"/>
                <a:gd name="T16" fmla="*/ 120 w 181"/>
                <a:gd name="T17" fmla="*/ 0 h 80"/>
                <a:gd name="T18" fmla="*/ 175 w 181"/>
                <a:gd name="T19" fmla="*/ 11 h 80"/>
                <a:gd name="T20" fmla="*/ 180 w 181"/>
                <a:gd name="T21" fmla="*/ 1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80">
                  <a:moveTo>
                    <a:pt x="180" y="18"/>
                  </a:moveTo>
                  <a:cubicBezTo>
                    <a:pt x="180" y="20"/>
                    <a:pt x="179" y="22"/>
                    <a:pt x="177" y="23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79" y="80"/>
                    <a:pt x="79" y="78"/>
                    <a:pt x="78" y="7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3" y="55"/>
                    <a:pt x="0" y="50"/>
                    <a:pt x="6" y="47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7" y="0"/>
                    <a:pt x="118" y="0"/>
                    <a:pt x="120" y="0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9" y="11"/>
                    <a:pt x="181" y="15"/>
                    <a:pt x="180" y="18"/>
                  </a:cubicBezTo>
                  <a:close/>
                </a:path>
              </a:pathLst>
            </a:custGeom>
            <a:solidFill>
              <a:srgbClr val="EFB4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iṡḷîḋé">
              <a:extLst>
                <a:ext uri="{FF2B5EF4-FFF2-40B4-BE49-F238E27FC236}">
                  <a16:creationId xmlns:a16="http://schemas.microsoft.com/office/drawing/2014/main" id="{DB8B0958-595A-4113-8211-0F11A87EDBE6}"/>
                </a:ext>
              </a:extLst>
            </p:cNvPr>
            <p:cNvSpPr/>
            <p:nvPr/>
          </p:nvSpPr>
          <p:spPr bwMode="auto">
            <a:xfrm>
              <a:off x="6888163" y="3973513"/>
              <a:ext cx="1279525" cy="1500188"/>
            </a:xfrm>
            <a:custGeom>
              <a:avLst/>
              <a:gdLst>
                <a:gd name="T0" fmla="*/ 120 w 127"/>
                <a:gd name="T1" fmla="*/ 1 h 149"/>
                <a:gd name="T2" fmla="*/ 126 w 127"/>
                <a:gd name="T3" fmla="*/ 6 h 149"/>
                <a:gd name="T4" fmla="*/ 105 w 127"/>
                <a:gd name="T5" fmla="*/ 86 h 149"/>
                <a:gd name="T6" fmla="*/ 102 w 127"/>
                <a:gd name="T7" fmla="*/ 91 h 149"/>
                <a:gd name="T8" fmla="*/ 5 w 127"/>
                <a:gd name="T9" fmla="*/ 147 h 149"/>
                <a:gd name="T10" fmla="*/ 0 w 127"/>
                <a:gd name="T11" fmla="*/ 148 h 149"/>
                <a:gd name="T12" fmla="*/ 19 w 127"/>
                <a:gd name="T13" fmla="*/ 78 h 149"/>
                <a:gd name="T14" fmla="*/ 26 w 127"/>
                <a:gd name="T15" fmla="*/ 54 h 149"/>
                <a:gd name="T16" fmla="*/ 31 w 127"/>
                <a:gd name="T17" fmla="*/ 48 h 149"/>
                <a:gd name="T18" fmla="*/ 120 w 127"/>
                <a:gd name="T19" fmla="*/ 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49">
                  <a:moveTo>
                    <a:pt x="120" y="1"/>
                  </a:moveTo>
                  <a:cubicBezTo>
                    <a:pt x="123" y="0"/>
                    <a:pt x="127" y="2"/>
                    <a:pt x="126" y="6"/>
                  </a:cubicBezTo>
                  <a:cubicBezTo>
                    <a:pt x="105" y="86"/>
                    <a:pt x="105" y="86"/>
                    <a:pt x="105" y="86"/>
                  </a:cubicBezTo>
                  <a:cubicBezTo>
                    <a:pt x="105" y="88"/>
                    <a:pt x="104" y="90"/>
                    <a:pt x="102" y="91"/>
                  </a:cubicBezTo>
                  <a:cubicBezTo>
                    <a:pt x="5" y="147"/>
                    <a:pt x="5" y="147"/>
                    <a:pt x="5" y="147"/>
                  </a:cubicBezTo>
                  <a:cubicBezTo>
                    <a:pt x="4" y="148"/>
                    <a:pt x="2" y="149"/>
                    <a:pt x="0" y="14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7" y="52"/>
                    <a:pt x="28" y="50"/>
                    <a:pt x="31" y="48"/>
                  </a:cubicBezTo>
                  <a:lnTo>
                    <a:pt x="120" y="1"/>
                  </a:lnTo>
                  <a:close/>
                </a:path>
              </a:pathLst>
            </a:custGeom>
            <a:solidFill>
              <a:srgbClr val="FA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ṡľídê">
              <a:extLst>
                <a:ext uri="{FF2B5EF4-FFF2-40B4-BE49-F238E27FC236}">
                  <a16:creationId xmlns:a16="http://schemas.microsoft.com/office/drawing/2014/main" id="{FED1B32A-01D9-4F18-AD17-8A65FF4A3B36}"/>
                </a:ext>
              </a:extLst>
            </p:cNvPr>
            <p:cNvSpPr/>
            <p:nvPr/>
          </p:nvSpPr>
          <p:spPr bwMode="auto">
            <a:xfrm>
              <a:off x="5495926" y="5302250"/>
              <a:ext cx="655638" cy="473075"/>
            </a:xfrm>
            <a:custGeom>
              <a:avLst/>
              <a:gdLst>
                <a:gd name="T0" fmla="*/ 0 w 65"/>
                <a:gd name="T1" fmla="*/ 2 h 47"/>
                <a:gd name="T2" fmla="*/ 10 w 65"/>
                <a:gd name="T3" fmla="*/ 33 h 47"/>
                <a:gd name="T4" fmla="*/ 54 w 65"/>
                <a:gd name="T5" fmla="*/ 31 h 47"/>
                <a:gd name="T6" fmla="*/ 65 w 65"/>
                <a:gd name="T7" fmla="*/ 0 h 47"/>
                <a:gd name="T8" fmla="*/ 0 w 65"/>
                <a:gd name="T9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47">
                  <a:moveTo>
                    <a:pt x="0" y="2"/>
                  </a:move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37" y="47"/>
                    <a:pt x="54" y="31"/>
                  </a:cubicBezTo>
                  <a:cubicBezTo>
                    <a:pt x="65" y="5"/>
                    <a:pt x="65" y="0"/>
                    <a:pt x="65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2A2B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iṣļîḑé">
              <a:extLst>
                <a:ext uri="{FF2B5EF4-FFF2-40B4-BE49-F238E27FC236}">
                  <a16:creationId xmlns:a16="http://schemas.microsoft.com/office/drawing/2014/main" id="{32E977CE-3905-437B-A5D6-0C80616159F5}"/>
                </a:ext>
              </a:extLst>
            </p:cNvPr>
            <p:cNvSpPr/>
            <p:nvPr/>
          </p:nvSpPr>
          <p:spPr bwMode="auto">
            <a:xfrm>
              <a:off x="5465763" y="5251450"/>
              <a:ext cx="715963" cy="231775"/>
            </a:xfrm>
            <a:custGeom>
              <a:avLst/>
              <a:gdLst>
                <a:gd name="T0" fmla="*/ 0 w 71"/>
                <a:gd name="T1" fmla="*/ 2 h 23"/>
                <a:gd name="T2" fmla="*/ 6 w 71"/>
                <a:gd name="T3" fmla="*/ 17 h 23"/>
                <a:gd name="T4" fmla="*/ 66 w 71"/>
                <a:gd name="T5" fmla="*/ 15 h 23"/>
                <a:gd name="T6" fmla="*/ 71 w 71"/>
                <a:gd name="T7" fmla="*/ 0 h 23"/>
                <a:gd name="T8" fmla="*/ 0 w 71"/>
                <a:gd name="T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23">
                  <a:moveTo>
                    <a:pt x="0" y="2"/>
                  </a:moveTo>
                  <a:cubicBezTo>
                    <a:pt x="0" y="2"/>
                    <a:pt x="3" y="12"/>
                    <a:pt x="6" y="17"/>
                  </a:cubicBezTo>
                  <a:cubicBezTo>
                    <a:pt x="9" y="22"/>
                    <a:pt x="55" y="23"/>
                    <a:pt x="66" y="15"/>
                  </a:cubicBezTo>
                  <a:cubicBezTo>
                    <a:pt x="71" y="2"/>
                    <a:pt x="71" y="0"/>
                    <a:pt x="71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76B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îṡḻiḓê">
              <a:extLst>
                <a:ext uri="{FF2B5EF4-FFF2-40B4-BE49-F238E27FC236}">
                  <a16:creationId xmlns:a16="http://schemas.microsoft.com/office/drawing/2014/main" id="{20E794B9-2D0A-434B-97EB-3B401FFA4D21}"/>
                </a:ext>
              </a:extLst>
            </p:cNvPr>
            <p:cNvSpPr/>
            <p:nvPr/>
          </p:nvSpPr>
          <p:spPr bwMode="auto">
            <a:xfrm>
              <a:off x="5456238" y="5181600"/>
              <a:ext cx="755650" cy="139700"/>
            </a:xfrm>
            <a:custGeom>
              <a:avLst/>
              <a:gdLst>
                <a:gd name="T0" fmla="*/ 0 w 75"/>
                <a:gd name="T1" fmla="*/ 6 h 14"/>
                <a:gd name="T2" fmla="*/ 1 w 75"/>
                <a:gd name="T3" fmla="*/ 9 h 14"/>
                <a:gd name="T4" fmla="*/ 25 w 75"/>
                <a:gd name="T5" fmla="*/ 14 h 14"/>
                <a:gd name="T6" fmla="*/ 72 w 75"/>
                <a:gd name="T7" fmla="*/ 7 h 14"/>
                <a:gd name="T8" fmla="*/ 0 w 75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4">
                  <a:moveTo>
                    <a:pt x="0" y="6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5" y="14"/>
                    <a:pt x="25" y="14"/>
                  </a:cubicBezTo>
                  <a:cubicBezTo>
                    <a:pt x="45" y="13"/>
                    <a:pt x="69" y="14"/>
                    <a:pt x="72" y="7"/>
                  </a:cubicBezTo>
                  <a:cubicBezTo>
                    <a:pt x="75" y="1"/>
                    <a:pt x="13" y="0"/>
                    <a:pt x="0" y="6"/>
                  </a:cubicBezTo>
                  <a:close/>
                </a:path>
              </a:pathLst>
            </a:custGeom>
            <a:solidFill>
              <a:srgbClr val="676B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íśḷíḑè">
              <a:extLst>
                <a:ext uri="{FF2B5EF4-FFF2-40B4-BE49-F238E27FC236}">
                  <a16:creationId xmlns:a16="http://schemas.microsoft.com/office/drawing/2014/main" id="{C859766E-1BDF-4551-A06E-A4A27043714E}"/>
                </a:ext>
              </a:extLst>
            </p:cNvPr>
            <p:cNvSpPr/>
            <p:nvPr/>
          </p:nvSpPr>
          <p:spPr bwMode="auto">
            <a:xfrm>
              <a:off x="5516563" y="5211763"/>
              <a:ext cx="625475" cy="79375"/>
            </a:xfrm>
            <a:custGeom>
              <a:avLst/>
              <a:gdLst>
                <a:gd name="T0" fmla="*/ 0 w 62"/>
                <a:gd name="T1" fmla="*/ 3 h 8"/>
                <a:gd name="T2" fmla="*/ 1 w 62"/>
                <a:gd name="T3" fmla="*/ 5 h 8"/>
                <a:gd name="T4" fmla="*/ 21 w 62"/>
                <a:gd name="T5" fmla="*/ 8 h 8"/>
                <a:gd name="T6" fmla="*/ 60 w 62"/>
                <a:gd name="T7" fmla="*/ 4 h 8"/>
                <a:gd name="T8" fmla="*/ 0 w 62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8">
                  <a:moveTo>
                    <a:pt x="0" y="3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5" y="8"/>
                    <a:pt x="21" y="8"/>
                  </a:cubicBezTo>
                  <a:cubicBezTo>
                    <a:pt x="38" y="8"/>
                    <a:pt x="58" y="8"/>
                    <a:pt x="60" y="4"/>
                  </a:cubicBezTo>
                  <a:cubicBezTo>
                    <a:pt x="62" y="0"/>
                    <a:pt x="11" y="0"/>
                    <a:pt x="0" y="3"/>
                  </a:cubicBezTo>
                  <a:close/>
                </a:path>
              </a:pathLst>
            </a:custGeom>
            <a:solidFill>
              <a:srgbClr val="E1E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ïsľíḓè">
              <a:extLst>
                <a:ext uri="{FF2B5EF4-FFF2-40B4-BE49-F238E27FC236}">
                  <a16:creationId xmlns:a16="http://schemas.microsoft.com/office/drawing/2014/main" id="{8CD465A8-2DAA-45A4-9588-A9E731720C47}"/>
                </a:ext>
              </a:extLst>
            </p:cNvPr>
            <p:cNvSpPr/>
            <p:nvPr/>
          </p:nvSpPr>
          <p:spPr bwMode="auto">
            <a:xfrm>
              <a:off x="5102226" y="4738688"/>
              <a:ext cx="696913" cy="533400"/>
            </a:xfrm>
            <a:custGeom>
              <a:avLst/>
              <a:gdLst>
                <a:gd name="T0" fmla="*/ 69 w 69"/>
                <a:gd name="T1" fmla="*/ 52 h 53"/>
                <a:gd name="T2" fmla="*/ 36 w 69"/>
                <a:gd name="T3" fmla="*/ 9 h 53"/>
                <a:gd name="T4" fmla="*/ 10 w 69"/>
                <a:gd name="T5" fmla="*/ 1 h 53"/>
                <a:gd name="T6" fmla="*/ 2 w 69"/>
                <a:gd name="T7" fmla="*/ 5 h 53"/>
                <a:gd name="T8" fmla="*/ 2 w 69"/>
                <a:gd name="T9" fmla="*/ 16 h 53"/>
                <a:gd name="T10" fmla="*/ 12 w 69"/>
                <a:gd name="T11" fmla="*/ 24 h 53"/>
                <a:gd name="T12" fmla="*/ 61 w 69"/>
                <a:gd name="T13" fmla="*/ 51 h 53"/>
                <a:gd name="T14" fmla="*/ 69 w 69"/>
                <a:gd name="T15" fmla="*/ 5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53">
                  <a:moveTo>
                    <a:pt x="69" y="52"/>
                  </a:moveTo>
                  <a:cubicBezTo>
                    <a:pt x="63" y="34"/>
                    <a:pt x="52" y="19"/>
                    <a:pt x="36" y="9"/>
                  </a:cubicBezTo>
                  <a:cubicBezTo>
                    <a:pt x="29" y="4"/>
                    <a:pt x="19" y="0"/>
                    <a:pt x="10" y="1"/>
                  </a:cubicBezTo>
                  <a:cubicBezTo>
                    <a:pt x="7" y="1"/>
                    <a:pt x="4" y="2"/>
                    <a:pt x="2" y="5"/>
                  </a:cubicBezTo>
                  <a:cubicBezTo>
                    <a:pt x="0" y="8"/>
                    <a:pt x="0" y="13"/>
                    <a:pt x="2" y="16"/>
                  </a:cubicBezTo>
                  <a:cubicBezTo>
                    <a:pt x="5" y="20"/>
                    <a:pt x="8" y="22"/>
                    <a:pt x="12" y="24"/>
                  </a:cubicBezTo>
                  <a:cubicBezTo>
                    <a:pt x="29" y="33"/>
                    <a:pt x="52" y="34"/>
                    <a:pt x="61" y="51"/>
                  </a:cubicBezTo>
                  <a:cubicBezTo>
                    <a:pt x="62" y="53"/>
                    <a:pt x="68" y="48"/>
                    <a:pt x="69" y="50"/>
                  </a:cubicBezTo>
                </a:path>
              </a:pathLst>
            </a:custGeom>
            <a:solidFill>
              <a:srgbClr val="2A2B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ïṡľïde">
              <a:extLst>
                <a:ext uri="{FF2B5EF4-FFF2-40B4-BE49-F238E27FC236}">
                  <a16:creationId xmlns:a16="http://schemas.microsoft.com/office/drawing/2014/main" id="{C916D859-67F5-4799-B953-B4397F197E7A}"/>
                </a:ext>
              </a:extLst>
            </p:cNvPr>
            <p:cNvSpPr/>
            <p:nvPr/>
          </p:nvSpPr>
          <p:spPr bwMode="auto">
            <a:xfrm>
              <a:off x="5688013" y="4416425"/>
              <a:ext cx="776288" cy="865188"/>
            </a:xfrm>
            <a:custGeom>
              <a:avLst/>
              <a:gdLst>
                <a:gd name="T0" fmla="*/ 41 w 77"/>
                <a:gd name="T1" fmla="*/ 71 h 86"/>
                <a:gd name="T2" fmla="*/ 30 w 77"/>
                <a:gd name="T3" fmla="*/ 80 h 86"/>
                <a:gd name="T4" fmla="*/ 19 w 77"/>
                <a:gd name="T5" fmla="*/ 86 h 86"/>
                <a:gd name="T6" fmla="*/ 18 w 77"/>
                <a:gd name="T7" fmla="*/ 86 h 86"/>
                <a:gd name="T8" fmla="*/ 17 w 77"/>
                <a:gd name="T9" fmla="*/ 85 h 86"/>
                <a:gd name="T10" fmla="*/ 14 w 77"/>
                <a:gd name="T11" fmla="*/ 75 h 86"/>
                <a:gd name="T12" fmla="*/ 7 w 77"/>
                <a:gd name="T13" fmla="*/ 62 h 86"/>
                <a:gd name="T14" fmla="*/ 1 w 77"/>
                <a:gd name="T15" fmla="*/ 42 h 86"/>
                <a:gd name="T16" fmla="*/ 16 w 77"/>
                <a:gd name="T17" fmla="*/ 53 h 86"/>
                <a:gd name="T18" fmla="*/ 19 w 77"/>
                <a:gd name="T19" fmla="*/ 52 h 86"/>
                <a:gd name="T20" fmla="*/ 16 w 77"/>
                <a:gd name="T21" fmla="*/ 44 h 86"/>
                <a:gd name="T22" fmla="*/ 15 w 77"/>
                <a:gd name="T23" fmla="*/ 36 h 86"/>
                <a:gd name="T24" fmla="*/ 14 w 77"/>
                <a:gd name="T25" fmla="*/ 30 h 86"/>
                <a:gd name="T26" fmla="*/ 14 w 77"/>
                <a:gd name="T27" fmla="*/ 22 h 86"/>
                <a:gd name="T28" fmla="*/ 17 w 77"/>
                <a:gd name="T29" fmla="*/ 17 h 86"/>
                <a:gd name="T30" fmla="*/ 26 w 77"/>
                <a:gd name="T31" fmla="*/ 8 h 86"/>
                <a:gd name="T32" fmla="*/ 28 w 77"/>
                <a:gd name="T33" fmla="*/ 15 h 86"/>
                <a:gd name="T34" fmla="*/ 32 w 77"/>
                <a:gd name="T35" fmla="*/ 22 h 86"/>
                <a:gd name="T36" fmla="*/ 35 w 77"/>
                <a:gd name="T37" fmla="*/ 22 h 86"/>
                <a:gd name="T38" fmla="*/ 37 w 77"/>
                <a:gd name="T39" fmla="*/ 21 h 86"/>
                <a:gd name="T40" fmla="*/ 40 w 77"/>
                <a:gd name="T41" fmla="*/ 14 h 86"/>
                <a:gd name="T42" fmla="*/ 44 w 77"/>
                <a:gd name="T43" fmla="*/ 8 h 86"/>
                <a:gd name="T44" fmla="*/ 59 w 77"/>
                <a:gd name="T45" fmla="*/ 0 h 86"/>
                <a:gd name="T46" fmla="*/ 61 w 77"/>
                <a:gd name="T47" fmla="*/ 1 h 86"/>
                <a:gd name="T48" fmla="*/ 63 w 77"/>
                <a:gd name="T49" fmla="*/ 3 h 86"/>
                <a:gd name="T50" fmla="*/ 65 w 77"/>
                <a:gd name="T51" fmla="*/ 18 h 86"/>
                <a:gd name="T52" fmla="*/ 62 w 77"/>
                <a:gd name="T53" fmla="*/ 25 h 86"/>
                <a:gd name="T54" fmla="*/ 56 w 77"/>
                <a:gd name="T55" fmla="*/ 31 h 86"/>
                <a:gd name="T56" fmla="*/ 63 w 77"/>
                <a:gd name="T57" fmla="*/ 32 h 86"/>
                <a:gd name="T58" fmla="*/ 69 w 77"/>
                <a:gd name="T59" fmla="*/ 30 h 86"/>
                <a:gd name="T60" fmla="*/ 72 w 77"/>
                <a:gd name="T61" fmla="*/ 24 h 86"/>
                <a:gd name="T62" fmla="*/ 77 w 77"/>
                <a:gd name="T63" fmla="*/ 36 h 86"/>
                <a:gd name="T64" fmla="*/ 57 w 77"/>
                <a:gd name="T65" fmla="*/ 51 h 86"/>
                <a:gd name="T66" fmla="*/ 63 w 77"/>
                <a:gd name="T67" fmla="*/ 55 h 86"/>
                <a:gd name="T68" fmla="*/ 69 w 77"/>
                <a:gd name="T69" fmla="*/ 53 h 86"/>
                <a:gd name="T70" fmla="*/ 69 w 77"/>
                <a:gd name="T71" fmla="*/ 57 h 86"/>
                <a:gd name="T72" fmla="*/ 67 w 77"/>
                <a:gd name="T73" fmla="*/ 61 h 86"/>
                <a:gd name="T74" fmla="*/ 58 w 77"/>
                <a:gd name="T75" fmla="*/ 66 h 86"/>
                <a:gd name="T76" fmla="*/ 41 w 77"/>
                <a:gd name="T77" fmla="*/ 7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7" h="86">
                  <a:moveTo>
                    <a:pt x="41" y="71"/>
                  </a:moveTo>
                  <a:cubicBezTo>
                    <a:pt x="37" y="73"/>
                    <a:pt x="33" y="76"/>
                    <a:pt x="30" y="80"/>
                  </a:cubicBezTo>
                  <a:cubicBezTo>
                    <a:pt x="27" y="83"/>
                    <a:pt x="23" y="85"/>
                    <a:pt x="19" y="86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6" y="82"/>
                    <a:pt x="15" y="78"/>
                    <a:pt x="14" y="75"/>
                  </a:cubicBezTo>
                  <a:cubicBezTo>
                    <a:pt x="12" y="70"/>
                    <a:pt x="10" y="66"/>
                    <a:pt x="7" y="62"/>
                  </a:cubicBezTo>
                  <a:cubicBezTo>
                    <a:pt x="2" y="56"/>
                    <a:pt x="0" y="49"/>
                    <a:pt x="1" y="42"/>
                  </a:cubicBezTo>
                  <a:cubicBezTo>
                    <a:pt x="3" y="49"/>
                    <a:pt x="10" y="51"/>
                    <a:pt x="16" y="53"/>
                  </a:cubicBezTo>
                  <a:cubicBezTo>
                    <a:pt x="17" y="54"/>
                    <a:pt x="18" y="54"/>
                    <a:pt x="19" y="52"/>
                  </a:cubicBezTo>
                  <a:cubicBezTo>
                    <a:pt x="19" y="50"/>
                    <a:pt x="17" y="46"/>
                    <a:pt x="16" y="44"/>
                  </a:cubicBezTo>
                  <a:cubicBezTo>
                    <a:pt x="16" y="41"/>
                    <a:pt x="15" y="39"/>
                    <a:pt x="15" y="36"/>
                  </a:cubicBezTo>
                  <a:cubicBezTo>
                    <a:pt x="14" y="34"/>
                    <a:pt x="14" y="32"/>
                    <a:pt x="14" y="30"/>
                  </a:cubicBezTo>
                  <a:cubicBezTo>
                    <a:pt x="14" y="27"/>
                    <a:pt x="14" y="25"/>
                    <a:pt x="14" y="22"/>
                  </a:cubicBezTo>
                  <a:cubicBezTo>
                    <a:pt x="15" y="21"/>
                    <a:pt x="16" y="19"/>
                    <a:pt x="17" y="17"/>
                  </a:cubicBezTo>
                  <a:cubicBezTo>
                    <a:pt x="19" y="14"/>
                    <a:pt x="22" y="10"/>
                    <a:pt x="26" y="8"/>
                  </a:cubicBezTo>
                  <a:cubicBezTo>
                    <a:pt x="26" y="11"/>
                    <a:pt x="27" y="13"/>
                    <a:pt x="28" y="15"/>
                  </a:cubicBezTo>
                  <a:cubicBezTo>
                    <a:pt x="29" y="17"/>
                    <a:pt x="31" y="20"/>
                    <a:pt x="32" y="22"/>
                  </a:cubicBezTo>
                  <a:cubicBezTo>
                    <a:pt x="33" y="22"/>
                    <a:pt x="34" y="23"/>
                    <a:pt x="35" y="22"/>
                  </a:cubicBezTo>
                  <a:cubicBezTo>
                    <a:pt x="36" y="22"/>
                    <a:pt x="36" y="22"/>
                    <a:pt x="37" y="21"/>
                  </a:cubicBezTo>
                  <a:cubicBezTo>
                    <a:pt x="38" y="19"/>
                    <a:pt x="39" y="17"/>
                    <a:pt x="40" y="14"/>
                  </a:cubicBezTo>
                  <a:cubicBezTo>
                    <a:pt x="41" y="12"/>
                    <a:pt x="43" y="10"/>
                    <a:pt x="44" y="8"/>
                  </a:cubicBezTo>
                  <a:cubicBezTo>
                    <a:pt x="48" y="4"/>
                    <a:pt x="53" y="1"/>
                    <a:pt x="59" y="0"/>
                  </a:cubicBezTo>
                  <a:cubicBezTo>
                    <a:pt x="60" y="0"/>
                    <a:pt x="61" y="0"/>
                    <a:pt x="61" y="1"/>
                  </a:cubicBezTo>
                  <a:cubicBezTo>
                    <a:pt x="62" y="1"/>
                    <a:pt x="63" y="2"/>
                    <a:pt x="63" y="3"/>
                  </a:cubicBezTo>
                  <a:cubicBezTo>
                    <a:pt x="66" y="7"/>
                    <a:pt x="67" y="13"/>
                    <a:pt x="65" y="18"/>
                  </a:cubicBezTo>
                  <a:cubicBezTo>
                    <a:pt x="65" y="20"/>
                    <a:pt x="63" y="23"/>
                    <a:pt x="62" y="25"/>
                  </a:cubicBezTo>
                  <a:cubicBezTo>
                    <a:pt x="60" y="27"/>
                    <a:pt x="57" y="28"/>
                    <a:pt x="56" y="31"/>
                  </a:cubicBezTo>
                  <a:cubicBezTo>
                    <a:pt x="54" y="34"/>
                    <a:pt x="62" y="32"/>
                    <a:pt x="63" y="32"/>
                  </a:cubicBezTo>
                  <a:cubicBezTo>
                    <a:pt x="65" y="31"/>
                    <a:pt x="67" y="31"/>
                    <a:pt x="69" y="30"/>
                  </a:cubicBezTo>
                  <a:cubicBezTo>
                    <a:pt x="71" y="28"/>
                    <a:pt x="72" y="27"/>
                    <a:pt x="72" y="24"/>
                  </a:cubicBezTo>
                  <a:cubicBezTo>
                    <a:pt x="75" y="28"/>
                    <a:pt x="77" y="32"/>
                    <a:pt x="77" y="36"/>
                  </a:cubicBezTo>
                  <a:cubicBezTo>
                    <a:pt x="77" y="48"/>
                    <a:pt x="65" y="48"/>
                    <a:pt x="57" y="51"/>
                  </a:cubicBezTo>
                  <a:cubicBezTo>
                    <a:pt x="59" y="53"/>
                    <a:pt x="60" y="55"/>
                    <a:pt x="63" y="55"/>
                  </a:cubicBezTo>
                  <a:cubicBezTo>
                    <a:pt x="65" y="55"/>
                    <a:pt x="67" y="55"/>
                    <a:pt x="69" y="53"/>
                  </a:cubicBezTo>
                  <a:cubicBezTo>
                    <a:pt x="69" y="53"/>
                    <a:pt x="69" y="57"/>
                    <a:pt x="69" y="57"/>
                  </a:cubicBezTo>
                  <a:cubicBezTo>
                    <a:pt x="69" y="59"/>
                    <a:pt x="68" y="60"/>
                    <a:pt x="67" y="61"/>
                  </a:cubicBezTo>
                  <a:cubicBezTo>
                    <a:pt x="65" y="64"/>
                    <a:pt x="62" y="65"/>
                    <a:pt x="58" y="66"/>
                  </a:cubicBezTo>
                  <a:cubicBezTo>
                    <a:pt x="52" y="67"/>
                    <a:pt x="47" y="69"/>
                    <a:pt x="41" y="71"/>
                  </a:cubicBezTo>
                  <a:close/>
                </a:path>
              </a:pathLst>
            </a:custGeom>
            <a:solidFill>
              <a:srgbClr val="2A2B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işlîḋé">
              <a:extLst>
                <a:ext uri="{FF2B5EF4-FFF2-40B4-BE49-F238E27FC236}">
                  <a16:creationId xmlns:a16="http://schemas.microsoft.com/office/drawing/2014/main" id="{E11D0C62-F57D-43C2-A2A5-12EAF9F9162E}"/>
                </a:ext>
              </a:extLst>
            </p:cNvPr>
            <p:cNvSpPr/>
            <p:nvPr/>
          </p:nvSpPr>
          <p:spPr bwMode="auto">
            <a:xfrm>
              <a:off x="5526088" y="4265613"/>
              <a:ext cx="444500" cy="1016000"/>
            </a:xfrm>
            <a:custGeom>
              <a:avLst/>
              <a:gdLst>
                <a:gd name="T0" fmla="*/ 27 w 44"/>
                <a:gd name="T1" fmla="*/ 100 h 101"/>
                <a:gd name="T2" fmla="*/ 18 w 44"/>
                <a:gd name="T3" fmla="*/ 83 h 101"/>
                <a:gd name="T4" fmla="*/ 18 w 44"/>
                <a:gd name="T5" fmla="*/ 63 h 101"/>
                <a:gd name="T6" fmla="*/ 14 w 44"/>
                <a:gd name="T7" fmla="*/ 43 h 101"/>
                <a:gd name="T8" fmla="*/ 7 w 44"/>
                <a:gd name="T9" fmla="*/ 31 h 101"/>
                <a:gd name="T10" fmla="*/ 1 w 44"/>
                <a:gd name="T11" fmla="*/ 19 h 101"/>
                <a:gd name="T12" fmla="*/ 5 w 44"/>
                <a:gd name="T13" fmla="*/ 6 h 101"/>
                <a:gd name="T14" fmla="*/ 14 w 44"/>
                <a:gd name="T15" fmla="*/ 1 h 101"/>
                <a:gd name="T16" fmla="*/ 25 w 44"/>
                <a:gd name="T17" fmla="*/ 1 h 101"/>
                <a:gd name="T18" fmla="*/ 27 w 44"/>
                <a:gd name="T19" fmla="*/ 2 h 101"/>
                <a:gd name="T20" fmla="*/ 29 w 44"/>
                <a:gd name="T21" fmla="*/ 4 h 101"/>
                <a:gd name="T22" fmla="*/ 28 w 44"/>
                <a:gd name="T23" fmla="*/ 26 h 101"/>
                <a:gd name="T24" fmla="*/ 28 w 44"/>
                <a:gd name="T25" fmla="*/ 37 h 101"/>
                <a:gd name="T26" fmla="*/ 36 w 44"/>
                <a:gd name="T27" fmla="*/ 45 h 101"/>
                <a:gd name="T28" fmla="*/ 44 w 44"/>
                <a:gd name="T29" fmla="*/ 53 h 101"/>
                <a:gd name="T30" fmla="*/ 42 w 44"/>
                <a:gd name="T31" fmla="*/ 61 h 101"/>
                <a:gd name="T32" fmla="*/ 37 w 44"/>
                <a:gd name="T33" fmla="*/ 68 h 101"/>
                <a:gd name="T34" fmla="*/ 31 w 44"/>
                <a:gd name="T3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" h="101">
                  <a:moveTo>
                    <a:pt x="27" y="100"/>
                  </a:moveTo>
                  <a:cubicBezTo>
                    <a:pt x="22" y="97"/>
                    <a:pt x="19" y="90"/>
                    <a:pt x="18" y="83"/>
                  </a:cubicBezTo>
                  <a:cubicBezTo>
                    <a:pt x="17" y="77"/>
                    <a:pt x="18" y="70"/>
                    <a:pt x="18" y="63"/>
                  </a:cubicBezTo>
                  <a:cubicBezTo>
                    <a:pt x="18" y="56"/>
                    <a:pt x="17" y="49"/>
                    <a:pt x="14" y="43"/>
                  </a:cubicBezTo>
                  <a:cubicBezTo>
                    <a:pt x="12" y="39"/>
                    <a:pt x="10" y="35"/>
                    <a:pt x="7" y="31"/>
                  </a:cubicBezTo>
                  <a:cubicBezTo>
                    <a:pt x="4" y="27"/>
                    <a:pt x="2" y="23"/>
                    <a:pt x="1" y="19"/>
                  </a:cubicBezTo>
                  <a:cubicBezTo>
                    <a:pt x="0" y="14"/>
                    <a:pt x="1" y="9"/>
                    <a:pt x="5" y="6"/>
                  </a:cubicBezTo>
                  <a:cubicBezTo>
                    <a:pt x="7" y="3"/>
                    <a:pt x="11" y="2"/>
                    <a:pt x="14" y="1"/>
                  </a:cubicBezTo>
                  <a:cubicBezTo>
                    <a:pt x="17" y="0"/>
                    <a:pt x="21" y="0"/>
                    <a:pt x="25" y="1"/>
                  </a:cubicBezTo>
                  <a:cubicBezTo>
                    <a:pt x="25" y="1"/>
                    <a:pt x="26" y="1"/>
                    <a:pt x="27" y="2"/>
                  </a:cubicBezTo>
                  <a:cubicBezTo>
                    <a:pt x="28" y="3"/>
                    <a:pt x="29" y="4"/>
                    <a:pt x="29" y="4"/>
                  </a:cubicBezTo>
                  <a:cubicBezTo>
                    <a:pt x="32" y="11"/>
                    <a:pt x="29" y="19"/>
                    <a:pt x="28" y="26"/>
                  </a:cubicBezTo>
                  <a:cubicBezTo>
                    <a:pt x="27" y="30"/>
                    <a:pt x="26" y="34"/>
                    <a:pt x="28" y="37"/>
                  </a:cubicBezTo>
                  <a:cubicBezTo>
                    <a:pt x="30" y="41"/>
                    <a:pt x="33" y="43"/>
                    <a:pt x="36" y="45"/>
                  </a:cubicBezTo>
                  <a:cubicBezTo>
                    <a:pt x="40" y="47"/>
                    <a:pt x="43" y="49"/>
                    <a:pt x="44" y="53"/>
                  </a:cubicBezTo>
                  <a:cubicBezTo>
                    <a:pt x="44" y="56"/>
                    <a:pt x="43" y="59"/>
                    <a:pt x="42" y="61"/>
                  </a:cubicBezTo>
                  <a:cubicBezTo>
                    <a:pt x="40" y="64"/>
                    <a:pt x="38" y="66"/>
                    <a:pt x="37" y="68"/>
                  </a:cubicBezTo>
                  <a:cubicBezTo>
                    <a:pt x="30" y="77"/>
                    <a:pt x="28" y="90"/>
                    <a:pt x="31" y="101"/>
                  </a:cubicBezTo>
                </a:path>
              </a:pathLst>
            </a:custGeom>
            <a:solidFill>
              <a:srgbClr val="676B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íśḻiḍè">
              <a:extLst>
                <a:ext uri="{FF2B5EF4-FFF2-40B4-BE49-F238E27FC236}">
                  <a16:creationId xmlns:a16="http://schemas.microsoft.com/office/drawing/2014/main" id="{B9DFF2C5-8E29-47E9-B98C-2E6BF42A4D27}"/>
                </a:ext>
              </a:extLst>
            </p:cNvPr>
            <p:cNvSpPr/>
            <p:nvPr/>
          </p:nvSpPr>
          <p:spPr bwMode="auto">
            <a:xfrm>
              <a:off x="6615113" y="1436688"/>
              <a:ext cx="1331913" cy="814388"/>
            </a:xfrm>
            <a:custGeom>
              <a:avLst/>
              <a:gdLst>
                <a:gd name="T0" fmla="*/ 132 w 132"/>
                <a:gd name="T1" fmla="*/ 41 h 81"/>
                <a:gd name="T2" fmla="*/ 66 w 132"/>
                <a:gd name="T3" fmla="*/ 81 h 81"/>
                <a:gd name="T4" fmla="*/ 40 w 132"/>
                <a:gd name="T5" fmla="*/ 78 h 81"/>
                <a:gd name="T6" fmla="*/ 19 w 132"/>
                <a:gd name="T7" fmla="*/ 81 h 81"/>
                <a:gd name="T8" fmla="*/ 24 w 132"/>
                <a:gd name="T9" fmla="*/ 72 h 81"/>
                <a:gd name="T10" fmla="*/ 0 w 132"/>
                <a:gd name="T11" fmla="*/ 41 h 81"/>
                <a:gd name="T12" fmla="*/ 66 w 132"/>
                <a:gd name="T13" fmla="*/ 0 h 81"/>
                <a:gd name="T14" fmla="*/ 132 w 132"/>
                <a:gd name="T15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81">
                  <a:moveTo>
                    <a:pt x="132" y="41"/>
                  </a:moveTo>
                  <a:cubicBezTo>
                    <a:pt x="132" y="63"/>
                    <a:pt x="103" y="81"/>
                    <a:pt x="66" y="81"/>
                  </a:cubicBezTo>
                  <a:cubicBezTo>
                    <a:pt x="57" y="81"/>
                    <a:pt x="48" y="80"/>
                    <a:pt x="40" y="78"/>
                  </a:cubicBezTo>
                  <a:cubicBezTo>
                    <a:pt x="37" y="77"/>
                    <a:pt x="19" y="81"/>
                    <a:pt x="19" y="81"/>
                  </a:cubicBezTo>
                  <a:cubicBezTo>
                    <a:pt x="19" y="81"/>
                    <a:pt x="27" y="73"/>
                    <a:pt x="24" y="72"/>
                  </a:cubicBezTo>
                  <a:cubicBezTo>
                    <a:pt x="10" y="65"/>
                    <a:pt x="0" y="53"/>
                    <a:pt x="0" y="41"/>
                  </a:cubicBezTo>
                  <a:cubicBezTo>
                    <a:pt x="0" y="18"/>
                    <a:pt x="30" y="0"/>
                    <a:pt x="66" y="0"/>
                  </a:cubicBezTo>
                  <a:cubicBezTo>
                    <a:pt x="103" y="0"/>
                    <a:pt x="132" y="18"/>
                    <a:pt x="132" y="41"/>
                  </a:cubicBezTo>
                  <a:close/>
                </a:path>
              </a:pathLst>
            </a:custGeom>
            <a:solidFill>
              <a:srgbClr val="CDE0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išļïḋe">
              <a:extLst>
                <a:ext uri="{FF2B5EF4-FFF2-40B4-BE49-F238E27FC236}">
                  <a16:creationId xmlns:a16="http://schemas.microsoft.com/office/drawing/2014/main" id="{7B3D7E40-5DF3-4FCC-BEDE-8F65CE3CB6F2}"/>
                </a:ext>
              </a:extLst>
            </p:cNvPr>
            <p:cNvSpPr/>
            <p:nvPr/>
          </p:nvSpPr>
          <p:spPr bwMode="auto">
            <a:xfrm>
              <a:off x="6978651" y="1798638"/>
              <a:ext cx="111125" cy="1111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ṥḻïḍê">
              <a:extLst>
                <a:ext uri="{FF2B5EF4-FFF2-40B4-BE49-F238E27FC236}">
                  <a16:creationId xmlns:a16="http://schemas.microsoft.com/office/drawing/2014/main" id="{518548A2-DB5A-4DEA-9B3D-CFBA2F41DC49}"/>
                </a:ext>
              </a:extLst>
            </p:cNvPr>
            <p:cNvSpPr/>
            <p:nvPr/>
          </p:nvSpPr>
          <p:spPr bwMode="auto">
            <a:xfrm>
              <a:off x="7231063" y="1798638"/>
              <a:ext cx="120650" cy="1111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îšḻiďe">
              <a:extLst>
                <a:ext uri="{FF2B5EF4-FFF2-40B4-BE49-F238E27FC236}">
                  <a16:creationId xmlns:a16="http://schemas.microsoft.com/office/drawing/2014/main" id="{4F1AF30E-B71B-4808-A328-DDF2734B872C}"/>
                </a:ext>
              </a:extLst>
            </p:cNvPr>
            <p:cNvSpPr/>
            <p:nvPr/>
          </p:nvSpPr>
          <p:spPr bwMode="auto">
            <a:xfrm>
              <a:off x="7493001" y="1798638"/>
              <a:ext cx="111125" cy="1111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íṣlïdê">
              <a:extLst>
                <a:ext uri="{FF2B5EF4-FFF2-40B4-BE49-F238E27FC236}">
                  <a16:creationId xmlns:a16="http://schemas.microsoft.com/office/drawing/2014/main" id="{966149C0-A4E9-4B5A-8F4B-B221CE0ED581}"/>
                </a:ext>
              </a:extLst>
            </p:cNvPr>
            <p:cNvSpPr/>
            <p:nvPr/>
          </p:nvSpPr>
          <p:spPr bwMode="auto">
            <a:xfrm>
              <a:off x="5646738" y="1003300"/>
              <a:ext cx="222250" cy="220663"/>
            </a:xfrm>
            <a:prstGeom prst="ellipse">
              <a:avLst/>
            </a:prstGeom>
            <a:solidFill>
              <a:srgbClr val="CDE0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îŝḻiďe">
              <a:extLst>
                <a:ext uri="{FF2B5EF4-FFF2-40B4-BE49-F238E27FC236}">
                  <a16:creationId xmlns:a16="http://schemas.microsoft.com/office/drawing/2014/main" id="{366B333F-029A-45AA-A4FE-31C7C6C63F38}"/>
                </a:ext>
              </a:extLst>
            </p:cNvPr>
            <p:cNvSpPr/>
            <p:nvPr/>
          </p:nvSpPr>
          <p:spPr bwMode="auto">
            <a:xfrm>
              <a:off x="6081713" y="1425575"/>
              <a:ext cx="150813" cy="150813"/>
            </a:xfrm>
            <a:custGeom>
              <a:avLst/>
              <a:gdLst>
                <a:gd name="T0" fmla="*/ 15 w 15"/>
                <a:gd name="T1" fmla="*/ 7 h 15"/>
                <a:gd name="T2" fmla="*/ 8 w 15"/>
                <a:gd name="T3" fmla="*/ 0 h 15"/>
                <a:gd name="T4" fmla="*/ 1 w 15"/>
                <a:gd name="T5" fmla="*/ 7 h 15"/>
                <a:gd name="T6" fmla="*/ 8 w 15"/>
                <a:gd name="T7" fmla="*/ 15 h 15"/>
                <a:gd name="T8" fmla="*/ 15 w 15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7"/>
                  </a:moveTo>
                  <a:cubicBezTo>
                    <a:pt x="15" y="3"/>
                    <a:pt x="12" y="0"/>
                    <a:pt x="8" y="0"/>
                  </a:cubicBezTo>
                  <a:cubicBezTo>
                    <a:pt x="4" y="0"/>
                    <a:pt x="1" y="3"/>
                    <a:pt x="1" y="7"/>
                  </a:cubicBezTo>
                  <a:cubicBezTo>
                    <a:pt x="0" y="11"/>
                    <a:pt x="4" y="14"/>
                    <a:pt x="8" y="15"/>
                  </a:cubicBezTo>
                  <a:cubicBezTo>
                    <a:pt x="12" y="15"/>
                    <a:pt x="15" y="11"/>
                    <a:pt x="15" y="7"/>
                  </a:cubicBezTo>
                  <a:close/>
                </a:path>
              </a:pathLst>
            </a:custGeom>
            <a:solidFill>
              <a:srgbClr val="CDE0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ṧḷiḋê">
              <a:extLst>
                <a:ext uri="{FF2B5EF4-FFF2-40B4-BE49-F238E27FC236}">
                  <a16:creationId xmlns:a16="http://schemas.microsoft.com/office/drawing/2014/main" id="{991FE01A-8732-4332-986A-2AE361B49731}"/>
                </a:ext>
              </a:extLst>
            </p:cNvPr>
            <p:cNvSpPr/>
            <p:nvPr/>
          </p:nvSpPr>
          <p:spPr bwMode="auto">
            <a:xfrm>
              <a:off x="6626226" y="1295400"/>
              <a:ext cx="100013" cy="100013"/>
            </a:xfrm>
            <a:custGeom>
              <a:avLst/>
              <a:gdLst>
                <a:gd name="T0" fmla="*/ 10 w 10"/>
                <a:gd name="T1" fmla="*/ 5 h 10"/>
                <a:gd name="T2" fmla="*/ 5 w 10"/>
                <a:gd name="T3" fmla="*/ 0 h 10"/>
                <a:gd name="T4" fmla="*/ 0 w 10"/>
                <a:gd name="T5" fmla="*/ 5 h 10"/>
                <a:gd name="T6" fmla="*/ 5 w 10"/>
                <a:gd name="T7" fmla="*/ 10 h 10"/>
                <a:gd name="T8" fmla="*/ 10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10" y="5"/>
                  </a:moveTo>
                  <a:cubicBezTo>
                    <a:pt x="10" y="2"/>
                    <a:pt x="8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10"/>
                    <a:pt x="5" y="10"/>
                  </a:cubicBezTo>
                  <a:cubicBezTo>
                    <a:pt x="7" y="10"/>
                    <a:pt x="10" y="8"/>
                    <a:pt x="10" y="5"/>
                  </a:cubicBezTo>
                  <a:close/>
                </a:path>
              </a:pathLst>
            </a:custGeom>
            <a:solidFill>
              <a:srgbClr val="CDE0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ïS1íḋé">
              <a:extLst>
                <a:ext uri="{FF2B5EF4-FFF2-40B4-BE49-F238E27FC236}">
                  <a16:creationId xmlns:a16="http://schemas.microsoft.com/office/drawing/2014/main" id="{46257E5F-4D5C-498E-9776-B81A0BDEF961}"/>
                </a:ext>
              </a:extLst>
            </p:cNvPr>
            <p:cNvSpPr/>
            <p:nvPr/>
          </p:nvSpPr>
          <p:spPr bwMode="auto">
            <a:xfrm>
              <a:off x="5738813" y="1093788"/>
              <a:ext cx="936625" cy="422275"/>
            </a:xfrm>
            <a:custGeom>
              <a:avLst/>
              <a:gdLst>
                <a:gd name="T0" fmla="*/ 25 w 590"/>
                <a:gd name="T1" fmla="*/ 0 h 266"/>
                <a:gd name="T2" fmla="*/ 273 w 590"/>
                <a:gd name="T3" fmla="*/ 247 h 266"/>
                <a:gd name="T4" fmla="*/ 260 w 590"/>
                <a:gd name="T5" fmla="*/ 247 h 266"/>
                <a:gd name="T6" fmla="*/ 590 w 590"/>
                <a:gd name="T7" fmla="*/ 158 h 266"/>
                <a:gd name="T8" fmla="*/ 266 w 590"/>
                <a:gd name="T9" fmla="*/ 266 h 266"/>
                <a:gd name="T10" fmla="*/ 266 w 590"/>
                <a:gd name="T11" fmla="*/ 266 h 266"/>
                <a:gd name="T12" fmla="*/ 260 w 590"/>
                <a:gd name="T13" fmla="*/ 260 h 266"/>
                <a:gd name="T14" fmla="*/ 0 w 590"/>
                <a:gd name="T15" fmla="*/ 25 h 266"/>
                <a:gd name="T16" fmla="*/ 25 w 590"/>
                <a:gd name="T17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0" h="266">
                  <a:moveTo>
                    <a:pt x="25" y="0"/>
                  </a:moveTo>
                  <a:lnTo>
                    <a:pt x="273" y="247"/>
                  </a:lnTo>
                  <a:lnTo>
                    <a:pt x="260" y="247"/>
                  </a:lnTo>
                  <a:lnTo>
                    <a:pt x="590" y="158"/>
                  </a:lnTo>
                  <a:lnTo>
                    <a:pt x="266" y="266"/>
                  </a:lnTo>
                  <a:lnTo>
                    <a:pt x="266" y="266"/>
                  </a:lnTo>
                  <a:lnTo>
                    <a:pt x="260" y="260"/>
                  </a:lnTo>
                  <a:lnTo>
                    <a:pt x="0" y="2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CDE0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iśļíďè">
              <a:extLst>
                <a:ext uri="{FF2B5EF4-FFF2-40B4-BE49-F238E27FC236}">
                  <a16:creationId xmlns:a16="http://schemas.microsoft.com/office/drawing/2014/main" id="{83FA0A09-2A00-4D6A-B796-3B1BB7560FBD}"/>
                </a:ext>
              </a:extLst>
            </p:cNvPr>
            <p:cNvSpPr/>
            <p:nvPr/>
          </p:nvSpPr>
          <p:spPr bwMode="auto">
            <a:xfrm>
              <a:off x="6383338" y="2693988"/>
              <a:ext cx="504825" cy="604838"/>
            </a:xfrm>
            <a:custGeom>
              <a:avLst/>
              <a:gdLst>
                <a:gd name="T0" fmla="*/ 39 w 50"/>
                <a:gd name="T1" fmla="*/ 29 h 60"/>
                <a:gd name="T2" fmla="*/ 42 w 50"/>
                <a:gd name="T3" fmla="*/ 31 h 60"/>
                <a:gd name="T4" fmla="*/ 44 w 50"/>
                <a:gd name="T5" fmla="*/ 19 h 60"/>
                <a:gd name="T6" fmla="*/ 35 w 50"/>
                <a:gd name="T7" fmla="*/ 6 h 60"/>
                <a:gd name="T8" fmla="*/ 19 w 50"/>
                <a:gd name="T9" fmla="*/ 8 h 60"/>
                <a:gd name="T10" fmla="*/ 5 w 50"/>
                <a:gd name="T11" fmla="*/ 32 h 60"/>
                <a:gd name="T12" fmla="*/ 16 w 50"/>
                <a:gd name="T13" fmla="*/ 53 h 60"/>
                <a:gd name="T14" fmla="*/ 34 w 50"/>
                <a:gd name="T15" fmla="*/ 52 h 60"/>
                <a:gd name="T16" fmla="*/ 44 w 50"/>
                <a:gd name="T17" fmla="*/ 41 h 60"/>
                <a:gd name="T18" fmla="*/ 48 w 50"/>
                <a:gd name="T19" fmla="*/ 40 h 60"/>
                <a:gd name="T20" fmla="*/ 48 w 50"/>
                <a:gd name="T21" fmla="*/ 44 h 60"/>
                <a:gd name="T22" fmla="*/ 37 w 50"/>
                <a:gd name="T23" fmla="*/ 56 h 60"/>
                <a:gd name="T24" fmla="*/ 13 w 50"/>
                <a:gd name="T25" fmla="*/ 57 h 60"/>
                <a:gd name="T26" fmla="*/ 0 w 50"/>
                <a:gd name="T27" fmla="*/ 32 h 60"/>
                <a:gd name="T28" fmla="*/ 16 w 50"/>
                <a:gd name="T29" fmla="*/ 4 h 60"/>
                <a:gd name="T30" fmla="*/ 38 w 50"/>
                <a:gd name="T31" fmla="*/ 2 h 60"/>
                <a:gd name="T32" fmla="*/ 49 w 50"/>
                <a:gd name="T33" fmla="*/ 19 h 60"/>
                <a:gd name="T34" fmla="*/ 43 w 50"/>
                <a:gd name="T35" fmla="*/ 36 h 60"/>
                <a:gd name="T36" fmla="*/ 34 w 50"/>
                <a:gd name="T37" fmla="*/ 36 h 60"/>
                <a:gd name="T38" fmla="*/ 24 w 50"/>
                <a:gd name="T39" fmla="*/ 46 h 60"/>
                <a:gd name="T40" fmla="*/ 15 w 50"/>
                <a:gd name="T41" fmla="*/ 41 h 60"/>
                <a:gd name="T42" fmla="*/ 13 w 50"/>
                <a:gd name="T43" fmla="*/ 24 h 60"/>
                <a:gd name="T44" fmla="*/ 22 w 50"/>
                <a:gd name="T45" fmla="*/ 17 h 60"/>
                <a:gd name="T46" fmla="*/ 25 w 50"/>
                <a:gd name="T47" fmla="*/ 16 h 60"/>
                <a:gd name="T48" fmla="*/ 27 w 50"/>
                <a:gd name="T49" fmla="*/ 12 h 60"/>
                <a:gd name="T50" fmla="*/ 32 w 50"/>
                <a:gd name="T51" fmla="*/ 14 h 60"/>
                <a:gd name="T52" fmla="*/ 28 w 50"/>
                <a:gd name="T53" fmla="*/ 24 h 60"/>
                <a:gd name="T54" fmla="*/ 22 w 50"/>
                <a:gd name="T55" fmla="*/ 22 h 60"/>
                <a:gd name="T56" fmla="*/ 19 w 50"/>
                <a:gd name="T57" fmla="*/ 32 h 60"/>
                <a:gd name="T58" fmla="*/ 24 w 50"/>
                <a:gd name="T59" fmla="*/ 40 h 60"/>
                <a:gd name="T60" fmla="*/ 30 w 50"/>
                <a:gd name="T61" fmla="*/ 36 h 60"/>
                <a:gd name="T62" fmla="*/ 30 w 50"/>
                <a:gd name="T63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0" h="60">
                  <a:moveTo>
                    <a:pt x="38" y="28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30"/>
                    <a:pt x="40" y="31"/>
                    <a:pt x="40" y="31"/>
                  </a:cubicBezTo>
                  <a:cubicBezTo>
                    <a:pt x="41" y="31"/>
                    <a:pt x="42" y="31"/>
                    <a:pt x="42" y="31"/>
                  </a:cubicBezTo>
                  <a:cubicBezTo>
                    <a:pt x="44" y="30"/>
                    <a:pt x="45" y="28"/>
                    <a:pt x="45" y="26"/>
                  </a:cubicBezTo>
                  <a:cubicBezTo>
                    <a:pt x="45" y="24"/>
                    <a:pt x="45" y="22"/>
                    <a:pt x="44" y="19"/>
                  </a:cubicBezTo>
                  <a:cubicBezTo>
                    <a:pt x="44" y="16"/>
                    <a:pt x="43" y="14"/>
                    <a:pt x="41" y="12"/>
                  </a:cubicBezTo>
                  <a:cubicBezTo>
                    <a:pt x="40" y="9"/>
                    <a:pt x="38" y="7"/>
                    <a:pt x="35" y="6"/>
                  </a:cubicBezTo>
                  <a:cubicBezTo>
                    <a:pt x="33" y="5"/>
                    <a:pt x="30" y="5"/>
                    <a:pt x="27" y="5"/>
                  </a:cubicBezTo>
                  <a:cubicBezTo>
                    <a:pt x="25" y="5"/>
                    <a:pt x="22" y="6"/>
                    <a:pt x="19" y="8"/>
                  </a:cubicBezTo>
                  <a:cubicBezTo>
                    <a:pt x="14" y="11"/>
                    <a:pt x="11" y="15"/>
                    <a:pt x="8" y="19"/>
                  </a:cubicBezTo>
                  <a:cubicBezTo>
                    <a:pt x="6" y="23"/>
                    <a:pt x="5" y="27"/>
                    <a:pt x="5" y="32"/>
                  </a:cubicBezTo>
                  <a:cubicBezTo>
                    <a:pt x="5" y="37"/>
                    <a:pt x="6" y="42"/>
                    <a:pt x="9" y="46"/>
                  </a:cubicBezTo>
                  <a:cubicBezTo>
                    <a:pt x="11" y="49"/>
                    <a:pt x="13" y="51"/>
                    <a:pt x="16" y="53"/>
                  </a:cubicBezTo>
                  <a:cubicBezTo>
                    <a:pt x="18" y="54"/>
                    <a:pt x="21" y="55"/>
                    <a:pt x="24" y="55"/>
                  </a:cubicBezTo>
                  <a:cubicBezTo>
                    <a:pt x="28" y="55"/>
                    <a:pt x="31" y="54"/>
                    <a:pt x="34" y="52"/>
                  </a:cubicBezTo>
                  <a:cubicBezTo>
                    <a:pt x="37" y="50"/>
                    <a:pt x="39" y="48"/>
                    <a:pt x="41" y="47"/>
                  </a:cubicBezTo>
                  <a:cubicBezTo>
                    <a:pt x="42" y="45"/>
                    <a:pt x="43" y="43"/>
                    <a:pt x="44" y="41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6" y="40"/>
                    <a:pt x="47" y="40"/>
                    <a:pt x="48" y="40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9" y="42"/>
                    <a:pt x="49" y="43"/>
                    <a:pt x="48" y="44"/>
                  </a:cubicBezTo>
                  <a:cubicBezTo>
                    <a:pt x="46" y="47"/>
                    <a:pt x="45" y="49"/>
                    <a:pt x="43" y="51"/>
                  </a:cubicBezTo>
                  <a:cubicBezTo>
                    <a:pt x="42" y="52"/>
                    <a:pt x="40" y="54"/>
                    <a:pt x="37" y="56"/>
                  </a:cubicBezTo>
                  <a:cubicBezTo>
                    <a:pt x="33" y="59"/>
                    <a:pt x="28" y="60"/>
                    <a:pt x="24" y="60"/>
                  </a:cubicBezTo>
                  <a:cubicBezTo>
                    <a:pt x="20" y="60"/>
                    <a:pt x="16" y="59"/>
                    <a:pt x="13" y="57"/>
                  </a:cubicBezTo>
                  <a:cubicBezTo>
                    <a:pt x="10" y="55"/>
                    <a:pt x="7" y="52"/>
                    <a:pt x="5" y="49"/>
                  </a:cubicBezTo>
                  <a:cubicBezTo>
                    <a:pt x="1" y="44"/>
                    <a:pt x="0" y="38"/>
                    <a:pt x="0" y="32"/>
                  </a:cubicBezTo>
                  <a:cubicBezTo>
                    <a:pt x="0" y="27"/>
                    <a:pt x="1" y="21"/>
                    <a:pt x="4" y="17"/>
                  </a:cubicBezTo>
                  <a:cubicBezTo>
                    <a:pt x="7" y="12"/>
                    <a:pt x="11" y="7"/>
                    <a:pt x="16" y="4"/>
                  </a:cubicBezTo>
                  <a:cubicBezTo>
                    <a:pt x="20" y="2"/>
                    <a:pt x="24" y="0"/>
                    <a:pt x="28" y="0"/>
                  </a:cubicBezTo>
                  <a:cubicBezTo>
                    <a:pt x="31" y="0"/>
                    <a:pt x="35" y="0"/>
                    <a:pt x="38" y="2"/>
                  </a:cubicBezTo>
                  <a:cubicBezTo>
                    <a:pt x="41" y="3"/>
                    <a:pt x="43" y="6"/>
                    <a:pt x="45" y="9"/>
                  </a:cubicBezTo>
                  <a:cubicBezTo>
                    <a:pt x="47" y="12"/>
                    <a:pt x="49" y="15"/>
                    <a:pt x="49" y="19"/>
                  </a:cubicBezTo>
                  <a:cubicBezTo>
                    <a:pt x="50" y="22"/>
                    <a:pt x="50" y="26"/>
                    <a:pt x="48" y="29"/>
                  </a:cubicBezTo>
                  <a:cubicBezTo>
                    <a:pt x="47" y="32"/>
                    <a:pt x="46" y="34"/>
                    <a:pt x="43" y="36"/>
                  </a:cubicBezTo>
                  <a:cubicBezTo>
                    <a:pt x="41" y="37"/>
                    <a:pt x="40" y="37"/>
                    <a:pt x="38" y="37"/>
                  </a:cubicBezTo>
                  <a:cubicBezTo>
                    <a:pt x="36" y="37"/>
                    <a:pt x="35" y="37"/>
                    <a:pt x="34" y="36"/>
                  </a:cubicBezTo>
                  <a:cubicBezTo>
                    <a:pt x="34" y="40"/>
                    <a:pt x="32" y="43"/>
                    <a:pt x="29" y="45"/>
                  </a:cubicBezTo>
                  <a:cubicBezTo>
                    <a:pt x="27" y="46"/>
                    <a:pt x="26" y="46"/>
                    <a:pt x="24" y="46"/>
                  </a:cubicBezTo>
                  <a:cubicBezTo>
                    <a:pt x="23" y="46"/>
                    <a:pt x="21" y="46"/>
                    <a:pt x="19" y="45"/>
                  </a:cubicBezTo>
                  <a:cubicBezTo>
                    <a:pt x="18" y="44"/>
                    <a:pt x="16" y="43"/>
                    <a:pt x="15" y="41"/>
                  </a:cubicBezTo>
                  <a:cubicBezTo>
                    <a:pt x="14" y="39"/>
                    <a:pt x="13" y="36"/>
                    <a:pt x="13" y="33"/>
                  </a:cubicBezTo>
                  <a:cubicBezTo>
                    <a:pt x="12" y="30"/>
                    <a:pt x="13" y="27"/>
                    <a:pt x="13" y="24"/>
                  </a:cubicBezTo>
                  <a:cubicBezTo>
                    <a:pt x="14" y="21"/>
                    <a:pt x="16" y="19"/>
                    <a:pt x="18" y="18"/>
                  </a:cubicBezTo>
                  <a:cubicBezTo>
                    <a:pt x="19" y="17"/>
                    <a:pt x="21" y="17"/>
                    <a:pt x="22" y="17"/>
                  </a:cubicBezTo>
                  <a:cubicBezTo>
                    <a:pt x="23" y="17"/>
                    <a:pt x="25" y="17"/>
                    <a:pt x="26" y="18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5"/>
                    <a:pt x="25" y="14"/>
                  </a:cubicBezTo>
                  <a:cubicBezTo>
                    <a:pt x="25" y="14"/>
                    <a:pt x="26" y="13"/>
                    <a:pt x="27" y="12"/>
                  </a:cubicBezTo>
                  <a:cubicBezTo>
                    <a:pt x="29" y="11"/>
                    <a:pt x="30" y="11"/>
                    <a:pt x="31" y="13"/>
                  </a:cubicBezTo>
                  <a:cubicBezTo>
                    <a:pt x="32" y="14"/>
                    <a:pt x="32" y="14"/>
                    <a:pt x="32" y="14"/>
                  </a:cubicBezTo>
                  <a:lnTo>
                    <a:pt x="38" y="28"/>
                  </a:lnTo>
                  <a:close/>
                  <a:moveTo>
                    <a:pt x="28" y="24"/>
                  </a:moveTo>
                  <a:cubicBezTo>
                    <a:pt x="27" y="22"/>
                    <a:pt x="26" y="22"/>
                    <a:pt x="25" y="21"/>
                  </a:cubicBezTo>
                  <a:cubicBezTo>
                    <a:pt x="24" y="21"/>
                    <a:pt x="23" y="22"/>
                    <a:pt x="22" y="22"/>
                  </a:cubicBezTo>
                  <a:cubicBezTo>
                    <a:pt x="20" y="23"/>
                    <a:pt x="19" y="25"/>
                    <a:pt x="19" y="26"/>
                  </a:cubicBezTo>
                  <a:cubicBezTo>
                    <a:pt x="19" y="28"/>
                    <a:pt x="19" y="30"/>
                    <a:pt x="19" y="32"/>
                  </a:cubicBezTo>
                  <a:cubicBezTo>
                    <a:pt x="20" y="34"/>
                    <a:pt x="20" y="36"/>
                    <a:pt x="21" y="37"/>
                  </a:cubicBezTo>
                  <a:cubicBezTo>
                    <a:pt x="22" y="39"/>
                    <a:pt x="23" y="39"/>
                    <a:pt x="24" y="40"/>
                  </a:cubicBezTo>
                  <a:cubicBezTo>
                    <a:pt x="25" y="40"/>
                    <a:pt x="26" y="40"/>
                    <a:pt x="27" y="39"/>
                  </a:cubicBezTo>
                  <a:cubicBezTo>
                    <a:pt x="29" y="38"/>
                    <a:pt x="29" y="37"/>
                    <a:pt x="30" y="36"/>
                  </a:cubicBezTo>
                  <a:cubicBezTo>
                    <a:pt x="30" y="35"/>
                    <a:pt x="31" y="33"/>
                    <a:pt x="31" y="32"/>
                  </a:cubicBezTo>
                  <a:cubicBezTo>
                    <a:pt x="31" y="31"/>
                    <a:pt x="30" y="30"/>
                    <a:pt x="30" y="29"/>
                  </a:cubicBezTo>
                  <a:cubicBezTo>
                    <a:pt x="30" y="26"/>
                    <a:pt x="29" y="25"/>
                    <a:pt x="28" y="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ïśľïďé">
              <a:extLst>
                <a:ext uri="{FF2B5EF4-FFF2-40B4-BE49-F238E27FC236}">
                  <a16:creationId xmlns:a16="http://schemas.microsoft.com/office/drawing/2014/main" id="{F535E972-3ABA-4C66-B33A-76AFB79D182C}"/>
                </a:ext>
              </a:extLst>
            </p:cNvPr>
            <p:cNvSpPr/>
            <p:nvPr/>
          </p:nvSpPr>
          <p:spPr bwMode="auto">
            <a:xfrm>
              <a:off x="4003676" y="2009775"/>
              <a:ext cx="273050" cy="352425"/>
            </a:xfrm>
            <a:custGeom>
              <a:avLst/>
              <a:gdLst>
                <a:gd name="T0" fmla="*/ 17 w 27"/>
                <a:gd name="T1" fmla="*/ 2 h 35"/>
                <a:gd name="T2" fmla="*/ 2 w 27"/>
                <a:gd name="T3" fmla="*/ 10 h 35"/>
                <a:gd name="T4" fmla="*/ 8 w 27"/>
                <a:gd name="T5" fmla="*/ 35 h 35"/>
                <a:gd name="T6" fmla="*/ 26 w 27"/>
                <a:gd name="T7" fmla="*/ 17 h 35"/>
                <a:gd name="T8" fmla="*/ 17 w 27"/>
                <a:gd name="T9" fmla="*/ 2 h 35"/>
                <a:gd name="T10" fmla="*/ 12 w 27"/>
                <a:gd name="T11" fmla="*/ 20 h 35"/>
                <a:gd name="T12" fmla="*/ 7 w 27"/>
                <a:gd name="T13" fmla="*/ 12 h 35"/>
                <a:gd name="T14" fmla="*/ 16 w 27"/>
                <a:gd name="T15" fmla="*/ 7 h 35"/>
                <a:gd name="T16" fmla="*/ 20 w 27"/>
                <a:gd name="T17" fmla="*/ 15 h 35"/>
                <a:gd name="T18" fmla="*/ 12 w 27"/>
                <a:gd name="T19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5">
                  <a:moveTo>
                    <a:pt x="17" y="2"/>
                  </a:moveTo>
                  <a:cubicBezTo>
                    <a:pt x="10" y="0"/>
                    <a:pt x="4" y="4"/>
                    <a:pt x="2" y="10"/>
                  </a:cubicBezTo>
                  <a:cubicBezTo>
                    <a:pt x="0" y="18"/>
                    <a:pt x="8" y="35"/>
                    <a:pt x="8" y="35"/>
                  </a:cubicBezTo>
                  <a:cubicBezTo>
                    <a:pt x="8" y="35"/>
                    <a:pt x="23" y="25"/>
                    <a:pt x="26" y="17"/>
                  </a:cubicBezTo>
                  <a:cubicBezTo>
                    <a:pt x="27" y="10"/>
                    <a:pt x="24" y="4"/>
                    <a:pt x="17" y="2"/>
                  </a:cubicBezTo>
                  <a:close/>
                  <a:moveTo>
                    <a:pt x="12" y="20"/>
                  </a:moveTo>
                  <a:cubicBezTo>
                    <a:pt x="8" y="19"/>
                    <a:pt x="6" y="15"/>
                    <a:pt x="7" y="12"/>
                  </a:cubicBezTo>
                  <a:cubicBezTo>
                    <a:pt x="8" y="8"/>
                    <a:pt x="12" y="6"/>
                    <a:pt x="16" y="7"/>
                  </a:cubicBezTo>
                  <a:cubicBezTo>
                    <a:pt x="19" y="8"/>
                    <a:pt x="21" y="12"/>
                    <a:pt x="20" y="15"/>
                  </a:cubicBezTo>
                  <a:cubicBezTo>
                    <a:pt x="19" y="19"/>
                    <a:pt x="15" y="21"/>
                    <a:pt x="12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i$ḷïdé">
              <a:extLst>
                <a:ext uri="{FF2B5EF4-FFF2-40B4-BE49-F238E27FC236}">
                  <a16:creationId xmlns:a16="http://schemas.microsoft.com/office/drawing/2014/main" id="{A3E5627E-56A9-4E30-AF79-27034491FA20}"/>
                </a:ext>
              </a:extLst>
            </p:cNvPr>
            <p:cNvSpPr/>
            <p:nvPr/>
          </p:nvSpPr>
          <p:spPr bwMode="auto">
            <a:xfrm>
              <a:off x="7966076" y="2220913"/>
              <a:ext cx="384175" cy="382588"/>
            </a:xfrm>
            <a:custGeom>
              <a:avLst/>
              <a:gdLst>
                <a:gd name="T0" fmla="*/ 32 w 38"/>
                <a:gd name="T1" fmla="*/ 12 h 38"/>
                <a:gd name="T2" fmla="*/ 23 w 38"/>
                <a:gd name="T3" fmla="*/ 13 h 38"/>
                <a:gd name="T4" fmla="*/ 22 w 38"/>
                <a:gd name="T5" fmla="*/ 4 h 38"/>
                <a:gd name="T6" fmla="*/ 17 w 38"/>
                <a:gd name="T7" fmla="*/ 0 h 38"/>
                <a:gd name="T8" fmla="*/ 13 w 38"/>
                <a:gd name="T9" fmla="*/ 5 h 38"/>
                <a:gd name="T10" fmla="*/ 13 w 38"/>
                <a:gd name="T11" fmla="*/ 14 h 38"/>
                <a:gd name="T12" fmla="*/ 4 w 38"/>
                <a:gd name="T13" fmla="*/ 15 h 38"/>
                <a:gd name="T14" fmla="*/ 0 w 38"/>
                <a:gd name="T15" fmla="*/ 21 h 38"/>
                <a:gd name="T16" fmla="*/ 5 w 38"/>
                <a:gd name="T17" fmla="*/ 25 h 38"/>
                <a:gd name="T18" fmla="*/ 14 w 38"/>
                <a:gd name="T19" fmla="*/ 24 h 38"/>
                <a:gd name="T20" fmla="*/ 15 w 38"/>
                <a:gd name="T21" fmla="*/ 33 h 38"/>
                <a:gd name="T22" fmla="*/ 21 w 38"/>
                <a:gd name="T23" fmla="*/ 37 h 38"/>
                <a:gd name="T24" fmla="*/ 25 w 38"/>
                <a:gd name="T25" fmla="*/ 32 h 38"/>
                <a:gd name="T26" fmla="*/ 24 w 38"/>
                <a:gd name="T27" fmla="*/ 23 h 38"/>
                <a:gd name="T28" fmla="*/ 33 w 38"/>
                <a:gd name="T29" fmla="*/ 22 h 38"/>
                <a:gd name="T30" fmla="*/ 37 w 38"/>
                <a:gd name="T31" fmla="*/ 17 h 38"/>
                <a:gd name="T32" fmla="*/ 32 w 38"/>
                <a:gd name="T33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38">
                  <a:moveTo>
                    <a:pt x="32" y="12"/>
                  </a:moveTo>
                  <a:cubicBezTo>
                    <a:pt x="23" y="13"/>
                    <a:pt x="23" y="13"/>
                    <a:pt x="23" y="1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2"/>
                    <a:pt x="20" y="0"/>
                    <a:pt x="17" y="0"/>
                  </a:cubicBezTo>
                  <a:cubicBezTo>
                    <a:pt x="14" y="0"/>
                    <a:pt x="12" y="3"/>
                    <a:pt x="13" y="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0" y="18"/>
                    <a:pt x="0" y="21"/>
                  </a:cubicBezTo>
                  <a:cubicBezTo>
                    <a:pt x="0" y="23"/>
                    <a:pt x="3" y="25"/>
                    <a:pt x="5" y="2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6" y="36"/>
                    <a:pt x="18" y="38"/>
                    <a:pt x="21" y="37"/>
                  </a:cubicBezTo>
                  <a:cubicBezTo>
                    <a:pt x="23" y="37"/>
                    <a:pt x="25" y="35"/>
                    <a:pt x="25" y="3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6" y="22"/>
                    <a:pt x="38" y="19"/>
                    <a:pt x="37" y="17"/>
                  </a:cubicBezTo>
                  <a:cubicBezTo>
                    <a:pt x="37" y="14"/>
                    <a:pt x="35" y="12"/>
                    <a:pt x="32" y="12"/>
                  </a:cubicBezTo>
                  <a:close/>
                </a:path>
              </a:pathLst>
            </a:custGeom>
            <a:solidFill>
              <a:srgbClr val="CDE0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iṥļîḍé">
              <a:extLst>
                <a:ext uri="{FF2B5EF4-FFF2-40B4-BE49-F238E27FC236}">
                  <a16:creationId xmlns:a16="http://schemas.microsoft.com/office/drawing/2014/main" id="{497479F3-FDF7-41C2-8F17-2EC64BEF715E}"/>
                </a:ext>
              </a:extLst>
            </p:cNvPr>
            <p:cNvSpPr/>
            <p:nvPr/>
          </p:nvSpPr>
          <p:spPr bwMode="auto">
            <a:xfrm>
              <a:off x="4265613" y="2765425"/>
              <a:ext cx="192088" cy="190500"/>
            </a:xfrm>
            <a:custGeom>
              <a:avLst/>
              <a:gdLst>
                <a:gd name="T0" fmla="*/ 16 w 19"/>
                <a:gd name="T1" fmla="*/ 7 h 19"/>
                <a:gd name="T2" fmla="*/ 12 w 19"/>
                <a:gd name="T3" fmla="*/ 7 h 19"/>
                <a:gd name="T4" fmla="*/ 11 w 19"/>
                <a:gd name="T5" fmla="*/ 3 h 19"/>
                <a:gd name="T6" fmla="*/ 9 w 19"/>
                <a:gd name="T7" fmla="*/ 1 h 19"/>
                <a:gd name="T8" fmla="*/ 6 w 19"/>
                <a:gd name="T9" fmla="*/ 3 h 19"/>
                <a:gd name="T10" fmla="*/ 7 w 19"/>
                <a:gd name="T11" fmla="*/ 8 h 19"/>
                <a:gd name="T12" fmla="*/ 2 w 19"/>
                <a:gd name="T13" fmla="*/ 8 h 19"/>
                <a:gd name="T14" fmla="*/ 0 w 19"/>
                <a:gd name="T15" fmla="*/ 11 h 19"/>
                <a:gd name="T16" fmla="*/ 3 w 19"/>
                <a:gd name="T17" fmla="*/ 13 h 19"/>
                <a:gd name="T18" fmla="*/ 7 w 19"/>
                <a:gd name="T19" fmla="*/ 12 h 19"/>
                <a:gd name="T20" fmla="*/ 8 w 19"/>
                <a:gd name="T21" fmla="*/ 17 h 19"/>
                <a:gd name="T22" fmla="*/ 10 w 19"/>
                <a:gd name="T23" fmla="*/ 19 h 19"/>
                <a:gd name="T24" fmla="*/ 13 w 19"/>
                <a:gd name="T25" fmla="*/ 16 h 19"/>
                <a:gd name="T26" fmla="*/ 12 w 19"/>
                <a:gd name="T27" fmla="*/ 12 h 19"/>
                <a:gd name="T28" fmla="*/ 17 w 19"/>
                <a:gd name="T29" fmla="*/ 12 h 19"/>
                <a:gd name="T30" fmla="*/ 19 w 19"/>
                <a:gd name="T31" fmla="*/ 9 h 19"/>
                <a:gd name="T32" fmla="*/ 16 w 19"/>
                <a:gd name="T33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19">
                  <a:moveTo>
                    <a:pt x="16" y="7"/>
                  </a:moveTo>
                  <a:cubicBezTo>
                    <a:pt x="12" y="7"/>
                    <a:pt x="12" y="7"/>
                    <a:pt x="12" y="7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10" y="0"/>
                    <a:pt x="9" y="1"/>
                  </a:cubicBezTo>
                  <a:cubicBezTo>
                    <a:pt x="7" y="1"/>
                    <a:pt x="6" y="2"/>
                    <a:pt x="6" y="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2" y="13"/>
                    <a:pt x="3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9" y="19"/>
                    <a:pt x="10" y="19"/>
                  </a:cubicBezTo>
                  <a:cubicBezTo>
                    <a:pt x="12" y="19"/>
                    <a:pt x="13" y="18"/>
                    <a:pt x="13" y="16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1"/>
                    <a:pt x="19" y="10"/>
                    <a:pt x="19" y="9"/>
                  </a:cubicBezTo>
                  <a:cubicBezTo>
                    <a:pt x="19" y="8"/>
                    <a:pt x="17" y="7"/>
                    <a:pt x="16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iṥļiḋê">
              <a:extLst>
                <a:ext uri="{FF2B5EF4-FFF2-40B4-BE49-F238E27FC236}">
                  <a16:creationId xmlns:a16="http://schemas.microsoft.com/office/drawing/2014/main" id="{1573B9FF-F7C4-404B-9DD3-7DB28118BAE5}"/>
                </a:ext>
              </a:extLst>
            </p:cNvPr>
            <p:cNvSpPr/>
            <p:nvPr/>
          </p:nvSpPr>
          <p:spPr bwMode="auto">
            <a:xfrm>
              <a:off x="3802063" y="1003300"/>
              <a:ext cx="504825" cy="311150"/>
            </a:xfrm>
            <a:custGeom>
              <a:avLst/>
              <a:gdLst>
                <a:gd name="T0" fmla="*/ 27 w 50"/>
                <a:gd name="T1" fmla="*/ 13 h 31"/>
                <a:gd name="T2" fmla="*/ 30 w 50"/>
                <a:gd name="T3" fmla="*/ 4 h 31"/>
                <a:gd name="T4" fmla="*/ 38 w 50"/>
                <a:gd name="T5" fmla="*/ 0 h 31"/>
                <a:gd name="T6" fmla="*/ 44 w 50"/>
                <a:gd name="T7" fmla="*/ 2 h 31"/>
                <a:gd name="T8" fmla="*/ 48 w 50"/>
                <a:gd name="T9" fmla="*/ 5 h 31"/>
                <a:gd name="T10" fmla="*/ 50 w 50"/>
                <a:gd name="T11" fmla="*/ 10 h 31"/>
                <a:gd name="T12" fmla="*/ 49 w 50"/>
                <a:gd name="T13" fmla="*/ 13 h 31"/>
                <a:gd name="T14" fmla="*/ 47 w 50"/>
                <a:gd name="T15" fmla="*/ 14 h 31"/>
                <a:gd name="T16" fmla="*/ 44 w 50"/>
                <a:gd name="T17" fmla="*/ 13 h 31"/>
                <a:gd name="T18" fmla="*/ 40 w 50"/>
                <a:gd name="T19" fmla="*/ 14 h 31"/>
                <a:gd name="T20" fmla="*/ 39 w 50"/>
                <a:gd name="T21" fmla="*/ 17 h 31"/>
                <a:gd name="T22" fmla="*/ 42 w 50"/>
                <a:gd name="T23" fmla="*/ 22 h 31"/>
                <a:gd name="T24" fmla="*/ 44 w 50"/>
                <a:gd name="T25" fmla="*/ 22 h 31"/>
                <a:gd name="T26" fmla="*/ 46 w 50"/>
                <a:gd name="T27" fmla="*/ 24 h 31"/>
                <a:gd name="T28" fmla="*/ 47 w 50"/>
                <a:gd name="T29" fmla="*/ 26 h 31"/>
                <a:gd name="T30" fmla="*/ 46 w 50"/>
                <a:gd name="T31" fmla="*/ 30 h 31"/>
                <a:gd name="T32" fmla="*/ 41 w 50"/>
                <a:gd name="T33" fmla="*/ 31 h 31"/>
                <a:gd name="T34" fmla="*/ 34 w 50"/>
                <a:gd name="T35" fmla="*/ 28 h 31"/>
                <a:gd name="T36" fmla="*/ 29 w 50"/>
                <a:gd name="T37" fmla="*/ 21 h 31"/>
                <a:gd name="T38" fmla="*/ 27 w 50"/>
                <a:gd name="T39" fmla="*/ 13 h 31"/>
                <a:gd name="T40" fmla="*/ 0 w 50"/>
                <a:gd name="T41" fmla="*/ 13 h 31"/>
                <a:gd name="T42" fmla="*/ 3 w 50"/>
                <a:gd name="T43" fmla="*/ 4 h 31"/>
                <a:gd name="T44" fmla="*/ 11 w 50"/>
                <a:gd name="T45" fmla="*/ 0 h 31"/>
                <a:gd name="T46" fmla="*/ 17 w 50"/>
                <a:gd name="T47" fmla="*/ 2 h 31"/>
                <a:gd name="T48" fmla="*/ 21 w 50"/>
                <a:gd name="T49" fmla="*/ 5 h 31"/>
                <a:gd name="T50" fmla="*/ 23 w 50"/>
                <a:gd name="T51" fmla="*/ 10 h 31"/>
                <a:gd name="T52" fmla="*/ 22 w 50"/>
                <a:gd name="T53" fmla="*/ 13 h 31"/>
                <a:gd name="T54" fmla="*/ 20 w 50"/>
                <a:gd name="T55" fmla="*/ 14 h 31"/>
                <a:gd name="T56" fmla="*/ 16 w 50"/>
                <a:gd name="T57" fmla="*/ 13 h 31"/>
                <a:gd name="T58" fmla="*/ 13 w 50"/>
                <a:gd name="T59" fmla="*/ 14 h 31"/>
                <a:gd name="T60" fmla="*/ 12 w 50"/>
                <a:gd name="T61" fmla="*/ 17 h 31"/>
                <a:gd name="T62" fmla="*/ 15 w 50"/>
                <a:gd name="T63" fmla="*/ 22 h 31"/>
                <a:gd name="T64" fmla="*/ 17 w 50"/>
                <a:gd name="T65" fmla="*/ 22 h 31"/>
                <a:gd name="T66" fmla="*/ 19 w 50"/>
                <a:gd name="T67" fmla="*/ 24 h 31"/>
                <a:gd name="T68" fmla="*/ 20 w 50"/>
                <a:gd name="T69" fmla="*/ 26 h 31"/>
                <a:gd name="T70" fmla="*/ 18 w 50"/>
                <a:gd name="T71" fmla="*/ 30 h 31"/>
                <a:gd name="T72" fmla="*/ 14 w 50"/>
                <a:gd name="T73" fmla="*/ 31 h 31"/>
                <a:gd name="T74" fmla="*/ 7 w 50"/>
                <a:gd name="T75" fmla="*/ 28 h 31"/>
                <a:gd name="T76" fmla="*/ 2 w 50"/>
                <a:gd name="T77" fmla="*/ 21 h 31"/>
                <a:gd name="T78" fmla="*/ 0 w 50"/>
                <a:gd name="T79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0" h="31">
                  <a:moveTo>
                    <a:pt x="27" y="13"/>
                  </a:moveTo>
                  <a:cubicBezTo>
                    <a:pt x="27" y="9"/>
                    <a:pt x="28" y="6"/>
                    <a:pt x="30" y="4"/>
                  </a:cubicBezTo>
                  <a:cubicBezTo>
                    <a:pt x="32" y="2"/>
                    <a:pt x="35" y="0"/>
                    <a:pt x="38" y="0"/>
                  </a:cubicBezTo>
                  <a:cubicBezTo>
                    <a:pt x="40" y="0"/>
                    <a:pt x="42" y="1"/>
                    <a:pt x="44" y="2"/>
                  </a:cubicBezTo>
                  <a:cubicBezTo>
                    <a:pt x="46" y="3"/>
                    <a:pt x="47" y="4"/>
                    <a:pt x="48" y="5"/>
                  </a:cubicBezTo>
                  <a:cubicBezTo>
                    <a:pt x="49" y="7"/>
                    <a:pt x="50" y="8"/>
                    <a:pt x="50" y="10"/>
                  </a:cubicBezTo>
                  <a:cubicBezTo>
                    <a:pt x="50" y="11"/>
                    <a:pt x="50" y="12"/>
                    <a:pt x="49" y="13"/>
                  </a:cubicBezTo>
                  <a:cubicBezTo>
                    <a:pt x="49" y="13"/>
                    <a:pt x="48" y="14"/>
                    <a:pt x="47" y="14"/>
                  </a:cubicBezTo>
                  <a:cubicBezTo>
                    <a:pt x="46" y="14"/>
                    <a:pt x="45" y="13"/>
                    <a:pt x="44" y="13"/>
                  </a:cubicBezTo>
                  <a:cubicBezTo>
                    <a:pt x="42" y="13"/>
                    <a:pt x="41" y="14"/>
                    <a:pt x="40" y="14"/>
                  </a:cubicBezTo>
                  <a:cubicBezTo>
                    <a:pt x="39" y="15"/>
                    <a:pt x="39" y="16"/>
                    <a:pt x="39" y="17"/>
                  </a:cubicBezTo>
                  <a:cubicBezTo>
                    <a:pt x="39" y="19"/>
                    <a:pt x="40" y="21"/>
                    <a:pt x="42" y="22"/>
                  </a:cubicBezTo>
                  <a:cubicBezTo>
                    <a:pt x="43" y="22"/>
                    <a:pt x="43" y="22"/>
                    <a:pt x="44" y="22"/>
                  </a:cubicBezTo>
                  <a:cubicBezTo>
                    <a:pt x="45" y="23"/>
                    <a:pt x="46" y="23"/>
                    <a:pt x="46" y="24"/>
                  </a:cubicBezTo>
                  <a:cubicBezTo>
                    <a:pt x="47" y="24"/>
                    <a:pt x="47" y="25"/>
                    <a:pt x="47" y="26"/>
                  </a:cubicBezTo>
                  <a:cubicBezTo>
                    <a:pt x="47" y="28"/>
                    <a:pt x="47" y="29"/>
                    <a:pt x="46" y="30"/>
                  </a:cubicBezTo>
                  <a:cubicBezTo>
                    <a:pt x="44" y="31"/>
                    <a:pt x="43" y="31"/>
                    <a:pt x="41" y="31"/>
                  </a:cubicBezTo>
                  <a:cubicBezTo>
                    <a:pt x="39" y="31"/>
                    <a:pt x="37" y="30"/>
                    <a:pt x="34" y="28"/>
                  </a:cubicBezTo>
                  <a:cubicBezTo>
                    <a:pt x="32" y="26"/>
                    <a:pt x="30" y="23"/>
                    <a:pt x="29" y="21"/>
                  </a:cubicBezTo>
                  <a:cubicBezTo>
                    <a:pt x="28" y="18"/>
                    <a:pt x="27" y="15"/>
                    <a:pt x="27" y="13"/>
                  </a:cubicBezTo>
                  <a:close/>
                  <a:moveTo>
                    <a:pt x="0" y="13"/>
                  </a:moveTo>
                  <a:cubicBezTo>
                    <a:pt x="0" y="9"/>
                    <a:pt x="1" y="6"/>
                    <a:pt x="3" y="4"/>
                  </a:cubicBezTo>
                  <a:cubicBezTo>
                    <a:pt x="5" y="2"/>
                    <a:pt x="8" y="0"/>
                    <a:pt x="11" y="0"/>
                  </a:cubicBezTo>
                  <a:cubicBezTo>
                    <a:pt x="13" y="0"/>
                    <a:pt x="15" y="1"/>
                    <a:pt x="17" y="2"/>
                  </a:cubicBezTo>
                  <a:cubicBezTo>
                    <a:pt x="18" y="3"/>
                    <a:pt x="20" y="4"/>
                    <a:pt x="21" y="5"/>
                  </a:cubicBezTo>
                  <a:cubicBezTo>
                    <a:pt x="22" y="7"/>
                    <a:pt x="23" y="8"/>
                    <a:pt x="23" y="10"/>
                  </a:cubicBezTo>
                  <a:cubicBezTo>
                    <a:pt x="23" y="11"/>
                    <a:pt x="23" y="12"/>
                    <a:pt x="22" y="13"/>
                  </a:cubicBezTo>
                  <a:cubicBezTo>
                    <a:pt x="22" y="13"/>
                    <a:pt x="21" y="14"/>
                    <a:pt x="20" y="14"/>
                  </a:cubicBezTo>
                  <a:cubicBezTo>
                    <a:pt x="19" y="14"/>
                    <a:pt x="18" y="13"/>
                    <a:pt x="16" y="13"/>
                  </a:cubicBezTo>
                  <a:cubicBezTo>
                    <a:pt x="15" y="13"/>
                    <a:pt x="14" y="14"/>
                    <a:pt x="13" y="14"/>
                  </a:cubicBezTo>
                  <a:cubicBezTo>
                    <a:pt x="12" y="15"/>
                    <a:pt x="12" y="16"/>
                    <a:pt x="12" y="17"/>
                  </a:cubicBezTo>
                  <a:cubicBezTo>
                    <a:pt x="12" y="19"/>
                    <a:pt x="13" y="21"/>
                    <a:pt x="15" y="22"/>
                  </a:cubicBezTo>
                  <a:cubicBezTo>
                    <a:pt x="15" y="22"/>
                    <a:pt x="16" y="22"/>
                    <a:pt x="17" y="22"/>
                  </a:cubicBezTo>
                  <a:cubicBezTo>
                    <a:pt x="18" y="23"/>
                    <a:pt x="18" y="23"/>
                    <a:pt x="19" y="24"/>
                  </a:cubicBezTo>
                  <a:cubicBezTo>
                    <a:pt x="20" y="24"/>
                    <a:pt x="20" y="25"/>
                    <a:pt x="20" y="26"/>
                  </a:cubicBezTo>
                  <a:cubicBezTo>
                    <a:pt x="20" y="28"/>
                    <a:pt x="19" y="29"/>
                    <a:pt x="18" y="30"/>
                  </a:cubicBezTo>
                  <a:cubicBezTo>
                    <a:pt x="17" y="31"/>
                    <a:pt x="16" y="31"/>
                    <a:pt x="14" y="31"/>
                  </a:cubicBezTo>
                  <a:cubicBezTo>
                    <a:pt x="12" y="31"/>
                    <a:pt x="9" y="30"/>
                    <a:pt x="7" y="28"/>
                  </a:cubicBezTo>
                  <a:cubicBezTo>
                    <a:pt x="5" y="26"/>
                    <a:pt x="3" y="23"/>
                    <a:pt x="2" y="21"/>
                  </a:cubicBezTo>
                  <a:cubicBezTo>
                    <a:pt x="0" y="18"/>
                    <a:pt x="0" y="15"/>
                    <a:pt x="0" y="13"/>
                  </a:cubicBezTo>
                  <a:close/>
                </a:path>
              </a:pathLst>
            </a:custGeom>
            <a:solidFill>
              <a:srgbClr val="CDE0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5" name="文本框 4">
            <a:extLst>
              <a:ext uri="{FF2B5EF4-FFF2-40B4-BE49-F238E27FC236}">
                <a16:creationId xmlns:a16="http://schemas.microsoft.com/office/drawing/2014/main" id="{93777E5B-84DF-48A3-B4BC-A4FE5B141221}"/>
              </a:ext>
            </a:extLst>
          </p:cNvPr>
          <p:cNvSpPr txBox="1"/>
          <p:nvPr/>
        </p:nvSpPr>
        <p:spPr>
          <a:xfrm>
            <a:off x="671706" y="1271489"/>
            <a:ext cx="37416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elf: Self            -&gt;       self</a:t>
            </a:r>
          </a:p>
          <a:p>
            <a:r>
              <a:rPr lang="en-US" altLang="zh-CN" dirty="0"/>
              <a:t>self: &amp;Self         -&gt;     &amp;Self</a:t>
            </a:r>
          </a:p>
          <a:p>
            <a:r>
              <a:rPr lang="en-US" altLang="zh-CN" dirty="0"/>
              <a:t>self: &amp;mut Self  -&gt;    &amp;mut Self         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2358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D11EE5-47E1-4035-A2B7-19C2E3AF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静态方法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7666BC-59F7-4E7F-8671-AA1B72E44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85EB3A-2EBC-4BF1-9376-F73050A0C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0" name="9b016494-0568-4d4f-b84b-3840ac95727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A2FC80-11FB-4D47-A185-6FABB28F3E0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026310" y="4019025"/>
            <a:ext cx="2137790" cy="1710453"/>
            <a:chOff x="3019426" y="930275"/>
            <a:chExt cx="6146800" cy="4918076"/>
          </a:xfrm>
        </p:grpSpPr>
        <p:sp>
          <p:nvSpPr>
            <p:cNvPr id="51" name="išľïḑê">
              <a:extLst>
                <a:ext uri="{FF2B5EF4-FFF2-40B4-BE49-F238E27FC236}">
                  <a16:creationId xmlns:a16="http://schemas.microsoft.com/office/drawing/2014/main" id="{97F0FA3B-0240-4D22-92E2-8F09A506B600}"/>
                </a:ext>
              </a:extLst>
            </p:cNvPr>
            <p:cNvSpPr/>
            <p:nvPr/>
          </p:nvSpPr>
          <p:spPr bwMode="auto">
            <a:xfrm>
              <a:off x="4305301" y="1704975"/>
              <a:ext cx="977900" cy="2419350"/>
            </a:xfrm>
            <a:custGeom>
              <a:avLst/>
              <a:gdLst>
                <a:gd name="T0" fmla="*/ 296 w 296"/>
                <a:gd name="T1" fmla="*/ 711 h 734"/>
                <a:gd name="T2" fmla="*/ 49 w 296"/>
                <a:gd name="T3" fmla="*/ 9 h 734"/>
                <a:gd name="T4" fmla="*/ 266 w 296"/>
                <a:gd name="T5" fmla="*/ 734 h 734"/>
                <a:gd name="T6" fmla="*/ 296 w 296"/>
                <a:gd name="T7" fmla="*/ 711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6" h="734">
                  <a:moveTo>
                    <a:pt x="296" y="711"/>
                  </a:moveTo>
                  <a:cubicBezTo>
                    <a:pt x="296" y="711"/>
                    <a:pt x="98" y="17"/>
                    <a:pt x="49" y="9"/>
                  </a:cubicBezTo>
                  <a:cubicBezTo>
                    <a:pt x="0" y="0"/>
                    <a:pt x="266" y="734"/>
                    <a:pt x="266" y="734"/>
                  </a:cubicBezTo>
                  <a:lnTo>
                    <a:pt x="296" y="711"/>
                  </a:lnTo>
                  <a:close/>
                </a:path>
              </a:pathLst>
            </a:custGeom>
            <a:solidFill>
              <a:srgbClr val="5B94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ṡḷíḍé">
              <a:extLst>
                <a:ext uri="{FF2B5EF4-FFF2-40B4-BE49-F238E27FC236}">
                  <a16:creationId xmlns:a16="http://schemas.microsoft.com/office/drawing/2014/main" id="{C1B66BE5-86C2-42F6-8CE1-648204BE6122}"/>
                </a:ext>
              </a:extLst>
            </p:cNvPr>
            <p:cNvSpPr/>
            <p:nvPr/>
          </p:nvSpPr>
          <p:spPr bwMode="auto">
            <a:xfrm>
              <a:off x="6959601" y="1741488"/>
              <a:ext cx="661988" cy="2541588"/>
            </a:xfrm>
            <a:custGeom>
              <a:avLst/>
              <a:gdLst>
                <a:gd name="T0" fmla="*/ 38 w 201"/>
                <a:gd name="T1" fmla="*/ 765 h 771"/>
                <a:gd name="T2" fmla="*/ 162 w 201"/>
                <a:gd name="T3" fmla="*/ 31 h 771"/>
                <a:gd name="T4" fmla="*/ 0 w 201"/>
                <a:gd name="T5" fmla="*/ 771 h 771"/>
                <a:gd name="T6" fmla="*/ 38 w 201"/>
                <a:gd name="T7" fmla="*/ 765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1" h="771">
                  <a:moveTo>
                    <a:pt x="38" y="765"/>
                  </a:moveTo>
                  <a:cubicBezTo>
                    <a:pt x="38" y="765"/>
                    <a:pt x="201" y="62"/>
                    <a:pt x="162" y="31"/>
                  </a:cubicBezTo>
                  <a:cubicBezTo>
                    <a:pt x="124" y="0"/>
                    <a:pt x="0" y="771"/>
                    <a:pt x="0" y="771"/>
                  </a:cubicBezTo>
                  <a:lnTo>
                    <a:pt x="38" y="765"/>
                  </a:lnTo>
                  <a:close/>
                </a:path>
              </a:pathLst>
            </a:custGeom>
            <a:solidFill>
              <a:srgbClr val="5B94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ṣḻiďe">
              <a:extLst>
                <a:ext uri="{FF2B5EF4-FFF2-40B4-BE49-F238E27FC236}">
                  <a16:creationId xmlns:a16="http://schemas.microsoft.com/office/drawing/2014/main" id="{FFD48A76-7E4C-4B03-9EF8-F57BB621FF4E}"/>
                </a:ext>
              </a:extLst>
            </p:cNvPr>
            <p:cNvSpPr/>
            <p:nvPr/>
          </p:nvSpPr>
          <p:spPr bwMode="auto">
            <a:xfrm>
              <a:off x="7116763" y="1579563"/>
              <a:ext cx="1076325" cy="2428875"/>
            </a:xfrm>
            <a:custGeom>
              <a:avLst/>
              <a:gdLst>
                <a:gd name="T0" fmla="*/ 39 w 326"/>
                <a:gd name="T1" fmla="*/ 737 h 737"/>
                <a:gd name="T2" fmla="*/ 293 w 326"/>
                <a:gd name="T3" fmla="*/ 37 h 737"/>
                <a:gd name="T4" fmla="*/ 0 w 326"/>
                <a:gd name="T5" fmla="*/ 736 h 737"/>
                <a:gd name="T6" fmla="*/ 39 w 326"/>
                <a:gd name="T7" fmla="*/ 737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6" h="737">
                  <a:moveTo>
                    <a:pt x="39" y="737"/>
                  </a:moveTo>
                  <a:cubicBezTo>
                    <a:pt x="39" y="737"/>
                    <a:pt x="326" y="75"/>
                    <a:pt x="293" y="37"/>
                  </a:cubicBezTo>
                  <a:cubicBezTo>
                    <a:pt x="261" y="0"/>
                    <a:pt x="0" y="736"/>
                    <a:pt x="0" y="736"/>
                  </a:cubicBezTo>
                  <a:lnTo>
                    <a:pt x="39" y="737"/>
                  </a:lnTo>
                  <a:close/>
                </a:path>
              </a:pathLst>
            </a:custGeom>
            <a:solidFill>
              <a:srgbClr val="5B94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sḻíḋé">
              <a:extLst>
                <a:ext uri="{FF2B5EF4-FFF2-40B4-BE49-F238E27FC236}">
                  <a16:creationId xmlns:a16="http://schemas.microsoft.com/office/drawing/2014/main" id="{91D351D4-7057-430F-864C-D171D125B3C0}"/>
                </a:ext>
              </a:extLst>
            </p:cNvPr>
            <p:cNvSpPr/>
            <p:nvPr/>
          </p:nvSpPr>
          <p:spPr bwMode="auto">
            <a:xfrm>
              <a:off x="7272338" y="2568575"/>
              <a:ext cx="1577975" cy="2171700"/>
            </a:xfrm>
            <a:custGeom>
              <a:avLst/>
              <a:gdLst>
                <a:gd name="T0" fmla="*/ 37 w 478"/>
                <a:gd name="T1" fmla="*/ 659 h 659"/>
                <a:gd name="T2" fmla="*/ 456 w 478"/>
                <a:gd name="T3" fmla="*/ 45 h 659"/>
                <a:gd name="T4" fmla="*/ 0 w 478"/>
                <a:gd name="T5" fmla="*/ 649 h 659"/>
                <a:gd name="T6" fmla="*/ 37 w 478"/>
                <a:gd name="T7" fmla="*/ 65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8" h="659">
                  <a:moveTo>
                    <a:pt x="37" y="659"/>
                  </a:moveTo>
                  <a:cubicBezTo>
                    <a:pt x="37" y="659"/>
                    <a:pt x="478" y="89"/>
                    <a:pt x="456" y="45"/>
                  </a:cubicBezTo>
                  <a:cubicBezTo>
                    <a:pt x="434" y="0"/>
                    <a:pt x="0" y="649"/>
                    <a:pt x="0" y="649"/>
                  </a:cubicBezTo>
                  <a:lnTo>
                    <a:pt x="37" y="659"/>
                  </a:lnTo>
                  <a:close/>
                </a:path>
              </a:pathLst>
            </a:custGeom>
            <a:solidFill>
              <a:srgbClr val="5B94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ṣḷïḋè">
              <a:extLst>
                <a:ext uri="{FF2B5EF4-FFF2-40B4-BE49-F238E27FC236}">
                  <a16:creationId xmlns:a16="http://schemas.microsoft.com/office/drawing/2014/main" id="{18290442-77DA-47BC-9E56-56EFEA6F6B77}"/>
                </a:ext>
              </a:extLst>
            </p:cNvPr>
            <p:cNvSpPr/>
            <p:nvPr/>
          </p:nvSpPr>
          <p:spPr bwMode="auto">
            <a:xfrm>
              <a:off x="3395663" y="2535238"/>
              <a:ext cx="1431925" cy="2205038"/>
            </a:xfrm>
            <a:custGeom>
              <a:avLst/>
              <a:gdLst>
                <a:gd name="T0" fmla="*/ 434 w 434"/>
                <a:gd name="T1" fmla="*/ 639 h 669"/>
                <a:gd name="T2" fmla="*/ 50 w 434"/>
                <a:gd name="T3" fmla="*/ 2 h 669"/>
                <a:gd name="T4" fmla="*/ 409 w 434"/>
                <a:gd name="T5" fmla="*/ 669 h 669"/>
                <a:gd name="T6" fmla="*/ 434 w 434"/>
                <a:gd name="T7" fmla="*/ 639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4" h="669">
                  <a:moveTo>
                    <a:pt x="434" y="639"/>
                  </a:moveTo>
                  <a:cubicBezTo>
                    <a:pt x="434" y="639"/>
                    <a:pt x="99" y="0"/>
                    <a:pt x="50" y="2"/>
                  </a:cubicBezTo>
                  <a:cubicBezTo>
                    <a:pt x="0" y="4"/>
                    <a:pt x="409" y="669"/>
                    <a:pt x="409" y="669"/>
                  </a:cubicBezTo>
                  <a:lnTo>
                    <a:pt x="434" y="639"/>
                  </a:lnTo>
                  <a:close/>
                </a:path>
              </a:pathLst>
            </a:custGeom>
            <a:solidFill>
              <a:srgbClr val="5B94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ŝ1îḓe">
              <a:extLst>
                <a:ext uri="{FF2B5EF4-FFF2-40B4-BE49-F238E27FC236}">
                  <a16:creationId xmlns:a16="http://schemas.microsoft.com/office/drawing/2014/main" id="{F1A8ECB1-61A3-41AD-BA7A-0795BC0B0ABA}"/>
                </a:ext>
              </a:extLst>
            </p:cNvPr>
            <p:cNvSpPr/>
            <p:nvPr/>
          </p:nvSpPr>
          <p:spPr bwMode="auto">
            <a:xfrm>
              <a:off x="3784601" y="1843088"/>
              <a:ext cx="1517650" cy="2159000"/>
            </a:xfrm>
            <a:custGeom>
              <a:avLst/>
              <a:gdLst>
                <a:gd name="T0" fmla="*/ 460 w 460"/>
                <a:gd name="T1" fmla="*/ 625 h 655"/>
                <a:gd name="T2" fmla="*/ 50 w 460"/>
                <a:gd name="T3" fmla="*/ 4 h 655"/>
                <a:gd name="T4" fmla="*/ 436 w 460"/>
                <a:gd name="T5" fmla="*/ 655 h 655"/>
                <a:gd name="T6" fmla="*/ 460 w 460"/>
                <a:gd name="T7" fmla="*/ 625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0" h="655">
                  <a:moveTo>
                    <a:pt x="460" y="625"/>
                  </a:moveTo>
                  <a:cubicBezTo>
                    <a:pt x="460" y="625"/>
                    <a:pt x="99" y="0"/>
                    <a:pt x="50" y="4"/>
                  </a:cubicBezTo>
                  <a:cubicBezTo>
                    <a:pt x="0" y="7"/>
                    <a:pt x="436" y="655"/>
                    <a:pt x="436" y="655"/>
                  </a:cubicBezTo>
                  <a:lnTo>
                    <a:pt x="460" y="625"/>
                  </a:lnTo>
                  <a:close/>
                </a:path>
              </a:pathLst>
            </a:custGeom>
            <a:solidFill>
              <a:srgbClr val="5B94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śļïḍê">
              <a:extLst>
                <a:ext uri="{FF2B5EF4-FFF2-40B4-BE49-F238E27FC236}">
                  <a16:creationId xmlns:a16="http://schemas.microsoft.com/office/drawing/2014/main" id="{EDBC7AAE-EFAA-4616-8673-AA1974C7C5FD}"/>
                </a:ext>
              </a:extLst>
            </p:cNvPr>
            <p:cNvSpPr/>
            <p:nvPr/>
          </p:nvSpPr>
          <p:spPr bwMode="auto">
            <a:xfrm>
              <a:off x="3019426" y="3319463"/>
              <a:ext cx="1712913" cy="1349375"/>
            </a:xfrm>
            <a:custGeom>
              <a:avLst/>
              <a:gdLst>
                <a:gd name="T0" fmla="*/ 19 w 519"/>
                <a:gd name="T1" fmla="*/ 59 h 409"/>
                <a:gd name="T2" fmla="*/ 150 w 519"/>
                <a:gd name="T3" fmla="*/ 43 h 409"/>
                <a:gd name="T4" fmla="*/ 229 w 519"/>
                <a:gd name="T5" fmla="*/ 47 h 409"/>
                <a:gd name="T6" fmla="*/ 292 w 519"/>
                <a:gd name="T7" fmla="*/ 92 h 409"/>
                <a:gd name="T8" fmla="*/ 391 w 519"/>
                <a:gd name="T9" fmla="*/ 143 h 409"/>
                <a:gd name="T10" fmla="*/ 444 w 519"/>
                <a:gd name="T11" fmla="*/ 237 h 409"/>
                <a:gd name="T12" fmla="*/ 519 w 519"/>
                <a:gd name="T13" fmla="*/ 359 h 409"/>
                <a:gd name="T14" fmla="*/ 438 w 519"/>
                <a:gd name="T15" fmla="*/ 409 h 409"/>
                <a:gd name="T16" fmla="*/ 315 w 519"/>
                <a:gd name="T17" fmla="*/ 380 h 409"/>
                <a:gd name="T18" fmla="*/ 269 w 519"/>
                <a:gd name="T19" fmla="*/ 290 h 409"/>
                <a:gd name="T20" fmla="*/ 147 w 519"/>
                <a:gd name="T21" fmla="*/ 249 h 409"/>
                <a:gd name="T22" fmla="*/ 87 w 519"/>
                <a:gd name="T23" fmla="*/ 147 h 409"/>
                <a:gd name="T24" fmla="*/ 19 w 519"/>
                <a:gd name="T25" fmla="*/ 5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9" h="409">
                  <a:moveTo>
                    <a:pt x="19" y="59"/>
                  </a:moveTo>
                  <a:cubicBezTo>
                    <a:pt x="46" y="0"/>
                    <a:pt x="119" y="45"/>
                    <a:pt x="150" y="43"/>
                  </a:cubicBezTo>
                  <a:cubicBezTo>
                    <a:pt x="180" y="41"/>
                    <a:pt x="210" y="34"/>
                    <a:pt x="229" y="47"/>
                  </a:cubicBezTo>
                  <a:cubicBezTo>
                    <a:pt x="248" y="61"/>
                    <a:pt x="248" y="87"/>
                    <a:pt x="292" y="92"/>
                  </a:cubicBezTo>
                  <a:cubicBezTo>
                    <a:pt x="336" y="97"/>
                    <a:pt x="368" y="103"/>
                    <a:pt x="391" y="143"/>
                  </a:cubicBezTo>
                  <a:cubicBezTo>
                    <a:pt x="414" y="184"/>
                    <a:pt x="414" y="217"/>
                    <a:pt x="444" y="237"/>
                  </a:cubicBezTo>
                  <a:cubicBezTo>
                    <a:pt x="474" y="257"/>
                    <a:pt x="513" y="297"/>
                    <a:pt x="519" y="359"/>
                  </a:cubicBezTo>
                  <a:cubicBezTo>
                    <a:pt x="438" y="409"/>
                    <a:pt x="438" y="409"/>
                    <a:pt x="438" y="409"/>
                  </a:cubicBezTo>
                  <a:cubicBezTo>
                    <a:pt x="438" y="409"/>
                    <a:pt x="350" y="403"/>
                    <a:pt x="315" y="380"/>
                  </a:cubicBezTo>
                  <a:cubicBezTo>
                    <a:pt x="280" y="357"/>
                    <a:pt x="306" y="310"/>
                    <a:pt x="269" y="290"/>
                  </a:cubicBezTo>
                  <a:cubicBezTo>
                    <a:pt x="232" y="270"/>
                    <a:pt x="186" y="273"/>
                    <a:pt x="147" y="249"/>
                  </a:cubicBezTo>
                  <a:cubicBezTo>
                    <a:pt x="108" y="225"/>
                    <a:pt x="119" y="167"/>
                    <a:pt x="87" y="147"/>
                  </a:cubicBezTo>
                  <a:cubicBezTo>
                    <a:pt x="55" y="128"/>
                    <a:pt x="0" y="102"/>
                    <a:pt x="19" y="59"/>
                  </a:cubicBezTo>
                  <a:close/>
                </a:path>
              </a:pathLst>
            </a:custGeom>
            <a:solidFill>
              <a:srgbClr val="178E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ṣlïďê">
              <a:extLst>
                <a:ext uri="{FF2B5EF4-FFF2-40B4-BE49-F238E27FC236}">
                  <a16:creationId xmlns:a16="http://schemas.microsoft.com/office/drawing/2014/main" id="{26D25598-8B66-4041-9DDE-B8EE9E2BF128}"/>
                </a:ext>
              </a:extLst>
            </p:cNvPr>
            <p:cNvSpPr/>
            <p:nvPr/>
          </p:nvSpPr>
          <p:spPr bwMode="auto">
            <a:xfrm>
              <a:off x="3087688" y="3465513"/>
              <a:ext cx="1485900" cy="1157288"/>
            </a:xfrm>
            <a:custGeom>
              <a:avLst/>
              <a:gdLst>
                <a:gd name="T0" fmla="*/ 3 w 450"/>
                <a:gd name="T1" fmla="*/ 8 h 351"/>
                <a:gd name="T2" fmla="*/ 4 w 450"/>
                <a:gd name="T3" fmla="*/ 8 h 351"/>
                <a:gd name="T4" fmla="*/ 171 w 450"/>
                <a:gd name="T5" fmla="*/ 87 h 351"/>
                <a:gd name="T6" fmla="*/ 442 w 450"/>
                <a:gd name="T7" fmla="*/ 349 h 351"/>
                <a:gd name="T8" fmla="*/ 448 w 450"/>
                <a:gd name="T9" fmla="*/ 350 h 351"/>
                <a:gd name="T10" fmla="*/ 449 w 450"/>
                <a:gd name="T11" fmla="*/ 345 h 351"/>
                <a:gd name="T12" fmla="*/ 166 w 450"/>
                <a:gd name="T13" fmla="*/ 75 h 351"/>
                <a:gd name="T14" fmla="*/ 6 w 450"/>
                <a:gd name="T15" fmla="*/ 0 h 351"/>
                <a:gd name="T16" fmla="*/ 1 w 450"/>
                <a:gd name="T17" fmla="*/ 3 h 351"/>
                <a:gd name="T18" fmla="*/ 3 w 450"/>
                <a:gd name="T19" fmla="*/ 8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0" h="351">
                  <a:moveTo>
                    <a:pt x="3" y="8"/>
                  </a:moveTo>
                  <a:cubicBezTo>
                    <a:pt x="3" y="8"/>
                    <a:pt x="4" y="8"/>
                    <a:pt x="4" y="8"/>
                  </a:cubicBezTo>
                  <a:cubicBezTo>
                    <a:pt x="12" y="11"/>
                    <a:pt x="83" y="33"/>
                    <a:pt x="171" y="87"/>
                  </a:cubicBezTo>
                  <a:cubicBezTo>
                    <a:pt x="258" y="140"/>
                    <a:pt x="364" y="224"/>
                    <a:pt x="442" y="349"/>
                  </a:cubicBezTo>
                  <a:cubicBezTo>
                    <a:pt x="443" y="351"/>
                    <a:pt x="446" y="351"/>
                    <a:pt x="448" y="350"/>
                  </a:cubicBezTo>
                  <a:cubicBezTo>
                    <a:pt x="450" y="349"/>
                    <a:pt x="450" y="347"/>
                    <a:pt x="449" y="345"/>
                  </a:cubicBezTo>
                  <a:cubicBezTo>
                    <a:pt x="367" y="214"/>
                    <a:pt x="256" y="128"/>
                    <a:pt x="166" y="75"/>
                  </a:cubicBezTo>
                  <a:cubicBezTo>
                    <a:pt x="76" y="21"/>
                    <a:pt x="6" y="0"/>
                    <a:pt x="6" y="0"/>
                  </a:cubicBezTo>
                  <a:cubicBezTo>
                    <a:pt x="4" y="0"/>
                    <a:pt x="1" y="1"/>
                    <a:pt x="1" y="3"/>
                  </a:cubicBezTo>
                  <a:cubicBezTo>
                    <a:pt x="0" y="5"/>
                    <a:pt x="1" y="7"/>
                    <a:pt x="3" y="8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şļîďe">
              <a:extLst>
                <a:ext uri="{FF2B5EF4-FFF2-40B4-BE49-F238E27FC236}">
                  <a16:creationId xmlns:a16="http://schemas.microsoft.com/office/drawing/2014/main" id="{72A6EE6A-3953-42F6-B622-77159EDED2B8}"/>
                </a:ext>
              </a:extLst>
            </p:cNvPr>
            <p:cNvSpPr/>
            <p:nvPr/>
          </p:nvSpPr>
          <p:spPr bwMode="auto">
            <a:xfrm>
              <a:off x="3084513" y="3413125"/>
              <a:ext cx="311150" cy="260350"/>
            </a:xfrm>
            <a:custGeom>
              <a:avLst/>
              <a:gdLst>
                <a:gd name="T0" fmla="*/ 5 w 94"/>
                <a:gd name="T1" fmla="*/ 78 h 79"/>
                <a:gd name="T2" fmla="*/ 91 w 94"/>
                <a:gd name="T3" fmla="*/ 58 h 79"/>
                <a:gd name="T4" fmla="*/ 94 w 94"/>
                <a:gd name="T5" fmla="*/ 56 h 79"/>
                <a:gd name="T6" fmla="*/ 94 w 94"/>
                <a:gd name="T7" fmla="*/ 53 h 79"/>
                <a:gd name="T8" fmla="*/ 81 w 94"/>
                <a:gd name="T9" fmla="*/ 4 h 79"/>
                <a:gd name="T10" fmla="*/ 76 w 94"/>
                <a:gd name="T11" fmla="*/ 1 h 79"/>
                <a:gd name="T12" fmla="*/ 74 w 94"/>
                <a:gd name="T13" fmla="*/ 5 h 79"/>
                <a:gd name="T14" fmla="*/ 85 w 94"/>
                <a:gd name="T15" fmla="*/ 51 h 79"/>
                <a:gd name="T16" fmla="*/ 4 w 94"/>
                <a:gd name="T17" fmla="*/ 70 h 79"/>
                <a:gd name="T18" fmla="*/ 1 w 94"/>
                <a:gd name="T19" fmla="*/ 75 h 79"/>
                <a:gd name="T20" fmla="*/ 5 w 94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79">
                  <a:moveTo>
                    <a:pt x="5" y="7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2" y="58"/>
                    <a:pt x="93" y="57"/>
                    <a:pt x="94" y="56"/>
                  </a:cubicBezTo>
                  <a:cubicBezTo>
                    <a:pt x="94" y="55"/>
                    <a:pt x="94" y="54"/>
                    <a:pt x="94" y="53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1" y="1"/>
                    <a:pt x="79" y="0"/>
                    <a:pt x="76" y="1"/>
                  </a:cubicBezTo>
                  <a:cubicBezTo>
                    <a:pt x="74" y="1"/>
                    <a:pt x="73" y="3"/>
                    <a:pt x="74" y="5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2" y="71"/>
                    <a:pt x="0" y="73"/>
                    <a:pt x="1" y="75"/>
                  </a:cubicBezTo>
                  <a:cubicBezTo>
                    <a:pt x="1" y="77"/>
                    <a:pt x="3" y="79"/>
                    <a:pt x="5" y="78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ṣļîďê">
              <a:extLst>
                <a:ext uri="{FF2B5EF4-FFF2-40B4-BE49-F238E27FC236}">
                  <a16:creationId xmlns:a16="http://schemas.microsoft.com/office/drawing/2014/main" id="{04E7338D-B364-49E3-8394-16AE95DE788C}"/>
                </a:ext>
              </a:extLst>
            </p:cNvPr>
            <p:cNvSpPr/>
            <p:nvPr/>
          </p:nvSpPr>
          <p:spPr bwMode="auto">
            <a:xfrm>
              <a:off x="3276601" y="3448050"/>
              <a:ext cx="312738" cy="363538"/>
            </a:xfrm>
            <a:custGeom>
              <a:avLst/>
              <a:gdLst>
                <a:gd name="T0" fmla="*/ 6 w 95"/>
                <a:gd name="T1" fmla="*/ 110 h 110"/>
                <a:gd name="T2" fmla="*/ 92 w 95"/>
                <a:gd name="T3" fmla="*/ 78 h 110"/>
                <a:gd name="T4" fmla="*/ 95 w 95"/>
                <a:gd name="T5" fmla="*/ 73 h 110"/>
                <a:gd name="T6" fmla="*/ 82 w 95"/>
                <a:gd name="T7" fmla="*/ 3 h 110"/>
                <a:gd name="T8" fmla="*/ 77 w 95"/>
                <a:gd name="T9" fmla="*/ 0 h 110"/>
                <a:gd name="T10" fmla="*/ 74 w 95"/>
                <a:gd name="T11" fmla="*/ 5 h 110"/>
                <a:gd name="T12" fmla="*/ 86 w 95"/>
                <a:gd name="T13" fmla="*/ 71 h 110"/>
                <a:gd name="T14" fmla="*/ 4 w 95"/>
                <a:gd name="T15" fmla="*/ 102 h 110"/>
                <a:gd name="T16" fmla="*/ 1 w 95"/>
                <a:gd name="T17" fmla="*/ 107 h 110"/>
                <a:gd name="T18" fmla="*/ 6 w 95"/>
                <a:gd name="T19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110">
                  <a:moveTo>
                    <a:pt x="6" y="110"/>
                  </a:moveTo>
                  <a:cubicBezTo>
                    <a:pt x="92" y="78"/>
                    <a:pt x="92" y="78"/>
                    <a:pt x="92" y="78"/>
                  </a:cubicBezTo>
                  <a:cubicBezTo>
                    <a:pt x="94" y="77"/>
                    <a:pt x="95" y="75"/>
                    <a:pt x="95" y="73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1"/>
                    <a:pt x="79" y="0"/>
                    <a:pt x="77" y="0"/>
                  </a:cubicBezTo>
                  <a:cubicBezTo>
                    <a:pt x="75" y="0"/>
                    <a:pt x="74" y="2"/>
                    <a:pt x="74" y="5"/>
                  </a:cubicBezTo>
                  <a:cubicBezTo>
                    <a:pt x="86" y="71"/>
                    <a:pt x="86" y="71"/>
                    <a:pt x="86" y="71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1" y="103"/>
                    <a:pt x="0" y="105"/>
                    <a:pt x="1" y="107"/>
                  </a:cubicBezTo>
                  <a:cubicBezTo>
                    <a:pt x="2" y="109"/>
                    <a:pt x="4" y="110"/>
                    <a:pt x="6" y="110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ṩ1íḑé">
              <a:extLst>
                <a:ext uri="{FF2B5EF4-FFF2-40B4-BE49-F238E27FC236}">
                  <a16:creationId xmlns:a16="http://schemas.microsoft.com/office/drawing/2014/main" id="{F1A0404E-B7CE-4A05-A7AC-D5588D570153}"/>
                </a:ext>
              </a:extLst>
            </p:cNvPr>
            <p:cNvSpPr/>
            <p:nvPr/>
          </p:nvSpPr>
          <p:spPr bwMode="auto">
            <a:xfrm>
              <a:off x="3384551" y="3468688"/>
              <a:ext cx="439738" cy="527050"/>
            </a:xfrm>
            <a:custGeom>
              <a:avLst/>
              <a:gdLst>
                <a:gd name="T0" fmla="*/ 6 w 133"/>
                <a:gd name="T1" fmla="*/ 159 h 160"/>
                <a:gd name="T2" fmla="*/ 130 w 133"/>
                <a:gd name="T3" fmla="*/ 116 h 160"/>
                <a:gd name="T4" fmla="*/ 133 w 133"/>
                <a:gd name="T5" fmla="*/ 112 h 160"/>
                <a:gd name="T6" fmla="*/ 125 w 133"/>
                <a:gd name="T7" fmla="*/ 4 h 160"/>
                <a:gd name="T8" fmla="*/ 120 w 133"/>
                <a:gd name="T9" fmla="*/ 0 h 160"/>
                <a:gd name="T10" fmla="*/ 117 w 133"/>
                <a:gd name="T11" fmla="*/ 5 h 160"/>
                <a:gd name="T12" fmla="*/ 125 w 133"/>
                <a:gd name="T13" fmla="*/ 110 h 160"/>
                <a:gd name="T14" fmla="*/ 3 w 133"/>
                <a:gd name="T15" fmla="*/ 151 h 160"/>
                <a:gd name="T16" fmla="*/ 1 w 133"/>
                <a:gd name="T17" fmla="*/ 156 h 160"/>
                <a:gd name="T18" fmla="*/ 6 w 133"/>
                <a:gd name="T19" fmla="*/ 15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60">
                  <a:moveTo>
                    <a:pt x="6" y="159"/>
                  </a:moveTo>
                  <a:cubicBezTo>
                    <a:pt x="130" y="116"/>
                    <a:pt x="130" y="116"/>
                    <a:pt x="130" y="116"/>
                  </a:cubicBezTo>
                  <a:cubicBezTo>
                    <a:pt x="132" y="116"/>
                    <a:pt x="133" y="114"/>
                    <a:pt x="133" y="112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4" y="2"/>
                    <a:pt x="123" y="0"/>
                    <a:pt x="120" y="0"/>
                  </a:cubicBezTo>
                  <a:cubicBezTo>
                    <a:pt x="118" y="1"/>
                    <a:pt x="117" y="2"/>
                    <a:pt x="117" y="5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3" y="151"/>
                    <a:pt x="3" y="151"/>
                    <a:pt x="3" y="151"/>
                  </a:cubicBezTo>
                  <a:cubicBezTo>
                    <a:pt x="1" y="152"/>
                    <a:pt x="0" y="154"/>
                    <a:pt x="1" y="156"/>
                  </a:cubicBezTo>
                  <a:cubicBezTo>
                    <a:pt x="1" y="159"/>
                    <a:pt x="4" y="160"/>
                    <a:pt x="6" y="159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sḻïḓé">
              <a:extLst>
                <a:ext uri="{FF2B5EF4-FFF2-40B4-BE49-F238E27FC236}">
                  <a16:creationId xmlns:a16="http://schemas.microsoft.com/office/drawing/2014/main" id="{B39D7833-9FCF-4953-8D6B-80A128CD1C06}"/>
                </a:ext>
              </a:extLst>
            </p:cNvPr>
            <p:cNvSpPr/>
            <p:nvPr/>
          </p:nvSpPr>
          <p:spPr bwMode="auto">
            <a:xfrm>
              <a:off x="3632201" y="3619500"/>
              <a:ext cx="452438" cy="593725"/>
            </a:xfrm>
            <a:custGeom>
              <a:avLst/>
              <a:gdLst>
                <a:gd name="T0" fmla="*/ 6 w 137"/>
                <a:gd name="T1" fmla="*/ 179 h 180"/>
                <a:gd name="T2" fmla="*/ 134 w 137"/>
                <a:gd name="T3" fmla="*/ 131 h 180"/>
                <a:gd name="T4" fmla="*/ 137 w 137"/>
                <a:gd name="T5" fmla="*/ 127 h 180"/>
                <a:gd name="T6" fmla="*/ 132 w 137"/>
                <a:gd name="T7" fmla="*/ 4 h 180"/>
                <a:gd name="T8" fmla="*/ 128 w 137"/>
                <a:gd name="T9" fmla="*/ 0 h 180"/>
                <a:gd name="T10" fmla="*/ 125 w 137"/>
                <a:gd name="T11" fmla="*/ 5 h 180"/>
                <a:gd name="T12" fmla="*/ 129 w 137"/>
                <a:gd name="T13" fmla="*/ 125 h 180"/>
                <a:gd name="T14" fmla="*/ 3 w 137"/>
                <a:gd name="T15" fmla="*/ 172 h 180"/>
                <a:gd name="T16" fmla="*/ 1 w 137"/>
                <a:gd name="T17" fmla="*/ 177 h 180"/>
                <a:gd name="T18" fmla="*/ 6 w 137"/>
                <a:gd name="T19" fmla="*/ 17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180">
                  <a:moveTo>
                    <a:pt x="6" y="179"/>
                  </a:moveTo>
                  <a:cubicBezTo>
                    <a:pt x="134" y="131"/>
                    <a:pt x="134" y="131"/>
                    <a:pt x="134" y="131"/>
                  </a:cubicBezTo>
                  <a:cubicBezTo>
                    <a:pt x="136" y="131"/>
                    <a:pt x="137" y="129"/>
                    <a:pt x="137" y="127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32" y="2"/>
                    <a:pt x="131" y="0"/>
                    <a:pt x="128" y="0"/>
                  </a:cubicBezTo>
                  <a:cubicBezTo>
                    <a:pt x="126" y="1"/>
                    <a:pt x="124" y="2"/>
                    <a:pt x="125" y="5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3" y="172"/>
                    <a:pt x="3" y="172"/>
                    <a:pt x="3" y="172"/>
                  </a:cubicBezTo>
                  <a:cubicBezTo>
                    <a:pt x="1" y="172"/>
                    <a:pt x="0" y="175"/>
                    <a:pt x="1" y="177"/>
                  </a:cubicBezTo>
                  <a:cubicBezTo>
                    <a:pt x="2" y="179"/>
                    <a:pt x="4" y="180"/>
                    <a:pt x="6" y="179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sḷiḓé">
              <a:extLst>
                <a:ext uri="{FF2B5EF4-FFF2-40B4-BE49-F238E27FC236}">
                  <a16:creationId xmlns:a16="http://schemas.microsoft.com/office/drawing/2014/main" id="{FE8DCE7F-A89C-4E29-8CCC-CA2E23BB155F}"/>
                </a:ext>
              </a:extLst>
            </p:cNvPr>
            <p:cNvSpPr/>
            <p:nvPr/>
          </p:nvSpPr>
          <p:spPr bwMode="auto">
            <a:xfrm>
              <a:off x="3962401" y="3979863"/>
              <a:ext cx="449263" cy="404813"/>
            </a:xfrm>
            <a:custGeom>
              <a:avLst/>
              <a:gdLst>
                <a:gd name="T0" fmla="*/ 5 w 136"/>
                <a:gd name="T1" fmla="*/ 122 h 123"/>
                <a:gd name="T2" fmla="*/ 119 w 136"/>
                <a:gd name="T3" fmla="*/ 110 h 123"/>
                <a:gd name="T4" fmla="*/ 123 w 136"/>
                <a:gd name="T5" fmla="*/ 107 h 123"/>
                <a:gd name="T6" fmla="*/ 135 w 136"/>
                <a:gd name="T7" fmla="*/ 5 h 123"/>
                <a:gd name="T8" fmla="*/ 132 w 136"/>
                <a:gd name="T9" fmla="*/ 1 h 123"/>
                <a:gd name="T10" fmla="*/ 127 w 136"/>
                <a:gd name="T11" fmla="*/ 4 h 123"/>
                <a:gd name="T12" fmla="*/ 115 w 136"/>
                <a:gd name="T13" fmla="*/ 103 h 123"/>
                <a:gd name="T14" fmla="*/ 4 w 136"/>
                <a:gd name="T15" fmla="*/ 114 h 123"/>
                <a:gd name="T16" fmla="*/ 0 w 136"/>
                <a:gd name="T17" fmla="*/ 119 h 123"/>
                <a:gd name="T18" fmla="*/ 5 w 136"/>
                <a:gd name="T19" fmla="*/ 12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123">
                  <a:moveTo>
                    <a:pt x="5" y="122"/>
                  </a:moveTo>
                  <a:cubicBezTo>
                    <a:pt x="119" y="110"/>
                    <a:pt x="119" y="110"/>
                    <a:pt x="119" y="110"/>
                  </a:cubicBezTo>
                  <a:cubicBezTo>
                    <a:pt x="121" y="110"/>
                    <a:pt x="123" y="109"/>
                    <a:pt x="123" y="107"/>
                  </a:cubicBezTo>
                  <a:cubicBezTo>
                    <a:pt x="135" y="5"/>
                    <a:pt x="135" y="5"/>
                    <a:pt x="135" y="5"/>
                  </a:cubicBezTo>
                  <a:cubicBezTo>
                    <a:pt x="136" y="3"/>
                    <a:pt x="134" y="1"/>
                    <a:pt x="132" y="1"/>
                  </a:cubicBezTo>
                  <a:cubicBezTo>
                    <a:pt x="130" y="0"/>
                    <a:pt x="128" y="2"/>
                    <a:pt x="127" y="4"/>
                  </a:cubicBezTo>
                  <a:cubicBezTo>
                    <a:pt x="115" y="103"/>
                    <a:pt x="115" y="103"/>
                    <a:pt x="115" y="103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1" y="115"/>
                    <a:pt x="0" y="117"/>
                    <a:pt x="0" y="119"/>
                  </a:cubicBezTo>
                  <a:cubicBezTo>
                    <a:pt x="0" y="121"/>
                    <a:pt x="2" y="123"/>
                    <a:pt x="5" y="122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şḷidè">
              <a:extLst>
                <a:ext uri="{FF2B5EF4-FFF2-40B4-BE49-F238E27FC236}">
                  <a16:creationId xmlns:a16="http://schemas.microsoft.com/office/drawing/2014/main" id="{9B5F0C9A-3FC5-4604-8185-86B1DEC0FC2D}"/>
                </a:ext>
              </a:extLst>
            </p:cNvPr>
            <p:cNvSpPr/>
            <p:nvPr/>
          </p:nvSpPr>
          <p:spPr bwMode="auto">
            <a:xfrm>
              <a:off x="3830638" y="2201863"/>
              <a:ext cx="1685925" cy="2516188"/>
            </a:xfrm>
            <a:custGeom>
              <a:avLst/>
              <a:gdLst>
                <a:gd name="T0" fmla="*/ 51 w 511"/>
                <a:gd name="T1" fmla="*/ 53 h 763"/>
                <a:gd name="T2" fmla="*/ 207 w 511"/>
                <a:gd name="T3" fmla="*/ 171 h 763"/>
                <a:gd name="T4" fmla="*/ 319 w 511"/>
                <a:gd name="T5" fmla="*/ 303 h 763"/>
                <a:gd name="T6" fmla="*/ 417 w 511"/>
                <a:gd name="T7" fmla="*/ 501 h 763"/>
                <a:gd name="T8" fmla="*/ 450 w 511"/>
                <a:gd name="T9" fmla="*/ 723 h 763"/>
                <a:gd name="T10" fmla="*/ 273 w 511"/>
                <a:gd name="T11" fmla="*/ 763 h 763"/>
                <a:gd name="T12" fmla="*/ 162 w 511"/>
                <a:gd name="T13" fmla="*/ 625 h 763"/>
                <a:gd name="T14" fmla="*/ 130 w 511"/>
                <a:gd name="T15" fmla="*/ 449 h 763"/>
                <a:gd name="T16" fmla="*/ 73 w 511"/>
                <a:gd name="T17" fmla="*/ 325 h 763"/>
                <a:gd name="T18" fmla="*/ 41 w 511"/>
                <a:gd name="T19" fmla="*/ 177 h 763"/>
                <a:gd name="T20" fmla="*/ 51 w 511"/>
                <a:gd name="T21" fmla="*/ 53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763">
                  <a:moveTo>
                    <a:pt x="51" y="53"/>
                  </a:moveTo>
                  <a:cubicBezTo>
                    <a:pt x="133" y="0"/>
                    <a:pt x="163" y="103"/>
                    <a:pt x="207" y="171"/>
                  </a:cubicBezTo>
                  <a:cubicBezTo>
                    <a:pt x="251" y="239"/>
                    <a:pt x="305" y="230"/>
                    <a:pt x="319" y="303"/>
                  </a:cubicBezTo>
                  <a:cubicBezTo>
                    <a:pt x="334" y="377"/>
                    <a:pt x="322" y="433"/>
                    <a:pt x="417" y="501"/>
                  </a:cubicBezTo>
                  <a:cubicBezTo>
                    <a:pt x="511" y="569"/>
                    <a:pt x="450" y="723"/>
                    <a:pt x="450" y="723"/>
                  </a:cubicBezTo>
                  <a:cubicBezTo>
                    <a:pt x="273" y="763"/>
                    <a:pt x="273" y="763"/>
                    <a:pt x="273" y="763"/>
                  </a:cubicBezTo>
                  <a:cubicBezTo>
                    <a:pt x="273" y="763"/>
                    <a:pt x="182" y="695"/>
                    <a:pt x="162" y="625"/>
                  </a:cubicBezTo>
                  <a:cubicBezTo>
                    <a:pt x="142" y="554"/>
                    <a:pt x="163" y="497"/>
                    <a:pt x="130" y="449"/>
                  </a:cubicBezTo>
                  <a:cubicBezTo>
                    <a:pt x="97" y="401"/>
                    <a:pt x="62" y="383"/>
                    <a:pt x="73" y="325"/>
                  </a:cubicBezTo>
                  <a:cubicBezTo>
                    <a:pt x="83" y="266"/>
                    <a:pt x="63" y="221"/>
                    <a:pt x="41" y="177"/>
                  </a:cubicBezTo>
                  <a:cubicBezTo>
                    <a:pt x="18" y="133"/>
                    <a:pt x="0" y="86"/>
                    <a:pt x="51" y="53"/>
                  </a:cubicBezTo>
                </a:path>
              </a:pathLst>
            </a:custGeom>
            <a:solidFill>
              <a:srgbClr val="1CBD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ṡḷïḓe">
              <a:extLst>
                <a:ext uri="{FF2B5EF4-FFF2-40B4-BE49-F238E27FC236}">
                  <a16:creationId xmlns:a16="http://schemas.microsoft.com/office/drawing/2014/main" id="{358E4063-24F1-4E3A-BF41-54E48B59A3EE}"/>
                </a:ext>
              </a:extLst>
            </p:cNvPr>
            <p:cNvSpPr/>
            <p:nvPr/>
          </p:nvSpPr>
          <p:spPr bwMode="auto">
            <a:xfrm>
              <a:off x="4019551" y="2341563"/>
              <a:ext cx="1062038" cy="2346325"/>
            </a:xfrm>
            <a:custGeom>
              <a:avLst/>
              <a:gdLst>
                <a:gd name="T0" fmla="*/ 1 w 322"/>
                <a:gd name="T1" fmla="*/ 7 h 712"/>
                <a:gd name="T2" fmla="*/ 3 w 322"/>
                <a:gd name="T3" fmla="*/ 11 h 712"/>
                <a:gd name="T4" fmla="*/ 314 w 322"/>
                <a:gd name="T5" fmla="*/ 709 h 712"/>
                <a:gd name="T6" fmla="*/ 319 w 322"/>
                <a:gd name="T7" fmla="*/ 711 h 712"/>
                <a:gd name="T8" fmla="*/ 321 w 322"/>
                <a:gd name="T9" fmla="*/ 706 h 712"/>
                <a:gd name="T10" fmla="*/ 8 w 322"/>
                <a:gd name="T11" fmla="*/ 3 h 712"/>
                <a:gd name="T12" fmla="*/ 3 w 322"/>
                <a:gd name="T13" fmla="*/ 1 h 712"/>
                <a:gd name="T14" fmla="*/ 1 w 322"/>
                <a:gd name="T15" fmla="*/ 7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2" h="712">
                  <a:moveTo>
                    <a:pt x="1" y="7"/>
                  </a:moveTo>
                  <a:cubicBezTo>
                    <a:pt x="1" y="7"/>
                    <a:pt x="2" y="8"/>
                    <a:pt x="3" y="11"/>
                  </a:cubicBezTo>
                  <a:cubicBezTo>
                    <a:pt x="27" y="56"/>
                    <a:pt x="221" y="428"/>
                    <a:pt x="314" y="709"/>
                  </a:cubicBezTo>
                  <a:cubicBezTo>
                    <a:pt x="314" y="711"/>
                    <a:pt x="317" y="712"/>
                    <a:pt x="319" y="711"/>
                  </a:cubicBezTo>
                  <a:cubicBezTo>
                    <a:pt x="321" y="711"/>
                    <a:pt x="322" y="709"/>
                    <a:pt x="321" y="706"/>
                  </a:cubicBezTo>
                  <a:cubicBezTo>
                    <a:pt x="222" y="405"/>
                    <a:pt x="8" y="3"/>
                    <a:pt x="8" y="3"/>
                  </a:cubicBezTo>
                  <a:cubicBezTo>
                    <a:pt x="7" y="1"/>
                    <a:pt x="4" y="0"/>
                    <a:pt x="3" y="1"/>
                  </a:cubicBezTo>
                  <a:cubicBezTo>
                    <a:pt x="1" y="2"/>
                    <a:pt x="0" y="5"/>
                    <a:pt x="1" y="7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ṣľîďê">
              <a:extLst>
                <a:ext uri="{FF2B5EF4-FFF2-40B4-BE49-F238E27FC236}">
                  <a16:creationId xmlns:a16="http://schemas.microsoft.com/office/drawing/2014/main" id="{7F9ECDFB-BC9E-407E-B314-F837FBBBEAF3}"/>
                </a:ext>
              </a:extLst>
            </p:cNvPr>
            <p:cNvSpPr/>
            <p:nvPr/>
          </p:nvSpPr>
          <p:spPr bwMode="auto">
            <a:xfrm>
              <a:off x="3873501" y="2416175"/>
              <a:ext cx="452438" cy="350838"/>
            </a:xfrm>
            <a:custGeom>
              <a:avLst/>
              <a:gdLst>
                <a:gd name="T0" fmla="*/ 3 w 137"/>
                <a:gd name="T1" fmla="*/ 58 h 106"/>
                <a:gd name="T2" fmla="*/ 108 w 137"/>
                <a:gd name="T3" fmla="*/ 105 h 106"/>
                <a:gd name="T4" fmla="*/ 111 w 137"/>
                <a:gd name="T5" fmla="*/ 105 h 106"/>
                <a:gd name="T6" fmla="*/ 114 w 137"/>
                <a:gd name="T7" fmla="*/ 103 h 106"/>
                <a:gd name="T8" fmla="*/ 137 w 137"/>
                <a:gd name="T9" fmla="*/ 5 h 106"/>
                <a:gd name="T10" fmla="*/ 134 w 137"/>
                <a:gd name="T11" fmla="*/ 1 h 106"/>
                <a:gd name="T12" fmla="*/ 129 w 137"/>
                <a:gd name="T13" fmla="*/ 4 h 106"/>
                <a:gd name="T14" fmla="*/ 107 w 137"/>
                <a:gd name="T15" fmla="*/ 96 h 106"/>
                <a:gd name="T16" fmla="*/ 7 w 137"/>
                <a:gd name="T17" fmla="*/ 50 h 106"/>
                <a:gd name="T18" fmla="*/ 1 w 137"/>
                <a:gd name="T19" fmla="*/ 52 h 106"/>
                <a:gd name="T20" fmla="*/ 3 w 137"/>
                <a:gd name="T21" fmla="*/ 5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06">
                  <a:moveTo>
                    <a:pt x="3" y="58"/>
                  </a:moveTo>
                  <a:cubicBezTo>
                    <a:pt x="108" y="105"/>
                    <a:pt x="108" y="105"/>
                    <a:pt x="108" y="105"/>
                  </a:cubicBezTo>
                  <a:cubicBezTo>
                    <a:pt x="109" y="106"/>
                    <a:pt x="110" y="106"/>
                    <a:pt x="111" y="105"/>
                  </a:cubicBezTo>
                  <a:cubicBezTo>
                    <a:pt x="113" y="105"/>
                    <a:pt x="113" y="104"/>
                    <a:pt x="114" y="103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37" y="3"/>
                    <a:pt x="136" y="1"/>
                    <a:pt x="134" y="1"/>
                  </a:cubicBezTo>
                  <a:cubicBezTo>
                    <a:pt x="131" y="0"/>
                    <a:pt x="129" y="1"/>
                    <a:pt x="129" y="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5" y="49"/>
                    <a:pt x="2" y="50"/>
                    <a:pt x="1" y="52"/>
                  </a:cubicBezTo>
                  <a:cubicBezTo>
                    <a:pt x="0" y="54"/>
                    <a:pt x="1" y="57"/>
                    <a:pt x="3" y="58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ṥ1îḍê">
              <a:extLst>
                <a:ext uri="{FF2B5EF4-FFF2-40B4-BE49-F238E27FC236}">
                  <a16:creationId xmlns:a16="http://schemas.microsoft.com/office/drawing/2014/main" id="{8CFF15B2-BA45-4E62-8EBC-664F73834C1F}"/>
                </a:ext>
              </a:extLst>
            </p:cNvPr>
            <p:cNvSpPr/>
            <p:nvPr/>
          </p:nvSpPr>
          <p:spPr bwMode="auto">
            <a:xfrm>
              <a:off x="4019551" y="2709863"/>
              <a:ext cx="484188" cy="366713"/>
            </a:xfrm>
            <a:custGeom>
              <a:avLst/>
              <a:gdLst>
                <a:gd name="T0" fmla="*/ 3 w 147"/>
                <a:gd name="T1" fmla="*/ 71 h 111"/>
                <a:gd name="T2" fmla="*/ 110 w 147"/>
                <a:gd name="T3" fmla="*/ 110 h 111"/>
                <a:gd name="T4" fmla="*/ 114 w 147"/>
                <a:gd name="T5" fmla="*/ 110 h 111"/>
                <a:gd name="T6" fmla="*/ 116 w 147"/>
                <a:gd name="T7" fmla="*/ 108 h 111"/>
                <a:gd name="T8" fmla="*/ 146 w 147"/>
                <a:gd name="T9" fmla="*/ 6 h 111"/>
                <a:gd name="T10" fmla="*/ 144 w 147"/>
                <a:gd name="T11" fmla="*/ 1 h 111"/>
                <a:gd name="T12" fmla="*/ 139 w 147"/>
                <a:gd name="T13" fmla="*/ 3 h 111"/>
                <a:gd name="T14" fmla="*/ 109 w 147"/>
                <a:gd name="T15" fmla="*/ 101 h 111"/>
                <a:gd name="T16" fmla="*/ 6 w 147"/>
                <a:gd name="T17" fmla="*/ 64 h 111"/>
                <a:gd name="T18" fmla="*/ 1 w 147"/>
                <a:gd name="T19" fmla="*/ 66 h 111"/>
                <a:gd name="T20" fmla="*/ 3 w 147"/>
                <a:gd name="T21" fmla="*/ 7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11">
                  <a:moveTo>
                    <a:pt x="3" y="71"/>
                  </a:moveTo>
                  <a:cubicBezTo>
                    <a:pt x="110" y="110"/>
                    <a:pt x="110" y="110"/>
                    <a:pt x="110" y="110"/>
                  </a:cubicBezTo>
                  <a:cubicBezTo>
                    <a:pt x="111" y="111"/>
                    <a:pt x="113" y="111"/>
                    <a:pt x="114" y="110"/>
                  </a:cubicBezTo>
                  <a:cubicBezTo>
                    <a:pt x="114" y="110"/>
                    <a:pt x="115" y="109"/>
                    <a:pt x="116" y="108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7" y="3"/>
                    <a:pt x="146" y="1"/>
                    <a:pt x="144" y="1"/>
                  </a:cubicBezTo>
                  <a:cubicBezTo>
                    <a:pt x="141" y="0"/>
                    <a:pt x="139" y="1"/>
                    <a:pt x="139" y="3"/>
                  </a:cubicBezTo>
                  <a:cubicBezTo>
                    <a:pt x="109" y="101"/>
                    <a:pt x="109" y="101"/>
                    <a:pt x="109" y="101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3"/>
                    <a:pt x="1" y="64"/>
                    <a:pt x="1" y="66"/>
                  </a:cubicBezTo>
                  <a:cubicBezTo>
                    <a:pt x="0" y="68"/>
                    <a:pt x="1" y="70"/>
                    <a:pt x="3" y="71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ïṧliḋê">
              <a:extLst>
                <a:ext uri="{FF2B5EF4-FFF2-40B4-BE49-F238E27FC236}">
                  <a16:creationId xmlns:a16="http://schemas.microsoft.com/office/drawing/2014/main" id="{83D47866-B0D4-485E-BA6B-F2E6396795F5}"/>
                </a:ext>
              </a:extLst>
            </p:cNvPr>
            <p:cNvSpPr/>
            <p:nvPr/>
          </p:nvSpPr>
          <p:spPr bwMode="auto">
            <a:xfrm>
              <a:off x="4054476" y="2924175"/>
              <a:ext cx="641350" cy="481013"/>
            </a:xfrm>
            <a:custGeom>
              <a:avLst/>
              <a:gdLst>
                <a:gd name="T0" fmla="*/ 3 w 194"/>
                <a:gd name="T1" fmla="*/ 93 h 146"/>
                <a:gd name="T2" fmla="*/ 147 w 194"/>
                <a:gd name="T3" fmla="*/ 146 h 146"/>
                <a:gd name="T4" fmla="*/ 150 w 194"/>
                <a:gd name="T5" fmla="*/ 146 h 146"/>
                <a:gd name="T6" fmla="*/ 152 w 194"/>
                <a:gd name="T7" fmla="*/ 143 h 146"/>
                <a:gd name="T8" fmla="*/ 193 w 194"/>
                <a:gd name="T9" fmla="*/ 5 h 146"/>
                <a:gd name="T10" fmla="*/ 191 w 194"/>
                <a:gd name="T11" fmla="*/ 0 h 146"/>
                <a:gd name="T12" fmla="*/ 186 w 194"/>
                <a:gd name="T13" fmla="*/ 3 h 146"/>
                <a:gd name="T14" fmla="*/ 145 w 194"/>
                <a:gd name="T15" fmla="*/ 137 h 146"/>
                <a:gd name="T16" fmla="*/ 5 w 194"/>
                <a:gd name="T17" fmla="*/ 86 h 146"/>
                <a:gd name="T18" fmla="*/ 0 w 194"/>
                <a:gd name="T19" fmla="*/ 88 h 146"/>
                <a:gd name="T20" fmla="*/ 3 w 194"/>
                <a:gd name="T21" fmla="*/ 9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4" h="146">
                  <a:moveTo>
                    <a:pt x="3" y="93"/>
                  </a:moveTo>
                  <a:cubicBezTo>
                    <a:pt x="147" y="146"/>
                    <a:pt x="147" y="146"/>
                    <a:pt x="147" y="146"/>
                  </a:cubicBezTo>
                  <a:cubicBezTo>
                    <a:pt x="148" y="146"/>
                    <a:pt x="149" y="146"/>
                    <a:pt x="150" y="146"/>
                  </a:cubicBezTo>
                  <a:cubicBezTo>
                    <a:pt x="151" y="145"/>
                    <a:pt x="152" y="144"/>
                    <a:pt x="152" y="143"/>
                  </a:cubicBezTo>
                  <a:cubicBezTo>
                    <a:pt x="193" y="5"/>
                    <a:pt x="193" y="5"/>
                    <a:pt x="193" y="5"/>
                  </a:cubicBezTo>
                  <a:cubicBezTo>
                    <a:pt x="194" y="3"/>
                    <a:pt x="193" y="1"/>
                    <a:pt x="191" y="0"/>
                  </a:cubicBezTo>
                  <a:cubicBezTo>
                    <a:pt x="189" y="0"/>
                    <a:pt x="186" y="1"/>
                    <a:pt x="186" y="3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3" y="85"/>
                    <a:pt x="1" y="86"/>
                    <a:pt x="0" y="88"/>
                  </a:cubicBezTo>
                  <a:cubicBezTo>
                    <a:pt x="0" y="90"/>
                    <a:pt x="1" y="92"/>
                    <a:pt x="3" y="93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ṧḻïḋê">
              <a:extLst>
                <a:ext uri="{FF2B5EF4-FFF2-40B4-BE49-F238E27FC236}">
                  <a16:creationId xmlns:a16="http://schemas.microsoft.com/office/drawing/2014/main" id="{D1FA879E-91EB-4FF3-A8B8-C9B7765B8A8B}"/>
                </a:ext>
              </a:extLst>
            </p:cNvPr>
            <p:cNvSpPr/>
            <p:nvPr/>
          </p:nvSpPr>
          <p:spPr bwMode="auto">
            <a:xfrm>
              <a:off x="4200526" y="3284538"/>
              <a:ext cx="715963" cy="454025"/>
            </a:xfrm>
            <a:custGeom>
              <a:avLst/>
              <a:gdLst>
                <a:gd name="T0" fmla="*/ 4 w 217"/>
                <a:gd name="T1" fmla="*/ 106 h 138"/>
                <a:gd name="T2" fmla="*/ 149 w 217"/>
                <a:gd name="T3" fmla="*/ 138 h 138"/>
                <a:gd name="T4" fmla="*/ 153 w 217"/>
                <a:gd name="T5" fmla="*/ 136 h 138"/>
                <a:gd name="T6" fmla="*/ 216 w 217"/>
                <a:gd name="T7" fmla="*/ 6 h 138"/>
                <a:gd name="T8" fmla="*/ 214 w 217"/>
                <a:gd name="T9" fmla="*/ 1 h 138"/>
                <a:gd name="T10" fmla="*/ 209 w 217"/>
                <a:gd name="T11" fmla="*/ 3 h 138"/>
                <a:gd name="T12" fmla="*/ 147 w 217"/>
                <a:gd name="T13" fmla="*/ 129 h 138"/>
                <a:gd name="T14" fmla="*/ 5 w 217"/>
                <a:gd name="T15" fmla="*/ 99 h 138"/>
                <a:gd name="T16" fmla="*/ 0 w 217"/>
                <a:gd name="T17" fmla="*/ 102 h 138"/>
                <a:gd name="T18" fmla="*/ 4 w 217"/>
                <a:gd name="T19" fmla="*/ 10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7" h="138">
                  <a:moveTo>
                    <a:pt x="4" y="106"/>
                  </a:moveTo>
                  <a:cubicBezTo>
                    <a:pt x="149" y="138"/>
                    <a:pt x="149" y="138"/>
                    <a:pt x="149" y="138"/>
                  </a:cubicBezTo>
                  <a:cubicBezTo>
                    <a:pt x="150" y="138"/>
                    <a:pt x="152" y="137"/>
                    <a:pt x="153" y="13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217" y="4"/>
                    <a:pt x="216" y="2"/>
                    <a:pt x="214" y="1"/>
                  </a:cubicBezTo>
                  <a:cubicBezTo>
                    <a:pt x="212" y="0"/>
                    <a:pt x="210" y="1"/>
                    <a:pt x="209" y="3"/>
                  </a:cubicBezTo>
                  <a:cubicBezTo>
                    <a:pt x="147" y="129"/>
                    <a:pt x="147" y="129"/>
                    <a:pt x="147" y="129"/>
                  </a:cubicBezTo>
                  <a:cubicBezTo>
                    <a:pt x="5" y="99"/>
                    <a:pt x="5" y="99"/>
                    <a:pt x="5" y="99"/>
                  </a:cubicBezTo>
                  <a:cubicBezTo>
                    <a:pt x="3" y="98"/>
                    <a:pt x="1" y="99"/>
                    <a:pt x="0" y="102"/>
                  </a:cubicBezTo>
                  <a:cubicBezTo>
                    <a:pt x="0" y="104"/>
                    <a:pt x="1" y="106"/>
                    <a:pt x="4" y="106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şlïḍe">
              <a:extLst>
                <a:ext uri="{FF2B5EF4-FFF2-40B4-BE49-F238E27FC236}">
                  <a16:creationId xmlns:a16="http://schemas.microsoft.com/office/drawing/2014/main" id="{902A6087-0410-4218-A582-D3220145E580}"/>
                </a:ext>
              </a:extLst>
            </p:cNvPr>
            <p:cNvSpPr/>
            <p:nvPr/>
          </p:nvSpPr>
          <p:spPr bwMode="auto">
            <a:xfrm>
              <a:off x="4316413" y="3741738"/>
              <a:ext cx="731838" cy="379413"/>
            </a:xfrm>
            <a:custGeom>
              <a:avLst/>
              <a:gdLst>
                <a:gd name="T0" fmla="*/ 3 w 222"/>
                <a:gd name="T1" fmla="*/ 73 h 115"/>
                <a:gd name="T2" fmla="*/ 163 w 222"/>
                <a:gd name="T3" fmla="*/ 115 h 115"/>
                <a:gd name="T4" fmla="*/ 167 w 222"/>
                <a:gd name="T5" fmla="*/ 113 h 115"/>
                <a:gd name="T6" fmla="*/ 221 w 222"/>
                <a:gd name="T7" fmla="*/ 7 h 115"/>
                <a:gd name="T8" fmla="*/ 219 w 222"/>
                <a:gd name="T9" fmla="*/ 1 h 115"/>
                <a:gd name="T10" fmla="*/ 213 w 222"/>
                <a:gd name="T11" fmla="*/ 3 h 115"/>
                <a:gd name="T12" fmla="*/ 161 w 222"/>
                <a:gd name="T13" fmla="*/ 106 h 115"/>
                <a:gd name="T14" fmla="*/ 5 w 222"/>
                <a:gd name="T15" fmla="*/ 65 h 115"/>
                <a:gd name="T16" fmla="*/ 1 w 222"/>
                <a:gd name="T17" fmla="*/ 68 h 115"/>
                <a:gd name="T18" fmla="*/ 3 w 222"/>
                <a:gd name="T19" fmla="*/ 7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" h="115">
                  <a:moveTo>
                    <a:pt x="3" y="73"/>
                  </a:moveTo>
                  <a:cubicBezTo>
                    <a:pt x="163" y="115"/>
                    <a:pt x="163" y="115"/>
                    <a:pt x="163" y="115"/>
                  </a:cubicBezTo>
                  <a:cubicBezTo>
                    <a:pt x="164" y="115"/>
                    <a:pt x="166" y="114"/>
                    <a:pt x="167" y="113"/>
                  </a:cubicBezTo>
                  <a:cubicBezTo>
                    <a:pt x="221" y="7"/>
                    <a:pt x="221" y="7"/>
                    <a:pt x="221" y="7"/>
                  </a:cubicBezTo>
                  <a:cubicBezTo>
                    <a:pt x="222" y="5"/>
                    <a:pt x="221" y="2"/>
                    <a:pt x="219" y="1"/>
                  </a:cubicBezTo>
                  <a:cubicBezTo>
                    <a:pt x="217" y="0"/>
                    <a:pt x="214" y="1"/>
                    <a:pt x="213" y="3"/>
                  </a:cubicBezTo>
                  <a:cubicBezTo>
                    <a:pt x="161" y="106"/>
                    <a:pt x="161" y="106"/>
                    <a:pt x="161" y="106"/>
                  </a:cubicBezTo>
                  <a:cubicBezTo>
                    <a:pt x="5" y="65"/>
                    <a:pt x="5" y="65"/>
                    <a:pt x="5" y="65"/>
                  </a:cubicBezTo>
                  <a:cubicBezTo>
                    <a:pt x="3" y="65"/>
                    <a:pt x="1" y="66"/>
                    <a:pt x="1" y="68"/>
                  </a:cubicBezTo>
                  <a:cubicBezTo>
                    <a:pt x="0" y="70"/>
                    <a:pt x="1" y="72"/>
                    <a:pt x="3" y="73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ŝľïḑe">
              <a:extLst>
                <a:ext uri="{FF2B5EF4-FFF2-40B4-BE49-F238E27FC236}">
                  <a16:creationId xmlns:a16="http://schemas.microsoft.com/office/drawing/2014/main" id="{F5554A52-FB2E-4BD5-A6BC-707296B0224B}"/>
                </a:ext>
              </a:extLst>
            </p:cNvPr>
            <p:cNvSpPr/>
            <p:nvPr/>
          </p:nvSpPr>
          <p:spPr bwMode="auto">
            <a:xfrm>
              <a:off x="7453313" y="3319463"/>
              <a:ext cx="1712913" cy="1349375"/>
            </a:xfrm>
            <a:custGeom>
              <a:avLst/>
              <a:gdLst>
                <a:gd name="T0" fmla="*/ 500 w 519"/>
                <a:gd name="T1" fmla="*/ 59 h 409"/>
                <a:gd name="T2" fmla="*/ 369 w 519"/>
                <a:gd name="T3" fmla="*/ 43 h 409"/>
                <a:gd name="T4" fmla="*/ 290 w 519"/>
                <a:gd name="T5" fmla="*/ 47 h 409"/>
                <a:gd name="T6" fmla="*/ 227 w 519"/>
                <a:gd name="T7" fmla="*/ 92 h 409"/>
                <a:gd name="T8" fmla="*/ 128 w 519"/>
                <a:gd name="T9" fmla="*/ 143 h 409"/>
                <a:gd name="T10" fmla="*/ 75 w 519"/>
                <a:gd name="T11" fmla="*/ 237 h 409"/>
                <a:gd name="T12" fmla="*/ 0 w 519"/>
                <a:gd name="T13" fmla="*/ 359 h 409"/>
                <a:gd name="T14" fmla="*/ 81 w 519"/>
                <a:gd name="T15" fmla="*/ 409 h 409"/>
                <a:gd name="T16" fmla="*/ 204 w 519"/>
                <a:gd name="T17" fmla="*/ 380 h 409"/>
                <a:gd name="T18" fmla="*/ 250 w 519"/>
                <a:gd name="T19" fmla="*/ 290 h 409"/>
                <a:gd name="T20" fmla="*/ 372 w 519"/>
                <a:gd name="T21" fmla="*/ 249 h 409"/>
                <a:gd name="T22" fmla="*/ 432 w 519"/>
                <a:gd name="T23" fmla="*/ 147 h 409"/>
                <a:gd name="T24" fmla="*/ 500 w 519"/>
                <a:gd name="T25" fmla="*/ 5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9" h="409">
                  <a:moveTo>
                    <a:pt x="500" y="59"/>
                  </a:moveTo>
                  <a:cubicBezTo>
                    <a:pt x="473" y="0"/>
                    <a:pt x="400" y="45"/>
                    <a:pt x="369" y="43"/>
                  </a:cubicBezTo>
                  <a:cubicBezTo>
                    <a:pt x="339" y="41"/>
                    <a:pt x="309" y="34"/>
                    <a:pt x="290" y="47"/>
                  </a:cubicBezTo>
                  <a:cubicBezTo>
                    <a:pt x="271" y="61"/>
                    <a:pt x="271" y="87"/>
                    <a:pt x="227" y="92"/>
                  </a:cubicBezTo>
                  <a:cubicBezTo>
                    <a:pt x="183" y="97"/>
                    <a:pt x="151" y="103"/>
                    <a:pt x="128" y="143"/>
                  </a:cubicBezTo>
                  <a:cubicBezTo>
                    <a:pt x="105" y="184"/>
                    <a:pt x="105" y="217"/>
                    <a:pt x="75" y="237"/>
                  </a:cubicBezTo>
                  <a:cubicBezTo>
                    <a:pt x="45" y="257"/>
                    <a:pt x="6" y="297"/>
                    <a:pt x="0" y="359"/>
                  </a:cubicBezTo>
                  <a:cubicBezTo>
                    <a:pt x="81" y="409"/>
                    <a:pt x="81" y="409"/>
                    <a:pt x="81" y="409"/>
                  </a:cubicBezTo>
                  <a:cubicBezTo>
                    <a:pt x="81" y="409"/>
                    <a:pt x="169" y="403"/>
                    <a:pt x="204" y="380"/>
                  </a:cubicBezTo>
                  <a:cubicBezTo>
                    <a:pt x="239" y="357"/>
                    <a:pt x="213" y="310"/>
                    <a:pt x="250" y="290"/>
                  </a:cubicBezTo>
                  <a:cubicBezTo>
                    <a:pt x="287" y="270"/>
                    <a:pt x="333" y="273"/>
                    <a:pt x="372" y="249"/>
                  </a:cubicBezTo>
                  <a:cubicBezTo>
                    <a:pt x="411" y="225"/>
                    <a:pt x="400" y="167"/>
                    <a:pt x="432" y="147"/>
                  </a:cubicBezTo>
                  <a:cubicBezTo>
                    <a:pt x="464" y="128"/>
                    <a:pt x="519" y="102"/>
                    <a:pt x="500" y="59"/>
                  </a:cubicBezTo>
                  <a:close/>
                </a:path>
              </a:pathLst>
            </a:custGeom>
            <a:solidFill>
              <a:srgbClr val="178E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ŝ1îḑe">
              <a:extLst>
                <a:ext uri="{FF2B5EF4-FFF2-40B4-BE49-F238E27FC236}">
                  <a16:creationId xmlns:a16="http://schemas.microsoft.com/office/drawing/2014/main" id="{1C993735-04FB-49B8-82C3-D9BD7710A0CC}"/>
                </a:ext>
              </a:extLst>
            </p:cNvPr>
            <p:cNvSpPr/>
            <p:nvPr/>
          </p:nvSpPr>
          <p:spPr bwMode="auto">
            <a:xfrm>
              <a:off x="7612063" y="3465513"/>
              <a:ext cx="1484313" cy="1157288"/>
            </a:xfrm>
            <a:custGeom>
              <a:avLst/>
              <a:gdLst>
                <a:gd name="T0" fmla="*/ 444 w 450"/>
                <a:gd name="T1" fmla="*/ 0 h 351"/>
                <a:gd name="T2" fmla="*/ 284 w 450"/>
                <a:gd name="T3" fmla="*/ 75 h 351"/>
                <a:gd name="T4" fmla="*/ 1 w 450"/>
                <a:gd name="T5" fmla="*/ 345 h 351"/>
                <a:gd name="T6" fmla="*/ 2 w 450"/>
                <a:gd name="T7" fmla="*/ 350 h 351"/>
                <a:gd name="T8" fmla="*/ 8 w 450"/>
                <a:gd name="T9" fmla="*/ 349 h 351"/>
                <a:gd name="T10" fmla="*/ 288 w 450"/>
                <a:gd name="T11" fmla="*/ 82 h 351"/>
                <a:gd name="T12" fmla="*/ 401 w 450"/>
                <a:gd name="T13" fmla="*/ 25 h 351"/>
                <a:gd name="T14" fmla="*/ 435 w 450"/>
                <a:gd name="T15" fmla="*/ 12 h 351"/>
                <a:gd name="T16" fmla="*/ 444 w 450"/>
                <a:gd name="T17" fmla="*/ 9 h 351"/>
                <a:gd name="T18" fmla="*/ 446 w 450"/>
                <a:gd name="T19" fmla="*/ 8 h 351"/>
                <a:gd name="T20" fmla="*/ 447 w 450"/>
                <a:gd name="T21" fmla="*/ 8 h 351"/>
                <a:gd name="T22" fmla="*/ 449 w 450"/>
                <a:gd name="T23" fmla="*/ 3 h 351"/>
                <a:gd name="T24" fmla="*/ 444 w 450"/>
                <a:gd name="T25" fmla="*/ 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0" h="351">
                  <a:moveTo>
                    <a:pt x="444" y="0"/>
                  </a:moveTo>
                  <a:cubicBezTo>
                    <a:pt x="444" y="0"/>
                    <a:pt x="374" y="21"/>
                    <a:pt x="284" y="75"/>
                  </a:cubicBezTo>
                  <a:cubicBezTo>
                    <a:pt x="194" y="128"/>
                    <a:pt x="83" y="214"/>
                    <a:pt x="1" y="345"/>
                  </a:cubicBezTo>
                  <a:cubicBezTo>
                    <a:pt x="0" y="347"/>
                    <a:pt x="0" y="349"/>
                    <a:pt x="2" y="350"/>
                  </a:cubicBezTo>
                  <a:cubicBezTo>
                    <a:pt x="4" y="351"/>
                    <a:pt x="7" y="351"/>
                    <a:pt x="8" y="349"/>
                  </a:cubicBezTo>
                  <a:cubicBezTo>
                    <a:pt x="89" y="220"/>
                    <a:pt x="198" y="135"/>
                    <a:pt x="288" y="82"/>
                  </a:cubicBezTo>
                  <a:cubicBezTo>
                    <a:pt x="333" y="55"/>
                    <a:pt x="372" y="37"/>
                    <a:pt x="401" y="25"/>
                  </a:cubicBezTo>
                  <a:cubicBezTo>
                    <a:pt x="415" y="19"/>
                    <a:pt x="427" y="15"/>
                    <a:pt x="435" y="12"/>
                  </a:cubicBezTo>
                  <a:cubicBezTo>
                    <a:pt x="438" y="10"/>
                    <a:pt x="442" y="9"/>
                    <a:pt x="444" y="9"/>
                  </a:cubicBezTo>
                  <a:cubicBezTo>
                    <a:pt x="445" y="8"/>
                    <a:pt x="445" y="8"/>
                    <a:pt x="446" y="8"/>
                  </a:cubicBezTo>
                  <a:cubicBezTo>
                    <a:pt x="446" y="8"/>
                    <a:pt x="447" y="8"/>
                    <a:pt x="447" y="8"/>
                  </a:cubicBezTo>
                  <a:cubicBezTo>
                    <a:pt x="449" y="7"/>
                    <a:pt x="450" y="5"/>
                    <a:pt x="449" y="3"/>
                  </a:cubicBezTo>
                  <a:cubicBezTo>
                    <a:pt x="449" y="1"/>
                    <a:pt x="446" y="0"/>
                    <a:pt x="444" y="0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šļïdè">
              <a:extLst>
                <a:ext uri="{FF2B5EF4-FFF2-40B4-BE49-F238E27FC236}">
                  <a16:creationId xmlns:a16="http://schemas.microsoft.com/office/drawing/2014/main" id="{BABEA8E7-5244-4443-B845-88199B63AA32}"/>
                </a:ext>
              </a:extLst>
            </p:cNvPr>
            <p:cNvSpPr/>
            <p:nvPr/>
          </p:nvSpPr>
          <p:spPr bwMode="auto">
            <a:xfrm>
              <a:off x="8789988" y="3413125"/>
              <a:ext cx="311150" cy="260350"/>
            </a:xfrm>
            <a:custGeom>
              <a:avLst/>
              <a:gdLst>
                <a:gd name="T0" fmla="*/ 90 w 94"/>
                <a:gd name="T1" fmla="*/ 70 h 79"/>
                <a:gd name="T2" fmla="*/ 9 w 94"/>
                <a:gd name="T3" fmla="*/ 51 h 79"/>
                <a:gd name="T4" fmla="*/ 21 w 94"/>
                <a:gd name="T5" fmla="*/ 5 h 79"/>
                <a:gd name="T6" fmla="*/ 18 w 94"/>
                <a:gd name="T7" fmla="*/ 1 h 79"/>
                <a:gd name="T8" fmla="*/ 13 w 94"/>
                <a:gd name="T9" fmla="*/ 4 h 79"/>
                <a:gd name="T10" fmla="*/ 0 w 94"/>
                <a:gd name="T11" fmla="*/ 53 h 79"/>
                <a:gd name="T12" fmla="*/ 1 w 94"/>
                <a:gd name="T13" fmla="*/ 56 h 79"/>
                <a:gd name="T14" fmla="*/ 3 w 94"/>
                <a:gd name="T15" fmla="*/ 58 h 79"/>
                <a:gd name="T16" fmla="*/ 89 w 94"/>
                <a:gd name="T17" fmla="*/ 78 h 79"/>
                <a:gd name="T18" fmla="*/ 93 w 94"/>
                <a:gd name="T19" fmla="*/ 75 h 79"/>
                <a:gd name="T20" fmla="*/ 90 w 94"/>
                <a:gd name="T21" fmla="*/ 7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79">
                  <a:moveTo>
                    <a:pt x="90" y="70"/>
                  </a:moveTo>
                  <a:cubicBezTo>
                    <a:pt x="9" y="51"/>
                    <a:pt x="9" y="51"/>
                    <a:pt x="9" y="51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3"/>
                    <a:pt x="20" y="1"/>
                    <a:pt x="18" y="1"/>
                  </a:cubicBezTo>
                  <a:cubicBezTo>
                    <a:pt x="16" y="0"/>
                    <a:pt x="13" y="1"/>
                    <a:pt x="13" y="4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4"/>
                    <a:pt x="0" y="55"/>
                    <a:pt x="1" y="56"/>
                  </a:cubicBezTo>
                  <a:cubicBezTo>
                    <a:pt x="1" y="57"/>
                    <a:pt x="2" y="58"/>
                    <a:pt x="3" y="58"/>
                  </a:cubicBezTo>
                  <a:cubicBezTo>
                    <a:pt x="89" y="78"/>
                    <a:pt x="89" y="78"/>
                    <a:pt x="89" y="78"/>
                  </a:cubicBezTo>
                  <a:cubicBezTo>
                    <a:pt x="91" y="79"/>
                    <a:pt x="93" y="77"/>
                    <a:pt x="93" y="75"/>
                  </a:cubicBezTo>
                  <a:cubicBezTo>
                    <a:pt x="94" y="73"/>
                    <a:pt x="93" y="71"/>
                    <a:pt x="90" y="70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ṧ1ïḍê">
              <a:extLst>
                <a:ext uri="{FF2B5EF4-FFF2-40B4-BE49-F238E27FC236}">
                  <a16:creationId xmlns:a16="http://schemas.microsoft.com/office/drawing/2014/main" id="{3D1400AE-92E4-4B24-8165-23F898FB7E5C}"/>
                </a:ext>
              </a:extLst>
            </p:cNvPr>
            <p:cNvSpPr/>
            <p:nvPr/>
          </p:nvSpPr>
          <p:spPr bwMode="auto">
            <a:xfrm>
              <a:off x="8594726" y="3448050"/>
              <a:ext cx="314325" cy="363538"/>
            </a:xfrm>
            <a:custGeom>
              <a:avLst/>
              <a:gdLst>
                <a:gd name="T0" fmla="*/ 92 w 95"/>
                <a:gd name="T1" fmla="*/ 102 h 110"/>
                <a:gd name="T2" fmla="*/ 9 w 95"/>
                <a:gd name="T3" fmla="*/ 71 h 110"/>
                <a:gd name="T4" fmla="*/ 21 w 95"/>
                <a:gd name="T5" fmla="*/ 5 h 110"/>
                <a:gd name="T6" fmla="*/ 18 w 95"/>
                <a:gd name="T7" fmla="*/ 0 h 110"/>
                <a:gd name="T8" fmla="*/ 13 w 95"/>
                <a:gd name="T9" fmla="*/ 3 h 110"/>
                <a:gd name="T10" fmla="*/ 0 w 95"/>
                <a:gd name="T11" fmla="*/ 73 h 110"/>
                <a:gd name="T12" fmla="*/ 3 w 95"/>
                <a:gd name="T13" fmla="*/ 78 h 110"/>
                <a:gd name="T14" fmla="*/ 89 w 95"/>
                <a:gd name="T15" fmla="*/ 110 h 110"/>
                <a:gd name="T16" fmla="*/ 94 w 95"/>
                <a:gd name="T17" fmla="*/ 107 h 110"/>
                <a:gd name="T18" fmla="*/ 92 w 95"/>
                <a:gd name="T19" fmla="*/ 10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110">
                  <a:moveTo>
                    <a:pt x="92" y="102"/>
                  </a:moveTo>
                  <a:cubicBezTo>
                    <a:pt x="9" y="71"/>
                    <a:pt x="9" y="71"/>
                    <a:pt x="9" y="71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2"/>
                    <a:pt x="20" y="0"/>
                    <a:pt x="18" y="0"/>
                  </a:cubicBezTo>
                  <a:cubicBezTo>
                    <a:pt x="16" y="0"/>
                    <a:pt x="13" y="1"/>
                    <a:pt x="13" y="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5"/>
                    <a:pt x="1" y="77"/>
                    <a:pt x="3" y="78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1" y="110"/>
                    <a:pt x="93" y="109"/>
                    <a:pt x="94" y="107"/>
                  </a:cubicBezTo>
                  <a:cubicBezTo>
                    <a:pt x="95" y="105"/>
                    <a:pt x="94" y="103"/>
                    <a:pt x="92" y="102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ṡľíḍe">
              <a:extLst>
                <a:ext uri="{FF2B5EF4-FFF2-40B4-BE49-F238E27FC236}">
                  <a16:creationId xmlns:a16="http://schemas.microsoft.com/office/drawing/2014/main" id="{A4CD9755-411B-4559-9FC3-F3DFF78EBD88}"/>
                </a:ext>
              </a:extLst>
            </p:cNvPr>
            <p:cNvSpPr/>
            <p:nvPr/>
          </p:nvSpPr>
          <p:spPr bwMode="auto">
            <a:xfrm>
              <a:off x="8361363" y="3468688"/>
              <a:ext cx="438150" cy="527050"/>
            </a:xfrm>
            <a:custGeom>
              <a:avLst/>
              <a:gdLst>
                <a:gd name="T0" fmla="*/ 130 w 133"/>
                <a:gd name="T1" fmla="*/ 151 h 160"/>
                <a:gd name="T2" fmla="*/ 8 w 133"/>
                <a:gd name="T3" fmla="*/ 110 h 160"/>
                <a:gd name="T4" fmla="*/ 16 w 133"/>
                <a:gd name="T5" fmla="*/ 5 h 160"/>
                <a:gd name="T6" fmla="*/ 13 w 133"/>
                <a:gd name="T7" fmla="*/ 0 h 160"/>
                <a:gd name="T8" fmla="*/ 8 w 133"/>
                <a:gd name="T9" fmla="*/ 4 h 160"/>
                <a:gd name="T10" fmla="*/ 0 w 133"/>
                <a:gd name="T11" fmla="*/ 112 h 160"/>
                <a:gd name="T12" fmla="*/ 3 w 133"/>
                <a:gd name="T13" fmla="*/ 116 h 160"/>
                <a:gd name="T14" fmla="*/ 127 w 133"/>
                <a:gd name="T15" fmla="*/ 159 h 160"/>
                <a:gd name="T16" fmla="*/ 132 w 133"/>
                <a:gd name="T17" fmla="*/ 156 h 160"/>
                <a:gd name="T18" fmla="*/ 130 w 133"/>
                <a:gd name="T19" fmla="*/ 15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60">
                  <a:moveTo>
                    <a:pt x="130" y="151"/>
                  </a:moveTo>
                  <a:cubicBezTo>
                    <a:pt x="8" y="110"/>
                    <a:pt x="8" y="110"/>
                    <a:pt x="8" y="11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2"/>
                    <a:pt x="15" y="1"/>
                    <a:pt x="13" y="0"/>
                  </a:cubicBezTo>
                  <a:cubicBezTo>
                    <a:pt x="10" y="0"/>
                    <a:pt x="9" y="2"/>
                    <a:pt x="8" y="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4"/>
                    <a:pt x="1" y="116"/>
                    <a:pt x="3" y="116"/>
                  </a:cubicBezTo>
                  <a:cubicBezTo>
                    <a:pt x="127" y="159"/>
                    <a:pt x="127" y="159"/>
                    <a:pt x="127" y="159"/>
                  </a:cubicBezTo>
                  <a:cubicBezTo>
                    <a:pt x="129" y="160"/>
                    <a:pt x="132" y="159"/>
                    <a:pt x="132" y="156"/>
                  </a:cubicBezTo>
                  <a:cubicBezTo>
                    <a:pt x="133" y="154"/>
                    <a:pt x="132" y="152"/>
                    <a:pt x="130" y="151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îṧ1ïḓé">
              <a:extLst>
                <a:ext uri="{FF2B5EF4-FFF2-40B4-BE49-F238E27FC236}">
                  <a16:creationId xmlns:a16="http://schemas.microsoft.com/office/drawing/2014/main" id="{FD663AF7-73CA-4D34-904B-50E26EA8DF2B}"/>
                </a:ext>
              </a:extLst>
            </p:cNvPr>
            <p:cNvSpPr/>
            <p:nvPr/>
          </p:nvSpPr>
          <p:spPr bwMode="auto">
            <a:xfrm>
              <a:off x="8101013" y="3619500"/>
              <a:ext cx="450850" cy="593725"/>
            </a:xfrm>
            <a:custGeom>
              <a:avLst/>
              <a:gdLst>
                <a:gd name="T0" fmla="*/ 134 w 137"/>
                <a:gd name="T1" fmla="*/ 172 h 180"/>
                <a:gd name="T2" fmla="*/ 9 w 137"/>
                <a:gd name="T3" fmla="*/ 125 h 180"/>
                <a:gd name="T4" fmla="*/ 13 w 137"/>
                <a:gd name="T5" fmla="*/ 5 h 180"/>
                <a:gd name="T6" fmla="*/ 9 w 137"/>
                <a:gd name="T7" fmla="*/ 0 h 180"/>
                <a:gd name="T8" fmla="*/ 5 w 137"/>
                <a:gd name="T9" fmla="*/ 4 h 180"/>
                <a:gd name="T10" fmla="*/ 0 w 137"/>
                <a:gd name="T11" fmla="*/ 127 h 180"/>
                <a:gd name="T12" fmla="*/ 3 w 137"/>
                <a:gd name="T13" fmla="*/ 131 h 180"/>
                <a:gd name="T14" fmla="*/ 131 w 137"/>
                <a:gd name="T15" fmla="*/ 179 h 180"/>
                <a:gd name="T16" fmla="*/ 136 w 137"/>
                <a:gd name="T17" fmla="*/ 177 h 180"/>
                <a:gd name="T18" fmla="*/ 134 w 137"/>
                <a:gd name="T19" fmla="*/ 17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180">
                  <a:moveTo>
                    <a:pt x="134" y="172"/>
                  </a:moveTo>
                  <a:cubicBezTo>
                    <a:pt x="9" y="125"/>
                    <a:pt x="9" y="125"/>
                    <a:pt x="9" y="12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2"/>
                    <a:pt x="11" y="1"/>
                    <a:pt x="9" y="0"/>
                  </a:cubicBezTo>
                  <a:cubicBezTo>
                    <a:pt x="6" y="0"/>
                    <a:pt x="5" y="2"/>
                    <a:pt x="5" y="4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29"/>
                    <a:pt x="1" y="131"/>
                    <a:pt x="3" y="131"/>
                  </a:cubicBezTo>
                  <a:cubicBezTo>
                    <a:pt x="131" y="179"/>
                    <a:pt x="131" y="179"/>
                    <a:pt x="131" y="179"/>
                  </a:cubicBezTo>
                  <a:cubicBezTo>
                    <a:pt x="133" y="180"/>
                    <a:pt x="135" y="179"/>
                    <a:pt x="136" y="177"/>
                  </a:cubicBezTo>
                  <a:cubicBezTo>
                    <a:pt x="137" y="175"/>
                    <a:pt x="136" y="172"/>
                    <a:pt x="134" y="172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ísliďé">
              <a:extLst>
                <a:ext uri="{FF2B5EF4-FFF2-40B4-BE49-F238E27FC236}">
                  <a16:creationId xmlns:a16="http://schemas.microsoft.com/office/drawing/2014/main" id="{21783FFC-2632-40FC-8DF6-5936E7ADDEC6}"/>
                </a:ext>
              </a:extLst>
            </p:cNvPr>
            <p:cNvSpPr/>
            <p:nvPr/>
          </p:nvSpPr>
          <p:spPr bwMode="auto">
            <a:xfrm>
              <a:off x="7773988" y="3979863"/>
              <a:ext cx="449263" cy="404813"/>
            </a:xfrm>
            <a:custGeom>
              <a:avLst/>
              <a:gdLst>
                <a:gd name="T0" fmla="*/ 132 w 136"/>
                <a:gd name="T1" fmla="*/ 114 h 123"/>
                <a:gd name="T2" fmla="*/ 21 w 136"/>
                <a:gd name="T3" fmla="*/ 103 h 123"/>
                <a:gd name="T4" fmla="*/ 9 w 136"/>
                <a:gd name="T5" fmla="*/ 4 h 123"/>
                <a:gd name="T6" fmla="*/ 4 w 136"/>
                <a:gd name="T7" fmla="*/ 1 h 123"/>
                <a:gd name="T8" fmla="*/ 1 w 136"/>
                <a:gd name="T9" fmla="*/ 5 h 123"/>
                <a:gd name="T10" fmla="*/ 13 w 136"/>
                <a:gd name="T11" fmla="*/ 107 h 123"/>
                <a:gd name="T12" fmla="*/ 17 w 136"/>
                <a:gd name="T13" fmla="*/ 110 h 123"/>
                <a:gd name="T14" fmla="*/ 132 w 136"/>
                <a:gd name="T15" fmla="*/ 122 h 123"/>
                <a:gd name="T16" fmla="*/ 136 w 136"/>
                <a:gd name="T17" fmla="*/ 119 h 123"/>
                <a:gd name="T18" fmla="*/ 132 w 136"/>
                <a:gd name="T19" fmla="*/ 11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123">
                  <a:moveTo>
                    <a:pt x="132" y="114"/>
                  </a:moveTo>
                  <a:cubicBezTo>
                    <a:pt x="21" y="103"/>
                    <a:pt x="21" y="103"/>
                    <a:pt x="21" y="10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6" y="0"/>
                    <a:pt x="4" y="1"/>
                  </a:cubicBezTo>
                  <a:cubicBezTo>
                    <a:pt x="2" y="1"/>
                    <a:pt x="0" y="3"/>
                    <a:pt x="1" y="5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13" y="109"/>
                    <a:pt x="15" y="110"/>
                    <a:pt x="17" y="110"/>
                  </a:cubicBezTo>
                  <a:cubicBezTo>
                    <a:pt x="132" y="122"/>
                    <a:pt x="132" y="122"/>
                    <a:pt x="132" y="122"/>
                  </a:cubicBezTo>
                  <a:cubicBezTo>
                    <a:pt x="134" y="123"/>
                    <a:pt x="136" y="121"/>
                    <a:pt x="136" y="119"/>
                  </a:cubicBezTo>
                  <a:cubicBezTo>
                    <a:pt x="136" y="117"/>
                    <a:pt x="135" y="115"/>
                    <a:pt x="132" y="114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ŝlïḍè">
              <a:extLst>
                <a:ext uri="{FF2B5EF4-FFF2-40B4-BE49-F238E27FC236}">
                  <a16:creationId xmlns:a16="http://schemas.microsoft.com/office/drawing/2014/main" id="{147AB056-EA85-4A36-9664-D5E5836DB8CE}"/>
                </a:ext>
              </a:extLst>
            </p:cNvPr>
            <p:cNvSpPr/>
            <p:nvPr/>
          </p:nvSpPr>
          <p:spPr bwMode="auto">
            <a:xfrm>
              <a:off x="6669088" y="2201863"/>
              <a:ext cx="1685925" cy="2516188"/>
            </a:xfrm>
            <a:custGeom>
              <a:avLst/>
              <a:gdLst>
                <a:gd name="T0" fmla="*/ 460 w 511"/>
                <a:gd name="T1" fmla="*/ 53 h 763"/>
                <a:gd name="T2" fmla="*/ 304 w 511"/>
                <a:gd name="T3" fmla="*/ 171 h 763"/>
                <a:gd name="T4" fmla="*/ 192 w 511"/>
                <a:gd name="T5" fmla="*/ 303 h 763"/>
                <a:gd name="T6" fmla="*/ 94 w 511"/>
                <a:gd name="T7" fmla="*/ 501 h 763"/>
                <a:gd name="T8" fmla="*/ 61 w 511"/>
                <a:gd name="T9" fmla="*/ 723 h 763"/>
                <a:gd name="T10" fmla="*/ 238 w 511"/>
                <a:gd name="T11" fmla="*/ 763 h 763"/>
                <a:gd name="T12" fmla="*/ 349 w 511"/>
                <a:gd name="T13" fmla="*/ 625 h 763"/>
                <a:gd name="T14" fmla="*/ 381 w 511"/>
                <a:gd name="T15" fmla="*/ 449 h 763"/>
                <a:gd name="T16" fmla="*/ 438 w 511"/>
                <a:gd name="T17" fmla="*/ 325 h 763"/>
                <a:gd name="T18" fmla="*/ 470 w 511"/>
                <a:gd name="T19" fmla="*/ 177 h 763"/>
                <a:gd name="T20" fmla="*/ 460 w 511"/>
                <a:gd name="T21" fmla="*/ 53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763">
                  <a:moveTo>
                    <a:pt x="460" y="53"/>
                  </a:moveTo>
                  <a:cubicBezTo>
                    <a:pt x="378" y="0"/>
                    <a:pt x="348" y="103"/>
                    <a:pt x="304" y="171"/>
                  </a:cubicBezTo>
                  <a:cubicBezTo>
                    <a:pt x="260" y="239"/>
                    <a:pt x="206" y="230"/>
                    <a:pt x="192" y="303"/>
                  </a:cubicBezTo>
                  <a:cubicBezTo>
                    <a:pt x="177" y="377"/>
                    <a:pt x="189" y="433"/>
                    <a:pt x="94" y="501"/>
                  </a:cubicBezTo>
                  <a:cubicBezTo>
                    <a:pt x="0" y="569"/>
                    <a:pt x="61" y="723"/>
                    <a:pt x="61" y="723"/>
                  </a:cubicBezTo>
                  <a:cubicBezTo>
                    <a:pt x="238" y="763"/>
                    <a:pt x="238" y="763"/>
                    <a:pt x="238" y="763"/>
                  </a:cubicBezTo>
                  <a:cubicBezTo>
                    <a:pt x="238" y="763"/>
                    <a:pt x="329" y="695"/>
                    <a:pt x="349" y="625"/>
                  </a:cubicBezTo>
                  <a:cubicBezTo>
                    <a:pt x="369" y="554"/>
                    <a:pt x="348" y="497"/>
                    <a:pt x="381" y="449"/>
                  </a:cubicBezTo>
                  <a:cubicBezTo>
                    <a:pt x="414" y="401"/>
                    <a:pt x="449" y="383"/>
                    <a:pt x="438" y="325"/>
                  </a:cubicBezTo>
                  <a:cubicBezTo>
                    <a:pt x="428" y="266"/>
                    <a:pt x="448" y="221"/>
                    <a:pt x="470" y="177"/>
                  </a:cubicBezTo>
                  <a:cubicBezTo>
                    <a:pt x="493" y="133"/>
                    <a:pt x="511" y="86"/>
                    <a:pt x="460" y="53"/>
                  </a:cubicBezTo>
                </a:path>
              </a:pathLst>
            </a:custGeom>
            <a:solidFill>
              <a:srgbClr val="1CBD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śḻïḓé">
              <a:extLst>
                <a:ext uri="{FF2B5EF4-FFF2-40B4-BE49-F238E27FC236}">
                  <a16:creationId xmlns:a16="http://schemas.microsoft.com/office/drawing/2014/main" id="{FEF473EF-CBA2-4F85-9128-F6F7E3ECABE7}"/>
                </a:ext>
              </a:extLst>
            </p:cNvPr>
            <p:cNvSpPr/>
            <p:nvPr/>
          </p:nvSpPr>
          <p:spPr bwMode="auto">
            <a:xfrm>
              <a:off x="7104063" y="2341563"/>
              <a:ext cx="1062038" cy="2346325"/>
            </a:xfrm>
            <a:custGeom>
              <a:avLst/>
              <a:gdLst>
                <a:gd name="T0" fmla="*/ 314 w 322"/>
                <a:gd name="T1" fmla="*/ 3 h 712"/>
                <a:gd name="T2" fmla="*/ 1 w 322"/>
                <a:gd name="T3" fmla="*/ 706 h 712"/>
                <a:gd name="T4" fmla="*/ 3 w 322"/>
                <a:gd name="T5" fmla="*/ 711 h 712"/>
                <a:gd name="T6" fmla="*/ 8 w 322"/>
                <a:gd name="T7" fmla="*/ 709 h 712"/>
                <a:gd name="T8" fmla="*/ 202 w 322"/>
                <a:gd name="T9" fmla="*/ 245 h 712"/>
                <a:gd name="T10" fmla="*/ 286 w 322"/>
                <a:gd name="T11" fmla="*/ 74 h 712"/>
                <a:gd name="T12" fmla="*/ 312 w 322"/>
                <a:gd name="T13" fmla="*/ 25 h 712"/>
                <a:gd name="T14" fmla="*/ 319 w 322"/>
                <a:gd name="T15" fmla="*/ 11 h 712"/>
                <a:gd name="T16" fmla="*/ 321 w 322"/>
                <a:gd name="T17" fmla="*/ 7 h 712"/>
                <a:gd name="T18" fmla="*/ 320 w 322"/>
                <a:gd name="T19" fmla="*/ 1 h 712"/>
                <a:gd name="T20" fmla="*/ 314 w 322"/>
                <a:gd name="T21" fmla="*/ 3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712">
                  <a:moveTo>
                    <a:pt x="314" y="3"/>
                  </a:moveTo>
                  <a:cubicBezTo>
                    <a:pt x="314" y="3"/>
                    <a:pt x="100" y="405"/>
                    <a:pt x="1" y="706"/>
                  </a:cubicBezTo>
                  <a:cubicBezTo>
                    <a:pt x="0" y="709"/>
                    <a:pt x="1" y="711"/>
                    <a:pt x="3" y="711"/>
                  </a:cubicBezTo>
                  <a:cubicBezTo>
                    <a:pt x="5" y="712"/>
                    <a:pt x="8" y="711"/>
                    <a:pt x="8" y="709"/>
                  </a:cubicBezTo>
                  <a:cubicBezTo>
                    <a:pt x="58" y="559"/>
                    <a:pt x="136" y="383"/>
                    <a:pt x="202" y="245"/>
                  </a:cubicBezTo>
                  <a:cubicBezTo>
                    <a:pt x="235" y="176"/>
                    <a:pt x="265" y="117"/>
                    <a:pt x="286" y="74"/>
                  </a:cubicBezTo>
                  <a:cubicBezTo>
                    <a:pt x="297" y="53"/>
                    <a:pt x="306" y="36"/>
                    <a:pt x="312" y="25"/>
                  </a:cubicBezTo>
                  <a:cubicBezTo>
                    <a:pt x="315" y="19"/>
                    <a:pt x="317" y="14"/>
                    <a:pt x="319" y="11"/>
                  </a:cubicBezTo>
                  <a:cubicBezTo>
                    <a:pt x="320" y="8"/>
                    <a:pt x="321" y="7"/>
                    <a:pt x="321" y="7"/>
                  </a:cubicBezTo>
                  <a:cubicBezTo>
                    <a:pt x="322" y="5"/>
                    <a:pt x="321" y="2"/>
                    <a:pt x="320" y="1"/>
                  </a:cubicBezTo>
                  <a:cubicBezTo>
                    <a:pt x="318" y="0"/>
                    <a:pt x="315" y="1"/>
                    <a:pt x="314" y="3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slíḑe">
              <a:extLst>
                <a:ext uri="{FF2B5EF4-FFF2-40B4-BE49-F238E27FC236}">
                  <a16:creationId xmlns:a16="http://schemas.microsoft.com/office/drawing/2014/main" id="{6A7B3D69-2875-4FA1-A6D5-C0595E66C362}"/>
                </a:ext>
              </a:extLst>
            </p:cNvPr>
            <p:cNvSpPr/>
            <p:nvPr/>
          </p:nvSpPr>
          <p:spPr bwMode="auto">
            <a:xfrm>
              <a:off x="7859713" y="2416175"/>
              <a:ext cx="452438" cy="350838"/>
            </a:xfrm>
            <a:custGeom>
              <a:avLst/>
              <a:gdLst>
                <a:gd name="T0" fmla="*/ 130 w 137"/>
                <a:gd name="T1" fmla="*/ 50 h 106"/>
                <a:gd name="T2" fmla="*/ 30 w 137"/>
                <a:gd name="T3" fmla="*/ 96 h 106"/>
                <a:gd name="T4" fmla="*/ 8 w 137"/>
                <a:gd name="T5" fmla="*/ 4 h 106"/>
                <a:gd name="T6" fmla="*/ 4 w 137"/>
                <a:gd name="T7" fmla="*/ 1 h 106"/>
                <a:gd name="T8" fmla="*/ 1 w 137"/>
                <a:gd name="T9" fmla="*/ 5 h 106"/>
                <a:gd name="T10" fmla="*/ 23 w 137"/>
                <a:gd name="T11" fmla="*/ 103 h 106"/>
                <a:gd name="T12" fmla="*/ 26 w 137"/>
                <a:gd name="T13" fmla="*/ 105 h 106"/>
                <a:gd name="T14" fmla="*/ 29 w 137"/>
                <a:gd name="T15" fmla="*/ 105 h 106"/>
                <a:gd name="T16" fmla="*/ 134 w 137"/>
                <a:gd name="T17" fmla="*/ 58 h 106"/>
                <a:gd name="T18" fmla="*/ 136 w 137"/>
                <a:gd name="T19" fmla="*/ 52 h 106"/>
                <a:gd name="T20" fmla="*/ 130 w 137"/>
                <a:gd name="T21" fmla="*/ 5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06">
                  <a:moveTo>
                    <a:pt x="130" y="50"/>
                  </a:moveTo>
                  <a:cubicBezTo>
                    <a:pt x="30" y="96"/>
                    <a:pt x="30" y="96"/>
                    <a:pt x="30" y="9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"/>
                    <a:pt x="6" y="0"/>
                    <a:pt x="4" y="1"/>
                  </a:cubicBezTo>
                  <a:cubicBezTo>
                    <a:pt x="1" y="1"/>
                    <a:pt x="0" y="3"/>
                    <a:pt x="1" y="5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4" y="104"/>
                    <a:pt x="25" y="105"/>
                    <a:pt x="26" y="105"/>
                  </a:cubicBezTo>
                  <a:cubicBezTo>
                    <a:pt x="27" y="106"/>
                    <a:pt x="28" y="106"/>
                    <a:pt x="29" y="105"/>
                  </a:cubicBezTo>
                  <a:cubicBezTo>
                    <a:pt x="134" y="58"/>
                    <a:pt x="134" y="58"/>
                    <a:pt x="134" y="58"/>
                  </a:cubicBezTo>
                  <a:cubicBezTo>
                    <a:pt x="136" y="57"/>
                    <a:pt x="137" y="54"/>
                    <a:pt x="136" y="52"/>
                  </a:cubicBezTo>
                  <a:cubicBezTo>
                    <a:pt x="135" y="50"/>
                    <a:pt x="132" y="49"/>
                    <a:pt x="130" y="50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îŝlidé">
              <a:extLst>
                <a:ext uri="{FF2B5EF4-FFF2-40B4-BE49-F238E27FC236}">
                  <a16:creationId xmlns:a16="http://schemas.microsoft.com/office/drawing/2014/main" id="{7D9BC645-04C4-40C4-8D69-962D18E315AF}"/>
                </a:ext>
              </a:extLst>
            </p:cNvPr>
            <p:cNvSpPr/>
            <p:nvPr/>
          </p:nvSpPr>
          <p:spPr bwMode="auto">
            <a:xfrm>
              <a:off x="7681913" y="2709863"/>
              <a:ext cx="484188" cy="366713"/>
            </a:xfrm>
            <a:custGeom>
              <a:avLst/>
              <a:gdLst>
                <a:gd name="T0" fmla="*/ 141 w 147"/>
                <a:gd name="T1" fmla="*/ 64 h 111"/>
                <a:gd name="T2" fmla="*/ 38 w 147"/>
                <a:gd name="T3" fmla="*/ 101 h 111"/>
                <a:gd name="T4" fmla="*/ 9 w 147"/>
                <a:gd name="T5" fmla="*/ 3 h 111"/>
                <a:gd name="T6" fmla="*/ 4 w 147"/>
                <a:gd name="T7" fmla="*/ 1 h 111"/>
                <a:gd name="T8" fmla="*/ 1 w 147"/>
                <a:gd name="T9" fmla="*/ 6 h 111"/>
                <a:gd name="T10" fmla="*/ 31 w 147"/>
                <a:gd name="T11" fmla="*/ 108 h 111"/>
                <a:gd name="T12" fmla="*/ 34 w 147"/>
                <a:gd name="T13" fmla="*/ 110 h 111"/>
                <a:gd name="T14" fmla="*/ 37 w 147"/>
                <a:gd name="T15" fmla="*/ 110 h 111"/>
                <a:gd name="T16" fmla="*/ 144 w 147"/>
                <a:gd name="T17" fmla="*/ 71 h 111"/>
                <a:gd name="T18" fmla="*/ 146 w 147"/>
                <a:gd name="T19" fmla="*/ 66 h 111"/>
                <a:gd name="T20" fmla="*/ 141 w 147"/>
                <a:gd name="T21" fmla="*/ 6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11">
                  <a:moveTo>
                    <a:pt x="141" y="64"/>
                  </a:moveTo>
                  <a:cubicBezTo>
                    <a:pt x="38" y="101"/>
                    <a:pt x="38" y="101"/>
                    <a:pt x="38" y="101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1"/>
                    <a:pt x="6" y="0"/>
                    <a:pt x="4" y="1"/>
                  </a:cubicBezTo>
                  <a:cubicBezTo>
                    <a:pt x="1" y="1"/>
                    <a:pt x="0" y="3"/>
                    <a:pt x="1" y="6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2" y="109"/>
                    <a:pt x="33" y="110"/>
                    <a:pt x="34" y="110"/>
                  </a:cubicBezTo>
                  <a:cubicBezTo>
                    <a:pt x="35" y="111"/>
                    <a:pt x="36" y="111"/>
                    <a:pt x="37" y="110"/>
                  </a:cubicBezTo>
                  <a:cubicBezTo>
                    <a:pt x="144" y="71"/>
                    <a:pt x="144" y="71"/>
                    <a:pt x="144" y="71"/>
                  </a:cubicBezTo>
                  <a:cubicBezTo>
                    <a:pt x="146" y="70"/>
                    <a:pt x="147" y="68"/>
                    <a:pt x="146" y="66"/>
                  </a:cubicBezTo>
                  <a:cubicBezTo>
                    <a:pt x="146" y="64"/>
                    <a:pt x="143" y="63"/>
                    <a:pt x="141" y="64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iŝlïḑê">
              <a:extLst>
                <a:ext uri="{FF2B5EF4-FFF2-40B4-BE49-F238E27FC236}">
                  <a16:creationId xmlns:a16="http://schemas.microsoft.com/office/drawing/2014/main" id="{72547F1E-1FF1-4FDE-859E-DBD1C2D3D27E}"/>
                </a:ext>
              </a:extLst>
            </p:cNvPr>
            <p:cNvSpPr/>
            <p:nvPr/>
          </p:nvSpPr>
          <p:spPr bwMode="auto">
            <a:xfrm>
              <a:off x="7489826" y="2924175"/>
              <a:ext cx="642938" cy="481013"/>
            </a:xfrm>
            <a:custGeom>
              <a:avLst/>
              <a:gdLst>
                <a:gd name="T0" fmla="*/ 189 w 195"/>
                <a:gd name="T1" fmla="*/ 86 h 146"/>
                <a:gd name="T2" fmla="*/ 49 w 195"/>
                <a:gd name="T3" fmla="*/ 137 h 146"/>
                <a:gd name="T4" fmla="*/ 8 w 195"/>
                <a:gd name="T5" fmla="*/ 3 h 146"/>
                <a:gd name="T6" fmla="*/ 3 w 195"/>
                <a:gd name="T7" fmla="*/ 0 h 146"/>
                <a:gd name="T8" fmla="*/ 1 w 195"/>
                <a:gd name="T9" fmla="*/ 5 h 146"/>
                <a:gd name="T10" fmla="*/ 42 w 195"/>
                <a:gd name="T11" fmla="*/ 143 h 146"/>
                <a:gd name="T12" fmla="*/ 44 w 195"/>
                <a:gd name="T13" fmla="*/ 146 h 146"/>
                <a:gd name="T14" fmla="*/ 47 w 195"/>
                <a:gd name="T15" fmla="*/ 146 h 146"/>
                <a:gd name="T16" fmla="*/ 191 w 195"/>
                <a:gd name="T17" fmla="*/ 93 h 146"/>
                <a:gd name="T18" fmla="*/ 194 w 195"/>
                <a:gd name="T19" fmla="*/ 88 h 146"/>
                <a:gd name="T20" fmla="*/ 189 w 195"/>
                <a:gd name="T21" fmla="*/ 8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146">
                  <a:moveTo>
                    <a:pt x="189" y="86"/>
                  </a:moveTo>
                  <a:cubicBezTo>
                    <a:pt x="49" y="137"/>
                    <a:pt x="49" y="137"/>
                    <a:pt x="49" y="13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1"/>
                    <a:pt x="5" y="0"/>
                    <a:pt x="3" y="0"/>
                  </a:cubicBezTo>
                  <a:cubicBezTo>
                    <a:pt x="1" y="1"/>
                    <a:pt x="0" y="3"/>
                    <a:pt x="1" y="5"/>
                  </a:cubicBezTo>
                  <a:cubicBezTo>
                    <a:pt x="42" y="143"/>
                    <a:pt x="42" y="143"/>
                    <a:pt x="42" y="143"/>
                  </a:cubicBezTo>
                  <a:cubicBezTo>
                    <a:pt x="42" y="144"/>
                    <a:pt x="43" y="145"/>
                    <a:pt x="44" y="146"/>
                  </a:cubicBezTo>
                  <a:cubicBezTo>
                    <a:pt x="45" y="146"/>
                    <a:pt x="46" y="146"/>
                    <a:pt x="47" y="146"/>
                  </a:cubicBezTo>
                  <a:cubicBezTo>
                    <a:pt x="191" y="93"/>
                    <a:pt x="191" y="93"/>
                    <a:pt x="191" y="93"/>
                  </a:cubicBezTo>
                  <a:cubicBezTo>
                    <a:pt x="193" y="92"/>
                    <a:pt x="195" y="90"/>
                    <a:pt x="194" y="88"/>
                  </a:cubicBezTo>
                  <a:cubicBezTo>
                    <a:pt x="193" y="86"/>
                    <a:pt x="191" y="85"/>
                    <a:pt x="189" y="86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Sḻîdé">
              <a:extLst>
                <a:ext uri="{FF2B5EF4-FFF2-40B4-BE49-F238E27FC236}">
                  <a16:creationId xmlns:a16="http://schemas.microsoft.com/office/drawing/2014/main" id="{B4B27431-7372-473A-9757-5D0F49D94C5E}"/>
                </a:ext>
              </a:extLst>
            </p:cNvPr>
            <p:cNvSpPr/>
            <p:nvPr/>
          </p:nvSpPr>
          <p:spPr bwMode="auto">
            <a:xfrm>
              <a:off x="7269163" y="3284538"/>
              <a:ext cx="715963" cy="454025"/>
            </a:xfrm>
            <a:custGeom>
              <a:avLst/>
              <a:gdLst>
                <a:gd name="T0" fmla="*/ 212 w 217"/>
                <a:gd name="T1" fmla="*/ 99 h 138"/>
                <a:gd name="T2" fmla="*/ 70 w 217"/>
                <a:gd name="T3" fmla="*/ 129 h 138"/>
                <a:gd name="T4" fmla="*/ 8 w 217"/>
                <a:gd name="T5" fmla="*/ 3 h 138"/>
                <a:gd name="T6" fmla="*/ 3 w 217"/>
                <a:gd name="T7" fmla="*/ 1 h 138"/>
                <a:gd name="T8" fmla="*/ 1 w 217"/>
                <a:gd name="T9" fmla="*/ 6 h 138"/>
                <a:gd name="T10" fmla="*/ 64 w 217"/>
                <a:gd name="T11" fmla="*/ 136 h 138"/>
                <a:gd name="T12" fmla="*/ 68 w 217"/>
                <a:gd name="T13" fmla="*/ 138 h 138"/>
                <a:gd name="T14" fmla="*/ 213 w 217"/>
                <a:gd name="T15" fmla="*/ 106 h 138"/>
                <a:gd name="T16" fmla="*/ 217 w 217"/>
                <a:gd name="T17" fmla="*/ 102 h 138"/>
                <a:gd name="T18" fmla="*/ 212 w 217"/>
                <a:gd name="T19" fmla="*/ 9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7" h="138">
                  <a:moveTo>
                    <a:pt x="212" y="99"/>
                  </a:moveTo>
                  <a:cubicBezTo>
                    <a:pt x="70" y="129"/>
                    <a:pt x="70" y="129"/>
                    <a:pt x="70" y="129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1"/>
                    <a:pt x="5" y="0"/>
                    <a:pt x="3" y="1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64" y="136"/>
                    <a:pt x="64" y="136"/>
                    <a:pt x="64" y="136"/>
                  </a:cubicBezTo>
                  <a:cubicBezTo>
                    <a:pt x="65" y="137"/>
                    <a:pt x="67" y="138"/>
                    <a:pt x="68" y="138"/>
                  </a:cubicBezTo>
                  <a:cubicBezTo>
                    <a:pt x="213" y="106"/>
                    <a:pt x="213" y="106"/>
                    <a:pt x="213" y="106"/>
                  </a:cubicBezTo>
                  <a:cubicBezTo>
                    <a:pt x="216" y="106"/>
                    <a:pt x="217" y="104"/>
                    <a:pt x="217" y="102"/>
                  </a:cubicBezTo>
                  <a:cubicBezTo>
                    <a:pt x="216" y="99"/>
                    <a:pt x="214" y="98"/>
                    <a:pt x="212" y="99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ṡḻide">
              <a:extLst>
                <a:ext uri="{FF2B5EF4-FFF2-40B4-BE49-F238E27FC236}">
                  <a16:creationId xmlns:a16="http://schemas.microsoft.com/office/drawing/2014/main" id="{542258B7-4556-4A57-9B1F-D0449B219EB4}"/>
                </a:ext>
              </a:extLst>
            </p:cNvPr>
            <p:cNvSpPr/>
            <p:nvPr/>
          </p:nvSpPr>
          <p:spPr bwMode="auto">
            <a:xfrm>
              <a:off x="7137401" y="3741738"/>
              <a:ext cx="731838" cy="379413"/>
            </a:xfrm>
            <a:custGeom>
              <a:avLst/>
              <a:gdLst>
                <a:gd name="T0" fmla="*/ 217 w 222"/>
                <a:gd name="T1" fmla="*/ 65 h 115"/>
                <a:gd name="T2" fmla="*/ 61 w 222"/>
                <a:gd name="T3" fmla="*/ 106 h 115"/>
                <a:gd name="T4" fmla="*/ 9 w 222"/>
                <a:gd name="T5" fmla="*/ 3 h 115"/>
                <a:gd name="T6" fmla="*/ 3 w 222"/>
                <a:gd name="T7" fmla="*/ 1 h 115"/>
                <a:gd name="T8" fmla="*/ 1 w 222"/>
                <a:gd name="T9" fmla="*/ 7 h 115"/>
                <a:gd name="T10" fmla="*/ 55 w 222"/>
                <a:gd name="T11" fmla="*/ 113 h 115"/>
                <a:gd name="T12" fmla="*/ 60 w 222"/>
                <a:gd name="T13" fmla="*/ 115 h 115"/>
                <a:gd name="T14" fmla="*/ 219 w 222"/>
                <a:gd name="T15" fmla="*/ 73 h 115"/>
                <a:gd name="T16" fmla="*/ 222 w 222"/>
                <a:gd name="T17" fmla="*/ 68 h 115"/>
                <a:gd name="T18" fmla="*/ 217 w 222"/>
                <a:gd name="T19" fmla="*/ 6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" h="115">
                  <a:moveTo>
                    <a:pt x="217" y="65"/>
                  </a:moveTo>
                  <a:cubicBezTo>
                    <a:pt x="61" y="106"/>
                    <a:pt x="61" y="106"/>
                    <a:pt x="61" y="106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1"/>
                    <a:pt x="5" y="0"/>
                    <a:pt x="3" y="1"/>
                  </a:cubicBezTo>
                  <a:cubicBezTo>
                    <a:pt x="1" y="2"/>
                    <a:pt x="0" y="5"/>
                    <a:pt x="1" y="7"/>
                  </a:cubicBezTo>
                  <a:cubicBezTo>
                    <a:pt x="55" y="113"/>
                    <a:pt x="55" y="113"/>
                    <a:pt x="55" y="113"/>
                  </a:cubicBezTo>
                  <a:cubicBezTo>
                    <a:pt x="56" y="114"/>
                    <a:pt x="58" y="115"/>
                    <a:pt x="60" y="115"/>
                  </a:cubicBezTo>
                  <a:cubicBezTo>
                    <a:pt x="219" y="73"/>
                    <a:pt x="219" y="73"/>
                    <a:pt x="219" y="73"/>
                  </a:cubicBezTo>
                  <a:cubicBezTo>
                    <a:pt x="221" y="72"/>
                    <a:pt x="222" y="70"/>
                    <a:pt x="222" y="68"/>
                  </a:cubicBezTo>
                  <a:cubicBezTo>
                    <a:pt x="221" y="66"/>
                    <a:pt x="219" y="65"/>
                    <a:pt x="217" y="65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iŝ1íḓé">
              <a:extLst>
                <a:ext uri="{FF2B5EF4-FFF2-40B4-BE49-F238E27FC236}">
                  <a16:creationId xmlns:a16="http://schemas.microsoft.com/office/drawing/2014/main" id="{5226B3D7-B609-4B2D-BAB6-48C4298574E0}"/>
                </a:ext>
              </a:extLst>
            </p:cNvPr>
            <p:cNvSpPr/>
            <p:nvPr/>
          </p:nvSpPr>
          <p:spPr bwMode="auto">
            <a:xfrm>
              <a:off x="3656013" y="4394200"/>
              <a:ext cx="877888" cy="434975"/>
            </a:xfrm>
            <a:custGeom>
              <a:avLst/>
              <a:gdLst>
                <a:gd name="T0" fmla="*/ 1 w 266"/>
                <a:gd name="T1" fmla="*/ 6 h 132"/>
                <a:gd name="T2" fmla="*/ 67 w 266"/>
                <a:gd name="T3" fmla="*/ 67 h 132"/>
                <a:gd name="T4" fmla="*/ 262 w 266"/>
                <a:gd name="T5" fmla="*/ 132 h 132"/>
                <a:gd name="T6" fmla="*/ 266 w 266"/>
                <a:gd name="T7" fmla="*/ 128 h 132"/>
                <a:gd name="T8" fmla="*/ 262 w 266"/>
                <a:gd name="T9" fmla="*/ 124 h 132"/>
                <a:gd name="T10" fmla="*/ 72 w 266"/>
                <a:gd name="T11" fmla="*/ 61 h 132"/>
                <a:gd name="T12" fmla="*/ 24 w 266"/>
                <a:gd name="T13" fmla="*/ 20 h 132"/>
                <a:gd name="T14" fmla="*/ 12 w 266"/>
                <a:gd name="T15" fmla="*/ 7 h 132"/>
                <a:gd name="T16" fmla="*/ 9 w 266"/>
                <a:gd name="T17" fmla="*/ 3 h 132"/>
                <a:gd name="T18" fmla="*/ 8 w 266"/>
                <a:gd name="T19" fmla="*/ 2 h 132"/>
                <a:gd name="T20" fmla="*/ 8 w 266"/>
                <a:gd name="T21" fmla="*/ 2 h 132"/>
                <a:gd name="T22" fmla="*/ 2 w 266"/>
                <a:gd name="T23" fmla="*/ 1 h 132"/>
                <a:gd name="T24" fmla="*/ 1 w 266"/>
                <a:gd name="T25" fmla="*/ 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6" h="132">
                  <a:moveTo>
                    <a:pt x="1" y="6"/>
                  </a:moveTo>
                  <a:cubicBezTo>
                    <a:pt x="1" y="7"/>
                    <a:pt x="24" y="37"/>
                    <a:pt x="67" y="67"/>
                  </a:cubicBezTo>
                  <a:cubicBezTo>
                    <a:pt x="111" y="98"/>
                    <a:pt x="176" y="129"/>
                    <a:pt x="262" y="132"/>
                  </a:cubicBezTo>
                  <a:cubicBezTo>
                    <a:pt x="264" y="132"/>
                    <a:pt x="266" y="130"/>
                    <a:pt x="266" y="128"/>
                  </a:cubicBezTo>
                  <a:cubicBezTo>
                    <a:pt x="266" y="126"/>
                    <a:pt x="264" y="124"/>
                    <a:pt x="262" y="124"/>
                  </a:cubicBezTo>
                  <a:cubicBezTo>
                    <a:pt x="178" y="121"/>
                    <a:pt x="115" y="91"/>
                    <a:pt x="72" y="61"/>
                  </a:cubicBezTo>
                  <a:cubicBezTo>
                    <a:pt x="51" y="46"/>
                    <a:pt x="34" y="31"/>
                    <a:pt x="24" y="20"/>
                  </a:cubicBezTo>
                  <a:cubicBezTo>
                    <a:pt x="18" y="14"/>
                    <a:pt x="14" y="10"/>
                    <a:pt x="12" y="7"/>
                  </a:cubicBezTo>
                  <a:cubicBezTo>
                    <a:pt x="10" y="5"/>
                    <a:pt x="9" y="4"/>
                    <a:pt x="9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6" y="0"/>
                    <a:pt x="4" y="0"/>
                    <a:pt x="2" y="1"/>
                  </a:cubicBezTo>
                  <a:cubicBezTo>
                    <a:pt x="0" y="2"/>
                    <a:pt x="0" y="5"/>
                    <a:pt x="1" y="6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Sļiḋe">
              <a:extLst>
                <a:ext uri="{FF2B5EF4-FFF2-40B4-BE49-F238E27FC236}">
                  <a16:creationId xmlns:a16="http://schemas.microsoft.com/office/drawing/2014/main" id="{7534AA12-F3F5-49B0-8937-C371B257D8AF}"/>
                </a:ext>
              </a:extLst>
            </p:cNvPr>
            <p:cNvSpPr/>
            <p:nvPr/>
          </p:nvSpPr>
          <p:spPr bwMode="auto">
            <a:xfrm>
              <a:off x="3481388" y="4160838"/>
              <a:ext cx="327025" cy="508000"/>
            </a:xfrm>
            <a:custGeom>
              <a:avLst/>
              <a:gdLst>
                <a:gd name="T0" fmla="*/ 81 w 99"/>
                <a:gd name="T1" fmla="*/ 101 h 154"/>
                <a:gd name="T2" fmla="*/ 72 w 99"/>
                <a:gd name="T3" fmla="*/ 5 h 154"/>
                <a:gd name="T4" fmla="*/ 99 w 99"/>
                <a:gd name="T5" fmla="*/ 117 h 154"/>
                <a:gd name="T6" fmla="*/ 14 w 99"/>
                <a:gd name="T7" fmla="*/ 146 h 154"/>
                <a:gd name="T8" fmla="*/ 81 w 99"/>
                <a:gd name="T9" fmla="*/ 10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54">
                  <a:moveTo>
                    <a:pt x="81" y="101"/>
                  </a:moveTo>
                  <a:cubicBezTo>
                    <a:pt x="81" y="101"/>
                    <a:pt x="63" y="10"/>
                    <a:pt x="72" y="5"/>
                  </a:cubicBezTo>
                  <a:cubicBezTo>
                    <a:pt x="82" y="0"/>
                    <a:pt x="99" y="117"/>
                    <a:pt x="99" y="117"/>
                  </a:cubicBezTo>
                  <a:cubicBezTo>
                    <a:pt x="99" y="117"/>
                    <a:pt x="28" y="154"/>
                    <a:pt x="14" y="146"/>
                  </a:cubicBezTo>
                  <a:cubicBezTo>
                    <a:pt x="0" y="138"/>
                    <a:pt x="81" y="101"/>
                    <a:pt x="81" y="101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ŝḷîḓé">
              <a:extLst>
                <a:ext uri="{FF2B5EF4-FFF2-40B4-BE49-F238E27FC236}">
                  <a16:creationId xmlns:a16="http://schemas.microsoft.com/office/drawing/2014/main" id="{99257ABA-1EB2-4529-AA5A-8334C5CED45E}"/>
                </a:ext>
              </a:extLst>
            </p:cNvPr>
            <p:cNvSpPr/>
            <p:nvPr/>
          </p:nvSpPr>
          <p:spPr bwMode="auto">
            <a:xfrm>
              <a:off x="3665538" y="4344988"/>
              <a:ext cx="330200" cy="438150"/>
            </a:xfrm>
            <a:custGeom>
              <a:avLst/>
              <a:gdLst>
                <a:gd name="T0" fmla="*/ 76 w 100"/>
                <a:gd name="T1" fmla="*/ 86 h 133"/>
                <a:gd name="T2" fmla="*/ 70 w 100"/>
                <a:gd name="T3" fmla="*/ 0 h 133"/>
                <a:gd name="T4" fmla="*/ 100 w 100"/>
                <a:gd name="T5" fmla="*/ 100 h 133"/>
                <a:gd name="T6" fmla="*/ 11 w 100"/>
                <a:gd name="T7" fmla="*/ 128 h 133"/>
                <a:gd name="T8" fmla="*/ 76 w 100"/>
                <a:gd name="T9" fmla="*/ 8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33">
                  <a:moveTo>
                    <a:pt x="76" y="86"/>
                  </a:moveTo>
                  <a:cubicBezTo>
                    <a:pt x="76" y="86"/>
                    <a:pt x="61" y="0"/>
                    <a:pt x="70" y="0"/>
                  </a:cubicBezTo>
                  <a:cubicBezTo>
                    <a:pt x="86" y="0"/>
                    <a:pt x="100" y="100"/>
                    <a:pt x="100" y="100"/>
                  </a:cubicBezTo>
                  <a:cubicBezTo>
                    <a:pt x="100" y="100"/>
                    <a:pt x="21" y="133"/>
                    <a:pt x="11" y="128"/>
                  </a:cubicBezTo>
                  <a:cubicBezTo>
                    <a:pt x="0" y="123"/>
                    <a:pt x="76" y="86"/>
                    <a:pt x="76" y="86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ṩḷïďé">
              <a:extLst>
                <a:ext uri="{FF2B5EF4-FFF2-40B4-BE49-F238E27FC236}">
                  <a16:creationId xmlns:a16="http://schemas.microsoft.com/office/drawing/2014/main" id="{A976578C-E209-4BD1-8F1C-67548A17E492}"/>
                </a:ext>
              </a:extLst>
            </p:cNvPr>
            <p:cNvSpPr/>
            <p:nvPr/>
          </p:nvSpPr>
          <p:spPr bwMode="auto">
            <a:xfrm>
              <a:off x="3870326" y="4443413"/>
              <a:ext cx="317500" cy="433388"/>
            </a:xfrm>
            <a:custGeom>
              <a:avLst/>
              <a:gdLst>
                <a:gd name="T0" fmla="*/ 74 w 96"/>
                <a:gd name="T1" fmla="*/ 87 h 131"/>
                <a:gd name="T2" fmla="*/ 64 w 96"/>
                <a:gd name="T3" fmla="*/ 3 h 131"/>
                <a:gd name="T4" fmla="*/ 96 w 96"/>
                <a:gd name="T5" fmla="*/ 95 h 131"/>
                <a:gd name="T6" fmla="*/ 16 w 96"/>
                <a:gd name="T7" fmla="*/ 124 h 131"/>
                <a:gd name="T8" fmla="*/ 74 w 96"/>
                <a:gd name="T9" fmla="*/ 8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31">
                  <a:moveTo>
                    <a:pt x="74" y="87"/>
                  </a:moveTo>
                  <a:cubicBezTo>
                    <a:pt x="74" y="87"/>
                    <a:pt x="52" y="6"/>
                    <a:pt x="64" y="3"/>
                  </a:cubicBezTo>
                  <a:cubicBezTo>
                    <a:pt x="76" y="0"/>
                    <a:pt x="96" y="95"/>
                    <a:pt x="96" y="95"/>
                  </a:cubicBezTo>
                  <a:cubicBezTo>
                    <a:pt x="96" y="95"/>
                    <a:pt x="31" y="131"/>
                    <a:pt x="16" y="124"/>
                  </a:cubicBezTo>
                  <a:cubicBezTo>
                    <a:pt x="0" y="116"/>
                    <a:pt x="74" y="87"/>
                    <a:pt x="74" y="87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ṩ1îḓe">
              <a:extLst>
                <a:ext uri="{FF2B5EF4-FFF2-40B4-BE49-F238E27FC236}">
                  <a16:creationId xmlns:a16="http://schemas.microsoft.com/office/drawing/2014/main" id="{CD616D59-7DC9-403F-B0E0-5E28D6A95B9A}"/>
                </a:ext>
              </a:extLst>
            </p:cNvPr>
            <p:cNvSpPr/>
            <p:nvPr/>
          </p:nvSpPr>
          <p:spPr bwMode="auto">
            <a:xfrm>
              <a:off x="3384551" y="4144963"/>
              <a:ext cx="314325" cy="331788"/>
            </a:xfrm>
            <a:custGeom>
              <a:avLst/>
              <a:gdLst>
                <a:gd name="T0" fmla="*/ 95 w 95"/>
                <a:gd name="T1" fmla="*/ 87 h 101"/>
                <a:gd name="T2" fmla="*/ 76 w 95"/>
                <a:gd name="T3" fmla="*/ 21 h 101"/>
                <a:gd name="T4" fmla="*/ 36 w 95"/>
                <a:gd name="T5" fmla="*/ 50 h 101"/>
                <a:gd name="T6" fmla="*/ 21 w 95"/>
                <a:gd name="T7" fmla="*/ 86 h 101"/>
                <a:gd name="T8" fmla="*/ 95 w 95"/>
                <a:gd name="T9" fmla="*/ 8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01">
                  <a:moveTo>
                    <a:pt x="95" y="87"/>
                  </a:moveTo>
                  <a:cubicBezTo>
                    <a:pt x="95" y="87"/>
                    <a:pt x="92" y="43"/>
                    <a:pt x="76" y="21"/>
                  </a:cubicBezTo>
                  <a:cubicBezTo>
                    <a:pt x="59" y="0"/>
                    <a:pt x="36" y="24"/>
                    <a:pt x="36" y="50"/>
                  </a:cubicBezTo>
                  <a:cubicBezTo>
                    <a:pt x="36" y="50"/>
                    <a:pt x="0" y="66"/>
                    <a:pt x="21" y="86"/>
                  </a:cubicBezTo>
                  <a:cubicBezTo>
                    <a:pt x="39" y="101"/>
                    <a:pt x="95" y="87"/>
                    <a:pt x="95" y="87"/>
                  </a:cubicBezTo>
                  <a:close/>
                </a:path>
              </a:pathLst>
            </a:custGeom>
            <a:solidFill>
              <a:srgbClr val="FF4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ṣḷiďè">
              <a:extLst>
                <a:ext uri="{FF2B5EF4-FFF2-40B4-BE49-F238E27FC236}">
                  <a16:creationId xmlns:a16="http://schemas.microsoft.com/office/drawing/2014/main" id="{9C40F5DA-F2BC-43C9-8789-187C8E163F24}"/>
                </a:ext>
              </a:extLst>
            </p:cNvPr>
            <p:cNvSpPr/>
            <p:nvPr/>
          </p:nvSpPr>
          <p:spPr bwMode="auto">
            <a:xfrm>
              <a:off x="3384551" y="4144963"/>
              <a:ext cx="261938" cy="295275"/>
            </a:xfrm>
            <a:custGeom>
              <a:avLst/>
              <a:gdLst>
                <a:gd name="T0" fmla="*/ 79 w 79"/>
                <a:gd name="T1" fmla="*/ 26 h 90"/>
                <a:gd name="T2" fmla="*/ 76 w 79"/>
                <a:gd name="T3" fmla="*/ 21 h 90"/>
                <a:gd name="T4" fmla="*/ 36 w 79"/>
                <a:gd name="T5" fmla="*/ 50 h 90"/>
                <a:gd name="T6" fmla="*/ 21 w 79"/>
                <a:gd name="T7" fmla="*/ 86 h 90"/>
                <a:gd name="T8" fmla="*/ 29 w 79"/>
                <a:gd name="T9" fmla="*/ 90 h 90"/>
                <a:gd name="T10" fmla="*/ 57 w 79"/>
                <a:gd name="T11" fmla="*/ 61 h 90"/>
                <a:gd name="T12" fmla="*/ 79 w 79"/>
                <a:gd name="T13" fmla="*/ 2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90">
                  <a:moveTo>
                    <a:pt x="79" y="26"/>
                  </a:moveTo>
                  <a:cubicBezTo>
                    <a:pt x="78" y="24"/>
                    <a:pt x="77" y="22"/>
                    <a:pt x="76" y="21"/>
                  </a:cubicBezTo>
                  <a:cubicBezTo>
                    <a:pt x="59" y="0"/>
                    <a:pt x="36" y="24"/>
                    <a:pt x="36" y="50"/>
                  </a:cubicBezTo>
                  <a:cubicBezTo>
                    <a:pt x="36" y="50"/>
                    <a:pt x="0" y="66"/>
                    <a:pt x="21" y="86"/>
                  </a:cubicBezTo>
                  <a:cubicBezTo>
                    <a:pt x="23" y="87"/>
                    <a:pt x="26" y="89"/>
                    <a:pt x="29" y="90"/>
                  </a:cubicBezTo>
                  <a:cubicBezTo>
                    <a:pt x="30" y="63"/>
                    <a:pt x="57" y="61"/>
                    <a:pt x="57" y="61"/>
                  </a:cubicBezTo>
                  <a:cubicBezTo>
                    <a:pt x="56" y="43"/>
                    <a:pt x="70" y="31"/>
                    <a:pt x="79" y="26"/>
                  </a:cubicBezTo>
                  <a:close/>
                </a:path>
              </a:pathLst>
            </a:custGeom>
            <a:solidFill>
              <a:srgbClr val="FF75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îṥḻîḍè">
              <a:extLst>
                <a:ext uri="{FF2B5EF4-FFF2-40B4-BE49-F238E27FC236}">
                  <a16:creationId xmlns:a16="http://schemas.microsoft.com/office/drawing/2014/main" id="{258E1900-4A84-456C-8F9F-1AD8DE3BB5A0}"/>
                </a:ext>
              </a:extLst>
            </p:cNvPr>
            <p:cNvSpPr/>
            <p:nvPr/>
          </p:nvSpPr>
          <p:spPr bwMode="auto">
            <a:xfrm>
              <a:off x="7513638" y="4506913"/>
              <a:ext cx="896938" cy="388938"/>
            </a:xfrm>
            <a:custGeom>
              <a:avLst/>
              <a:gdLst>
                <a:gd name="T0" fmla="*/ 265 w 272"/>
                <a:gd name="T1" fmla="*/ 2 h 118"/>
                <a:gd name="T2" fmla="*/ 264 w 272"/>
                <a:gd name="T3" fmla="*/ 2 h 118"/>
                <a:gd name="T4" fmla="*/ 195 w 272"/>
                <a:gd name="T5" fmla="*/ 58 h 118"/>
                <a:gd name="T6" fmla="*/ 12 w 272"/>
                <a:gd name="T7" fmla="*/ 110 h 118"/>
                <a:gd name="T8" fmla="*/ 4 w 272"/>
                <a:gd name="T9" fmla="*/ 110 h 118"/>
                <a:gd name="T10" fmla="*/ 0 w 272"/>
                <a:gd name="T11" fmla="*/ 114 h 118"/>
                <a:gd name="T12" fmla="*/ 4 w 272"/>
                <a:gd name="T13" fmla="*/ 118 h 118"/>
                <a:gd name="T14" fmla="*/ 12 w 272"/>
                <a:gd name="T15" fmla="*/ 118 h 118"/>
                <a:gd name="T16" fmla="*/ 204 w 272"/>
                <a:gd name="T17" fmla="*/ 63 h 118"/>
                <a:gd name="T18" fmla="*/ 271 w 272"/>
                <a:gd name="T19" fmla="*/ 7 h 118"/>
                <a:gd name="T20" fmla="*/ 270 w 272"/>
                <a:gd name="T21" fmla="*/ 1 h 118"/>
                <a:gd name="T22" fmla="*/ 265 w 272"/>
                <a:gd name="T23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2" h="118">
                  <a:moveTo>
                    <a:pt x="265" y="2"/>
                  </a:moveTo>
                  <a:cubicBezTo>
                    <a:pt x="264" y="2"/>
                    <a:pt x="264" y="2"/>
                    <a:pt x="264" y="2"/>
                  </a:cubicBezTo>
                  <a:cubicBezTo>
                    <a:pt x="262" y="5"/>
                    <a:pt x="238" y="32"/>
                    <a:pt x="195" y="58"/>
                  </a:cubicBezTo>
                  <a:cubicBezTo>
                    <a:pt x="152" y="85"/>
                    <a:pt x="91" y="110"/>
                    <a:pt x="12" y="110"/>
                  </a:cubicBezTo>
                  <a:cubicBezTo>
                    <a:pt x="10" y="110"/>
                    <a:pt x="7" y="110"/>
                    <a:pt x="4" y="110"/>
                  </a:cubicBezTo>
                  <a:cubicBezTo>
                    <a:pt x="2" y="110"/>
                    <a:pt x="0" y="112"/>
                    <a:pt x="0" y="114"/>
                  </a:cubicBezTo>
                  <a:cubicBezTo>
                    <a:pt x="0" y="116"/>
                    <a:pt x="2" y="118"/>
                    <a:pt x="4" y="118"/>
                  </a:cubicBezTo>
                  <a:cubicBezTo>
                    <a:pt x="7" y="118"/>
                    <a:pt x="10" y="118"/>
                    <a:pt x="12" y="118"/>
                  </a:cubicBezTo>
                  <a:cubicBezTo>
                    <a:pt x="95" y="118"/>
                    <a:pt x="160" y="90"/>
                    <a:pt x="204" y="63"/>
                  </a:cubicBezTo>
                  <a:cubicBezTo>
                    <a:pt x="247" y="35"/>
                    <a:pt x="270" y="7"/>
                    <a:pt x="271" y="7"/>
                  </a:cubicBezTo>
                  <a:cubicBezTo>
                    <a:pt x="272" y="5"/>
                    <a:pt x="272" y="3"/>
                    <a:pt x="270" y="1"/>
                  </a:cubicBezTo>
                  <a:cubicBezTo>
                    <a:pt x="268" y="0"/>
                    <a:pt x="266" y="0"/>
                    <a:pt x="265" y="2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íšḷïḍè">
              <a:extLst>
                <a:ext uri="{FF2B5EF4-FFF2-40B4-BE49-F238E27FC236}">
                  <a16:creationId xmlns:a16="http://schemas.microsoft.com/office/drawing/2014/main" id="{7B35EAB3-9BF3-42B1-8150-D48364D62A36}"/>
                </a:ext>
              </a:extLst>
            </p:cNvPr>
            <p:cNvSpPr/>
            <p:nvPr/>
          </p:nvSpPr>
          <p:spPr bwMode="auto">
            <a:xfrm>
              <a:off x="8248651" y="4268788"/>
              <a:ext cx="323850" cy="517525"/>
            </a:xfrm>
            <a:custGeom>
              <a:avLst/>
              <a:gdLst>
                <a:gd name="T0" fmla="*/ 20 w 98"/>
                <a:gd name="T1" fmla="*/ 101 h 157"/>
                <a:gd name="T2" fmla="*/ 33 w 98"/>
                <a:gd name="T3" fmla="*/ 6 h 157"/>
                <a:gd name="T4" fmla="*/ 0 w 98"/>
                <a:gd name="T5" fmla="*/ 116 h 157"/>
                <a:gd name="T6" fmla="*/ 84 w 98"/>
                <a:gd name="T7" fmla="*/ 149 h 157"/>
                <a:gd name="T8" fmla="*/ 20 w 98"/>
                <a:gd name="T9" fmla="*/ 101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57">
                  <a:moveTo>
                    <a:pt x="20" y="101"/>
                  </a:moveTo>
                  <a:cubicBezTo>
                    <a:pt x="20" y="101"/>
                    <a:pt x="43" y="11"/>
                    <a:pt x="33" y="6"/>
                  </a:cubicBezTo>
                  <a:cubicBezTo>
                    <a:pt x="24" y="0"/>
                    <a:pt x="0" y="116"/>
                    <a:pt x="0" y="116"/>
                  </a:cubicBezTo>
                  <a:cubicBezTo>
                    <a:pt x="0" y="116"/>
                    <a:pt x="70" y="157"/>
                    <a:pt x="84" y="149"/>
                  </a:cubicBezTo>
                  <a:cubicBezTo>
                    <a:pt x="98" y="142"/>
                    <a:pt x="20" y="101"/>
                    <a:pt x="20" y="101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sļiďé">
              <a:extLst>
                <a:ext uri="{FF2B5EF4-FFF2-40B4-BE49-F238E27FC236}">
                  <a16:creationId xmlns:a16="http://schemas.microsoft.com/office/drawing/2014/main" id="{B99DC1E6-5B3A-4E37-9F47-C2A60E59776C}"/>
                </a:ext>
              </a:extLst>
            </p:cNvPr>
            <p:cNvSpPr/>
            <p:nvPr/>
          </p:nvSpPr>
          <p:spPr bwMode="auto">
            <a:xfrm>
              <a:off x="8058151" y="4443413"/>
              <a:ext cx="322263" cy="449263"/>
            </a:xfrm>
            <a:custGeom>
              <a:avLst/>
              <a:gdLst>
                <a:gd name="T0" fmla="*/ 24 w 98"/>
                <a:gd name="T1" fmla="*/ 86 h 136"/>
                <a:gd name="T2" fmla="*/ 35 w 98"/>
                <a:gd name="T3" fmla="*/ 1 h 136"/>
                <a:gd name="T4" fmla="*/ 0 w 98"/>
                <a:gd name="T5" fmla="*/ 98 h 136"/>
                <a:gd name="T6" fmla="*/ 87 w 98"/>
                <a:gd name="T7" fmla="*/ 131 h 136"/>
                <a:gd name="T8" fmla="*/ 24 w 98"/>
                <a:gd name="T9" fmla="*/ 8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36">
                  <a:moveTo>
                    <a:pt x="24" y="86"/>
                  </a:moveTo>
                  <a:cubicBezTo>
                    <a:pt x="24" y="86"/>
                    <a:pt x="45" y="1"/>
                    <a:pt x="35" y="1"/>
                  </a:cubicBezTo>
                  <a:cubicBezTo>
                    <a:pt x="19" y="0"/>
                    <a:pt x="0" y="98"/>
                    <a:pt x="0" y="98"/>
                  </a:cubicBezTo>
                  <a:cubicBezTo>
                    <a:pt x="0" y="98"/>
                    <a:pt x="77" y="136"/>
                    <a:pt x="87" y="131"/>
                  </a:cubicBezTo>
                  <a:cubicBezTo>
                    <a:pt x="98" y="127"/>
                    <a:pt x="24" y="86"/>
                    <a:pt x="24" y="86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$ḻíďè">
              <a:extLst>
                <a:ext uri="{FF2B5EF4-FFF2-40B4-BE49-F238E27FC236}">
                  <a16:creationId xmlns:a16="http://schemas.microsoft.com/office/drawing/2014/main" id="{6B07893A-86F5-4505-B688-D2F17CE7B963}"/>
                </a:ext>
              </a:extLst>
            </p:cNvPr>
            <p:cNvSpPr/>
            <p:nvPr/>
          </p:nvSpPr>
          <p:spPr bwMode="auto">
            <a:xfrm>
              <a:off x="7859713" y="4533900"/>
              <a:ext cx="312738" cy="441325"/>
            </a:xfrm>
            <a:custGeom>
              <a:avLst/>
              <a:gdLst>
                <a:gd name="T0" fmla="*/ 23 w 95"/>
                <a:gd name="T1" fmla="*/ 87 h 134"/>
                <a:gd name="T2" fmla="*/ 37 w 95"/>
                <a:gd name="T3" fmla="*/ 3 h 134"/>
                <a:gd name="T4" fmla="*/ 0 w 95"/>
                <a:gd name="T5" fmla="*/ 94 h 134"/>
                <a:gd name="T6" fmla="*/ 79 w 95"/>
                <a:gd name="T7" fmla="*/ 127 h 134"/>
                <a:gd name="T8" fmla="*/ 23 w 95"/>
                <a:gd name="T9" fmla="*/ 87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34">
                  <a:moveTo>
                    <a:pt x="23" y="87"/>
                  </a:moveTo>
                  <a:cubicBezTo>
                    <a:pt x="23" y="87"/>
                    <a:pt x="49" y="7"/>
                    <a:pt x="37" y="3"/>
                  </a:cubicBezTo>
                  <a:cubicBezTo>
                    <a:pt x="26" y="0"/>
                    <a:pt x="0" y="94"/>
                    <a:pt x="0" y="94"/>
                  </a:cubicBezTo>
                  <a:cubicBezTo>
                    <a:pt x="0" y="94"/>
                    <a:pt x="63" y="134"/>
                    <a:pt x="79" y="127"/>
                  </a:cubicBezTo>
                  <a:cubicBezTo>
                    <a:pt x="95" y="120"/>
                    <a:pt x="23" y="87"/>
                    <a:pt x="23" y="87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şľíďé">
              <a:extLst>
                <a:ext uri="{FF2B5EF4-FFF2-40B4-BE49-F238E27FC236}">
                  <a16:creationId xmlns:a16="http://schemas.microsoft.com/office/drawing/2014/main" id="{896BFA12-9EC2-4580-8E5E-BD9D3E71476C}"/>
                </a:ext>
              </a:extLst>
            </p:cNvPr>
            <p:cNvSpPr/>
            <p:nvPr/>
          </p:nvSpPr>
          <p:spPr bwMode="auto">
            <a:xfrm>
              <a:off x="8367713" y="4262438"/>
              <a:ext cx="317500" cy="336550"/>
            </a:xfrm>
            <a:custGeom>
              <a:avLst/>
              <a:gdLst>
                <a:gd name="T0" fmla="*/ 0 w 96"/>
                <a:gd name="T1" fmla="*/ 85 h 102"/>
                <a:gd name="T2" fmla="*/ 23 w 96"/>
                <a:gd name="T3" fmla="*/ 20 h 102"/>
                <a:gd name="T4" fmla="*/ 60 w 96"/>
                <a:gd name="T5" fmla="*/ 51 h 102"/>
                <a:gd name="T6" fmla="*/ 73 w 96"/>
                <a:gd name="T7" fmla="*/ 87 h 102"/>
                <a:gd name="T8" fmla="*/ 0 w 96"/>
                <a:gd name="T9" fmla="*/ 8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02">
                  <a:moveTo>
                    <a:pt x="0" y="85"/>
                  </a:moveTo>
                  <a:cubicBezTo>
                    <a:pt x="0" y="85"/>
                    <a:pt x="5" y="41"/>
                    <a:pt x="23" y="20"/>
                  </a:cubicBezTo>
                  <a:cubicBezTo>
                    <a:pt x="40" y="0"/>
                    <a:pt x="62" y="25"/>
                    <a:pt x="60" y="51"/>
                  </a:cubicBezTo>
                  <a:cubicBezTo>
                    <a:pt x="60" y="51"/>
                    <a:pt x="96" y="70"/>
                    <a:pt x="73" y="87"/>
                  </a:cubicBezTo>
                  <a:cubicBezTo>
                    <a:pt x="55" y="102"/>
                    <a:pt x="0" y="85"/>
                    <a:pt x="0" y="85"/>
                  </a:cubicBezTo>
                  <a:close/>
                </a:path>
              </a:pathLst>
            </a:custGeom>
            <a:solidFill>
              <a:srgbClr val="FF4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sḷíďe">
              <a:extLst>
                <a:ext uri="{FF2B5EF4-FFF2-40B4-BE49-F238E27FC236}">
                  <a16:creationId xmlns:a16="http://schemas.microsoft.com/office/drawing/2014/main" id="{9870314C-9B8D-41C3-B89B-31A8E1E442EF}"/>
                </a:ext>
              </a:extLst>
            </p:cNvPr>
            <p:cNvSpPr/>
            <p:nvPr/>
          </p:nvSpPr>
          <p:spPr bwMode="auto">
            <a:xfrm>
              <a:off x="8431213" y="4262438"/>
              <a:ext cx="254000" cy="300038"/>
            </a:xfrm>
            <a:custGeom>
              <a:avLst/>
              <a:gdLst>
                <a:gd name="T0" fmla="*/ 0 w 77"/>
                <a:gd name="T1" fmla="*/ 24 h 91"/>
                <a:gd name="T2" fmla="*/ 4 w 77"/>
                <a:gd name="T3" fmla="*/ 20 h 91"/>
                <a:gd name="T4" fmla="*/ 41 w 77"/>
                <a:gd name="T5" fmla="*/ 51 h 91"/>
                <a:gd name="T6" fmla="*/ 54 w 77"/>
                <a:gd name="T7" fmla="*/ 87 h 91"/>
                <a:gd name="T8" fmla="*/ 46 w 77"/>
                <a:gd name="T9" fmla="*/ 91 h 91"/>
                <a:gd name="T10" fmla="*/ 20 w 77"/>
                <a:gd name="T11" fmla="*/ 61 h 91"/>
                <a:gd name="T12" fmla="*/ 0 w 77"/>
                <a:gd name="T13" fmla="*/ 2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91">
                  <a:moveTo>
                    <a:pt x="0" y="24"/>
                  </a:moveTo>
                  <a:cubicBezTo>
                    <a:pt x="1" y="23"/>
                    <a:pt x="2" y="21"/>
                    <a:pt x="4" y="20"/>
                  </a:cubicBezTo>
                  <a:cubicBezTo>
                    <a:pt x="21" y="0"/>
                    <a:pt x="43" y="25"/>
                    <a:pt x="41" y="51"/>
                  </a:cubicBezTo>
                  <a:cubicBezTo>
                    <a:pt x="41" y="51"/>
                    <a:pt x="77" y="70"/>
                    <a:pt x="54" y="87"/>
                  </a:cubicBezTo>
                  <a:cubicBezTo>
                    <a:pt x="52" y="89"/>
                    <a:pt x="49" y="90"/>
                    <a:pt x="46" y="91"/>
                  </a:cubicBezTo>
                  <a:cubicBezTo>
                    <a:pt x="47" y="65"/>
                    <a:pt x="20" y="61"/>
                    <a:pt x="20" y="61"/>
                  </a:cubicBezTo>
                  <a:cubicBezTo>
                    <a:pt x="22" y="43"/>
                    <a:pt x="8" y="31"/>
                    <a:pt x="0" y="24"/>
                  </a:cubicBezTo>
                  <a:close/>
                </a:path>
              </a:pathLst>
            </a:custGeom>
            <a:solidFill>
              <a:srgbClr val="FF75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ṩ1íḑe">
              <a:extLst>
                <a:ext uri="{FF2B5EF4-FFF2-40B4-BE49-F238E27FC236}">
                  <a16:creationId xmlns:a16="http://schemas.microsoft.com/office/drawing/2014/main" id="{2CBA78F3-8484-4376-9E48-31C1B0CDF68F}"/>
                </a:ext>
              </a:extLst>
            </p:cNvPr>
            <p:cNvSpPr/>
            <p:nvPr/>
          </p:nvSpPr>
          <p:spPr bwMode="auto">
            <a:xfrm>
              <a:off x="7170738" y="3840163"/>
              <a:ext cx="603250" cy="779463"/>
            </a:xfrm>
            <a:custGeom>
              <a:avLst/>
              <a:gdLst>
                <a:gd name="T0" fmla="*/ 175 w 183"/>
                <a:gd name="T1" fmla="*/ 4 h 236"/>
                <a:gd name="T2" fmla="*/ 175 w 183"/>
                <a:gd name="T3" fmla="*/ 4 h 236"/>
                <a:gd name="T4" fmla="*/ 141 w 183"/>
                <a:gd name="T5" fmla="*/ 90 h 236"/>
                <a:gd name="T6" fmla="*/ 3 w 183"/>
                <a:gd name="T7" fmla="*/ 228 h 236"/>
                <a:gd name="T8" fmla="*/ 1 w 183"/>
                <a:gd name="T9" fmla="*/ 233 h 236"/>
                <a:gd name="T10" fmla="*/ 7 w 183"/>
                <a:gd name="T11" fmla="*/ 235 h 236"/>
                <a:gd name="T12" fmla="*/ 151 w 183"/>
                <a:gd name="T13" fmla="*/ 89 h 236"/>
                <a:gd name="T14" fmla="*/ 182 w 183"/>
                <a:gd name="T15" fmla="*/ 5 h 236"/>
                <a:gd name="T16" fmla="*/ 179 w 183"/>
                <a:gd name="T17" fmla="*/ 1 h 236"/>
                <a:gd name="T18" fmla="*/ 175 w 183"/>
                <a:gd name="T19" fmla="*/ 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3" h="236">
                  <a:moveTo>
                    <a:pt x="175" y="4"/>
                  </a:moveTo>
                  <a:cubicBezTo>
                    <a:pt x="175" y="4"/>
                    <a:pt x="175" y="4"/>
                    <a:pt x="175" y="4"/>
                  </a:cubicBezTo>
                  <a:cubicBezTo>
                    <a:pt x="174" y="8"/>
                    <a:pt x="166" y="45"/>
                    <a:pt x="141" y="90"/>
                  </a:cubicBezTo>
                  <a:cubicBezTo>
                    <a:pt x="116" y="135"/>
                    <a:pt x="74" y="189"/>
                    <a:pt x="3" y="228"/>
                  </a:cubicBezTo>
                  <a:cubicBezTo>
                    <a:pt x="1" y="229"/>
                    <a:pt x="0" y="231"/>
                    <a:pt x="1" y="233"/>
                  </a:cubicBezTo>
                  <a:cubicBezTo>
                    <a:pt x="2" y="235"/>
                    <a:pt x="5" y="236"/>
                    <a:pt x="7" y="235"/>
                  </a:cubicBezTo>
                  <a:cubicBezTo>
                    <a:pt x="82" y="194"/>
                    <a:pt x="126" y="136"/>
                    <a:pt x="151" y="89"/>
                  </a:cubicBezTo>
                  <a:cubicBezTo>
                    <a:pt x="176" y="42"/>
                    <a:pt x="182" y="6"/>
                    <a:pt x="182" y="5"/>
                  </a:cubicBezTo>
                  <a:cubicBezTo>
                    <a:pt x="183" y="3"/>
                    <a:pt x="181" y="1"/>
                    <a:pt x="179" y="1"/>
                  </a:cubicBezTo>
                  <a:cubicBezTo>
                    <a:pt x="177" y="0"/>
                    <a:pt x="175" y="2"/>
                    <a:pt x="175" y="4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ṧ1ïḑé">
              <a:extLst>
                <a:ext uri="{FF2B5EF4-FFF2-40B4-BE49-F238E27FC236}">
                  <a16:creationId xmlns:a16="http://schemas.microsoft.com/office/drawing/2014/main" id="{E207DDA4-F5C7-4EA1-B885-70DAFED684E1}"/>
                </a:ext>
              </a:extLst>
            </p:cNvPr>
            <p:cNvSpPr/>
            <p:nvPr/>
          </p:nvSpPr>
          <p:spPr bwMode="auto">
            <a:xfrm>
              <a:off x="7575551" y="3673475"/>
              <a:ext cx="446088" cy="368300"/>
            </a:xfrm>
            <a:custGeom>
              <a:avLst/>
              <a:gdLst>
                <a:gd name="T0" fmla="*/ 46 w 135"/>
                <a:gd name="T1" fmla="*/ 89 h 112"/>
                <a:gd name="T2" fmla="*/ 11 w 135"/>
                <a:gd name="T3" fmla="*/ 0 h 112"/>
                <a:gd name="T4" fmla="*/ 37 w 135"/>
                <a:gd name="T5" fmla="*/ 112 h 112"/>
                <a:gd name="T6" fmla="*/ 126 w 135"/>
                <a:gd name="T7" fmla="*/ 99 h 112"/>
                <a:gd name="T8" fmla="*/ 46 w 135"/>
                <a:gd name="T9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12">
                  <a:moveTo>
                    <a:pt x="46" y="89"/>
                  </a:moveTo>
                  <a:cubicBezTo>
                    <a:pt x="46" y="89"/>
                    <a:pt x="21" y="0"/>
                    <a:pt x="11" y="0"/>
                  </a:cubicBezTo>
                  <a:cubicBezTo>
                    <a:pt x="0" y="0"/>
                    <a:pt x="37" y="112"/>
                    <a:pt x="37" y="112"/>
                  </a:cubicBezTo>
                  <a:cubicBezTo>
                    <a:pt x="37" y="112"/>
                    <a:pt x="117" y="112"/>
                    <a:pt x="126" y="99"/>
                  </a:cubicBezTo>
                  <a:cubicBezTo>
                    <a:pt x="135" y="86"/>
                    <a:pt x="46" y="89"/>
                    <a:pt x="46" y="89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şḷiḓé">
              <a:extLst>
                <a:ext uri="{FF2B5EF4-FFF2-40B4-BE49-F238E27FC236}">
                  <a16:creationId xmlns:a16="http://schemas.microsoft.com/office/drawing/2014/main" id="{71802907-6E5D-475C-BD22-79A446BEC5B3}"/>
                </a:ext>
              </a:extLst>
            </p:cNvPr>
            <p:cNvSpPr/>
            <p:nvPr/>
          </p:nvSpPr>
          <p:spPr bwMode="auto">
            <a:xfrm>
              <a:off x="7480301" y="3887788"/>
              <a:ext cx="434975" cy="352425"/>
            </a:xfrm>
            <a:custGeom>
              <a:avLst/>
              <a:gdLst>
                <a:gd name="T0" fmla="*/ 48 w 132"/>
                <a:gd name="T1" fmla="*/ 84 h 107"/>
                <a:gd name="T2" fmla="*/ 14 w 132"/>
                <a:gd name="T3" fmla="*/ 5 h 107"/>
                <a:gd name="T4" fmla="*/ 33 w 132"/>
                <a:gd name="T5" fmla="*/ 107 h 107"/>
                <a:gd name="T6" fmla="*/ 125 w 132"/>
                <a:gd name="T7" fmla="*/ 92 h 107"/>
                <a:gd name="T8" fmla="*/ 48 w 132"/>
                <a:gd name="T9" fmla="*/ 8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07">
                  <a:moveTo>
                    <a:pt x="48" y="84"/>
                  </a:moveTo>
                  <a:cubicBezTo>
                    <a:pt x="48" y="84"/>
                    <a:pt x="23" y="0"/>
                    <a:pt x="14" y="5"/>
                  </a:cubicBezTo>
                  <a:cubicBezTo>
                    <a:pt x="0" y="12"/>
                    <a:pt x="33" y="107"/>
                    <a:pt x="33" y="107"/>
                  </a:cubicBezTo>
                  <a:cubicBezTo>
                    <a:pt x="33" y="107"/>
                    <a:pt x="118" y="101"/>
                    <a:pt x="125" y="92"/>
                  </a:cubicBezTo>
                  <a:cubicBezTo>
                    <a:pt x="132" y="82"/>
                    <a:pt x="48" y="84"/>
                    <a:pt x="48" y="84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śḷîḋè">
              <a:extLst>
                <a:ext uri="{FF2B5EF4-FFF2-40B4-BE49-F238E27FC236}">
                  <a16:creationId xmlns:a16="http://schemas.microsoft.com/office/drawing/2014/main" id="{985B05E6-167B-4DF0-B133-C0E4E542FCCC}"/>
                </a:ext>
              </a:extLst>
            </p:cNvPr>
            <p:cNvSpPr/>
            <p:nvPr/>
          </p:nvSpPr>
          <p:spPr bwMode="auto">
            <a:xfrm>
              <a:off x="7373938" y="4071938"/>
              <a:ext cx="393700" cy="339725"/>
            </a:xfrm>
            <a:custGeom>
              <a:avLst/>
              <a:gdLst>
                <a:gd name="T0" fmla="*/ 40 w 119"/>
                <a:gd name="T1" fmla="*/ 83 h 103"/>
                <a:gd name="T2" fmla="*/ 11 w 119"/>
                <a:gd name="T3" fmla="*/ 3 h 103"/>
                <a:gd name="T4" fmla="*/ 25 w 119"/>
                <a:gd name="T5" fmla="*/ 100 h 103"/>
                <a:gd name="T6" fmla="*/ 109 w 119"/>
                <a:gd name="T7" fmla="*/ 89 h 103"/>
                <a:gd name="T8" fmla="*/ 40 w 119"/>
                <a:gd name="T9" fmla="*/ 8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03">
                  <a:moveTo>
                    <a:pt x="40" y="83"/>
                  </a:moveTo>
                  <a:cubicBezTo>
                    <a:pt x="40" y="83"/>
                    <a:pt x="23" y="0"/>
                    <a:pt x="11" y="3"/>
                  </a:cubicBezTo>
                  <a:cubicBezTo>
                    <a:pt x="0" y="6"/>
                    <a:pt x="25" y="100"/>
                    <a:pt x="25" y="100"/>
                  </a:cubicBezTo>
                  <a:cubicBezTo>
                    <a:pt x="25" y="100"/>
                    <a:pt x="99" y="103"/>
                    <a:pt x="109" y="89"/>
                  </a:cubicBezTo>
                  <a:cubicBezTo>
                    <a:pt x="119" y="75"/>
                    <a:pt x="40" y="83"/>
                    <a:pt x="40" y="83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şḻiḍe">
              <a:extLst>
                <a:ext uri="{FF2B5EF4-FFF2-40B4-BE49-F238E27FC236}">
                  <a16:creationId xmlns:a16="http://schemas.microsoft.com/office/drawing/2014/main" id="{51EBBA85-32C7-4C0E-A84D-9838AF07C1B0}"/>
                </a:ext>
              </a:extLst>
            </p:cNvPr>
            <p:cNvSpPr/>
            <p:nvPr/>
          </p:nvSpPr>
          <p:spPr bwMode="auto">
            <a:xfrm>
              <a:off x="7688263" y="3576638"/>
              <a:ext cx="306388" cy="314325"/>
            </a:xfrm>
            <a:custGeom>
              <a:avLst/>
              <a:gdLst>
                <a:gd name="T0" fmla="*/ 17 w 93"/>
                <a:gd name="T1" fmla="*/ 95 h 95"/>
                <a:gd name="T2" fmla="*/ 5 w 93"/>
                <a:gd name="T3" fmla="*/ 27 h 95"/>
                <a:gd name="T4" fmla="*/ 53 w 93"/>
                <a:gd name="T5" fmla="*/ 35 h 95"/>
                <a:gd name="T6" fmla="*/ 82 w 93"/>
                <a:gd name="T7" fmla="*/ 60 h 95"/>
                <a:gd name="T8" fmla="*/ 17 w 93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5">
                  <a:moveTo>
                    <a:pt x="17" y="95"/>
                  </a:moveTo>
                  <a:cubicBezTo>
                    <a:pt x="17" y="95"/>
                    <a:pt x="0" y="54"/>
                    <a:pt x="5" y="27"/>
                  </a:cubicBezTo>
                  <a:cubicBezTo>
                    <a:pt x="10" y="0"/>
                    <a:pt x="41" y="12"/>
                    <a:pt x="53" y="35"/>
                  </a:cubicBezTo>
                  <a:cubicBezTo>
                    <a:pt x="53" y="35"/>
                    <a:pt x="93" y="33"/>
                    <a:pt x="82" y="60"/>
                  </a:cubicBezTo>
                  <a:cubicBezTo>
                    <a:pt x="74" y="82"/>
                    <a:pt x="17" y="95"/>
                    <a:pt x="17" y="95"/>
                  </a:cubicBezTo>
                  <a:close/>
                </a:path>
              </a:pathLst>
            </a:custGeom>
            <a:solidFill>
              <a:srgbClr val="FF4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ṥlíḍè">
              <a:extLst>
                <a:ext uri="{FF2B5EF4-FFF2-40B4-BE49-F238E27FC236}">
                  <a16:creationId xmlns:a16="http://schemas.microsoft.com/office/drawing/2014/main" id="{DD4E8B5B-5833-4800-8A07-3A1ABD7E7910}"/>
                </a:ext>
              </a:extLst>
            </p:cNvPr>
            <p:cNvSpPr/>
            <p:nvPr/>
          </p:nvSpPr>
          <p:spPr bwMode="auto">
            <a:xfrm>
              <a:off x="7700963" y="3576638"/>
              <a:ext cx="293688" cy="220663"/>
            </a:xfrm>
            <a:custGeom>
              <a:avLst/>
              <a:gdLst>
                <a:gd name="T0" fmla="*/ 0 w 89"/>
                <a:gd name="T1" fmla="*/ 32 h 67"/>
                <a:gd name="T2" fmla="*/ 1 w 89"/>
                <a:gd name="T3" fmla="*/ 27 h 67"/>
                <a:gd name="T4" fmla="*/ 49 w 89"/>
                <a:gd name="T5" fmla="*/ 35 h 67"/>
                <a:gd name="T6" fmla="*/ 78 w 89"/>
                <a:gd name="T7" fmla="*/ 60 h 67"/>
                <a:gd name="T8" fmla="*/ 73 w 89"/>
                <a:gd name="T9" fmla="*/ 67 h 67"/>
                <a:gd name="T10" fmla="*/ 36 w 89"/>
                <a:gd name="T11" fmla="*/ 54 h 67"/>
                <a:gd name="T12" fmla="*/ 0 w 89"/>
                <a:gd name="T13" fmla="*/ 3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67">
                  <a:moveTo>
                    <a:pt x="0" y="32"/>
                  </a:moveTo>
                  <a:cubicBezTo>
                    <a:pt x="0" y="31"/>
                    <a:pt x="0" y="29"/>
                    <a:pt x="1" y="27"/>
                  </a:cubicBezTo>
                  <a:cubicBezTo>
                    <a:pt x="6" y="0"/>
                    <a:pt x="37" y="12"/>
                    <a:pt x="49" y="35"/>
                  </a:cubicBezTo>
                  <a:cubicBezTo>
                    <a:pt x="49" y="35"/>
                    <a:pt x="89" y="33"/>
                    <a:pt x="78" y="60"/>
                  </a:cubicBezTo>
                  <a:cubicBezTo>
                    <a:pt x="77" y="63"/>
                    <a:pt x="75" y="65"/>
                    <a:pt x="73" y="67"/>
                  </a:cubicBezTo>
                  <a:cubicBezTo>
                    <a:pt x="60" y="44"/>
                    <a:pt x="36" y="54"/>
                    <a:pt x="36" y="54"/>
                  </a:cubicBezTo>
                  <a:cubicBezTo>
                    <a:pt x="28" y="38"/>
                    <a:pt x="10" y="34"/>
                    <a:pt x="0" y="32"/>
                  </a:cubicBezTo>
                  <a:close/>
                </a:path>
              </a:pathLst>
            </a:custGeom>
            <a:solidFill>
              <a:srgbClr val="FF75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Sļïḍe">
              <a:extLst>
                <a:ext uri="{FF2B5EF4-FFF2-40B4-BE49-F238E27FC236}">
                  <a16:creationId xmlns:a16="http://schemas.microsoft.com/office/drawing/2014/main" id="{CE044222-656B-418E-A0C2-601244AC4E2F}"/>
                </a:ext>
              </a:extLst>
            </p:cNvPr>
            <p:cNvSpPr/>
            <p:nvPr/>
          </p:nvSpPr>
          <p:spPr bwMode="auto">
            <a:xfrm>
              <a:off x="4451351" y="3840163"/>
              <a:ext cx="603250" cy="779463"/>
            </a:xfrm>
            <a:custGeom>
              <a:avLst/>
              <a:gdLst>
                <a:gd name="T0" fmla="*/ 1 w 183"/>
                <a:gd name="T1" fmla="*/ 5 h 236"/>
                <a:gd name="T2" fmla="*/ 32 w 183"/>
                <a:gd name="T3" fmla="*/ 89 h 236"/>
                <a:gd name="T4" fmla="*/ 176 w 183"/>
                <a:gd name="T5" fmla="*/ 235 h 236"/>
                <a:gd name="T6" fmla="*/ 182 w 183"/>
                <a:gd name="T7" fmla="*/ 233 h 236"/>
                <a:gd name="T8" fmla="*/ 180 w 183"/>
                <a:gd name="T9" fmla="*/ 228 h 236"/>
                <a:gd name="T10" fmla="*/ 39 w 183"/>
                <a:gd name="T11" fmla="*/ 86 h 236"/>
                <a:gd name="T12" fmla="*/ 15 w 183"/>
                <a:gd name="T13" fmla="*/ 27 h 236"/>
                <a:gd name="T14" fmla="*/ 10 w 183"/>
                <a:gd name="T15" fmla="*/ 10 h 236"/>
                <a:gd name="T16" fmla="*/ 9 w 183"/>
                <a:gd name="T17" fmla="*/ 5 h 236"/>
                <a:gd name="T18" fmla="*/ 8 w 183"/>
                <a:gd name="T19" fmla="*/ 4 h 236"/>
                <a:gd name="T20" fmla="*/ 8 w 183"/>
                <a:gd name="T21" fmla="*/ 4 h 236"/>
                <a:gd name="T22" fmla="*/ 4 w 183"/>
                <a:gd name="T23" fmla="*/ 1 h 236"/>
                <a:gd name="T24" fmla="*/ 1 w 183"/>
                <a:gd name="T25" fmla="*/ 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36">
                  <a:moveTo>
                    <a:pt x="1" y="5"/>
                  </a:moveTo>
                  <a:cubicBezTo>
                    <a:pt x="1" y="6"/>
                    <a:pt x="7" y="42"/>
                    <a:pt x="32" y="89"/>
                  </a:cubicBezTo>
                  <a:cubicBezTo>
                    <a:pt x="57" y="136"/>
                    <a:pt x="101" y="194"/>
                    <a:pt x="176" y="235"/>
                  </a:cubicBezTo>
                  <a:cubicBezTo>
                    <a:pt x="178" y="236"/>
                    <a:pt x="181" y="235"/>
                    <a:pt x="182" y="233"/>
                  </a:cubicBezTo>
                  <a:cubicBezTo>
                    <a:pt x="183" y="231"/>
                    <a:pt x="182" y="229"/>
                    <a:pt x="180" y="228"/>
                  </a:cubicBezTo>
                  <a:cubicBezTo>
                    <a:pt x="107" y="188"/>
                    <a:pt x="64" y="132"/>
                    <a:pt x="39" y="86"/>
                  </a:cubicBezTo>
                  <a:cubicBezTo>
                    <a:pt x="27" y="63"/>
                    <a:pt x="19" y="42"/>
                    <a:pt x="15" y="27"/>
                  </a:cubicBezTo>
                  <a:cubicBezTo>
                    <a:pt x="12" y="20"/>
                    <a:pt x="11" y="14"/>
                    <a:pt x="10" y="10"/>
                  </a:cubicBezTo>
                  <a:cubicBezTo>
                    <a:pt x="9" y="8"/>
                    <a:pt x="9" y="6"/>
                    <a:pt x="9" y="5"/>
                  </a:cubicBezTo>
                  <a:cubicBezTo>
                    <a:pt x="9" y="5"/>
                    <a:pt x="9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1"/>
                  </a:cubicBezTo>
                  <a:cubicBezTo>
                    <a:pt x="2" y="1"/>
                    <a:pt x="0" y="3"/>
                    <a:pt x="1" y="5"/>
                  </a:cubicBezTo>
                  <a:close/>
                </a:path>
              </a:pathLst>
            </a:custGeom>
            <a:solidFill>
              <a:srgbClr val="0F66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íṣľïḓê">
              <a:extLst>
                <a:ext uri="{FF2B5EF4-FFF2-40B4-BE49-F238E27FC236}">
                  <a16:creationId xmlns:a16="http://schemas.microsoft.com/office/drawing/2014/main" id="{A30747AE-1757-4214-8548-A392CBBE2AE0}"/>
                </a:ext>
              </a:extLst>
            </p:cNvPr>
            <p:cNvSpPr/>
            <p:nvPr/>
          </p:nvSpPr>
          <p:spPr bwMode="auto">
            <a:xfrm>
              <a:off x="4203701" y="3673475"/>
              <a:ext cx="446088" cy="368300"/>
            </a:xfrm>
            <a:custGeom>
              <a:avLst/>
              <a:gdLst>
                <a:gd name="T0" fmla="*/ 89 w 135"/>
                <a:gd name="T1" fmla="*/ 89 h 112"/>
                <a:gd name="T2" fmla="*/ 124 w 135"/>
                <a:gd name="T3" fmla="*/ 0 h 112"/>
                <a:gd name="T4" fmla="*/ 98 w 135"/>
                <a:gd name="T5" fmla="*/ 112 h 112"/>
                <a:gd name="T6" fmla="*/ 9 w 135"/>
                <a:gd name="T7" fmla="*/ 99 h 112"/>
                <a:gd name="T8" fmla="*/ 89 w 135"/>
                <a:gd name="T9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12">
                  <a:moveTo>
                    <a:pt x="89" y="89"/>
                  </a:moveTo>
                  <a:cubicBezTo>
                    <a:pt x="89" y="89"/>
                    <a:pt x="114" y="0"/>
                    <a:pt x="124" y="0"/>
                  </a:cubicBezTo>
                  <a:cubicBezTo>
                    <a:pt x="135" y="0"/>
                    <a:pt x="98" y="112"/>
                    <a:pt x="98" y="112"/>
                  </a:cubicBezTo>
                  <a:cubicBezTo>
                    <a:pt x="98" y="112"/>
                    <a:pt x="18" y="112"/>
                    <a:pt x="9" y="99"/>
                  </a:cubicBezTo>
                  <a:cubicBezTo>
                    <a:pt x="0" y="86"/>
                    <a:pt x="89" y="89"/>
                    <a:pt x="89" y="89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ṡľidé">
              <a:extLst>
                <a:ext uri="{FF2B5EF4-FFF2-40B4-BE49-F238E27FC236}">
                  <a16:creationId xmlns:a16="http://schemas.microsoft.com/office/drawing/2014/main" id="{22ABD2CF-FEDA-4C02-A598-4EDE2E7138EF}"/>
                </a:ext>
              </a:extLst>
            </p:cNvPr>
            <p:cNvSpPr/>
            <p:nvPr/>
          </p:nvSpPr>
          <p:spPr bwMode="auto">
            <a:xfrm>
              <a:off x="4308476" y="3887788"/>
              <a:ext cx="436563" cy="352425"/>
            </a:xfrm>
            <a:custGeom>
              <a:avLst/>
              <a:gdLst>
                <a:gd name="T0" fmla="*/ 84 w 132"/>
                <a:gd name="T1" fmla="*/ 84 h 107"/>
                <a:gd name="T2" fmla="*/ 118 w 132"/>
                <a:gd name="T3" fmla="*/ 5 h 107"/>
                <a:gd name="T4" fmla="*/ 99 w 132"/>
                <a:gd name="T5" fmla="*/ 107 h 107"/>
                <a:gd name="T6" fmla="*/ 7 w 132"/>
                <a:gd name="T7" fmla="*/ 92 h 107"/>
                <a:gd name="T8" fmla="*/ 84 w 132"/>
                <a:gd name="T9" fmla="*/ 8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07">
                  <a:moveTo>
                    <a:pt x="84" y="84"/>
                  </a:moveTo>
                  <a:cubicBezTo>
                    <a:pt x="84" y="84"/>
                    <a:pt x="109" y="0"/>
                    <a:pt x="118" y="5"/>
                  </a:cubicBezTo>
                  <a:cubicBezTo>
                    <a:pt x="132" y="12"/>
                    <a:pt x="99" y="107"/>
                    <a:pt x="99" y="107"/>
                  </a:cubicBezTo>
                  <a:cubicBezTo>
                    <a:pt x="99" y="107"/>
                    <a:pt x="14" y="101"/>
                    <a:pt x="7" y="92"/>
                  </a:cubicBezTo>
                  <a:cubicBezTo>
                    <a:pt x="0" y="82"/>
                    <a:pt x="84" y="84"/>
                    <a:pt x="84" y="84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îslîḋé">
              <a:extLst>
                <a:ext uri="{FF2B5EF4-FFF2-40B4-BE49-F238E27FC236}">
                  <a16:creationId xmlns:a16="http://schemas.microsoft.com/office/drawing/2014/main" id="{A8C2D4CC-455E-4969-8E44-3608B3598539}"/>
                </a:ext>
              </a:extLst>
            </p:cNvPr>
            <p:cNvSpPr/>
            <p:nvPr/>
          </p:nvSpPr>
          <p:spPr bwMode="auto">
            <a:xfrm>
              <a:off x="4457701" y="4071938"/>
              <a:ext cx="392113" cy="339725"/>
            </a:xfrm>
            <a:custGeom>
              <a:avLst/>
              <a:gdLst>
                <a:gd name="T0" fmla="*/ 79 w 119"/>
                <a:gd name="T1" fmla="*/ 83 h 103"/>
                <a:gd name="T2" fmla="*/ 108 w 119"/>
                <a:gd name="T3" fmla="*/ 3 h 103"/>
                <a:gd name="T4" fmla="*/ 94 w 119"/>
                <a:gd name="T5" fmla="*/ 100 h 103"/>
                <a:gd name="T6" fmla="*/ 10 w 119"/>
                <a:gd name="T7" fmla="*/ 89 h 103"/>
                <a:gd name="T8" fmla="*/ 79 w 119"/>
                <a:gd name="T9" fmla="*/ 8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03">
                  <a:moveTo>
                    <a:pt x="79" y="83"/>
                  </a:moveTo>
                  <a:cubicBezTo>
                    <a:pt x="79" y="83"/>
                    <a:pt x="96" y="0"/>
                    <a:pt x="108" y="3"/>
                  </a:cubicBezTo>
                  <a:cubicBezTo>
                    <a:pt x="119" y="6"/>
                    <a:pt x="94" y="100"/>
                    <a:pt x="94" y="100"/>
                  </a:cubicBezTo>
                  <a:cubicBezTo>
                    <a:pt x="94" y="100"/>
                    <a:pt x="20" y="103"/>
                    <a:pt x="10" y="89"/>
                  </a:cubicBezTo>
                  <a:cubicBezTo>
                    <a:pt x="0" y="75"/>
                    <a:pt x="79" y="83"/>
                    <a:pt x="79" y="83"/>
                  </a:cubicBezTo>
                  <a:close/>
                </a:path>
              </a:pathLst>
            </a:custGeom>
            <a:solidFill>
              <a:srgbClr val="5CC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şľïḍê">
              <a:extLst>
                <a:ext uri="{FF2B5EF4-FFF2-40B4-BE49-F238E27FC236}">
                  <a16:creationId xmlns:a16="http://schemas.microsoft.com/office/drawing/2014/main" id="{45A4F5CF-84B2-4913-A8FE-45D6BD1D8B7E}"/>
                </a:ext>
              </a:extLst>
            </p:cNvPr>
            <p:cNvSpPr/>
            <p:nvPr/>
          </p:nvSpPr>
          <p:spPr bwMode="auto">
            <a:xfrm>
              <a:off x="4230688" y="3576638"/>
              <a:ext cx="306388" cy="314325"/>
            </a:xfrm>
            <a:custGeom>
              <a:avLst/>
              <a:gdLst>
                <a:gd name="T0" fmla="*/ 76 w 93"/>
                <a:gd name="T1" fmla="*/ 95 h 95"/>
                <a:gd name="T2" fmla="*/ 88 w 93"/>
                <a:gd name="T3" fmla="*/ 27 h 95"/>
                <a:gd name="T4" fmla="*/ 40 w 93"/>
                <a:gd name="T5" fmla="*/ 35 h 95"/>
                <a:gd name="T6" fmla="*/ 11 w 93"/>
                <a:gd name="T7" fmla="*/ 60 h 95"/>
                <a:gd name="T8" fmla="*/ 76 w 93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5">
                  <a:moveTo>
                    <a:pt x="76" y="95"/>
                  </a:moveTo>
                  <a:cubicBezTo>
                    <a:pt x="76" y="95"/>
                    <a:pt x="93" y="54"/>
                    <a:pt x="88" y="27"/>
                  </a:cubicBezTo>
                  <a:cubicBezTo>
                    <a:pt x="83" y="0"/>
                    <a:pt x="52" y="12"/>
                    <a:pt x="40" y="35"/>
                  </a:cubicBezTo>
                  <a:cubicBezTo>
                    <a:pt x="40" y="35"/>
                    <a:pt x="0" y="33"/>
                    <a:pt x="11" y="60"/>
                  </a:cubicBezTo>
                  <a:cubicBezTo>
                    <a:pt x="19" y="82"/>
                    <a:pt x="76" y="95"/>
                    <a:pt x="76" y="95"/>
                  </a:cubicBezTo>
                  <a:close/>
                </a:path>
              </a:pathLst>
            </a:custGeom>
            <a:solidFill>
              <a:srgbClr val="FF4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í$ļíḑé">
              <a:extLst>
                <a:ext uri="{FF2B5EF4-FFF2-40B4-BE49-F238E27FC236}">
                  <a16:creationId xmlns:a16="http://schemas.microsoft.com/office/drawing/2014/main" id="{47CBE0CF-6DB1-4ED4-ABD4-A7BA10279B1C}"/>
                </a:ext>
              </a:extLst>
            </p:cNvPr>
            <p:cNvSpPr/>
            <p:nvPr/>
          </p:nvSpPr>
          <p:spPr bwMode="auto">
            <a:xfrm>
              <a:off x="4230688" y="3576638"/>
              <a:ext cx="293688" cy="220663"/>
            </a:xfrm>
            <a:custGeom>
              <a:avLst/>
              <a:gdLst>
                <a:gd name="T0" fmla="*/ 89 w 89"/>
                <a:gd name="T1" fmla="*/ 32 h 67"/>
                <a:gd name="T2" fmla="*/ 88 w 89"/>
                <a:gd name="T3" fmla="*/ 27 h 67"/>
                <a:gd name="T4" fmla="*/ 40 w 89"/>
                <a:gd name="T5" fmla="*/ 35 h 67"/>
                <a:gd name="T6" fmla="*/ 11 w 89"/>
                <a:gd name="T7" fmla="*/ 60 h 67"/>
                <a:gd name="T8" fmla="*/ 16 w 89"/>
                <a:gd name="T9" fmla="*/ 67 h 67"/>
                <a:gd name="T10" fmla="*/ 53 w 89"/>
                <a:gd name="T11" fmla="*/ 54 h 67"/>
                <a:gd name="T12" fmla="*/ 89 w 89"/>
                <a:gd name="T13" fmla="*/ 3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67">
                  <a:moveTo>
                    <a:pt x="89" y="32"/>
                  </a:moveTo>
                  <a:cubicBezTo>
                    <a:pt x="89" y="31"/>
                    <a:pt x="89" y="29"/>
                    <a:pt x="88" y="27"/>
                  </a:cubicBezTo>
                  <a:cubicBezTo>
                    <a:pt x="83" y="0"/>
                    <a:pt x="52" y="12"/>
                    <a:pt x="40" y="35"/>
                  </a:cubicBezTo>
                  <a:cubicBezTo>
                    <a:pt x="40" y="35"/>
                    <a:pt x="0" y="33"/>
                    <a:pt x="11" y="60"/>
                  </a:cubicBezTo>
                  <a:cubicBezTo>
                    <a:pt x="12" y="63"/>
                    <a:pt x="14" y="65"/>
                    <a:pt x="16" y="67"/>
                  </a:cubicBezTo>
                  <a:cubicBezTo>
                    <a:pt x="29" y="44"/>
                    <a:pt x="53" y="54"/>
                    <a:pt x="53" y="54"/>
                  </a:cubicBezTo>
                  <a:cubicBezTo>
                    <a:pt x="61" y="38"/>
                    <a:pt x="79" y="34"/>
                    <a:pt x="89" y="32"/>
                  </a:cubicBezTo>
                  <a:close/>
                </a:path>
              </a:pathLst>
            </a:custGeom>
            <a:solidFill>
              <a:srgbClr val="FF75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iṣḻîḍé">
              <a:extLst>
                <a:ext uri="{FF2B5EF4-FFF2-40B4-BE49-F238E27FC236}">
                  <a16:creationId xmlns:a16="http://schemas.microsoft.com/office/drawing/2014/main" id="{2319D184-E293-4858-B2A6-37CB7B4C032C}"/>
                </a:ext>
              </a:extLst>
            </p:cNvPr>
            <p:cNvSpPr/>
            <p:nvPr/>
          </p:nvSpPr>
          <p:spPr bwMode="auto">
            <a:xfrm>
              <a:off x="4213226" y="4687888"/>
              <a:ext cx="3748088" cy="1055688"/>
            </a:xfrm>
            <a:custGeom>
              <a:avLst/>
              <a:gdLst>
                <a:gd name="T0" fmla="*/ 1136 w 1136"/>
                <a:gd name="T1" fmla="*/ 0 h 320"/>
                <a:gd name="T2" fmla="*/ 1078 w 1136"/>
                <a:gd name="T3" fmla="*/ 0 h 320"/>
                <a:gd name="T4" fmla="*/ 568 w 1136"/>
                <a:gd name="T5" fmla="*/ 0 h 320"/>
                <a:gd name="T6" fmla="*/ 0 w 1136"/>
                <a:gd name="T7" fmla="*/ 0 h 320"/>
                <a:gd name="T8" fmla="*/ 568 w 1136"/>
                <a:gd name="T9" fmla="*/ 320 h 320"/>
                <a:gd name="T10" fmla="*/ 1136 w 1136"/>
                <a:gd name="T11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6" h="320">
                  <a:moveTo>
                    <a:pt x="1136" y="0"/>
                  </a:moveTo>
                  <a:cubicBezTo>
                    <a:pt x="1078" y="0"/>
                    <a:pt x="1078" y="0"/>
                    <a:pt x="1078" y="0"/>
                  </a:cubicBezTo>
                  <a:cubicBezTo>
                    <a:pt x="568" y="0"/>
                    <a:pt x="568" y="0"/>
                    <a:pt x="5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6"/>
                    <a:pt x="336" y="320"/>
                    <a:pt x="568" y="320"/>
                  </a:cubicBezTo>
                  <a:cubicBezTo>
                    <a:pt x="800" y="320"/>
                    <a:pt x="1136" y="196"/>
                    <a:pt x="1136" y="0"/>
                  </a:cubicBezTo>
                </a:path>
              </a:pathLst>
            </a:custGeom>
            <a:solidFill>
              <a:srgbClr val="8F8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ślïde">
              <a:extLst>
                <a:ext uri="{FF2B5EF4-FFF2-40B4-BE49-F238E27FC236}">
                  <a16:creationId xmlns:a16="http://schemas.microsoft.com/office/drawing/2014/main" id="{F5ADCE90-9F8A-4BE2-8545-C02E63E1590A}"/>
                </a:ext>
              </a:extLst>
            </p:cNvPr>
            <p:cNvSpPr/>
            <p:nvPr/>
          </p:nvSpPr>
          <p:spPr bwMode="auto">
            <a:xfrm>
              <a:off x="4213226" y="4289425"/>
              <a:ext cx="3748088" cy="793750"/>
            </a:xfrm>
            <a:prstGeom prst="ellipse">
              <a:avLst/>
            </a:prstGeom>
            <a:solidFill>
              <a:srgbClr val="ABA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śļîďè">
              <a:extLst>
                <a:ext uri="{FF2B5EF4-FFF2-40B4-BE49-F238E27FC236}">
                  <a16:creationId xmlns:a16="http://schemas.microsoft.com/office/drawing/2014/main" id="{4F04D36F-93B0-424A-9F0D-1589A4FA00D9}"/>
                </a:ext>
              </a:extLst>
            </p:cNvPr>
            <p:cNvSpPr/>
            <p:nvPr/>
          </p:nvSpPr>
          <p:spPr bwMode="auto">
            <a:xfrm>
              <a:off x="4635501" y="4454525"/>
              <a:ext cx="2903538" cy="530225"/>
            </a:xfrm>
            <a:prstGeom prst="ellipse">
              <a:avLst/>
            </a:pr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şḷïḓè">
              <a:extLst>
                <a:ext uri="{FF2B5EF4-FFF2-40B4-BE49-F238E27FC236}">
                  <a16:creationId xmlns:a16="http://schemas.microsoft.com/office/drawing/2014/main" id="{3C6E7E5A-8085-4F38-B889-5DCE3632F883}"/>
                </a:ext>
              </a:extLst>
            </p:cNvPr>
            <p:cNvSpPr/>
            <p:nvPr/>
          </p:nvSpPr>
          <p:spPr bwMode="auto">
            <a:xfrm>
              <a:off x="4533901" y="4576763"/>
              <a:ext cx="781050" cy="342900"/>
            </a:xfrm>
            <a:custGeom>
              <a:avLst/>
              <a:gdLst>
                <a:gd name="T0" fmla="*/ 188 w 237"/>
                <a:gd name="T1" fmla="*/ 0 h 104"/>
                <a:gd name="T2" fmla="*/ 56 w 237"/>
                <a:gd name="T3" fmla="*/ 20 h 104"/>
                <a:gd name="T4" fmla="*/ 0 w 237"/>
                <a:gd name="T5" fmla="*/ 41 h 104"/>
                <a:gd name="T6" fmla="*/ 88 w 237"/>
                <a:gd name="T7" fmla="*/ 96 h 104"/>
                <a:gd name="T8" fmla="*/ 188 w 237"/>
                <a:gd name="T9" fmla="*/ 101 h 104"/>
                <a:gd name="T10" fmla="*/ 237 w 237"/>
                <a:gd name="T11" fmla="*/ 66 h 104"/>
                <a:gd name="T12" fmla="*/ 188 w 237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104">
                  <a:moveTo>
                    <a:pt x="188" y="0"/>
                  </a:moveTo>
                  <a:cubicBezTo>
                    <a:pt x="143" y="12"/>
                    <a:pt x="95" y="20"/>
                    <a:pt x="56" y="20"/>
                  </a:cubicBezTo>
                  <a:cubicBezTo>
                    <a:pt x="17" y="20"/>
                    <a:pt x="0" y="28"/>
                    <a:pt x="0" y="41"/>
                  </a:cubicBezTo>
                  <a:cubicBezTo>
                    <a:pt x="0" y="53"/>
                    <a:pt x="46" y="91"/>
                    <a:pt x="88" y="96"/>
                  </a:cubicBezTo>
                  <a:cubicBezTo>
                    <a:pt x="130" y="101"/>
                    <a:pt x="164" y="104"/>
                    <a:pt x="188" y="101"/>
                  </a:cubicBezTo>
                  <a:cubicBezTo>
                    <a:pt x="212" y="99"/>
                    <a:pt x="237" y="66"/>
                    <a:pt x="237" y="66"/>
                  </a:cubicBezTo>
                  <a:cubicBezTo>
                    <a:pt x="188" y="0"/>
                    <a:pt x="188" y="0"/>
                    <a:pt x="18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îṡlíḑé">
              <a:extLst>
                <a:ext uri="{FF2B5EF4-FFF2-40B4-BE49-F238E27FC236}">
                  <a16:creationId xmlns:a16="http://schemas.microsoft.com/office/drawing/2014/main" id="{1ABFE7BC-8CE1-4D44-9F2C-EBFC90909428}"/>
                </a:ext>
              </a:extLst>
            </p:cNvPr>
            <p:cNvSpPr/>
            <p:nvPr/>
          </p:nvSpPr>
          <p:spPr bwMode="auto">
            <a:xfrm>
              <a:off x="5068888" y="4576763"/>
              <a:ext cx="246063" cy="285750"/>
            </a:xfrm>
            <a:custGeom>
              <a:avLst/>
              <a:gdLst>
                <a:gd name="T0" fmla="*/ 26 w 75"/>
                <a:gd name="T1" fmla="*/ 0 h 87"/>
                <a:gd name="T2" fmla="*/ 0 w 75"/>
                <a:gd name="T3" fmla="*/ 6 h 87"/>
                <a:gd name="T4" fmla="*/ 54 w 75"/>
                <a:gd name="T5" fmla="*/ 87 h 87"/>
                <a:gd name="T6" fmla="*/ 75 w 75"/>
                <a:gd name="T7" fmla="*/ 66 h 87"/>
                <a:gd name="T8" fmla="*/ 75 w 75"/>
                <a:gd name="T9" fmla="*/ 66 h 87"/>
                <a:gd name="T10" fmla="*/ 75 w 75"/>
                <a:gd name="T11" fmla="*/ 66 h 87"/>
                <a:gd name="T12" fmla="*/ 75 w 75"/>
                <a:gd name="T13" fmla="*/ 66 h 87"/>
                <a:gd name="T14" fmla="*/ 75 w 75"/>
                <a:gd name="T15" fmla="*/ 66 h 87"/>
                <a:gd name="T16" fmla="*/ 26 w 75"/>
                <a:gd name="T17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87">
                  <a:moveTo>
                    <a:pt x="26" y="0"/>
                  </a:moveTo>
                  <a:cubicBezTo>
                    <a:pt x="17" y="2"/>
                    <a:pt x="8" y="4"/>
                    <a:pt x="0" y="6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66" y="78"/>
                    <a:pt x="75" y="66"/>
                    <a:pt x="75" y="66"/>
                  </a:cubicBezTo>
                  <a:cubicBezTo>
                    <a:pt x="75" y="66"/>
                    <a:pt x="75" y="66"/>
                    <a:pt x="75" y="66"/>
                  </a:cubicBezTo>
                  <a:cubicBezTo>
                    <a:pt x="75" y="66"/>
                    <a:pt x="75" y="66"/>
                    <a:pt x="75" y="66"/>
                  </a:cubicBezTo>
                  <a:cubicBezTo>
                    <a:pt x="75" y="66"/>
                    <a:pt x="75" y="66"/>
                    <a:pt x="75" y="66"/>
                  </a:cubicBezTo>
                  <a:cubicBezTo>
                    <a:pt x="75" y="66"/>
                    <a:pt x="75" y="66"/>
                    <a:pt x="75" y="66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íŝḷîdè">
              <a:extLst>
                <a:ext uri="{FF2B5EF4-FFF2-40B4-BE49-F238E27FC236}">
                  <a16:creationId xmlns:a16="http://schemas.microsoft.com/office/drawing/2014/main" id="{1189BFC8-EB94-4B3C-A979-E962E02D2924}"/>
                </a:ext>
              </a:extLst>
            </p:cNvPr>
            <p:cNvSpPr/>
            <p:nvPr/>
          </p:nvSpPr>
          <p:spPr bwMode="auto">
            <a:xfrm>
              <a:off x="6865938" y="4576763"/>
              <a:ext cx="782638" cy="342900"/>
            </a:xfrm>
            <a:custGeom>
              <a:avLst/>
              <a:gdLst>
                <a:gd name="T0" fmla="*/ 49 w 237"/>
                <a:gd name="T1" fmla="*/ 0 h 104"/>
                <a:gd name="T2" fmla="*/ 181 w 237"/>
                <a:gd name="T3" fmla="*/ 20 h 104"/>
                <a:gd name="T4" fmla="*/ 237 w 237"/>
                <a:gd name="T5" fmla="*/ 41 h 104"/>
                <a:gd name="T6" fmla="*/ 150 w 237"/>
                <a:gd name="T7" fmla="*/ 96 h 104"/>
                <a:gd name="T8" fmla="*/ 49 w 237"/>
                <a:gd name="T9" fmla="*/ 101 h 104"/>
                <a:gd name="T10" fmla="*/ 0 w 237"/>
                <a:gd name="T11" fmla="*/ 66 h 104"/>
                <a:gd name="T12" fmla="*/ 49 w 237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104">
                  <a:moveTo>
                    <a:pt x="49" y="0"/>
                  </a:moveTo>
                  <a:cubicBezTo>
                    <a:pt x="94" y="12"/>
                    <a:pt x="142" y="20"/>
                    <a:pt x="181" y="20"/>
                  </a:cubicBezTo>
                  <a:cubicBezTo>
                    <a:pt x="220" y="20"/>
                    <a:pt x="237" y="28"/>
                    <a:pt x="237" y="41"/>
                  </a:cubicBezTo>
                  <a:cubicBezTo>
                    <a:pt x="237" y="53"/>
                    <a:pt x="192" y="91"/>
                    <a:pt x="150" y="96"/>
                  </a:cubicBezTo>
                  <a:cubicBezTo>
                    <a:pt x="108" y="101"/>
                    <a:pt x="74" y="104"/>
                    <a:pt x="49" y="101"/>
                  </a:cubicBezTo>
                  <a:cubicBezTo>
                    <a:pt x="25" y="99"/>
                    <a:pt x="0" y="66"/>
                    <a:pt x="0" y="66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šḷïḑê">
              <a:extLst>
                <a:ext uri="{FF2B5EF4-FFF2-40B4-BE49-F238E27FC236}">
                  <a16:creationId xmlns:a16="http://schemas.microsoft.com/office/drawing/2014/main" id="{1BB9C3D0-A725-4D4D-BCA1-4035089C2291}"/>
                </a:ext>
              </a:extLst>
            </p:cNvPr>
            <p:cNvSpPr/>
            <p:nvPr/>
          </p:nvSpPr>
          <p:spPr bwMode="auto">
            <a:xfrm>
              <a:off x="6865938" y="4576763"/>
              <a:ext cx="241300" cy="217488"/>
            </a:xfrm>
            <a:custGeom>
              <a:avLst/>
              <a:gdLst>
                <a:gd name="T0" fmla="*/ 0 w 73"/>
                <a:gd name="T1" fmla="*/ 66 h 66"/>
                <a:gd name="T2" fmla="*/ 0 w 73"/>
                <a:gd name="T3" fmla="*/ 66 h 66"/>
                <a:gd name="T4" fmla="*/ 0 w 73"/>
                <a:gd name="T5" fmla="*/ 66 h 66"/>
                <a:gd name="T6" fmla="*/ 50 w 73"/>
                <a:gd name="T7" fmla="*/ 0 h 66"/>
                <a:gd name="T8" fmla="*/ 73 w 73"/>
                <a:gd name="T9" fmla="*/ 6 h 66"/>
                <a:gd name="T10" fmla="*/ 73 w 73"/>
                <a:gd name="T11" fmla="*/ 6 h 66"/>
                <a:gd name="T12" fmla="*/ 50 w 73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66">
                  <a:moveTo>
                    <a:pt x="0" y="66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moveTo>
                    <a:pt x="50" y="0"/>
                  </a:moveTo>
                  <a:cubicBezTo>
                    <a:pt x="58" y="2"/>
                    <a:pt x="66" y="4"/>
                    <a:pt x="7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66" y="4"/>
                    <a:pt x="58" y="2"/>
                    <a:pt x="5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ísḷide">
              <a:extLst>
                <a:ext uri="{FF2B5EF4-FFF2-40B4-BE49-F238E27FC236}">
                  <a16:creationId xmlns:a16="http://schemas.microsoft.com/office/drawing/2014/main" id="{09834D4F-A9B9-421D-A9B2-D3EF724348C0}"/>
                </a:ext>
              </a:extLst>
            </p:cNvPr>
            <p:cNvSpPr/>
            <p:nvPr/>
          </p:nvSpPr>
          <p:spPr bwMode="auto">
            <a:xfrm>
              <a:off x="6865938" y="4576763"/>
              <a:ext cx="241300" cy="288925"/>
            </a:xfrm>
            <a:custGeom>
              <a:avLst/>
              <a:gdLst>
                <a:gd name="T0" fmla="*/ 49 w 73"/>
                <a:gd name="T1" fmla="*/ 0 h 88"/>
                <a:gd name="T2" fmla="*/ 0 w 73"/>
                <a:gd name="T3" fmla="*/ 66 h 88"/>
                <a:gd name="T4" fmla="*/ 0 w 73"/>
                <a:gd name="T5" fmla="*/ 66 h 88"/>
                <a:gd name="T6" fmla="*/ 0 w 73"/>
                <a:gd name="T7" fmla="*/ 66 h 88"/>
                <a:gd name="T8" fmla="*/ 22 w 73"/>
                <a:gd name="T9" fmla="*/ 88 h 88"/>
                <a:gd name="T10" fmla="*/ 73 w 73"/>
                <a:gd name="T11" fmla="*/ 6 h 88"/>
                <a:gd name="T12" fmla="*/ 50 w 73"/>
                <a:gd name="T13" fmla="*/ 0 h 88"/>
                <a:gd name="T14" fmla="*/ 49 w 73"/>
                <a:gd name="T15" fmla="*/ 0 h 88"/>
                <a:gd name="T16" fmla="*/ 49 w 73"/>
                <a:gd name="T1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88">
                  <a:moveTo>
                    <a:pt x="49" y="0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9" y="78"/>
                    <a:pt x="22" y="88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66" y="4"/>
                    <a:pt x="58" y="2"/>
                    <a:pt x="50" y="0"/>
                  </a:cubicBezTo>
                  <a:cubicBezTo>
                    <a:pt x="50" y="0"/>
                    <a:pt x="50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íṣlidé">
              <a:extLst>
                <a:ext uri="{FF2B5EF4-FFF2-40B4-BE49-F238E27FC236}">
                  <a16:creationId xmlns:a16="http://schemas.microsoft.com/office/drawing/2014/main" id="{D5407ECE-6C7B-4DD0-8A0D-48E47D51CD33}"/>
                </a:ext>
              </a:extLst>
            </p:cNvPr>
            <p:cNvSpPr/>
            <p:nvPr/>
          </p:nvSpPr>
          <p:spPr bwMode="auto">
            <a:xfrm>
              <a:off x="5919788" y="1949450"/>
              <a:ext cx="330200" cy="349250"/>
            </a:xfrm>
            <a:prstGeom prst="rect">
              <a:avLst/>
            </a:prstGeom>
            <a:solidFill>
              <a:srgbClr val="F2B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ïsḻîďê">
              <a:extLst>
                <a:ext uri="{FF2B5EF4-FFF2-40B4-BE49-F238E27FC236}">
                  <a16:creationId xmlns:a16="http://schemas.microsoft.com/office/drawing/2014/main" id="{DB34AC93-33BE-47BE-BB4E-8469719B8D23}"/>
                </a:ext>
              </a:extLst>
            </p:cNvPr>
            <p:cNvSpPr/>
            <p:nvPr/>
          </p:nvSpPr>
          <p:spPr bwMode="auto">
            <a:xfrm>
              <a:off x="5919788" y="1949450"/>
              <a:ext cx="330200" cy="217488"/>
            </a:xfrm>
            <a:custGeom>
              <a:avLst/>
              <a:gdLst>
                <a:gd name="T0" fmla="*/ 0 w 100"/>
                <a:gd name="T1" fmla="*/ 43 h 66"/>
                <a:gd name="T2" fmla="*/ 100 w 100"/>
                <a:gd name="T3" fmla="*/ 66 h 66"/>
                <a:gd name="T4" fmla="*/ 100 w 100"/>
                <a:gd name="T5" fmla="*/ 0 h 66"/>
                <a:gd name="T6" fmla="*/ 0 w 100"/>
                <a:gd name="T7" fmla="*/ 0 h 66"/>
                <a:gd name="T8" fmla="*/ 0 w 100"/>
                <a:gd name="T9" fmla="*/ 4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66">
                  <a:moveTo>
                    <a:pt x="0" y="43"/>
                  </a:moveTo>
                  <a:cubicBezTo>
                    <a:pt x="18" y="52"/>
                    <a:pt x="53" y="65"/>
                    <a:pt x="100" y="66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BF8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íṥḷîḍè">
              <a:extLst>
                <a:ext uri="{FF2B5EF4-FFF2-40B4-BE49-F238E27FC236}">
                  <a16:creationId xmlns:a16="http://schemas.microsoft.com/office/drawing/2014/main" id="{76AB8F42-F505-422E-BEE9-C6244DC8A25C}"/>
                </a:ext>
              </a:extLst>
            </p:cNvPr>
            <p:cNvSpPr/>
            <p:nvPr/>
          </p:nvSpPr>
          <p:spPr bwMode="auto">
            <a:xfrm>
              <a:off x="5651501" y="1616075"/>
              <a:ext cx="219075" cy="239713"/>
            </a:xfrm>
            <a:custGeom>
              <a:avLst/>
              <a:gdLst>
                <a:gd name="T0" fmla="*/ 29 w 66"/>
                <a:gd name="T1" fmla="*/ 6 h 73"/>
                <a:gd name="T2" fmla="*/ 48 w 66"/>
                <a:gd name="T3" fmla="*/ 68 h 73"/>
                <a:gd name="T4" fmla="*/ 29 w 66"/>
                <a:gd name="T5" fmla="*/ 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73">
                  <a:moveTo>
                    <a:pt x="29" y="6"/>
                  </a:moveTo>
                  <a:cubicBezTo>
                    <a:pt x="51" y="0"/>
                    <a:pt x="66" y="63"/>
                    <a:pt x="48" y="68"/>
                  </a:cubicBezTo>
                  <a:cubicBezTo>
                    <a:pt x="30" y="73"/>
                    <a:pt x="0" y="14"/>
                    <a:pt x="29" y="6"/>
                  </a:cubicBezTo>
                  <a:close/>
                </a:path>
              </a:pathLst>
            </a:custGeom>
            <a:solidFill>
              <a:srgbClr val="E3B0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slide">
              <a:extLst>
                <a:ext uri="{FF2B5EF4-FFF2-40B4-BE49-F238E27FC236}">
                  <a16:creationId xmlns:a16="http://schemas.microsoft.com/office/drawing/2014/main" id="{5531AE82-F682-408C-AF02-7B8D16CD0071}"/>
                </a:ext>
              </a:extLst>
            </p:cNvPr>
            <p:cNvSpPr/>
            <p:nvPr/>
          </p:nvSpPr>
          <p:spPr bwMode="auto">
            <a:xfrm>
              <a:off x="6296026" y="1616075"/>
              <a:ext cx="217488" cy="239713"/>
            </a:xfrm>
            <a:custGeom>
              <a:avLst/>
              <a:gdLst>
                <a:gd name="T0" fmla="*/ 37 w 66"/>
                <a:gd name="T1" fmla="*/ 6 h 73"/>
                <a:gd name="T2" fmla="*/ 18 w 66"/>
                <a:gd name="T3" fmla="*/ 68 h 73"/>
                <a:gd name="T4" fmla="*/ 37 w 66"/>
                <a:gd name="T5" fmla="*/ 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73">
                  <a:moveTo>
                    <a:pt x="37" y="6"/>
                  </a:moveTo>
                  <a:cubicBezTo>
                    <a:pt x="15" y="0"/>
                    <a:pt x="0" y="63"/>
                    <a:pt x="18" y="68"/>
                  </a:cubicBezTo>
                  <a:cubicBezTo>
                    <a:pt x="36" y="73"/>
                    <a:pt x="66" y="14"/>
                    <a:pt x="37" y="6"/>
                  </a:cubicBezTo>
                  <a:close/>
                </a:path>
              </a:pathLst>
            </a:custGeom>
            <a:solidFill>
              <a:srgbClr val="E3B0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îṡľïḑé">
              <a:extLst>
                <a:ext uri="{FF2B5EF4-FFF2-40B4-BE49-F238E27FC236}">
                  <a16:creationId xmlns:a16="http://schemas.microsoft.com/office/drawing/2014/main" id="{7A6C525B-6E80-423D-9BE4-C1F6D329542A}"/>
                </a:ext>
              </a:extLst>
            </p:cNvPr>
            <p:cNvSpPr/>
            <p:nvPr/>
          </p:nvSpPr>
          <p:spPr bwMode="auto">
            <a:xfrm>
              <a:off x="5734051" y="1138238"/>
              <a:ext cx="700088" cy="965200"/>
            </a:xfrm>
            <a:custGeom>
              <a:avLst/>
              <a:gdLst>
                <a:gd name="T0" fmla="*/ 106 w 212"/>
                <a:gd name="T1" fmla="*/ 0 h 293"/>
                <a:gd name="T2" fmla="*/ 0 w 212"/>
                <a:gd name="T3" fmla="*/ 85 h 293"/>
                <a:gd name="T4" fmla="*/ 19 w 212"/>
                <a:gd name="T5" fmla="*/ 171 h 293"/>
                <a:gd name="T6" fmla="*/ 30 w 212"/>
                <a:gd name="T7" fmla="*/ 247 h 293"/>
                <a:gd name="T8" fmla="*/ 106 w 212"/>
                <a:gd name="T9" fmla="*/ 293 h 293"/>
                <a:gd name="T10" fmla="*/ 182 w 212"/>
                <a:gd name="T11" fmla="*/ 247 h 293"/>
                <a:gd name="T12" fmla="*/ 193 w 212"/>
                <a:gd name="T13" fmla="*/ 171 h 293"/>
                <a:gd name="T14" fmla="*/ 212 w 212"/>
                <a:gd name="T15" fmla="*/ 85 h 293"/>
                <a:gd name="T16" fmla="*/ 106 w 212"/>
                <a:gd name="T17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293">
                  <a:moveTo>
                    <a:pt x="106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71"/>
                    <a:pt x="23" y="225"/>
                    <a:pt x="30" y="247"/>
                  </a:cubicBezTo>
                  <a:cubicBezTo>
                    <a:pt x="38" y="269"/>
                    <a:pt x="84" y="293"/>
                    <a:pt x="106" y="293"/>
                  </a:cubicBezTo>
                  <a:cubicBezTo>
                    <a:pt x="128" y="293"/>
                    <a:pt x="174" y="269"/>
                    <a:pt x="182" y="247"/>
                  </a:cubicBezTo>
                  <a:cubicBezTo>
                    <a:pt x="189" y="225"/>
                    <a:pt x="193" y="171"/>
                    <a:pt x="193" y="171"/>
                  </a:cubicBezTo>
                  <a:cubicBezTo>
                    <a:pt x="212" y="85"/>
                    <a:pt x="212" y="85"/>
                    <a:pt x="212" y="85"/>
                  </a:cubicBezTo>
                  <a:lnTo>
                    <a:pt x="106" y="0"/>
                  </a:lnTo>
                  <a:close/>
                </a:path>
              </a:pathLst>
            </a:custGeom>
            <a:solidFill>
              <a:srgbClr val="F2CC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îṩľiďê">
              <a:extLst>
                <a:ext uri="{FF2B5EF4-FFF2-40B4-BE49-F238E27FC236}">
                  <a16:creationId xmlns:a16="http://schemas.microsoft.com/office/drawing/2014/main" id="{1F48D8BE-58C0-4860-A620-9B37BA9F2BBF}"/>
                </a:ext>
              </a:extLst>
            </p:cNvPr>
            <p:cNvSpPr/>
            <p:nvPr/>
          </p:nvSpPr>
          <p:spPr bwMode="auto">
            <a:xfrm>
              <a:off x="5862638" y="1497013"/>
              <a:ext cx="204788" cy="201613"/>
            </a:xfrm>
            <a:custGeom>
              <a:avLst/>
              <a:gdLst>
                <a:gd name="T0" fmla="*/ 60 w 62"/>
                <a:gd name="T1" fmla="*/ 30 h 61"/>
                <a:gd name="T2" fmla="*/ 58 w 62"/>
                <a:gd name="T3" fmla="*/ 30 h 61"/>
                <a:gd name="T4" fmla="*/ 50 w 62"/>
                <a:gd name="T5" fmla="*/ 49 h 61"/>
                <a:gd name="T6" fmla="*/ 31 w 62"/>
                <a:gd name="T7" fmla="*/ 57 h 61"/>
                <a:gd name="T8" fmla="*/ 12 w 62"/>
                <a:gd name="T9" fmla="*/ 49 h 61"/>
                <a:gd name="T10" fmla="*/ 4 w 62"/>
                <a:gd name="T11" fmla="*/ 30 h 61"/>
                <a:gd name="T12" fmla="*/ 12 w 62"/>
                <a:gd name="T13" fmla="*/ 12 h 61"/>
                <a:gd name="T14" fmla="*/ 31 w 62"/>
                <a:gd name="T15" fmla="*/ 4 h 61"/>
                <a:gd name="T16" fmla="*/ 50 w 62"/>
                <a:gd name="T17" fmla="*/ 12 h 61"/>
                <a:gd name="T18" fmla="*/ 58 w 62"/>
                <a:gd name="T19" fmla="*/ 30 h 61"/>
                <a:gd name="T20" fmla="*/ 60 w 62"/>
                <a:gd name="T21" fmla="*/ 30 h 61"/>
                <a:gd name="T22" fmla="*/ 62 w 62"/>
                <a:gd name="T23" fmla="*/ 30 h 61"/>
                <a:gd name="T24" fmla="*/ 31 w 62"/>
                <a:gd name="T25" fmla="*/ 0 h 61"/>
                <a:gd name="T26" fmla="*/ 0 w 62"/>
                <a:gd name="T27" fmla="*/ 30 h 61"/>
                <a:gd name="T28" fmla="*/ 31 w 62"/>
                <a:gd name="T29" fmla="*/ 61 h 61"/>
                <a:gd name="T30" fmla="*/ 62 w 62"/>
                <a:gd name="T31" fmla="*/ 30 h 61"/>
                <a:gd name="T32" fmla="*/ 60 w 62"/>
                <a:gd name="T33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2" h="61">
                  <a:moveTo>
                    <a:pt x="60" y="30"/>
                  </a:moveTo>
                  <a:cubicBezTo>
                    <a:pt x="58" y="30"/>
                    <a:pt x="58" y="30"/>
                    <a:pt x="58" y="30"/>
                  </a:cubicBezTo>
                  <a:cubicBezTo>
                    <a:pt x="58" y="38"/>
                    <a:pt x="55" y="45"/>
                    <a:pt x="50" y="49"/>
                  </a:cubicBezTo>
                  <a:cubicBezTo>
                    <a:pt x="45" y="54"/>
                    <a:pt x="38" y="57"/>
                    <a:pt x="31" y="57"/>
                  </a:cubicBezTo>
                  <a:cubicBezTo>
                    <a:pt x="24" y="57"/>
                    <a:pt x="17" y="54"/>
                    <a:pt x="12" y="49"/>
                  </a:cubicBezTo>
                  <a:cubicBezTo>
                    <a:pt x="7" y="45"/>
                    <a:pt x="4" y="38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7" y="7"/>
                    <a:pt x="24" y="4"/>
                    <a:pt x="31" y="4"/>
                  </a:cubicBezTo>
                  <a:cubicBezTo>
                    <a:pt x="38" y="4"/>
                    <a:pt x="45" y="7"/>
                    <a:pt x="50" y="12"/>
                  </a:cubicBezTo>
                  <a:cubicBezTo>
                    <a:pt x="55" y="16"/>
                    <a:pt x="58" y="23"/>
                    <a:pt x="58" y="30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13"/>
                    <a:pt x="48" y="0"/>
                    <a:pt x="31" y="0"/>
                  </a:cubicBezTo>
                  <a:cubicBezTo>
                    <a:pt x="14" y="0"/>
                    <a:pt x="0" y="13"/>
                    <a:pt x="0" y="30"/>
                  </a:cubicBezTo>
                  <a:cubicBezTo>
                    <a:pt x="0" y="47"/>
                    <a:pt x="14" y="61"/>
                    <a:pt x="31" y="61"/>
                  </a:cubicBezTo>
                  <a:cubicBezTo>
                    <a:pt x="48" y="61"/>
                    <a:pt x="62" y="47"/>
                    <a:pt x="62" y="30"/>
                  </a:cubicBezTo>
                  <a:lnTo>
                    <a:pt x="60" y="30"/>
                  </a:lnTo>
                  <a:close/>
                </a:path>
              </a:pathLst>
            </a:custGeom>
            <a:solidFill>
              <a:srgbClr val="0C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i$ļiḓê">
              <a:extLst>
                <a:ext uri="{FF2B5EF4-FFF2-40B4-BE49-F238E27FC236}">
                  <a16:creationId xmlns:a16="http://schemas.microsoft.com/office/drawing/2014/main" id="{D3CFD833-5172-4258-8E0D-F4A9F0535E55}"/>
                </a:ext>
              </a:extLst>
            </p:cNvPr>
            <p:cNvSpPr/>
            <p:nvPr/>
          </p:nvSpPr>
          <p:spPr bwMode="auto">
            <a:xfrm>
              <a:off x="6100763" y="1497013"/>
              <a:ext cx="204788" cy="201613"/>
            </a:xfrm>
            <a:custGeom>
              <a:avLst/>
              <a:gdLst>
                <a:gd name="T0" fmla="*/ 60 w 62"/>
                <a:gd name="T1" fmla="*/ 30 h 61"/>
                <a:gd name="T2" fmla="*/ 58 w 62"/>
                <a:gd name="T3" fmla="*/ 30 h 61"/>
                <a:gd name="T4" fmla="*/ 50 w 62"/>
                <a:gd name="T5" fmla="*/ 49 h 61"/>
                <a:gd name="T6" fmla="*/ 31 w 62"/>
                <a:gd name="T7" fmla="*/ 57 h 61"/>
                <a:gd name="T8" fmla="*/ 12 w 62"/>
                <a:gd name="T9" fmla="*/ 49 h 61"/>
                <a:gd name="T10" fmla="*/ 4 w 62"/>
                <a:gd name="T11" fmla="*/ 30 h 61"/>
                <a:gd name="T12" fmla="*/ 12 w 62"/>
                <a:gd name="T13" fmla="*/ 12 h 61"/>
                <a:gd name="T14" fmla="*/ 31 w 62"/>
                <a:gd name="T15" fmla="*/ 4 h 61"/>
                <a:gd name="T16" fmla="*/ 50 w 62"/>
                <a:gd name="T17" fmla="*/ 12 h 61"/>
                <a:gd name="T18" fmla="*/ 58 w 62"/>
                <a:gd name="T19" fmla="*/ 30 h 61"/>
                <a:gd name="T20" fmla="*/ 60 w 62"/>
                <a:gd name="T21" fmla="*/ 30 h 61"/>
                <a:gd name="T22" fmla="*/ 62 w 62"/>
                <a:gd name="T23" fmla="*/ 30 h 61"/>
                <a:gd name="T24" fmla="*/ 31 w 62"/>
                <a:gd name="T25" fmla="*/ 0 h 61"/>
                <a:gd name="T26" fmla="*/ 0 w 62"/>
                <a:gd name="T27" fmla="*/ 30 h 61"/>
                <a:gd name="T28" fmla="*/ 31 w 62"/>
                <a:gd name="T29" fmla="*/ 61 h 61"/>
                <a:gd name="T30" fmla="*/ 62 w 62"/>
                <a:gd name="T31" fmla="*/ 30 h 61"/>
                <a:gd name="T32" fmla="*/ 60 w 62"/>
                <a:gd name="T33" fmla="*/ 3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2" h="61">
                  <a:moveTo>
                    <a:pt x="60" y="30"/>
                  </a:moveTo>
                  <a:cubicBezTo>
                    <a:pt x="58" y="30"/>
                    <a:pt x="58" y="30"/>
                    <a:pt x="58" y="30"/>
                  </a:cubicBezTo>
                  <a:cubicBezTo>
                    <a:pt x="58" y="38"/>
                    <a:pt x="55" y="45"/>
                    <a:pt x="50" y="49"/>
                  </a:cubicBezTo>
                  <a:cubicBezTo>
                    <a:pt x="45" y="54"/>
                    <a:pt x="38" y="57"/>
                    <a:pt x="31" y="57"/>
                  </a:cubicBezTo>
                  <a:cubicBezTo>
                    <a:pt x="24" y="57"/>
                    <a:pt x="17" y="54"/>
                    <a:pt x="12" y="49"/>
                  </a:cubicBezTo>
                  <a:cubicBezTo>
                    <a:pt x="7" y="45"/>
                    <a:pt x="4" y="38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7" y="7"/>
                    <a:pt x="24" y="4"/>
                    <a:pt x="31" y="4"/>
                  </a:cubicBezTo>
                  <a:cubicBezTo>
                    <a:pt x="38" y="4"/>
                    <a:pt x="45" y="7"/>
                    <a:pt x="50" y="12"/>
                  </a:cubicBezTo>
                  <a:cubicBezTo>
                    <a:pt x="55" y="16"/>
                    <a:pt x="58" y="23"/>
                    <a:pt x="58" y="30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13"/>
                    <a:pt x="48" y="0"/>
                    <a:pt x="31" y="0"/>
                  </a:cubicBezTo>
                  <a:cubicBezTo>
                    <a:pt x="14" y="0"/>
                    <a:pt x="0" y="13"/>
                    <a:pt x="0" y="30"/>
                  </a:cubicBezTo>
                  <a:cubicBezTo>
                    <a:pt x="0" y="47"/>
                    <a:pt x="14" y="61"/>
                    <a:pt x="31" y="61"/>
                  </a:cubicBezTo>
                  <a:cubicBezTo>
                    <a:pt x="48" y="61"/>
                    <a:pt x="62" y="47"/>
                    <a:pt x="62" y="30"/>
                  </a:cubicBezTo>
                  <a:lnTo>
                    <a:pt x="60" y="30"/>
                  </a:lnTo>
                  <a:close/>
                </a:path>
              </a:pathLst>
            </a:custGeom>
            <a:solidFill>
              <a:srgbClr val="0C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îSḻïḍe">
              <a:extLst>
                <a:ext uri="{FF2B5EF4-FFF2-40B4-BE49-F238E27FC236}">
                  <a16:creationId xmlns:a16="http://schemas.microsoft.com/office/drawing/2014/main" id="{54CBB197-ECA5-4AC1-BD2D-65A009E09A5B}"/>
                </a:ext>
              </a:extLst>
            </p:cNvPr>
            <p:cNvSpPr/>
            <p:nvPr/>
          </p:nvSpPr>
          <p:spPr bwMode="auto">
            <a:xfrm>
              <a:off x="6057901" y="1566863"/>
              <a:ext cx="52388" cy="12700"/>
            </a:xfrm>
            <a:prstGeom prst="rect">
              <a:avLst/>
            </a:prstGeom>
            <a:solidFill>
              <a:srgbClr val="0C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ṣḷíďê">
              <a:extLst>
                <a:ext uri="{FF2B5EF4-FFF2-40B4-BE49-F238E27FC236}">
                  <a16:creationId xmlns:a16="http://schemas.microsoft.com/office/drawing/2014/main" id="{8F031BD7-D6E2-4383-9A79-6E72E5F395A3}"/>
                </a:ext>
              </a:extLst>
            </p:cNvPr>
            <p:cNvSpPr/>
            <p:nvPr/>
          </p:nvSpPr>
          <p:spPr bwMode="auto">
            <a:xfrm>
              <a:off x="6057901" y="1566863"/>
              <a:ext cx="52388" cy="12700"/>
            </a:xfrm>
            <a:custGeom>
              <a:avLst/>
              <a:gdLst>
                <a:gd name="T0" fmla="*/ 0 w 33"/>
                <a:gd name="T1" fmla="*/ 8 h 8"/>
                <a:gd name="T2" fmla="*/ 33 w 33"/>
                <a:gd name="T3" fmla="*/ 8 h 8"/>
                <a:gd name="T4" fmla="*/ 33 w 33"/>
                <a:gd name="T5" fmla="*/ 0 h 8"/>
                <a:gd name="T6" fmla="*/ 0 w 33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8">
                  <a:moveTo>
                    <a:pt x="0" y="8"/>
                  </a:moveTo>
                  <a:lnTo>
                    <a:pt x="33" y="8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ïṡļíḓê">
              <a:extLst>
                <a:ext uri="{FF2B5EF4-FFF2-40B4-BE49-F238E27FC236}">
                  <a16:creationId xmlns:a16="http://schemas.microsoft.com/office/drawing/2014/main" id="{78615291-ABF8-42B9-9BFB-15FABB3A19E7}"/>
                </a:ext>
              </a:extLst>
            </p:cNvPr>
            <p:cNvSpPr/>
            <p:nvPr/>
          </p:nvSpPr>
          <p:spPr bwMode="auto">
            <a:xfrm>
              <a:off x="5757863" y="1570038"/>
              <a:ext cx="115888" cy="12700"/>
            </a:xfrm>
            <a:prstGeom prst="rect">
              <a:avLst/>
            </a:prstGeom>
            <a:solidFill>
              <a:srgbClr val="0C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Sľíďè">
              <a:extLst>
                <a:ext uri="{FF2B5EF4-FFF2-40B4-BE49-F238E27FC236}">
                  <a16:creationId xmlns:a16="http://schemas.microsoft.com/office/drawing/2014/main" id="{9BE8BD01-DF07-4261-BC87-8C304B683C7A}"/>
                </a:ext>
              </a:extLst>
            </p:cNvPr>
            <p:cNvSpPr/>
            <p:nvPr/>
          </p:nvSpPr>
          <p:spPr bwMode="auto">
            <a:xfrm>
              <a:off x="5757863" y="1570038"/>
              <a:ext cx="115888" cy="12700"/>
            </a:xfrm>
            <a:custGeom>
              <a:avLst/>
              <a:gdLst>
                <a:gd name="T0" fmla="*/ 73 w 73"/>
                <a:gd name="T1" fmla="*/ 0 h 8"/>
                <a:gd name="T2" fmla="*/ 0 w 73"/>
                <a:gd name="T3" fmla="*/ 0 h 8"/>
                <a:gd name="T4" fmla="*/ 0 w 73"/>
                <a:gd name="T5" fmla="*/ 8 h 8"/>
                <a:gd name="T6" fmla="*/ 73 w 73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8">
                  <a:moveTo>
                    <a:pt x="73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73" y="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îśļîḑè">
              <a:extLst>
                <a:ext uri="{FF2B5EF4-FFF2-40B4-BE49-F238E27FC236}">
                  <a16:creationId xmlns:a16="http://schemas.microsoft.com/office/drawing/2014/main" id="{DE78E208-30D7-4DF0-A78F-9C0CCEE63604}"/>
                </a:ext>
              </a:extLst>
            </p:cNvPr>
            <p:cNvSpPr/>
            <p:nvPr/>
          </p:nvSpPr>
          <p:spPr bwMode="auto">
            <a:xfrm>
              <a:off x="6292851" y="1570038"/>
              <a:ext cx="114300" cy="12700"/>
            </a:xfrm>
            <a:prstGeom prst="rect">
              <a:avLst/>
            </a:prstGeom>
            <a:solidFill>
              <a:srgbClr val="0C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ïSľíḑe">
              <a:extLst>
                <a:ext uri="{FF2B5EF4-FFF2-40B4-BE49-F238E27FC236}">
                  <a16:creationId xmlns:a16="http://schemas.microsoft.com/office/drawing/2014/main" id="{10104D36-6222-493D-8FD9-1D636F411110}"/>
                </a:ext>
              </a:extLst>
            </p:cNvPr>
            <p:cNvSpPr/>
            <p:nvPr/>
          </p:nvSpPr>
          <p:spPr bwMode="auto">
            <a:xfrm>
              <a:off x="6292851" y="1570038"/>
              <a:ext cx="114300" cy="12700"/>
            </a:xfrm>
            <a:custGeom>
              <a:avLst/>
              <a:gdLst>
                <a:gd name="T0" fmla="*/ 72 w 72"/>
                <a:gd name="T1" fmla="*/ 0 h 8"/>
                <a:gd name="T2" fmla="*/ 0 w 72"/>
                <a:gd name="T3" fmla="*/ 0 h 8"/>
                <a:gd name="T4" fmla="*/ 0 w 72"/>
                <a:gd name="T5" fmla="*/ 8 h 8"/>
                <a:gd name="T6" fmla="*/ 72 w 72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8">
                  <a:moveTo>
                    <a:pt x="72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72" y="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iŝḻíḑê">
              <a:extLst>
                <a:ext uri="{FF2B5EF4-FFF2-40B4-BE49-F238E27FC236}">
                  <a16:creationId xmlns:a16="http://schemas.microsoft.com/office/drawing/2014/main" id="{D67EFD1D-90D5-4CA6-8A8F-7525EBD7001B}"/>
                </a:ext>
              </a:extLst>
            </p:cNvPr>
            <p:cNvSpPr/>
            <p:nvPr/>
          </p:nvSpPr>
          <p:spPr bwMode="auto">
            <a:xfrm>
              <a:off x="5899151" y="1560513"/>
              <a:ext cx="122238" cy="31750"/>
            </a:xfrm>
            <a:custGeom>
              <a:avLst/>
              <a:gdLst>
                <a:gd name="T0" fmla="*/ 3 w 37"/>
                <a:gd name="T1" fmla="*/ 10 h 10"/>
                <a:gd name="T2" fmla="*/ 3 w 37"/>
                <a:gd name="T3" fmla="*/ 10 h 10"/>
                <a:gd name="T4" fmla="*/ 18 w 37"/>
                <a:gd name="T5" fmla="*/ 4 h 10"/>
                <a:gd name="T6" fmla="*/ 35 w 37"/>
                <a:gd name="T7" fmla="*/ 10 h 10"/>
                <a:gd name="T8" fmla="*/ 37 w 37"/>
                <a:gd name="T9" fmla="*/ 7 h 10"/>
                <a:gd name="T10" fmla="*/ 18 w 37"/>
                <a:gd name="T11" fmla="*/ 0 h 10"/>
                <a:gd name="T12" fmla="*/ 0 w 37"/>
                <a:gd name="T13" fmla="*/ 7 h 10"/>
                <a:gd name="T14" fmla="*/ 3 w 37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0">
                  <a:moveTo>
                    <a:pt x="3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9"/>
                    <a:pt x="9" y="4"/>
                    <a:pt x="18" y="4"/>
                  </a:cubicBezTo>
                  <a:cubicBezTo>
                    <a:pt x="23" y="4"/>
                    <a:pt x="29" y="6"/>
                    <a:pt x="35" y="10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0" y="2"/>
                    <a:pt x="24" y="0"/>
                    <a:pt x="18" y="0"/>
                  </a:cubicBezTo>
                  <a:cubicBezTo>
                    <a:pt x="7" y="0"/>
                    <a:pt x="0" y="7"/>
                    <a:pt x="0" y="7"/>
                  </a:cubicBezTo>
                  <a:cubicBezTo>
                    <a:pt x="3" y="10"/>
                    <a:pt x="3" y="10"/>
                    <a:pt x="3" y="10"/>
                  </a:cubicBezTo>
                  <a:close/>
                </a:path>
              </a:pathLst>
            </a:custGeom>
            <a:solidFill>
              <a:srgbClr val="B88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ï$ľíḋé">
              <a:extLst>
                <a:ext uri="{FF2B5EF4-FFF2-40B4-BE49-F238E27FC236}">
                  <a16:creationId xmlns:a16="http://schemas.microsoft.com/office/drawing/2014/main" id="{EC66C920-8DF8-499F-B7CE-361D001E2586}"/>
                </a:ext>
              </a:extLst>
            </p:cNvPr>
            <p:cNvSpPr/>
            <p:nvPr/>
          </p:nvSpPr>
          <p:spPr bwMode="auto">
            <a:xfrm>
              <a:off x="6146801" y="1560513"/>
              <a:ext cx="125413" cy="31750"/>
            </a:xfrm>
            <a:custGeom>
              <a:avLst/>
              <a:gdLst>
                <a:gd name="T0" fmla="*/ 38 w 38"/>
                <a:gd name="T1" fmla="*/ 7 h 10"/>
                <a:gd name="T2" fmla="*/ 19 w 38"/>
                <a:gd name="T3" fmla="*/ 0 h 10"/>
                <a:gd name="T4" fmla="*/ 0 w 38"/>
                <a:gd name="T5" fmla="*/ 7 h 10"/>
                <a:gd name="T6" fmla="*/ 3 w 38"/>
                <a:gd name="T7" fmla="*/ 10 h 10"/>
                <a:gd name="T8" fmla="*/ 19 w 38"/>
                <a:gd name="T9" fmla="*/ 4 h 10"/>
                <a:gd name="T10" fmla="*/ 31 w 38"/>
                <a:gd name="T11" fmla="*/ 7 h 10"/>
                <a:gd name="T12" fmla="*/ 34 w 38"/>
                <a:gd name="T13" fmla="*/ 9 h 10"/>
                <a:gd name="T14" fmla="*/ 35 w 38"/>
                <a:gd name="T15" fmla="*/ 10 h 10"/>
                <a:gd name="T16" fmla="*/ 35 w 38"/>
                <a:gd name="T17" fmla="*/ 10 h 10"/>
                <a:gd name="T18" fmla="*/ 35 w 38"/>
                <a:gd name="T19" fmla="*/ 10 h 10"/>
                <a:gd name="T20" fmla="*/ 38 w 38"/>
                <a:gd name="T2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10">
                  <a:moveTo>
                    <a:pt x="38" y="7"/>
                  </a:moveTo>
                  <a:cubicBezTo>
                    <a:pt x="38" y="7"/>
                    <a:pt x="31" y="0"/>
                    <a:pt x="19" y="0"/>
                  </a:cubicBezTo>
                  <a:cubicBezTo>
                    <a:pt x="14" y="0"/>
                    <a:pt x="7" y="2"/>
                    <a:pt x="0" y="7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9" y="6"/>
                    <a:pt x="15" y="4"/>
                    <a:pt x="19" y="4"/>
                  </a:cubicBezTo>
                  <a:cubicBezTo>
                    <a:pt x="24" y="4"/>
                    <a:pt x="28" y="6"/>
                    <a:pt x="31" y="7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7"/>
                    <a:pt x="38" y="7"/>
                    <a:pt x="38" y="7"/>
                  </a:cubicBezTo>
                  <a:close/>
                </a:path>
              </a:pathLst>
            </a:custGeom>
            <a:solidFill>
              <a:srgbClr val="B88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íşļïdé">
              <a:extLst>
                <a:ext uri="{FF2B5EF4-FFF2-40B4-BE49-F238E27FC236}">
                  <a16:creationId xmlns:a16="http://schemas.microsoft.com/office/drawing/2014/main" id="{6093F1C2-BBBD-4671-BEF7-0B2FB48E8B5F}"/>
                </a:ext>
              </a:extLst>
            </p:cNvPr>
            <p:cNvSpPr/>
            <p:nvPr/>
          </p:nvSpPr>
          <p:spPr bwMode="auto">
            <a:xfrm>
              <a:off x="5895976" y="1800225"/>
              <a:ext cx="376238" cy="115888"/>
            </a:xfrm>
            <a:custGeom>
              <a:avLst/>
              <a:gdLst>
                <a:gd name="T0" fmla="*/ 102 w 114"/>
                <a:gd name="T1" fmla="*/ 5 h 35"/>
                <a:gd name="T2" fmla="*/ 93 w 114"/>
                <a:gd name="T3" fmla="*/ 18 h 35"/>
                <a:gd name="T4" fmla="*/ 67 w 114"/>
                <a:gd name="T5" fmla="*/ 0 h 35"/>
                <a:gd name="T6" fmla="*/ 57 w 114"/>
                <a:gd name="T7" fmla="*/ 0 h 35"/>
                <a:gd name="T8" fmla="*/ 47 w 114"/>
                <a:gd name="T9" fmla="*/ 0 h 35"/>
                <a:gd name="T10" fmla="*/ 21 w 114"/>
                <a:gd name="T11" fmla="*/ 18 h 35"/>
                <a:gd name="T12" fmla="*/ 12 w 114"/>
                <a:gd name="T13" fmla="*/ 5 h 35"/>
                <a:gd name="T14" fmla="*/ 12 w 114"/>
                <a:gd name="T15" fmla="*/ 25 h 35"/>
                <a:gd name="T16" fmla="*/ 57 w 114"/>
                <a:gd name="T17" fmla="*/ 23 h 35"/>
                <a:gd name="T18" fmla="*/ 102 w 114"/>
                <a:gd name="T19" fmla="*/ 25 h 35"/>
                <a:gd name="T20" fmla="*/ 102 w 114"/>
                <a:gd name="T2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35">
                  <a:moveTo>
                    <a:pt x="102" y="5"/>
                  </a:moveTo>
                  <a:cubicBezTo>
                    <a:pt x="102" y="5"/>
                    <a:pt x="106" y="18"/>
                    <a:pt x="93" y="18"/>
                  </a:cubicBezTo>
                  <a:cubicBezTo>
                    <a:pt x="80" y="18"/>
                    <a:pt x="67" y="0"/>
                    <a:pt x="6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34" y="18"/>
                    <a:pt x="21" y="18"/>
                  </a:cubicBezTo>
                  <a:cubicBezTo>
                    <a:pt x="8" y="18"/>
                    <a:pt x="12" y="5"/>
                    <a:pt x="12" y="5"/>
                  </a:cubicBezTo>
                  <a:cubicBezTo>
                    <a:pt x="12" y="5"/>
                    <a:pt x="0" y="18"/>
                    <a:pt x="12" y="25"/>
                  </a:cubicBezTo>
                  <a:cubicBezTo>
                    <a:pt x="30" y="35"/>
                    <a:pt x="57" y="23"/>
                    <a:pt x="57" y="23"/>
                  </a:cubicBezTo>
                  <a:cubicBezTo>
                    <a:pt x="57" y="23"/>
                    <a:pt x="84" y="35"/>
                    <a:pt x="102" y="25"/>
                  </a:cubicBezTo>
                  <a:cubicBezTo>
                    <a:pt x="114" y="18"/>
                    <a:pt x="102" y="5"/>
                    <a:pt x="102" y="5"/>
                  </a:cubicBezTo>
                  <a:close/>
                </a:path>
              </a:pathLst>
            </a:custGeom>
            <a:solidFill>
              <a:srgbClr val="0E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s1íḋe">
              <a:extLst>
                <a:ext uri="{FF2B5EF4-FFF2-40B4-BE49-F238E27FC236}">
                  <a16:creationId xmlns:a16="http://schemas.microsoft.com/office/drawing/2014/main" id="{26499CDC-E051-49A3-B1C3-D141CA2CB41D}"/>
                </a:ext>
              </a:extLst>
            </p:cNvPr>
            <p:cNvSpPr/>
            <p:nvPr/>
          </p:nvSpPr>
          <p:spPr bwMode="auto">
            <a:xfrm>
              <a:off x="5348288" y="2120900"/>
              <a:ext cx="1477963" cy="2082800"/>
            </a:xfrm>
            <a:custGeom>
              <a:avLst/>
              <a:gdLst>
                <a:gd name="T0" fmla="*/ 448 w 448"/>
                <a:gd name="T1" fmla="*/ 263 h 632"/>
                <a:gd name="T2" fmla="*/ 443 w 448"/>
                <a:gd name="T3" fmla="*/ 82 h 632"/>
                <a:gd name="T4" fmla="*/ 293 w 448"/>
                <a:gd name="T5" fmla="*/ 32 h 632"/>
                <a:gd name="T6" fmla="*/ 293 w 448"/>
                <a:gd name="T7" fmla="*/ 9 h 632"/>
                <a:gd name="T8" fmla="*/ 237 w 448"/>
                <a:gd name="T9" fmla="*/ 14 h 632"/>
                <a:gd name="T10" fmla="*/ 224 w 448"/>
                <a:gd name="T11" fmla="*/ 35 h 632"/>
                <a:gd name="T12" fmla="*/ 211 w 448"/>
                <a:gd name="T13" fmla="*/ 14 h 632"/>
                <a:gd name="T14" fmla="*/ 155 w 448"/>
                <a:gd name="T15" fmla="*/ 9 h 632"/>
                <a:gd name="T16" fmla="*/ 155 w 448"/>
                <a:gd name="T17" fmla="*/ 32 h 632"/>
                <a:gd name="T18" fmla="*/ 5 w 448"/>
                <a:gd name="T19" fmla="*/ 82 h 632"/>
                <a:gd name="T20" fmla="*/ 0 w 448"/>
                <a:gd name="T21" fmla="*/ 263 h 632"/>
                <a:gd name="T22" fmla="*/ 26 w 448"/>
                <a:gd name="T23" fmla="*/ 632 h 632"/>
                <a:gd name="T24" fmla="*/ 422 w 448"/>
                <a:gd name="T25" fmla="*/ 632 h 632"/>
                <a:gd name="T26" fmla="*/ 448 w 448"/>
                <a:gd name="T27" fmla="*/ 263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8" h="632">
                  <a:moveTo>
                    <a:pt x="448" y="263"/>
                  </a:moveTo>
                  <a:cubicBezTo>
                    <a:pt x="443" y="82"/>
                    <a:pt x="443" y="82"/>
                    <a:pt x="443" y="82"/>
                  </a:cubicBezTo>
                  <a:cubicBezTo>
                    <a:pt x="443" y="82"/>
                    <a:pt x="392" y="57"/>
                    <a:pt x="293" y="32"/>
                  </a:cubicBezTo>
                  <a:cubicBezTo>
                    <a:pt x="293" y="9"/>
                    <a:pt x="293" y="9"/>
                    <a:pt x="293" y="9"/>
                  </a:cubicBezTo>
                  <a:cubicBezTo>
                    <a:pt x="293" y="9"/>
                    <a:pt x="252" y="0"/>
                    <a:pt x="237" y="14"/>
                  </a:cubicBezTo>
                  <a:cubicBezTo>
                    <a:pt x="227" y="23"/>
                    <a:pt x="225" y="31"/>
                    <a:pt x="224" y="35"/>
                  </a:cubicBezTo>
                  <a:cubicBezTo>
                    <a:pt x="223" y="31"/>
                    <a:pt x="221" y="23"/>
                    <a:pt x="211" y="14"/>
                  </a:cubicBezTo>
                  <a:cubicBezTo>
                    <a:pt x="196" y="0"/>
                    <a:pt x="155" y="9"/>
                    <a:pt x="155" y="9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56" y="57"/>
                    <a:pt x="5" y="82"/>
                    <a:pt x="5" y="82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14" y="419"/>
                    <a:pt x="26" y="632"/>
                    <a:pt x="26" y="632"/>
                  </a:cubicBezTo>
                  <a:cubicBezTo>
                    <a:pt x="422" y="632"/>
                    <a:pt x="422" y="632"/>
                    <a:pt x="422" y="632"/>
                  </a:cubicBezTo>
                  <a:cubicBezTo>
                    <a:pt x="422" y="632"/>
                    <a:pt x="434" y="419"/>
                    <a:pt x="448" y="263"/>
                  </a:cubicBezTo>
                  <a:close/>
                </a:path>
              </a:pathLst>
            </a:custGeom>
            <a:solidFill>
              <a:srgbClr val="5438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íṥ1íḑê">
              <a:extLst>
                <a:ext uri="{FF2B5EF4-FFF2-40B4-BE49-F238E27FC236}">
                  <a16:creationId xmlns:a16="http://schemas.microsoft.com/office/drawing/2014/main" id="{5907281C-5618-47CF-9A4D-AEF0C988BEF6}"/>
                </a:ext>
              </a:extLst>
            </p:cNvPr>
            <p:cNvSpPr/>
            <p:nvPr/>
          </p:nvSpPr>
          <p:spPr bwMode="auto">
            <a:xfrm>
              <a:off x="6081713" y="2235200"/>
              <a:ext cx="12700" cy="1968500"/>
            </a:xfrm>
            <a:prstGeom prst="rect">
              <a:avLst/>
            </a:prstGeom>
            <a:solidFill>
              <a:srgbClr val="9C8B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îṩḷîdê">
              <a:extLst>
                <a:ext uri="{FF2B5EF4-FFF2-40B4-BE49-F238E27FC236}">
                  <a16:creationId xmlns:a16="http://schemas.microsoft.com/office/drawing/2014/main" id="{59F1B16E-3ABC-45CA-A758-59CD40DD4764}"/>
                </a:ext>
              </a:extLst>
            </p:cNvPr>
            <p:cNvSpPr/>
            <p:nvPr/>
          </p:nvSpPr>
          <p:spPr bwMode="auto">
            <a:xfrm>
              <a:off x="6081713" y="2235200"/>
              <a:ext cx="12700" cy="1968500"/>
            </a:xfrm>
            <a:custGeom>
              <a:avLst/>
              <a:gdLst>
                <a:gd name="T0" fmla="*/ 0 w 8"/>
                <a:gd name="T1" fmla="*/ 0 h 1240"/>
                <a:gd name="T2" fmla="*/ 0 w 8"/>
                <a:gd name="T3" fmla="*/ 1240 h 1240"/>
                <a:gd name="T4" fmla="*/ 8 w 8"/>
                <a:gd name="T5" fmla="*/ 1240 h 1240"/>
                <a:gd name="T6" fmla="*/ 8 w 8"/>
                <a:gd name="T7" fmla="*/ 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240">
                  <a:moveTo>
                    <a:pt x="0" y="0"/>
                  </a:moveTo>
                  <a:lnTo>
                    <a:pt x="0" y="1240"/>
                  </a:lnTo>
                  <a:lnTo>
                    <a:pt x="8" y="1240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ïšľíḍé">
              <a:extLst>
                <a:ext uri="{FF2B5EF4-FFF2-40B4-BE49-F238E27FC236}">
                  <a16:creationId xmlns:a16="http://schemas.microsoft.com/office/drawing/2014/main" id="{BE259005-02E5-4614-9DFC-8D24391BD67E}"/>
                </a:ext>
              </a:extLst>
            </p:cNvPr>
            <p:cNvSpPr/>
            <p:nvPr/>
          </p:nvSpPr>
          <p:spPr bwMode="auto">
            <a:xfrm>
              <a:off x="4803776" y="3833813"/>
              <a:ext cx="2566988" cy="850900"/>
            </a:xfrm>
            <a:custGeom>
              <a:avLst/>
              <a:gdLst>
                <a:gd name="T0" fmla="*/ 778 w 778"/>
                <a:gd name="T1" fmla="*/ 107 h 258"/>
                <a:gd name="T2" fmla="*/ 557 w 778"/>
                <a:gd name="T3" fmla="*/ 0 h 258"/>
                <a:gd name="T4" fmla="*/ 389 w 778"/>
                <a:gd name="T5" fmla="*/ 37 h 258"/>
                <a:gd name="T6" fmla="*/ 221 w 778"/>
                <a:gd name="T7" fmla="*/ 0 h 258"/>
                <a:gd name="T8" fmla="*/ 0 w 778"/>
                <a:gd name="T9" fmla="*/ 107 h 258"/>
                <a:gd name="T10" fmla="*/ 389 w 778"/>
                <a:gd name="T11" fmla="*/ 258 h 258"/>
                <a:gd name="T12" fmla="*/ 389 w 778"/>
                <a:gd name="T13" fmla="*/ 258 h 258"/>
                <a:gd name="T14" fmla="*/ 778 w 778"/>
                <a:gd name="T15" fmla="*/ 107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8" h="258">
                  <a:moveTo>
                    <a:pt x="778" y="107"/>
                  </a:moveTo>
                  <a:cubicBezTo>
                    <a:pt x="557" y="0"/>
                    <a:pt x="557" y="0"/>
                    <a:pt x="557" y="0"/>
                  </a:cubicBezTo>
                  <a:cubicBezTo>
                    <a:pt x="557" y="0"/>
                    <a:pt x="428" y="37"/>
                    <a:pt x="389" y="37"/>
                  </a:cubicBezTo>
                  <a:cubicBezTo>
                    <a:pt x="350" y="37"/>
                    <a:pt x="221" y="0"/>
                    <a:pt x="221" y="0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89" y="258"/>
                    <a:pt x="254" y="258"/>
                    <a:pt x="389" y="258"/>
                  </a:cubicBezTo>
                  <a:cubicBezTo>
                    <a:pt x="389" y="258"/>
                    <a:pt x="389" y="258"/>
                    <a:pt x="389" y="258"/>
                  </a:cubicBezTo>
                  <a:cubicBezTo>
                    <a:pt x="524" y="258"/>
                    <a:pt x="690" y="258"/>
                    <a:pt x="778" y="107"/>
                  </a:cubicBezTo>
                  <a:close/>
                </a:path>
              </a:pathLst>
            </a:custGeom>
            <a:solidFill>
              <a:srgbClr val="412C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ïs1iḋé">
              <a:extLst>
                <a:ext uri="{FF2B5EF4-FFF2-40B4-BE49-F238E27FC236}">
                  <a16:creationId xmlns:a16="http://schemas.microsoft.com/office/drawing/2014/main" id="{931997E4-D896-431C-8873-DE591712AD7D}"/>
                </a:ext>
              </a:extLst>
            </p:cNvPr>
            <p:cNvSpPr/>
            <p:nvPr/>
          </p:nvSpPr>
          <p:spPr bwMode="auto">
            <a:xfrm>
              <a:off x="5956301" y="3640138"/>
              <a:ext cx="358775" cy="193675"/>
            </a:xfrm>
            <a:custGeom>
              <a:avLst/>
              <a:gdLst>
                <a:gd name="T0" fmla="*/ 0 w 109"/>
                <a:gd name="T1" fmla="*/ 15 h 59"/>
                <a:gd name="T2" fmla="*/ 109 w 109"/>
                <a:gd name="T3" fmla="*/ 0 h 59"/>
                <a:gd name="T4" fmla="*/ 58 w 109"/>
                <a:gd name="T5" fmla="*/ 59 h 59"/>
                <a:gd name="T6" fmla="*/ 0 w 109"/>
                <a:gd name="T7" fmla="*/ 1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59">
                  <a:moveTo>
                    <a:pt x="0" y="15"/>
                  </a:moveTo>
                  <a:cubicBezTo>
                    <a:pt x="109" y="0"/>
                    <a:pt x="109" y="0"/>
                    <a:pt x="109" y="0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7" y="37"/>
                    <a:pt x="0" y="15"/>
                  </a:cubicBezTo>
                  <a:close/>
                </a:path>
              </a:pathLst>
            </a:custGeom>
            <a:solidFill>
              <a:srgbClr val="CCA2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ïS1îďè">
              <a:extLst>
                <a:ext uri="{FF2B5EF4-FFF2-40B4-BE49-F238E27FC236}">
                  <a16:creationId xmlns:a16="http://schemas.microsoft.com/office/drawing/2014/main" id="{6E016155-991C-442D-847C-7739980864C2}"/>
                </a:ext>
              </a:extLst>
            </p:cNvPr>
            <p:cNvSpPr/>
            <p:nvPr/>
          </p:nvSpPr>
          <p:spPr bwMode="auto">
            <a:xfrm>
              <a:off x="5870576" y="3408363"/>
              <a:ext cx="527050" cy="452438"/>
            </a:xfrm>
            <a:custGeom>
              <a:avLst/>
              <a:gdLst>
                <a:gd name="T0" fmla="*/ 160 w 160"/>
                <a:gd name="T1" fmla="*/ 55 h 137"/>
                <a:gd name="T2" fmla="*/ 127 w 160"/>
                <a:gd name="T3" fmla="*/ 26 h 137"/>
                <a:gd name="T4" fmla="*/ 65 w 160"/>
                <a:gd name="T5" fmla="*/ 0 h 137"/>
                <a:gd name="T6" fmla="*/ 68 w 160"/>
                <a:gd name="T7" fmla="*/ 18 h 137"/>
                <a:gd name="T8" fmla="*/ 101 w 160"/>
                <a:gd name="T9" fmla="*/ 63 h 137"/>
                <a:gd name="T10" fmla="*/ 64 w 160"/>
                <a:gd name="T11" fmla="*/ 116 h 137"/>
                <a:gd name="T12" fmla="*/ 0 w 160"/>
                <a:gd name="T13" fmla="*/ 121 h 137"/>
                <a:gd name="T14" fmla="*/ 69 w 160"/>
                <a:gd name="T15" fmla="*/ 136 h 137"/>
                <a:gd name="T16" fmla="*/ 160 w 160"/>
                <a:gd name="T17" fmla="*/ 118 h 137"/>
                <a:gd name="T18" fmla="*/ 160 w 160"/>
                <a:gd name="T19" fmla="*/ 5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137">
                  <a:moveTo>
                    <a:pt x="160" y="55"/>
                  </a:moveTo>
                  <a:cubicBezTo>
                    <a:pt x="160" y="55"/>
                    <a:pt x="146" y="39"/>
                    <a:pt x="127" y="26"/>
                  </a:cubicBezTo>
                  <a:cubicBezTo>
                    <a:pt x="109" y="14"/>
                    <a:pt x="65" y="0"/>
                    <a:pt x="65" y="0"/>
                  </a:cubicBezTo>
                  <a:cubicBezTo>
                    <a:pt x="65" y="0"/>
                    <a:pt x="60" y="7"/>
                    <a:pt x="68" y="18"/>
                  </a:cubicBezTo>
                  <a:cubicBezTo>
                    <a:pt x="77" y="29"/>
                    <a:pt x="100" y="35"/>
                    <a:pt x="101" y="63"/>
                  </a:cubicBezTo>
                  <a:cubicBezTo>
                    <a:pt x="101" y="91"/>
                    <a:pt x="82" y="106"/>
                    <a:pt x="64" y="116"/>
                  </a:cubicBezTo>
                  <a:cubicBezTo>
                    <a:pt x="45" y="125"/>
                    <a:pt x="6" y="107"/>
                    <a:pt x="0" y="121"/>
                  </a:cubicBezTo>
                  <a:cubicBezTo>
                    <a:pt x="0" y="121"/>
                    <a:pt x="20" y="137"/>
                    <a:pt x="69" y="136"/>
                  </a:cubicBezTo>
                  <a:cubicBezTo>
                    <a:pt x="119" y="136"/>
                    <a:pt x="160" y="118"/>
                    <a:pt x="160" y="118"/>
                  </a:cubicBezTo>
                  <a:lnTo>
                    <a:pt x="160" y="55"/>
                  </a:lnTo>
                  <a:close/>
                </a:path>
              </a:pathLst>
            </a:custGeom>
            <a:solidFill>
              <a:srgbClr val="DEB0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ṧļïďe">
              <a:extLst>
                <a:ext uri="{FF2B5EF4-FFF2-40B4-BE49-F238E27FC236}">
                  <a16:creationId xmlns:a16="http://schemas.microsoft.com/office/drawing/2014/main" id="{31CB2451-1035-4A16-8FD8-4DB0FADC4AE7}"/>
                </a:ext>
              </a:extLst>
            </p:cNvPr>
            <p:cNvSpPr/>
            <p:nvPr/>
          </p:nvSpPr>
          <p:spPr bwMode="auto">
            <a:xfrm>
              <a:off x="5776913" y="3408363"/>
              <a:ext cx="522288" cy="474663"/>
            </a:xfrm>
            <a:custGeom>
              <a:avLst/>
              <a:gdLst>
                <a:gd name="T0" fmla="*/ 0 w 158"/>
                <a:gd name="T1" fmla="*/ 55 h 144"/>
                <a:gd name="T2" fmla="*/ 33 w 158"/>
                <a:gd name="T3" fmla="*/ 26 h 144"/>
                <a:gd name="T4" fmla="*/ 95 w 158"/>
                <a:gd name="T5" fmla="*/ 0 h 144"/>
                <a:gd name="T6" fmla="*/ 92 w 158"/>
                <a:gd name="T7" fmla="*/ 18 h 144"/>
                <a:gd name="T8" fmla="*/ 59 w 158"/>
                <a:gd name="T9" fmla="*/ 63 h 144"/>
                <a:gd name="T10" fmla="*/ 97 w 158"/>
                <a:gd name="T11" fmla="*/ 116 h 144"/>
                <a:gd name="T12" fmla="*/ 158 w 158"/>
                <a:gd name="T13" fmla="*/ 138 h 144"/>
                <a:gd name="T14" fmla="*/ 92 w 158"/>
                <a:gd name="T15" fmla="*/ 139 h 144"/>
                <a:gd name="T16" fmla="*/ 0 w 158"/>
                <a:gd name="T17" fmla="*/ 118 h 144"/>
                <a:gd name="T18" fmla="*/ 0 w 158"/>
                <a:gd name="T19" fmla="*/ 5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44">
                  <a:moveTo>
                    <a:pt x="0" y="55"/>
                  </a:moveTo>
                  <a:cubicBezTo>
                    <a:pt x="0" y="55"/>
                    <a:pt x="14" y="39"/>
                    <a:pt x="33" y="26"/>
                  </a:cubicBezTo>
                  <a:cubicBezTo>
                    <a:pt x="52" y="14"/>
                    <a:pt x="95" y="0"/>
                    <a:pt x="95" y="0"/>
                  </a:cubicBezTo>
                  <a:cubicBezTo>
                    <a:pt x="95" y="0"/>
                    <a:pt x="100" y="7"/>
                    <a:pt x="92" y="18"/>
                  </a:cubicBezTo>
                  <a:cubicBezTo>
                    <a:pt x="83" y="29"/>
                    <a:pt x="60" y="35"/>
                    <a:pt x="59" y="63"/>
                  </a:cubicBezTo>
                  <a:cubicBezTo>
                    <a:pt x="59" y="91"/>
                    <a:pt x="78" y="106"/>
                    <a:pt x="97" y="116"/>
                  </a:cubicBezTo>
                  <a:cubicBezTo>
                    <a:pt x="115" y="125"/>
                    <a:pt x="152" y="124"/>
                    <a:pt x="158" y="138"/>
                  </a:cubicBezTo>
                  <a:cubicBezTo>
                    <a:pt x="158" y="138"/>
                    <a:pt x="142" y="144"/>
                    <a:pt x="92" y="139"/>
                  </a:cubicBezTo>
                  <a:cubicBezTo>
                    <a:pt x="42" y="134"/>
                    <a:pt x="0" y="118"/>
                    <a:pt x="0" y="118"/>
                  </a:cubicBezTo>
                  <a:lnTo>
                    <a:pt x="0" y="55"/>
                  </a:lnTo>
                  <a:close/>
                </a:path>
              </a:pathLst>
            </a:custGeom>
            <a:solidFill>
              <a:srgbClr val="F2CC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ṩļîďê">
              <a:extLst>
                <a:ext uri="{FF2B5EF4-FFF2-40B4-BE49-F238E27FC236}">
                  <a16:creationId xmlns:a16="http://schemas.microsoft.com/office/drawing/2014/main" id="{920D8C2B-92A3-4EE0-9F25-3B322E7AE448}"/>
                </a:ext>
              </a:extLst>
            </p:cNvPr>
            <p:cNvSpPr/>
            <p:nvPr/>
          </p:nvSpPr>
          <p:spPr bwMode="auto">
            <a:xfrm>
              <a:off x="4775201" y="2390775"/>
              <a:ext cx="1001713" cy="1531938"/>
            </a:xfrm>
            <a:custGeom>
              <a:avLst/>
              <a:gdLst>
                <a:gd name="T0" fmla="*/ 304 w 304"/>
                <a:gd name="T1" fmla="*/ 364 h 465"/>
                <a:gd name="T2" fmla="*/ 304 w 304"/>
                <a:gd name="T3" fmla="*/ 427 h 465"/>
                <a:gd name="T4" fmla="*/ 49 w 304"/>
                <a:gd name="T5" fmla="*/ 424 h 465"/>
                <a:gd name="T6" fmla="*/ 70 w 304"/>
                <a:gd name="T7" fmla="*/ 180 h 465"/>
                <a:gd name="T8" fmla="*/ 179 w 304"/>
                <a:gd name="T9" fmla="*/ 0 h 465"/>
                <a:gd name="T10" fmla="*/ 199 w 304"/>
                <a:gd name="T11" fmla="*/ 161 h 465"/>
                <a:gd name="T12" fmla="*/ 123 w 304"/>
                <a:gd name="T13" fmla="*/ 331 h 465"/>
                <a:gd name="T14" fmla="*/ 304 w 304"/>
                <a:gd name="T15" fmla="*/ 36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4" h="465">
                  <a:moveTo>
                    <a:pt x="304" y="364"/>
                  </a:moveTo>
                  <a:cubicBezTo>
                    <a:pt x="304" y="427"/>
                    <a:pt x="304" y="427"/>
                    <a:pt x="304" y="427"/>
                  </a:cubicBezTo>
                  <a:cubicBezTo>
                    <a:pt x="304" y="427"/>
                    <a:pt x="121" y="465"/>
                    <a:pt x="49" y="424"/>
                  </a:cubicBezTo>
                  <a:cubicBezTo>
                    <a:pt x="0" y="396"/>
                    <a:pt x="35" y="270"/>
                    <a:pt x="70" y="180"/>
                  </a:cubicBezTo>
                  <a:cubicBezTo>
                    <a:pt x="105" y="91"/>
                    <a:pt x="134" y="27"/>
                    <a:pt x="179" y="0"/>
                  </a:cubicBezTo>
                  <a:cubicBezTo>
                    <a:pt x="179" y="0"/>
                    <a:pt x="233" y="57"/>
                    <a:pt x="199" y="161"/>
                  </a:cubicBezTo>
                  <a:cubicBezTo>
                    <a:pt x="199" y="161"/>
                    <a:pt x="153" y="224"/>
                    <a:pt x="123" y="331"/>
                  </a:cubicBezTo>
                  <a:lnTo>
                    <a:pt x="304" y="364"/>
                  </a:lnTo>
                  <a:close/>
                </a:path>
              </a:pathLst>
            </a:custGeom>
            <a:solidFill>
              <a:srgbClr val="3E2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šḷîďe">
              <a:extLst>
                <a:ext uri="{FF2B5EF4-FFF2-40B4-BE49-F238E27FC236}">
                  <a16:creationId xmlns:a16="http://schemas.microsoft.com/office/drawing/2014/main" id="{9A6B8C53-A5DF-45E4-9502-501C91BC88FD}"/>
                </a:ext>
              </a:extLst>
            </p:cNvPr>
            <p:cNvSpPr/>
            <p:nvPr/>
          </p:nvSpPr>
          <p:spPr bwMode="auto">
            <a:xfrm>
              <a:off x="6397626" y="2390775"/>
              <a:ext cx="1003300" cy="1531938"/>
            </a:xfrm>
            <a:custGeom>
              <a:avLst/>
              <a:gdLst>
                <a:gd name="T0" fmla="*/ 0 w 304"/>
                <a:gd name="T1" fmla="*/ 364 h 465"/>
                <a:gd name="T2" fmla="*/ 0 w 304"/>
                <a:gd name="T3" fmla="*/ 427 h 465"/>
                <a:gd name="T4" fmla="*/ 255 w 304"/>
                <a:gd name="T5" fmla="*/ 424 h 465"/>
                <a:gd name="T6" fmla="*/ 234 w 304"/>
                <a:gd name="T7" fmla="*/ 180 h 465"/>
                <a:gd name="T8" fmla="*/ 125 w 304"/>
                <a:gd name="T9" fmla="*/ 0 h 465"/>
                <a:gd name="T10" fmla="*/ 105 w 304"/>
                <a:gd name="T11" fmla="*/ 161 h 465"/>
                <a:gd name="T12" fmla="*/ 181 w 304"/>
                <a:gd name="T13" fmla="*/ 331 h 465"/>
                <a:gd name="T14" fmla="*/ 0 w 304"/>
                <a:gd name="T15" fmla="*/ 36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4" h="465">
                  <a:moveTo>
                    <a:pt x="0" y="364"/>
                  </a:moveTo>
                  <a:cubicBezTo>
                    <a:pt x="0" y="427"/>
                    <a:pt x="0" y="427"/>
                    <a:pt x="0" y="427"/>
                  </a:cubicBezTo>
                  <a:cubicBezTo>
                    <a:pt x="0" y="427"/>
                    <a:pt x="183" y="465"/>
                    <a:pt x="255" y="424"/>
                  </a:cubicBezTo>
                  <a:cubicBezTo>
                    <a:pt x="304" y="396"/>
                    <a:pt x="269" y="270"/>
                    <a:pt x="234" y="180"/>
                  </a:cubicBezTo>
                  <a:cubicBezTo>
                    <a:pt x="199" y="91"/>
                    <a:pt x="170" y="27"/>
                    <a:pt x="125" y="0"/>
                  </a:cubicBezTo>
                  <a:cubicBezTo>
                    <a:pt x="125" y="0"/>
                    <a:pt x="71" y="57"/>
                    <a:pt x="105" y="161"/>
                  </a:cubicBezTo>
                  <a:cubicBezTo>
                    <a:pt x="105" y="161"/>
                    <a:pt x="151" y="224"/>
                    <a:pt x="181" y="331"/>
                  </a:cubicBezTo>
                  <a:lnTo>
                    <a:pt x="0" y="364"/>
                  </a:lnTo>
                  <a:close/>
                </a:path>
              </a:pathLst>
            </a:custGeom>
            <a:solidFill>
              <a:srgbClr val="3E2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şḷíḍe">
              <a:extLst>
                <a:ext uri="{FF2B5EF4-FFF2-40B4-BE49-F238E27FC236}">
                  <a16:creationId xmlns:a16="http://schemas.microsoft.com/office/drawing/2014/main" id="{50C94A99-3F15-4B90-8B34-5B8A7F58F0A2}"/>
                </a:ext>
              </a:extLst>
            </p:cNvPr>
            <p:cNvSpPr/>
            <p:nvPr/>
          </p:nvSpPr>
          <p:spPr bwMode="auto">
            <a:xfrm>
              <a:off x="4668838" y="3402013"/>
              <a:ext cx="2395538" cy="1450975"/>
            </a:xfrm>
            <a:custGeom>
              <a:avLst/>
              <a:gdLst>
                <a:gd name="T0" fmla="*/ 27 w 726"/>
                <a:gd name="T1" fmla="*/ 124 h 440"/>
                <a:gd name="T2" fmla="*/ 726 w 726"/>
                <a:gd name="T3" fmla="*/ 355 h 440"/>
                <a:gd name="T4" fmla="*/ 680 w 726"/>
                <a:gd name="T5" fmla="*/ 440 h 440"/>
                <a:gd name="T6" fmla="*/ 121 w 726"/>
                <a:gd name="T7" fmla="*/ 298 h 440"/>
                <a:gd name="T8" fmla="*/ 27 w 726"/>
                <a:gd name="T9" fmla="*/ 124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6" h="440">
                  <a:moveTo>
                    <a:pt x="27" y="124"/>
                  </a:moveTo>
                  <a:cubicBezTo>
                    <a:pt x="130" y="0"/>
                    <a:pt x="726" y="355"/>
                    <a:pt x="726" y="355"/>
                  </a:cubicBezTo>
                  <a:cubicBezTo>
                    <a:pt x="680" y="440"/>
                    <a:pt x="680" y="440"/>
                    <a:pt x="680" y="440"/>
                  </a:cubicBezTo>
                  <a:cubicBezTo>
                    <a:pt x="680" y="440"/>
                    <a:pt x="266" y="366"/>
                    <a:pt x="121" y="298"/>
                  </a:cubicBezTo>
                  <a:cubicBezTo>
                    <a:pt x="0" y="240"/>
                    <a:pt x="2" y="155"/>
                    <a:pt x="27" y="124"/>
                  </a:cubicBezTo>
                  <a:close/>
                </a:path>
              </a:pathLst>
            </a:custGeom>
            <a:gradFill>
              <a:gsLst>
                <a:gs pos="0">
                  <a:srgbClr val="412C75"/>
                </a:gs>
                <a:gs pos="100000">
                  <a:srgbClr val="5E3FA8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iṡlîḑè">
              <a:extLst>
                <a:ext uri="{FF2B5EF4-FFF2-40B4-BE49-F238E27FC236}">
                  <a16:creationId xmlns:a16="http://schemas.microsoft.com/office/drawing/2014/main" id="{5EBE5417-C259-493F-A2BA-BFF51B96C30B}"/>
                </a:ext>
              </a:extLst>
            </p:cNvPr>
            <p:cNvSpPr/>
            <p:nvPr/>
          </p:nvSpPr>
          <p:spPr bwMode="auto">
            <a:xfrm>
              <a:off x="5111751" y="3402013"/>
              <a:ext cx="2395538" cy="1450975"/>
            </a:xfrm>
            <a:custGeom>
              <a:avLst/>
              <a:gdLst>
                <a:gd name="T0" fmla="*/ 699 w 726"/>
                <a:gd name="T1" fmla="*/ 124 h 440"/>
                <a:gd name="T2" fmla="*/ 0 w 726"/>
                <a:gd name="T3" fmla="*/ 355 h 440"/>
                <a:gd name="T4" fmla="*/ 46 w 726"/>
                <a:gd name="T5" fmla="*/ 440 h 440"/>
                <a:gd name="T6" fmla="*/ 605 w 726"/>
                <a:gd name="T7" fmla="*/ 298 h 440"/>
                <a:gd name="T8" fmla="*/ 699 w 726"/>
                <a:gd name="T9" fmla="*/ 124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6" h="440">
                  <a:moveTo>
                    <a:pt x="699" y="124"/>
                  </a:moveTo>
                  <a:cubicBezTo>
                    <a:pt x="596" y="0"/>
                    <a:pt x="0" y="355"/>
                    <a:pt x="0" y="355"/>
                  </a:cubicBezTo>
                  <a:cubicBezTo>
                    <a:pt x="46" y="440"/>
                    <a:pt x="46" y="440"/>
                    <a:pt x="46" y="440"/>
                  </a:cubicBezTo>
                  <a:cubicBezTo>
                    <a:pt x="46" y="440"/>
                    <a:pt x="460" y="366"/>
                    <a:pt x="605" y="298"/>
                  </a:cubicBezTo>
                  <a:cubicBezTo>
                    <a:pt x="726" y="240"/>
                    <a:pt x="724" y="155"/>
                    <a:pt x="699" y="124"/>
                  </a:cubicBezTo>
                  <a:close/>
                </a:path>
              </a:pathLst>
            </a:custGeom>
            <a:solidFill>
              <a:srgbClr val="5E3F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šļíḑè">
              <a:extLst>
                <a:ext uri="{FF2B5EF4-FFF2-40B4-BE49-F238E27FC236}">
                  <a16:creationId xmlns:a16="http://schemas.microsoft.com/office/drawing/2014/main" id="{D06C2721-F2D2-452A-B5A8-4F7E5A47CA84}"/>
                </a:ext>
              </a:extLst>
            </p:cNvPr>
            <p:cNvSpPr/>
            <p:nvPr/>
          </p:nvSpPr>
          <p:spPr bwMode="auto">
            <a:xfrm>
              <a:off x="5473701" y="930275"/>
              <a:ext cx="1135063" cy="777875"/>
            </a:xfrm>
            <a:custGeom>
              <a:avLst/>
              <a:gdLst>
                <a:gd name="T0" fmla="*/ 207 w 344"/>
                <a:gd name="T1" fmla="*/ 121 h 236"/>
                <a:gd name="T2" fmla="*/ 180 w 344"/>
                <a:gd name="T3" fmla="*/ 139 h 236"/>
                <a:gd name="T4" fmla="*/ 151 w 344"/>
                <a:gd name="T5" fmla="*/ 157 h 236"/>
                <a:gd name="T6" fmla="*/ 122 w 344"/>
                <a:gd name="T7" fmla="*/ 177 h 236"/>
                <a:gd name="T8" fmla="*/ 98 w 344"/>
                <a:gd name="T9" fmla="*/ 234 h 236"/>
                <a:gd name="T10" fmla="*/ 58 w 344"/>
                <a:gd name="T11" fmla="*/ 218 h 236"/>
                <a:gd name="T12" fmla="*/ 42 w 344"/>
                <a:gd name="T13" fmla="*/ 191 h 236"/>
                <a:gd name="T14" fmla="*/ 4 w 344"/>
                <a:gd name="T15" fmla="*/ 161 h 236"/>
                <a:gd name="T16" fmla="*/ 48 w 344"/>
                <a:gd name="T17" fmla="*/ 103 h 236"/>
                <a:gd name="T18" fmla="*/ 111 w 344"/>
                <a:gd name="T19" fmla="*/ 46 h 236"/>
                <a:gd name="T20" fmla="*/ 222 w 344"/>
                <a:gd name="T21" fmla="*/ 50 h 236"/>
                <a:gd name="T22" fmla="*/ 283 w 344"/>
                <a:gd name="T23" fmla="*/ 69 h 236"/>
                <a:gd name="T24" fmla="*/ 330 w 344"/>
                <a:gd name="T25" fmla="*/ 130 h 236"/>
                <a:gd name="T26" fmla="*/ 272 w 344"/>
                <a:gd name="T27" fmla="*/ 236 h 236"/>
                <a:gd name="T28" fmla="*/ 272 w 344"/>
                <a:gd name="T29" fmla="*/ 205 h 236"/>
                <a:gd name="T30" fmla="*/ 261 w 344"/>
                <a:gd name="T31" fmla="*/ 187 h 236"/>
                <a:gd name="T32" fmla="*/ 248 w 344"/>
                <a:gd name="T33" fmla="*/ 160 h 236"/>
                <a:gd name="T34" fmla="*/ 207 w 344"/>
                <a:gd name="T35" fmla="*/ 121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4" h="236">
                  <a:moveTo>
                    <a:pt x="207" y="121"/>
                  </a:moveTo>
                  <a:cubicBezTo>
                    <a:pt x="207" y="121"/>
                    <a:pt x="195" y="138"/>
                    <a:pt x="180" y="139"/>
                  </a:cubicBezTo>
                  <a:cubicBezTo>
                    <a:pt x="164" y="141"/>
                    <a:pt x="156" y="147"/>
                    <a:pt x="151" y="157"/>
                  </a:cubicBezTo>
                  <a:cubicBezTo>
                    <a:pt x="146" y="167"/>
                    <a:pt x="137" y="178"/>
                    <a:pt x="122" y="177"/>
                  </a:cubicBezTo>
                  <a:cubicBezTo>
                    <a:pt x="107" y="176"/>
                    <a:pt x="90" y="194"/>
                    <a:pt x="98" y="234"/>
                  </a:cubicBezTo>
                  <a:cubicBezTo>
                    <a:pt x="98" y="234"/>
                    <a:pt x="70" y="224"/>
                    <a:pt x="58" y="218"/>
                  </a:cubicBezTo>
                  <a:cubicBezTo>
                    <a:pt x="45" y="212"/>
                    <a:pt x="52" y="200"/>
                    <a:pt x="42" y="191"/>
                  </a:cubicBezTo>
                  <a:cubicBezTo>
                    <a:pt x="31" y="182"/>
                    <a:pt x="9" y="194"/>
                    <a:pt x="4" y="161"/>
                  </a:cubicBezTo>
                  <a:cubicBezTo>
                    <a:pt x="0" y="128"/>
                    <a:pt x="38" y="128"/>
                    <a:pt x="48" y="103"/>
                  </a:cubicBezTo>
                  <a:cubicBezTo>
                    <a:pt x="58" y="77"/>
                    <a:pt x="50" y="60"/>
                    <a:pt x="111" y="46"/>
                  </a:cubicBezTo>
                  <a:cubicBezTo>
                    <a:pt x="111" y="46"/>
                    <a:pt x="117" y="0"/>
                    <a:pt x="222" y="50"/>
                  </a:cubicBezTo>
                  <a:cubicBezTo>
                    <a:pt x="222" y="50"/>
                    <a:pt x="262" y="37"/>
                    <a:pt x="283" y="69"/>
                  </a:cubicBezTo>
                  <a:cubicBezTo>
                    <a:pt x="303" y="100"/>
                    <a:pt x="315" y="120"/>
                    <a:pt x="330" y="130"/>
                  </a:cubicBezTo>
                  <a:cubicBezTo>
                    <a:pt x="344" y="140"/>
                    <a:pt x="335" y="205"/>
                    <a:pt x="272" y="236"/>
                  </a:cubicBezTo>
                  <a:cubicBezTo>
                    <a:pt x="272" y="205"/>
                    <a:pt x="272" y="205"/>
                    <a:pt x="272" y="205"/>
                  </a:cubicBezTo>
                  <a:cubicBezTo>
                    <a:pt x="272" y="205"/>
                    <a:pt x="263" y="201"/>
                    <a:pt x="261" y="187"/>
                  </a:cubicBezTo>
                  <a:cubicBezTo>
                    <a:pt x="259" y="174"/>
                    <a:pt x="263" y="164"/>
                    <a:pt x="248" y="160"/>
                  </a:cubicBezTo>
                  <a:cubicBezTo>
                    <a:pt x="233" y="155"/>
                    <a:pt x="209" y="153"/>
                    <a:pt x="207" y="121"/>
                  </a:cubicBezTo>
                  <a:close/>
                </a:path>
              </a:pathLst>
            </a:custGeom>
            <a:solidFill>
              <a:srgbClr val="0E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íšḻíḑê">
              <a:extLst>
                <a:ext uri="{FF2B5EF4-FFF2-40B4-BE49-F238E27FC236}">
                  <a16:creationId xmlns:a16="http://schemas.microsoft.com/office/drawing/2014/main" id="{0014D154-89C6-4EB7-B65B-67B71C02AA79}"/>
                </a:ext>
              </a:extLst>
            </p:cNvPr>
            <p:cNvSpPr/>
            <p:nvPr/>
          </p:nvSpPr>
          <p:spPr bwMode="auto">
            <a:xfrm>
              <a:off x="5846763" y="2120900"/>
              <a:ext cx="482600" cy="160338"/>
            </a:xfrm>
            <a:custGeom>
              <a:avLst/>
              <a:gdLst>
                <a:gd name="T0" fmla="*/ 73 w 146"/>
                <a:gd name="T1" fmla="*/ 49 h 49"/>
                <a:gd name="T2" fmla="*/ 146 w 146"/>
                <a:gd name="T3" fmla="*/ 33 h 49"/>
                <a:gd name="T4" fmla="*/ 142 w 146"/>
                <a:gd name="T5" fmla="*/ 32 h 49"/>
                <a:gd name="T6" fmla="*/ 142 w 146"/>
                <a:gd name="T7" fmla="*/ 9 h 49"/>
                <a:gd name="T8" fmla="*/ 86 w 146"/>
                <a:gd name="T9" fmla="*/ 14 h 49"/>
                <a:gd name="T10" fmla="*/ 73 w 146"/>
                <a:gd name="T11" fmla="*/ 35 h 49"/>
                <a:gd name="T12" fmla="*/ 60 w 146"/>
                <a:gd name="T13" fmla="*/ 14 h 49"/>
                <a:gd name="T14" fmla="*/ 4 w 146"/>
                <a:gd name="T15" fmla="*/ 9 h 49"/>
                <a:gd name="T16" fmla="*/ 4 w 146"/>
                <a:gd name="T17" fmla="*/ 32 h 49"/>
                <a:gd name="T18" fmla="*/ 0 w 146"/>
                <a:gd name="T19" fmla="*/ 33 h 49"/>
                <a:gd name="T20" fmla="*/ 73 w 146"/>
                <a:gd name="T2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49">
                  <a:moveTo>
                    <a:pt x="73" y="49"/>
                  </a:moveTo>
                  <a:cubicBezTo>
                    <a:pt x="105" y="49"/>
                    <a:pt x="132" y="43"/>
                    <a:pt x="146" y="33"/>
                  </a:cubicBezTo>
                  <a:cubicBezTo>
                    <a:pt x="145" y="32"/>
                    <a:pt x="144" y="32"/>
                    <a:pt x="142" y="32"/>
                  </a:cubicBezTo>
                  <a:cubicBezTo>
                    <a:pt x="142" y="9"/>
                    <a:pt x="142" y="9"/>
                    <a:pt x="142" y="9"/>
                  </a:cubicBezTo>
                  <a:cubicBezTo>
                    <a:pt x="142" y="9"/>
                    <a:pt x="101" y="0"/>
                    <a:pt x="86" y="14"/>
                  </a:cubicBezTo>
                  <a:cubicBezTo>
                    <a:pt x="76" y="23"/>
                    <a:pt x="74" y="31"/>
                    <a:pt x="73" y="35"/>
                  </a:cubicBezTo>
                  <a:cubicBezTo>
                    <a:pt x="72" y="31"/>
                    <a:pt x="70" y="23"/>
                    <a:pt x="60" y="14"/>
                  </a:cubicBezTo>
                  <a:cubicBezTo>
                    <a:pt x="45" y="0"/>
                    <a:pt x="4" y="9"/>
                    <a:pt x="4" y="9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3" y="32"/>
                    <a:pt x="2" y="33"/>
                    <a:pt x="0" y="33"/>
                  </a:cubicBezTo>
                  <a:cubicBezTo>
                    <a:pt x="14" y="43"/>
                    <a:pt x="42" y="49"/>
                    <a:pt x="73" y="49"/>
                  </a:cubicBezTo>
                  <a:close/>
                </a:path>
              </a:pathLst>
            </a:custGeom>
            <a:solidFill>
              <a:srgbClr val="3E29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ṡlíḋè">
              <a:extLst>
                <a:ext uri="{FF2B5EF4-FFF2-40B4-BE49-F238E27FC236}">
                  <a16:creationId xmlns:a16="http://schemas.microsoft.com/office/drawing/2014/main" id="{26B76E90-090A-41CD-8EA4-B88C0573A594}"/>
                </a:ext>
              </a:extLst>
            </p:cNvPr>
            <p:cNvSpPr/>
            <p:nvPr/>
          </p:nvSpPr>
          <p:spPr bwMode="auto">
            <a:xfrm>
              <a:off x="6030913" y="1925638"/>
              <a:ext cx="93663" cy="20638"/>
            </a:xfrm>
            <a:custGeom>
              <a:avLst/>
              <a:gdLst>
                <a:gd name="T0" fmla="*/ 0 w 28"/>
                <a:gd name="T1" fmla="*/ 4 h 6"/>
                <a:gd name="T2" fmla="*/ 13 w 28"/>
                <a:gd name="T3" fmla="*/ 6 h 6"/>
                <a:gd name="T4" fmla="*/ 28 w 28"/>
                <a:gd name="T5" fmla="*/ 4 h 6"/>
                <a:gd name="T6" fmla="*/ 27 w 28"/>
                <a:gd name="T7" fmla="*/ 0 h 6"/>
                <a:gd name="T8" fmla="*/ 13 w 28"/>
                <a:gd name="T9" fmla="*/ 2 h 6"/>
                <a:gd name="T10" fmla="*/ 5 w 28"/>
                <a:gd name="T11" fmla="*/ 1 h 6"/>
                <a:gd name="T12" fmla="*/ 2 w 28"/>
                <a:gd name="T13" fmla="*/ 1 h 6"/>
                <a:gd name="T14" fmla="*/ 2 w 28"/>
                <a:gd name="T15" fmla="*/ 0 h 6"/>
                <a:gd name="T16" fmla="*/ 2 w 28"/>
                <a:gd name="T17" fmla="*/ 0 h 6"/>
                <a:gd name="T18" fmla="*/ 2 w 28"/>
                <a:gd name="T19" fmla="*/ 0 h 6"/>
                <a:gd name="T20" fmla="*/ 2 w 28"/>
                <a:gd name="T21" fmla="*/ 1 h 6"/>
                <a:gd name="T22" fmla="*/ 2 w 28"/>
                <a:gd name="T23" fmla="*/ 0 h 6"/>
                <a:gd name="T24" fmla="*/ 2 w 28"/>
                <a:gd name="T25" fmla="*/ 0 h 6"/>
                <a:gd name="T26" fmla="*/ 2 w 28"/>
                <a:gd name="T27" fmla="*/ 1 h 6"/>
                <a:gd name="T28" fmla="*/ 2 w 28"/>
                <a:gd name="T29" fmla="*/ 0 h 6"/>
                <a:gd name="T30" fmla="*/ 0 w 28"/>
                <a:gd name="T3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6">
                  <a:moveTo>
                    <a:pt x="0" y="4"/>
                  </a:moveTo>
                  <a:cubicBezTo>
                    <a:pt x="0" y="4"/>
                    <a:pt x="5" y="6"/>
                    <a:pt x="13" y="6"/>
                  </a:cubicBezTo>
                  <a:cubicBezTo>
                    <a:pt x="17" y="6"/>
                    <a:pt x="22" y="6"/>
                    <a:pt x="28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2" y="2"/>
                    <a:pt x="17" y="2"/>
                    <a:pt x="13" y="2"/>
                  </a:cubicBezTo>
                  <a:cubicBezTo>
                    <a:pt x="10" y="2"/>
                    <a:pt x="7" y="2"/>
                    <a:pt x="5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B88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ï$1ïḍê">
              <a:extLst>
                <a:ext uri="{FF2B5EF4-FFF2-40B4-BE49-F238E27FC236}">
                  <a16:creationId xmlns:a16="http://schemas.microsoft.com/office/drawing/2014/main" id="{23FFCACD-3172-41A3-A55E-E790EAC3A5C5}"/>
                </a:ext>
              </a:extLst>
            </p:cNvPr>
            <p:cNvSpPr/>
            <p:nvPr/>
          </p:nvSpPr>
          <p:spPr bwMode="auto">
            <a:xfrm>
              <a:off x="6042026" y="1671638"/>
              <a:ext cx="79375" cy="134938"/>
            </a:xfrm>
            <a:custGeom>
              <a:avLst/>
              <a:gdLst>
                <a:gd name="T0" fmla="*/ 0 w 50"/>
                <a:gd name="T1" fmla="*/ 0 h 85"/>
                <a:gd name="T2" fmla="*/ 0 w 50"/>
                <a:gd name="T3" fmla="*/ 85 h 85"/>
                <a:gd name="T4" fmla="*/ 50 w 50"/>
                <a:gd name="T5" fmla="*/ 85 h 85"/>
                <a:gd name="T6" fmla="*/ 50 w 50"/>
                <a:gd name="T7" fmla="*/ 77 h 85"/>
                <a:gd name="T8" fmla="*/ 8 w 50"/>
                <a:gd name="T9" fmla="*/ 77 h 85"/>
                <a:gd name="T10" fmla="*/ 8 w 50"/>
                <a:gd name="T11" fmla="*/ 0 h 85"/>
                <a:gd name="T12" fmla="*/ 0 w 50"/>
                <a:gd name="T13" fmla="*/ 0 h 85"/>
                <a:gd name="T14" fmla="*/ 0 w 50"/>
                <a:gd name="T1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85">
                  <a:moveTo>
                    <a:pt x="0" y="0"/>
                  </a:moveTo>
                  <a:lnTo>
                    <a:pt x="0" y="85"/>
                  </a:lnTo>
                  <a:lnTo>
                    <a:pt x="50" y="85"/>
                  </a:lnTo>
                  <a:lnTo>
                    <a:pt x="50" y="77"/>
                  </a:lnTo>
                  <a:lnTo>
                    <a:pt x="8" y="77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88E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îṩľíďé">
              <a:extLst>
                <a:ext uri="{FF2B5EF4-FFF2-40B4-BE49-F238E27FC236}">
                  <a16:creationId xmlns:a16="http://schemas.microsoft.com/office/drawing/2014/main" id="{11AB6DD6-5808-49E9-9BA0-C1EC4E0398DE}"/>
                </a:ext>
              </a:extLst>
            </p:cNvPr>
            <p:cNvSpPr/>
            <p:nvPr/>
          </p:nvSpPr>
          <p:spPr bwMode="auto">
            <a:xfrm>
              <a:off x="7510463" y="5346700"/>
              <a:ext cx="193675" cy="155575"/>
            </a:xfrm>
            <a:custGeom>
              <a:avLst/>
              <a:gdLst>
                <a:gd name="T0" fmla="*/ 54 w 59"/>
                <a:gd name="T1" fmla="*/ 7 h 47"/>
                <a:gd name="T2" fmla="*/ 21 w 59"/>
                <a:gd name="T3" fmla="*/ 10 h 47"/>
                <a:gd name="T4" fmla="*/ 5 w 59"/>
                <a:gd name="T5" fmla="*/ 40 h 47"/>
                <a:gd name="T6" fmla="*/ 38 w 59"/>
                <a:gd name="T7" fmla="*/ 37 h 47"/>
                <a:gd name="T8" fmla="*/ 54 w 59"/>
                <a:gd name="T9" fmla="*/ 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47">
                  <a:moveTo>
                    <a:pt x="54" y="7"/>
                  </a:moveTo>
                  <a:cubicBezTo>
                    <a:pt x="49" y="0"/>
                    <a:pt x="34" y="1"/>
                    <a:pt x="21" y="10"/>
                  </a:cubicBezTo>
                  <a:cubicBezTo>
                    <a:pt x="7" y="19"/>
                    <a:pt x="0" y="32"/>
                    <a:pt x="5" y="40"/>
                  </a:cubicBezTo>
                  <a:cubicBezTo>
                    <a:pt x="10" y="47"/>
                    <a:pt x="25" y="46"/>
                    <a:pt x="38" y="37"/>
                  </a:cubicBezTo>
                  <a:cubicBezTo>
                    <a:pt x="52" y="28"/>
                    <a:pt x="59" y="15"/>
                    <a:pt x="54" y="7"/>
                  </a:cubicBezTo>
                  <a:close/>
                </a:path>
              </a:pathLst>
            </a:custGeom>
            <a:solidFill>
              <a:srgbClr val="8F8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ïśḻiḓe">
              <a:extLst>
                <a:ext uri="{FF2B5EF4-FFF2-40B4-BE49-F238E27FC236}">
                  <a16:creationId xmlns:a16="http://schemas.microsoft.com/office/drawing/2014/main" id="{3405F426-FCA8-4297-8EFB-1A2A42A3EE4D}"/>
                </a:ext>
              </a:extLst>
            </p:cNvPr>
            <p:cNvSpPr/>
            <p:nvPr/>
          </p:nvSpPr>
          <p:spPr bwMode="auto">
            <a:xfrm>
              <a:off x="5354638" y="5707063"/>
              <a:ext cx="201613" cy="141288"/>
            </a:xfrm>
            <a:custGeom>
              <a:avLst/>
              <a:gdLst>
                <a:gd name="T0" fmla="*/ 57 w 61"/>
                <a:gd name="T1" fmla="*/ 34 h 43"/>
                <a:gd name="T2" fmla="*/ 37 w 61"/>
                <a:gd name="T3" fmla="*/ 7 h 43"/>
                <a:gd name="T4" fmla="*/ 4 w 61"/>
                <a:gd name="T5" fmla="*/ 9 h 43"/>
                <a:gd name="T6" fmla="*/ 24 w 61"/>
                <a:gd name="T7" fmla="*/ 36 h 43"/>
                <a:gd name="T8" fmla="*/ 57 w 61"/>
                <a:gd name="T9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3">
                  <a:moveTo>
                    <a:pt x="57" y="34"/>
                  </a:moveTo>
                  <a:cubicBezTo>
                    <a:pt x="61" y="25"/>
                    <a:pt x="52" y="14"/>
                    <a:pt x="37" y="7"/>
                  </a:cubicBezTo>
                  <a:cubicBezTo>
                    <a:pt x="22" y="0"/>
                    <a:pt x="7" y="1"/>
                    <a:pt x="4" y="9"/>
                  </a:cubicBezTo>
                  <a:cubicBezTo>
                    <a:pt x="0" y="17"/>
                    <a:pt x="9" y="29"/>
                    <a:pt x="24" y="36"/>
                  </a:cubicBezTo>
                  <a:cubicBezTo>
                    <a:pt x="38" y="43"/>
                    <a:pt x="53" y="42"/>
                    <a:pt x="57" y="34"/>
                  </a:cubicBezTo>
                  <a:close/>
                </a:path>
              </a:pathLst>
            </a:custGeom>
            <a:solidFill>
              <a:srgbClr val="8F8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íṡlíde">
              <a:extLst>
                <a:ext uri="{FF2B5EF4-FFF2-40B4-BE49-F238E27FC236}">
                  <a16:creationId xmlns:a16="http://schemas.microsoft.com/office/drawing/2014/main" id="{E3438DED-5B22-4992-9A13-AB487A7DD4B0}"/>
                </a:ext>
              </a:extLst>
            </p:cNvPr>
            <p:cNvSpPr/>
            <p:nvPr/>
          </p:nvSpPr>
          <p:spPr bwMode="auto">
            <a:xfrm>
              <a:off x="4530726" y="5394325"/>
              <a:ext cx="92075" cy="61913"/>
            </a:xfrm>
            <a:custGeom>
              <a:avLst/>
              <a:gdLst>
                <a:gd name="T0" fmla="*/ 26 w 28"/>
                <a:gd name="T1" fmla="*/ 15 h 19"/>
                <a:gd name="T2" fmla="*/ 17 w 28"/>
                <a:gd name="T3" fmla="*/ 3 h 19"/>
                <a:gd name="T4" fmla="*/ 2 w 28"/>
                <a:gd name="T5" fmla="*/ 4 h 19"/>
                <a:gd name="T6" fmla="*/ 11 w 28"/>
                <a:gd name="T7" fmla="*/ 16 h 19"/>
                <a:gd name="T8" fmla="*/ 26 w 28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9">
                  <a:moveTo>
                    <a:pt x="26" y="15"/>
                  </a:moveTo>
                  <a:cubicBezTo>
                    <a:pt x="28" y="11"/>
                    <a:pt x="24" y="6"/>
                    <a:pt x="17" y="3"/>
                  </a:cubicBezTo>
                  <a:cubicBezTo>
                    <a:pt x="10" y="0"/>
                    <a:pt x="4" y="0"/>
                    <a:pt x="2" y="4"/>
                  </a:cubicBezTo>
                  <a:cubicBezTo>
                    <a:pt x="0" y="8"/>
                    <a:pt x="4" y="13"/>
                    <a:pt x="11" y="16"/>
                  </a:cubicBezTo>
                  <a:cubicBezTo>
                    <a:pt x="18" y="19"/>
                    <a:pt x="25" y="19"/>
                    <a:pt x="26" y="15"/>
                  </a:cubicBezTo>
                  <a:close/>
                </a:path>
              </a:pathLst>
            </a:custGeom>
            <a:solidFill>
              <a:srgbClr val="8F8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iṧlîḋe">
              <a:extLst>
                <a:ext uri="{FF2B5EF4-FFF2-40B4-BE49-F238E27FC236}">
                  <a16:creationId xmlns:a16="http://schemas.microsoft.com/office/drawing/2014/main" id="{B289869C-949A-4FFA-99B1-A7461E702B93}"/>
                </a:ext>
              </a:extLst>
            </p:cNvPr>
            <p:cNvSpPr/>
            <p:nvPr/>
          </p:nvSpPr>
          <p:spPr bwMode="auto">
            <a:xfrm>
              <a:off x="4062413" y="4994275"/>
              <a:ext cx="85725" cy="79375"/>
            </a:xfrm>
            <a:custGeom>
              <a:avLst/>
              <a:gdLst>
                <a:gd name="T0" fmla="*/ 23 w 26"/>
                <a:gd name="T1" fmla="*/ 21 h 24"/>
                <a:gd name="T2" fmla="*/ 18 w 26"/>
                <a:gd name="T3" fmla="*/ 7 h 24"/>
                <a:gd name="T4" fmla="*/ 3 w 26"/>
                <a:gd name="T5" fmla="*/ 3 h 24"/>
                <a:gd name="T6" fmla="*/ 8 w 26"/>
                <a:gd name="T7" fmla="*/ 18 h 24"/>
                <a:gd name="T8" fmla="*/ 23 w 26"/>
                <a:gd name="T9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4">
                  <a:moveTo>
                    <a:pt x="23" y="21"/>
                  </a:moveTo>
                  <a:cubicBezTo>
                    <a:pt x="26" y="18"/>
                    <a:pt x="24" y="12"/>
                    <a:pt x="18" y="7"/>
                  </a:cubicBezTo>
                  <a:cubicBezTo>
                    <a:pt x="13" y="2"/>
                    <a:pt x="6" y="0"/>
                    <a:pt x="3" y="3"/>
                  </a:cubicBezTo>
                  <a:cubicBezTo>
                    <a:pt x="0" y="6"/>
                    <a:pt x="3" y="13"/>
                    <a:pt x="8" y="18"/>
                  </a:cubicBezTo>
                  <a:cubicBezTo>
                    <a:pt x="14" y="23"/>
                    <a:pt x="21" y="24"/>
                    <a:pt x="23" y="21"/>
                  </a:cubicBezTo>
                  <a:close/>
                </a:path>
              </a:pathLst>
            </a:custGeom>
            <a:solidFill>
              <a:srgbClr val="8F8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ïŝ1ïḓè">
              <a:extLst>
                <a:ext uri="{FF2B5EF4-FFF2-40B4-BE49-F238E27FC236}">
                  <a16:creationId xmlns:a16="http://schemas.microsoft.com/office/drawing/2014/main" id="{05423F3D-F80A-4BF2-91A7-C019C092A157}"/>
                </a:ext>
              </a:extLst>
            </p:cNvPr>
            <p:cNvSpPr/>
            <p:nvPr/>
          </p:nvSpPr>
          <p:spPr bwMode="auto">
            <a:xfrm>
              <a:off x="7299326" y="5561013"/>
              <a:ext cx="95250" cy="79375"/>
            </a:xfrm>
            <a:custGeom>
              <a:avLst/>
              <a:gdLst>
                <a:gd name="T0" fmla="*/ 27 w 29"/>
                <a:gd name="T1" fmla="*/ 4 h 24"/>
                <a:gd name="T2" fmla="*/ 10 w 29"/>
                <a:gd name="T3" fmla="*/ 5 h 24"/>
                <a:gd name="T4" fmla="*/ 2 w 29"/>
                <a:gd name="T5" fmla="*/ 20 h 24"/>
                <a:gd name="T6" fmla="*/ 19 w 29"/>
                <a:gd name="T7" fmla="*/ 19 h 24"/>
                <a:gd name="T8" fmla="*/ 27 w 29"/>
                <a:gd name="T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4">
                  <a:moveTo>
                    <a:pt x="27" y="4"/>
                  </a:moveTo>
                  <a:cubicBezTo>
                    <a:pt x="24" y="0"/>
                    <a:pt x="17" y="1"/>
                    <a:pt x="10" y="5"/>
                  </a:cubicBezTo>
                  <a:cubicBezTo>
                    <a:pt x="3" y="10"/>
                    <a:pt x="0" y="16"/>
                    <a:pt x="2" y="20"/>
                  </a:cubicBezTo>
                  <a:cubicBezTo>
                    <a:pt x="5" y="24"/>
                    <a:pt x="12" y="23"/>
                    <a:pt x="19" y="19"/>
                  </a:cubicBezTo>
                  <a:cubicBezTo>
                    <a:pt x="25" y="14"/>
                    <a:pt x="29" y="8"/>
                    <a:pt x="27" y="4"/>
                  </a:cubicBezTo>
                  <a:close/>
                </a:path>
              </a:pathLst>
            </a:custGeom>
            <a:solidFill>
              <a:srgbClr val="8F8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íşľîḑe">
              <a:extLst>
                <a:ext uri="{FF2B5EF4-FFF2-40B4-BE49-F238E27FC236}">
                  <a16:creationId xmlns:a16="http://schemas.microsoft.com/office/drawing/2014/main" id="{AA784791-924B-4207-A0EC-2EF8088024C9}"/>
                </a:ext>
              </a:extLst>
            </p:cNvPr>
            <p:cNvSpPr/>
            <p:nvPr/>
          </p:nvSpPr>
          <p:spPr bwMode="auto">
            <a:xfrm>
              <a:off x="7935913" y="5268913"/>
              <a:ext cx="95250" cy="74613"/>
            </a:xfrm>
            <a:custGeom>
              <a:avLst/>
              <a:gdLst>
                <a:gd name="T0" fmla="*/ 26 w 29"/>
                <a:gd name="T1" fmla="*/ 4 h 23"/>
                <a:gd name="T2" fmla="*/ 10 w 29"/>
                <a:gd name="T3" fmla="*/ 5 h 23"/>
                <a:gd name="T4" fmla="*/ 2 w 29"/>
                <a:gd name="T5" fmla="*/ 19 h 23"/>
                <a:gd name="T6" fmla="*/ 19 w 29"/>
                <a:gd name="T7" fmla="*/ 18 h 23"/>
                <a:gd name="T8" fmla="*/ 26 w 29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3">
                  <a:moveTo>
                    <a:pt x="26" y="4"/>
                  </a:moveTo>
                  <a:cubicBezTo>
                    <a:pt x="24" y="0"/>
                    <a:pt x="17" y="1"/>
                    <a:pt x="10" y="5"/>
                  </a:cubicBezTo>
                  <a:cubicBezTo>
                    <a:pt x="3" y="9"/>
                    <a:pt x="0" y="16"/>
                    <a:pt x="2" y="19"/>
                  </a:cubicBezTo>
                  <a:cubicBezTo>
                    <a:pt x="5" y="23"/>
                    <a:pt x="12" y="23"/>
                    <a:pt x="19" y="18"/>
                  </a:cubicBezTo>
                  <a:cubicBezTo>
                    <a:pt x="25" y="14"/>
                    <a:pt x="29" y="7"/>
                    <a:pt x="26" y="4"/>
                  </a:cubicBezTo>
                  <a:close/>
                </a:path>
              </a:pathLst>
            </a:custGeom>
            <a:solidFill>
              <a:srgbClr val="8F8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ïSḻíḑè">
              <a:extLst>
                <a:ext uri="{FF2B5EF4-FFF2-40B4-BE49-F238E27FC236}">
                  <a16:creationId xmlns:a16="http://schemas.microsoft.com/office/drawing/2014/main" id="{2ABC48E6-546E-457E-A7BC-470F74C855EC}"/>
                </a:ext>
              </a:extLst>
            </p:cNvPr>
            <p:cNvSpPr/>
            <p:nvPr/>
          </p:nvSpPr>
          <p:spPr bwMode="auto">
            <a:xfrm>
              <a:off x="6951663" y="5654675"/>
              <a:ext cx="165100" cy="107950"/>
            </a:xfrm>
            <a:custGeom>
              <a:avLst/>
              <a:gdLst>
                <a:gd name="T0" fmla="*/ 48 w 50"/>
                <a:gd name="T1" fmla="*/ 9 h 33"/>
                <a:gd name="T2" fmla="*/ 21 w 50"/>
                <a:gd name="T3" fmla="*/ 4 h 33"/>
                <a:gd name="T4" fmla="*/ 2 w 50"/>
                <a:gd name="T5" fmla="*/ 24 h 33"/>
                <a:gd name="T6" fmla="*/ 29 w 50"/>
                <a:gd name="T7" fmla="*/ 29 h 33"/>
                <a:gd name="T8" fmla="*/ 48 w 50"/>
                <a:gd name="T9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3">
                  <a:moveTo>
                    <a:pt x="48" y="9"/>
                  </a:moveTo>
                  <a:cubicBezTo>
                    <a:pt x="46" y="2"/>
                    <a:pt x="34" y="0"/>
                    <a:pt x="21" y="4"/>
                  </a:cubicBezTo>
                  <a:cubicBezTo>
                    <a:pt x="9" y="8"/>
                    <a:pt x="0" y="17"/>
                    <a:pt x="2" y="24"/>
                  </a:cubicBezTo>
                  <a:cubicBezTo>
                    <a:pt x="5" y="31"/>
                    <a:pt x="17" y="33"/>
                    <a:pt x="29" y="29"/>
                  </a:cubicBezTo>
                  <a:cubicBezTo>
                    <a:pt x="42" y="25"/>
                    <a:pt x="50" y="16"/>
                    <a:pt x="48" y="9"/>
                  </a:cubicBezTo>
                  <a:close/>
                </a:path>
              </a:pathLst>
            </a:custGeom>
            <a:solidFill>
              <a:srgbClr val="8F8A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işļidê">
              <a:extLst>
                <a:ext uri="{FF2B5EF4-FFF2-40B4-BE49-F238E27FC236}">
                  <a16:creationId xmlns:a16="http://schemas.microsoft.com/office/drawing/2014/main" id="{55CA3643-270C-4F35-AEB5-EE6923814907}"/>
                </a:ext>
              </a:extLst>
            </p:cNvPr>
            <p:cNvSpPr/>
            <p:nvPr/>
          </p:nvSpPr>
          <p:spPr bwMode="auto">
            <a:xfrm>
              <a:off x="5157788" y="4537075"/>
              <a:ext cx="165100" cy="306388"/>
            </a:xfrm>
            <a:custGeom>
              <a:avLst/>
              <a:gdLst>
                <a:gd name="T0" fmla="*/ 0 w 104"/>
                <a:gd name="T1" fmla="*/ 4 h 193"/>
                <a:gd name="T2" fmla="*/ 95 w 104"/>
                <a:gd name="T3" fmla="*/ 193 h 193"/>
                <a:gd name="T4" fmla="*/ 104 w 104"/>
                <a:gd name="T5" fmla="*/ 191 h 193"/>
                <a:gd name="T6" fmla="*/ 8 w 104"/>
                <a:gd name="T7" fmla="*/ 0 h 193"/>
                <a:gd name="T8" fmla="*/ 0 w 104"/>
                <a:gd name="T9" fmla="*/ 4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93">
                  <a:moveTo>
                    <a:pt x="0" y="4"/>
                  </a:moveTo>
                  <a:lnTo>
                    <a:pt x="95" y="193"/>
                  </a:lnTo>
                  <a:lnTo>
                    <a:pt x="104" y="191"/>
                  </a:lnTo>
                  <a:lnTo>
                    <a:pt x="8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62F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iślïḓé">
              <a:extLst>
                <a:ext uri="{FF2B5EF4-FFF2-40B4-BE49-F238E27FC236}">
                  <a16:creationId xmlns:a16="http://schemas.microsoft.com/office/drawing/2014/main" id="{862E2DCF-469F-49FA-B780-B340C3AE373F}"/>
                </a:ext>
              </a:extLst>
            </p:cNvPr>
            <p:cNvSpPr/>
            <p:nvPr/>
          </p:nvSpPr>
          <p:spPr bwMode="auto">
            <a:xfrm>
              <a:off x="5157788" y="4537075"/>
              <a:ext cx="165100" cy="306388"/>
            </a:xfrm>
            <a:custGeom>
              <a:avLst/>
              <a:gdLst>
                <a:gd name="T0" fmla="*/ 0 w 104"/>
                <a:gd name="T1" fmla="*/ 4 h 193"/>
                <a:gd name="T2" fmla="*/ 95 w 104"/>
                <a:gd name="T3" fmla="*/ 193 h 193"/>
                <a:gd name="T4" fmla="*/ 104 w 104"/>
                <a:gd name="T5" fmla="*/ 191 h 193"/>
                <a:gd name="T6" fmla="*/ 8 w 104"/>
                <a:gd name="T7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193">
                  <a:moveTo>
                    <a:pt x="0" y="4"/>
                  </a:moveTo>
                  <a:lnTo>
                    <a:pt x="95" y="193"/>
                  </a:lnTo>
                  <a:lnTo>
                    <a:pt x="104" y="191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îS1íḑe">
              <a:extLst>
                <a:ext uri="{FF2B5EF4-FFF2-40B4-BE49-F238E27FC236}">
                  <a16:creationId xmlns:a16="http://schemas.microsoft.com/office/drawing/2014/main" id="{F6042C0D-7C93-4BAC-8727-BA0AF8924877}"/>
                </a:ext>
              </a:extLst>
            </p:cNvPr>
            <p:cNvSpPr/>
            <p:nvPr/>
          </p:nvSpPr>
          <p:spPr bwMode="auto">
            <a:xfrm>
              <a:off x="5200651" y="4513263"/>
              <a:ext cx="174625" cy="320675"/>
            </a:xfrm>
            <a:custGeom>
              <a:avLst/>
              <a:gdLst>
                <a:gd name="T0" fmla="*/ 0 w 110"/>
                <a:gd name="T1" fmla="*/ 4 h 202"/>
                <a:gd name="T2" fmla="*/ 104 w 110"/>
                <a:gd name="T3" fmla="*/ 202 h 202"/>
                <a:gd name="T4" fmla="*/ 110 w 110"/>
                <a:gd name="T5" fmla="*/ 199 h 202"/>
                <a:gd name="T6" fmla="*/ 8 w 110"/>
                <a:gd name="T7" fmla="*/ 0 h 202"/>
                <a:gd name="T8" fmla="*/ 0 w 110"/>
                <a:gd name="T9" fmla="*/ 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202">
                  <a:moveTo>
                    <a:pt x="0" y="4"/>
                  </a:moveTo>
                  <a:lnTo>
                    <a:pt x="104" y="202"/>
                  </a:lnTo>
                  <a:lnTo>
                    <a:pt x="110" y="199"/>
                  </a:lnTo>
                  <a:lnTo>
                    <a:pt x="8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462F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íSľíḓê">
              <a:extLst>
                <a:ext uri="{FF2B5EF4-FFF2-40B4-BE49-F238E27FC236}">
                  <a16:creationId xmlns:a16="http://schemas.microsoft.com/office/drawing/2014/main" id="{066DC6F0-4F3E-4FC9-9990-3C8F3D864650}"/>
                </a:ext>
              </a:extLst>
            </p:cNvPr>
            <p:cNvSpPr/>
            <p:nvPr/>
          </p:nvSpPr>
          <p:spPr bwMode="auto">
            <a:xfrm>
              <a:off x="5200651" y="4513263"/>
              <a:ext cx="174625" cy="320675"/>
            </a:xfrm>
            <a:custGeom>
              <a:avLst/>
              <a:gdLst>
                <a:gd name="T0" fmla="*/ 0 w 110"/>
                <a:gd name="T1" fmla="*/ 4 h 202"/>
                <a:gd name="T2" fmla="*/ 104 w 110"/>
                <a:gd name="T3" fmla="*/ 202 h 202"/>
                <a:gd name="T4" fmla="*/ 110 w 110"/>
                <a:gd name="T5" fmla="*/ 199 h 202"/>
                <a:gd name="T6" fmla="*/ 8 w 110"/>
                <a:gd name="T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202">
                  <a:moveTo>
                    <a:pt x="0" y="4"/>
                  </a:moveTo>
                  <a:lnTo>
                    <a:pt x="104" y="202"/>
                  </a:lnTo>
                  <a:lnTo>
                    <a:pt x="110" y="199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îŝḷiḍe">
              <a:extLst>
                <a:ext uri="{FF2B5EF4-FFF2-40B4-BE49-F238E27FC236}">
                  <a16:creationId xmlns:a16="http://schemas.microsoft.com/office/drawing/2014/main" id="{F6302674-5E39-4541-BC02-43E9DF2D2B7A}"/>
                </a:ext>
              </a:extLst>
            </p:cNvPr>
            <p:cNvSpPr/>
            <p:nvPr/>
          </p:nvSpPr>
          <p:spPr bwMode="auto">
            <a:xfrm>
              <a:off x="6853238" y="4546600"/>
              <a:ext cx="180975" cy="300038"/>
            </a:xfrm>
            <a:custGeom>
              <a:avLst/>
              <a:gdLst>
                <a:gd name="T0" fmla="*/ 106 w 114"/>
                <a:gd name="T1" fmla="*/ 0 h 189"/>
                <a:gd name="T2" fmla="*/ 0 w 114"/>
                <a:gd name="T3" fmla="*/ 185 h 189"/>
                <a:gd name="T4" fmla="*/ 8 w 114"/>
                <a:gd name="T5" fmla="*/ 189 h 189"/>
                <a:gd name="T6" fmla="*/ 114 w 114"/>
                <a:gd name="T7" fmla="*/ 4 h 189"/>
                <a:gd name="T8" fmla="*/ 106 w 114"/>
                <a:gd name="T9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89">
                  <a:moveTo>
                    <a:pt x="106" y="0"/>
                  </a:moveTo>
                  <a:lnTo>
                    <a:pt x="0" y="185"/>
                  </a:lnTo>
                  <a:lnTo>
                    <a:pt x="8" y="189"/>
                  </a:lnTo>
                  <a:lnTo>
                    <a:pt x="114" y="4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3825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iŝ1ïḑè">
              <a:extLst>
                <a:ext uri="{FF2B5EF4-FFF2-40B4-BE49-F238E27FC236}">
                  <a16:creationId xmlns:a16="http://schemas.microsoft.com/office/drawing/2014/main" id="{501DAC03-7DB6-43C4-85F1-20F6963636DA}"/>
                </a:ext>
              </a:extLst>
            </p:cNvPr>
            <p:cNvSpPr/>
            <p:nvPr/>
          </p:nvSpPr>
          <p:spPr bwMode="auto">
            <a:xfrm>
              <a:off x="6853238" y="4546600"/>
              <a:ext cx="180975" cy="300038"/>
            </a:xfrm>
            <a:custGeom>
              <a:avLst/>
              <a:gdLst>
                <a:gd name="T0" fmla="*/ 106 w 114"/>
                <a:gd name="T1" fmla="*/ 0 h 189"/>
                <a:gd name="T2" fmla="*/ 0 w 114"/>
                <a:gd name="T3" fmla="*/ 185 h 189"/>
                <a:gd name="T4" fmla="*/ 8 w 114"/>
                <a:gd name="T5" fmla="*/ 189 h 189"/>
                <a:gd name="T6" fmla="*/ 114 w 114"/>
                <a:gd name="T7" fmla="*/ 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89">
                  <a:moveTo>
                    <a:pt x="106" y="0"/>
                  </a:moveTo>
                  <a:lnTo>
                    <a:pt x="0" y="185"/>
                  </a:lnTo>
                  <a:lnTo>
                    <a:pt x="8" y="189"/>
                  </a:lnTo>
                  <a:lnTo>
                    <a:pt x="114" y="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íŝḷiḑè">
              <a:extLst>
                <a:ext uri="{FF2B5EF4-FFF2-40B4-BE49-F238E27FC236}">
                  <a16:creationId xmlns:a16="http://schemas.microsoft.com/office/drawing/2014/main" id="{89D829E6-46A3-4FF0-8D2D-6328C1080DC6}"/>
                </a:ext>
              </a:extLst>
            </p:cNvPr>
            <p:cNvSpPr/>
            <p:nvPr/>
          </p:nvSpPr>
          <p:spPr bwMode="auto">
            <a:xfrm>
              <a:off x="6813551" y="4537075"/>
              <a:ext cx="180975" cy="300038"/>
            </a:xfrm>
            <a:custGeom>
              <a:avLst/>
              <a:gdLst>
                <a:gd name="T0" fmla="*/ 106 w 114"/>
                <a:gd name="T1" fmla="*/ 0 h 189"/>
                <a:gd name="T2" fmla="*/ 0 w 114"/>
                <a:gd name="T3" fmla="*/ 184 h 189"/>
                <a:gd name="T4" fmla="*/ 8 w 114"/>
                <a:gd name="T5" fmla="*/ 189 h 189"/>
                <a:gd name="T6" fmla="*/ 114 w 114"/>
                <a:gd name="T7" fmla="*/ 4 h 189"/>
                <a:gd name="T8" fmla="*/ 106 w 114"/>
                <a:gd name="T9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89">
                  <a:moveTo>
                    <a:pt x="106" y="0"/>
                  </a:moveTo>
                  <a:lnTo>
                    <a:pt x="0" y="184"/>
                  </a:lnTo>
                  <a:lnTo>
                    <a:pt x="8" y="189"/>
                  </a:lnTo>
                  <a:lnTo>
                    <a:pt x="114" y="4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3825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iṡ1îḓé">
              <a:extLst>
                <a:ext uri="{FF2B5EF4-FFF2-40B4-BE49-F238E27FC236}">
                  <a16:creationId xmlns:a16="http://schemas.microsoft.com/office/drawing/2014/main" id="{0CEDA2C6-0FBE-44A9-A339-8715D36CBAEF}"/>
                </a:ext>
              </a:extLst>
            </p:cNvPr>
            <p:cNvSpPr/>
            <p:nvPr/>
          </p:nvSpPr>
          <p:spPr bwMode="auto">
            <a:xfrm>
              <a:off x="6813551" y="4537075"/>
              <a:ext cx="180975" cy="300038"/>
            </a:xfrm>
            <a:custGeom>
              <a:avLst/>
              <a:gdLst>
                <a:gd name="T0" fmla="*/ 106 w 114"/>
                <a:gd name="T1" fmla="*/ 0 h 189"/>
                <a:gd name="T2" fmla="*/ 0 w 114"/>
                <a:gd name="T3" fmla="*/ 184 h 189"/>
                <a:gd name="T4" fmla="*/ 8 w 114"/>
                <a:gd name="T5" fmla="*/ 189 h 189"/>
                <a:gd name="T6" fmla="*/ 114 w 114"/>
                <a:gd name="T7" fmla="*/ 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89">
                  <a:moveTo>
                    <a:pt x="106" y="0"/>
                  </a:moveTo>
                  <a:lnTo>
                    <a:pt x="0" y="184"/>
                  </a:lnTo>
                  <a:lnTo>
                    <a:pt x="8" y="189"/>
                  </a:lnTo>
                  <a:lnTo>
                    <a:pt x="114" y="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7" name="文本框 6">
            <a:extLst>
              <a:ext uri="{FF2B5EF4-FFF2-40B4-BE49-F238E27FC236}">
                <a16:creationId xmlns:a16="http://schemas.microsoft.com/office/drawing/2014/main" id="{C334D8D0-E44D-4D93-93DC-BC921CB71240}"/>
              </a:ext>
            </a:extLst>
          </p:cNvPr>
          <p:cNvSpPr txBox="1"/>
          <p:nvPr/>
        </p:nvSpPr>
        <p:spPr>
          <a:xfrm>
            <a:off x="671970" y="1344014"/>
            <a:ext cx="66713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没有</a:t>
            </a:r>
            <a:r>
              <a:rPr lang="en-US" altLang="zh-CN" dirty="0"/>
              <a:t>receiver</a:t>
            </a:r>
            <a:r>
              <a:rPr lang="zh-CN" altLang="en-US" dirty="0"/>
              <a:t>参数的方法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BAA5AB1-436A-441D-A3C6-186375B4182B}"/>
              </a:ext>
            </a:extLst>
          </p:cNvPr>
          <p:cNvSpPr txBox="1"/>
          <p:nvPr/>
        </p:nvSpPr>
        <p:spPr>
          <a:xfrm>
            <a:off x="5401196" y="2804642"/>
            <a:ext cx="15127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un::shoot(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664211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D11EE5-47E1-4035-A2B7-19C2E3AF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扩展方法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7666BC-59F7-4E7F-8671-AA1B72E44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85EB3A-2EBC-4BF1-9376-F73050A0C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63" name="4a6d8bff-9583-43ab-a21f-27c453e1898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84DB364-C916-4CF3-98D1-3F7D704CD3E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868682" y="3071265"/>
            <a:ext cx="2453045" cy="2832736"/>
            <a:chOff x="4064000" y="933451"/>
            <a:chExt cx="4297363" cy="4962525"/>
          </a:xfrm>
        </p:grpSpPr>
        <p:sp>
          <p:nvSpPr>
            <p:cNvPr id="164" name="iṣľïdé">
              <a:extLst>
                <a:ext uri="{FF2B5EF4-FFF2-40B4-BE49-F238E27FC236}">
                  <a16:creationId xmlns:a16="http://schemas.microsoft.com/office/drawing/2014/main" id="{16BAAD3B-D64C-4140-8351-5FBCF1885DE4}"/>
                </a:ext>
              </a:extLst>
            </p:cNvPr>
            <p:cNvSpPr/>
            <p:nvPr/>
          </p:nvSpPr>
          <p:spPr bwMode="auto">
            <a:xfrm>
              <a:off x="4081463" y="1466851"/>
              <a:ext cx="4279900" cy="4398963"/>
            </a:xfrm>
            <a:custGeom>
              <a:avLst/>
              <a:gdLst>
                <a:gd name="T0" fmla="*/ 103 w 3108"/>
                <a:gd name="T1" fmla="*/ 1232 h 3200"/>
                <a:gd name="T2" fmla="*/ 1049 w 3108"/>
                <a:gd name="T3" fmla="*/ 2564 h 3200"/>
                <a:gd name="T4" fmla="*/ 1264 w 3108"/>
                <a:gd name="T5" fmla="*/ 2554 h 3200"/>
                <a:gd name="T6" fmla="*/ 1293 w 3108"/>
                <a:gd name="T7" fmla="*/ 2570 h 3200"/>
                <a:gd name="T8" fmla="*/ 1242 w 3108"/>
                <a:gd name="T9" fmla="*/ 2718 h 3200"/>
                <a:gd name="T10" fmla="*/ 1290 w 3108"/>
                <a:gd name="T11" fmla="*/ 2758 h 3200"/>
                <a:gd name="T12" fmla="*/ 1387 w 3108"/>
                <a:gd name="T13" fmla="*/ 2688 h 3200"/>
                <a:gd name="T14" fmla="*/ 1340 w 3108"/>
                <a:gd name="T15" fmla="*/ 2793 h 3200"/>
                <a:gd name="T16" fmla="*/ 1335 w 3108"/>
                <a:gd name="T17" fmla="*/ 2820 h 3200"/>
                <a:gd name="T18" fmla="*/ 1316 w 3108"/>
                <a:gd name="T19" fmla="*/ 2914 h 3200"/>
                <a:gd name="T20" fmla="*/ 1414 w 3108"/>
                <a:gd name="T21" fmla="*/ 2950 h 3200"/>
                <a:gd name="T22" fmla="*/ 1488 w 3108"/>
                <a:gd name="T23" fmla="*/ 2816 h 3200"/>
                <a:gd name="T24" fmla="*/ 1544 w 3108"/>
                <a:gd name="T25" fmla="*/ 2802 h 3200"/>
                <a:gd name="T26" fmla="*/ 1943 w 3108"/>
                <a:gd name="T27" fmla="*/ 3200 h 3200"/>
                <a:gd name="T28" fmla="*/ 1971 w 3108"/>
                <a:gd name="T29" fmla="*/ 3111 h 3200"/>
                <a:gd name="T30" fmla="*/ 2059 w 3108"/>
                <a:gd name="T31" fmla="*/ 3016 h 3200"/>
                <a:gd name="T32" fmla="*/ 1890 w 3108"/>
                <a:gd name="T33" fmla="*/ 2838 h 3200"/>
                <a:gd name="T34" fmla="*/ 1881 w 3108"/>
                <a:gd name="T35" fmla="*/ 2797 h 3200"/>
                <a:gd name="T36" fmla="*/ 2249 w 3108"/>
                <a:gd name="T37" fmla="*/ 2649 h 3200"/>
                <a:gd name="T38" fmla="*/ 1932 w 3108"/>
                <a:gd name="T39" fmla="*/ 2654 h 3200"/>
                <a:gd name="T40" fmla="*/ 2230 w 3108"/>
                <a:gd name="T41" fmla="*/ 2537 h 3200"/>
                <a:gd name="T42" fmla="*/ 2018 w 3108"/>
                <a:gd name="T43" fmla="*/ 2552 h 3200"/>
                <a:gd name="T44" fmla="*/ 2104 w 3108"/>
                <a:gd name="T45" fmla="*/ 2513 h 3200"/>
                <a:gd name="T46" fmla="*/ 2003 w 3108"/>
                <a:gd name="T47" fmla="*/ 2439 h 3200"/>
                <a:gd name="T48" fmla="*/ 2815 w 3108"/>
                <a:gd name="T49" fmla="*/ 1820 h 3200"/>
                <a:gd name="T50" fmla="*/ 2347 w 3108"/>
                <a:gd name="T51" fmla="*/ 427 h 3200"/>
                <a:gd name="T52" fmla="*/ 2310 w 3108"/>
                <a:gd name="T53" fmla="*/ 382 h 3200"/>
                <a:gd name="T54" fmla="*/ 2214 w 3108"/>
                <a:gd name="T55" fmla="*/ 190 h 3200"/>
                <a:gd name="T56" fmla="*/ 2182 w 3108"/>
                <a:gd name="T57" fmla="*/ 369 h 3200"/>
                <a:gd name="T58" fmla="*/ 2113 w 3108"/>
                <a:gd name="T59" fmla="*/ 278 h 3200"/>
                <a:gd name="T60" fmla="*/ 2088 w 3108"/>
                <a:gd name="T61" fmla="*/ 122 h 3200"/>
                <a:gd name="T62" fmla="*/ 1981 w 3108"/>
                <a:gd name="T63" fmla="*/ 184 h 3200"/>
                <a:gd name="T64" fmla="*/ 1891 w 3108"/>
                <a:gd name="T65" fmla="*/ 72 h 3200"/>
                <a:gd name="T66" fmla="*/ 1866 w 3108"/>
                <a:gd name="T67" fmla="*/ 140 h 3200"/>
                <a:gd name="T68" fmla="*/ 1389 w 3108"/>
                <a:gd name="T69" fmla="*/ 332 h 3200"/>
                <a:gd name="T70" fmla="*/ 955 w 3108"/>
                <a:gd name="T71" fmla="*/ 468 h 3200"/>
                <a:gd name="T72" fmla="*/ 869 w 3108"/>
                <a:gd name="T73" fmla="*/ 455 h 3200"/>
                <a:gd name="T74" fmla="*/ 638 w 3108"/>
                <a:gd name="T75" fmla="*/ 652 h 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08" h="3200">
                  <a:moveTo>
                    <a:pt x="638" y="652"/>
                  </a:moveTo>
                  <a:cubicBezTo>
                    <a:pt x="638" y="652"/>
                    <a:pt x="205" y="870"/>
                    <a:pt x="103" y="1232"/>
                  </a:cubicBezTo>
                  <a:cubicBezTo>
                    <a:pt x="0" y="1595"/>
                    <a:pt x="19" y="1951"/>
                    <a:pt x="350" y="2262"/>
                  </a:cubicBezTo>
                  <a:cubicBezTo>
                    <a:pt x="680" y="2574"/>
                    <a:pt x="1049" y="2564"/>
                    <a:pt x="1049" y="2564"/>
                  </a:cubicBezTo>
                  <a:cubicBezTo>
                    <a:pt x="1181" y="2551"/>
                    <a:pt x="1181" y="2551"/>
                    <a:pt x="1181" y="2551"/>
                  </a:cubicBezTo>
                  <a:cubicBezTo>
                    <a:pt x="1264" y="2554"/>
                    <a:pt x="1264" y="2554"/>
                    <a:pt x="1264" y="2554"/>
                  </a:cubicBezTo>
                  <a:cubicBezTo>
                    <a:pt x="1264" y="2554"/>
                    <a:pt x="1200" y="2593"/>
                    <a:pt x="1181" y="2593"/>
                  </a:cubicBezTo>
                  <a:cubicBezTo>
                    <a:pt x="1161" y="2593"/>
                    <a:pt x="1293" y="2570"/>
                    <a:pt x="1293" y="2570"/>
                  </a:cubicBezTo>
                  <a:cubicBezTo>
                    <a:pt x="1293" y="2570"/>
                    <a:pt x="1277" y="2612"/>
                    <a:pt x="1261" y="2641"/>
                  </a:cubicBezTo>
                  <a:cubicBezTo>
                    <a:pt x="1245" y="2670"/>
                    <a:pt x="1242" y="2705"/>
                    <a:pt x="1242" y="2718"/>
                  </a:cubicBezTo>
                  <a:cubicBezTo>
                    <a:pt x="1242" y="2731"/>
                    <a:pt x="1260" y="2733"/>
                    <a:pt x="1260" y="2733"/>
                  </a:cubicBezTo>
                  <a:cubicBezTo>
                    <a:pt x="1260" y="2733"/>
                    <a:pt x="1268" y="2757"/>
                    <a:pt x="1290" y="2758"/>
                  </a:cubicBezTo>
                  <a:cubicBezTo>
                    <a:pt x="1311" y="2759"/>
                    <a:pt x="1331" y="2767"/>
                    <a:pt x="1350" y="2743"/>
                  </a:cubicBezTo>
                  <a:cubicBezTo>
                    <a:pt x="1368" y="2719"/>
                    <a:pt x="1387" y="2688"/>
                    <a:pt x="1387" y="2688"/>
                  </a:cubicBezTo>
                  <a:cubicBezTo>
                    <a:pt x="1387" y="2688"/>
                    <a:pt x="1391" y="2714"/>
                    <a:pt x="1390" y="2718"/>
                  </a:cubicBezTo>
                  <a:cubicBezTo>
                    <a:pt x="1390" y="2722"/>
                    <a:pt x="1353" y="2781"/>
                    <a:pt x="1340" y="2793"/>
                  </a:cubicBezTo>
                  <a:cubicBezTo>
                    <a:pt x="1326" y="2805"/>
                    <a:pt x="1316" y="2814"/>
                    <a:pt x="1316" y="2814"/>
                  </a:cubicBezTo>
                  <a:cubicBezTo>
                    <a:pt x="1335" y="2820"/>
                    <a:pt x="1335" y="2820"/>
                    <a:pt x="1335" y="2820"/>
                  </a:cubicBezTo>
                  <a:cubicBezTo>
                    <a:pt x="1335" y="2820"/>
                    <a:pt x="1320" y="2853"/>
                    <a:pt x="1316" y="2873"/>
                  </a:cubicBezTo>
                  <a:cubicBezTo>
                    <a:pt x="1313" y="2892"/>
                    <a:pt x="1310" y="2903"/>
                    <a:pt x="1316" y="2914"/>
                  </a:cubicBezTo>
                  <a:cubicBezTo>
                    <a:pt x="1321" y="2925"/>
                    <a:pt x="1330" y="2934"/>
                    <a:pt x="1348" y="2941"/>
                  </a:cubicBezTo>
                  <a:cubicBezTo>
                    <a:pt x="1365" y="2949"/>
                    <a:pt x="1395" y="2970"/>
                    <a:pt x="1414" y="2950"/>
                  </a:cubicBezTo>
                  <a:cubicBezTo>
                    <a:pt x="1432" y="2931"/>
                    <a:pt x="1465" y="2889"/>
                    <a:pt x="1473" y="2866"/>
                  </a:cubicBezTo>
                  <a:cubicBezTo>
                    <a:pt x="1480" y="2843"/>
                    <a:pt x="1486" y="2827"/>
                    <a:pt x="1488" y="2816"/>
                  </a:cubicBezTo>
                  <a:cubicBezTo>
                    <a:pt x="1490" y="2805"/>
                    <a:pt x="1502" y="2775"/>
                    <a:pt x="1502" y="2775"/>
                  </a:cubicBezTo>
                  <a:cubicBezTo>
                    <a:pt x="1544" y="2802"/>
                    <a:pt x="1544" y="2802"/>
                    <a:pt x="1544" y="2802"/>
                  </a:cubicBezTo>
                  <a:cubicBezTo>
                    <a:pt x="1544" y="2802"/>
                    <a:pt x="1601" y="2900"/>
                    <a:pt x="1610" y="2923"/>
                  </a:cubicBezTo>
                  <a:cubicBezTo>
                    <a:pt x="1619" y="2945"/>
                    <a:pt x="1787" y="3153"/>
                    <a:pt x="1943" y="3200"/>
                  </a:cubicBezTo>
                  <a:cubicBezTo>
                    <a:pt x="1896" y="3092"/>
                    <a:pt x="1896" y="3092"/>
                    <a:pt x="1896" y="3092"/>
                  </a:cubicBezTo>
                  <a:cubicBezTo>
                    <a:pt x="1971" y="3111"/>
                    <a:pt x="1971" y="3111"/>
                    <a:pt x="1971" y="3111"/>
                  </a:cubicBezTo>
                  <a:cubicBezTo>
                    <a:pt x="1874" y="2963"/>
                    <a:pt x="1874" y="2963"/>
                    <a:pt x="1874" y="2963"/>
                  </a:cubicBezTo>
                  <a:cubicBezTo>
                    <a:pt x="1874" y="2963"/>
                    <a:pt x="2033" y="3021"/>
                    <a:pt x="2059" y="3016"/>
                  </a:cubicBezTo>
                  <a:cubicBezTo>
                    <a:pt x="2059" y="3016"/>
                    <a:pt x="2094" y="2945"/>
                    <a:pt x="2019" y="2912"/>
                  </a:cubicBezTo>
                  <a:cubicBezTo>
                    <a:pt x="1944" y="2878"/>
                    <a:pt x="1890" y="2838"/>
                    <a:pt x="1890" y="2838"/>
                  </a:cubicBezTo>
                  <a:cubicBezTo>
                    <a:pt x="1919" y="2836"/>
                    <a:pt x="1919" y="2836"/>
                    <a:pt x="1919" y="2836"/>
                  </a:cubicBezTo>
                  <a:cubicBezTo>
                    <a:pt x="1881" y="2797"/>
                    <a:pt x="1881" y="2797"/>
                    <a:pt x="1881" y="2797"/>
                  </a:cubicBezTo>
                  <a:cubicBezTo>
                    <a:pt x="1881" y="2797"/>
                    <a:pt x="1991" y="2868"/>
                    <a:pt x="2102" y="2841"/>
                  </a:cubicBezTo>
                  <a:cubicBezTo>
                    <a:pt x="2213" y="2814"/>
                    <a:pt x="2291" y="2766"/>
                    <a:pt x="2249" y="2649"/>
                  </a:cubicBezTo>
                  <a:cubicBezTo>
                    <a:pt x="2249" y="2649"/>
                    <a:pt x="2207" y="2692"/>
                    <a:pt x="2095" y="2693"/>
                  </a:cubicBezTo>
                  <a:cubicBezTo>
                    <a:pt x="1983" y="2694"/>
                    <a:pt x="1932" y="2654"/>
                    <a:pt x="1932" y="2654"/>
                  </a:cubicBezTo>
                  <a:cubicBezTo>
                    <a:pt x="1932" y="2654"/>
                    <a:pt x="2110" y="2644"/>
                    <a:pt x="2151" y="2609"/>
                  </a:cubicBezTo>
                  <a:cubicBezTo>
                    <a:pt x="2193" y="2574"/>
                    <a:pt x="2230" y="2537"/>
                    <a:pt x="2230" y="2537"/>
                  </a:cubicBezTo>
                  <a:cubicBezTo>
                    <a:pt x="2185" y="2525"/>
                    <a:pt x="2185" y="2525"/>
                    <a:pt x="2185" y="2525"/>
                  </a:cubicBezTo>
                  <a:cubicBezTo>
                    <a:pt x="2185" y="2525"/>
                    <a:pt x="2053" y="2569"/>
                    <a:pt x="2018" y="2552"/>
                  </a:cubicBezTo>
                  <a:cubicBezTo>
                    <a:pt x="1983" y="2536"/>
                    <a:pt x="1998" y="2532"/>
                    <a:pt x="2000" y="2533"/>
                  </a:cubicBezTo>
                  <a:cubicBezTo>
                    <a:pt x="2003" y="2534"/>
                    <a:pt x="2104" y="2513"/>
                    <a:pt x="2104" y="2513"/>
                  </a:cubicBezTo>
                  <a:cubicBezTo>
                    <a:pt x="2104" y="2513"/>
                    <a:pt x="2126" y="2479"/>
                    <a:pt x="2124" y="2478"/>
                  </a:cubicBezTo>
                  <a:cubicBezTo>
                    <a:pt x="2121" y="2477"/>
                    <a:pt x="2003" y="2439"/>
                    <a:pt x="2003" y="2439"/>
                  </a:cubicBezTo>
                  <a:cubicBezTo>
                    <a:pt x="2003" y="2439"/>
                    <a:pt x="2320" y="2442"/>
                    <a:pt x="2425" y="2363"/>
                  </a:cubicBezTo>
                  <a:cubicBezTo>
                    <a:pt x="2531" y="2283"/>
                    <a:pt x="2776" y="1991"/>
                    <a:pt x="2815" y="1820"/>
                  </a:cubicBezTo>
                  <a:cubicBezTo>
                    <a:pt x="2815" y="1820"/>
                    <a:pt x="3108" y="920"/>
                    <a:pt x="2350" y="494"/>
                  </a:cubicBezTo>
                  <a:cubicBezTo>
                    <a:pt x="2350" y="494"/>
                    <a:pt x="2362" y="464"/>
                    <a:pt x="2347" y="427"/>
                  </a:cubicBezTo>
                  <a:cubicBezTo>
                    <a:pt x="2300" y="479"/>
                    <a:pt x="2300" y="479"/>
                    <a:pt x="2300" y="479"/>
                  </a:cubicBezTo>
                  <a:cubicBezTo>
                    <a:pt x="2300" y="479"/>
                    <a:pt x="2307" y="409"/>
                    <a:pt x="2310" y="382"/>
                  </a:cubicBezTo>
                  <a:cubicBezTo>
                    <a:pt x="2280" y="407"/>
                    <a:pt x="2280" y="407"/>
                    <a:pt x="2280" y="407"/>
                  </a:cubicBezTo>
                  <a:cubicBezTo>
                    <a:pt x="2280" y="407"/>
                    <a:pt x="2349" y="247"/>
                    <a:pt x="2214" y="190"/>
                  </a:cubicBezTo>
                  <a:cubicBezTo>
                    <a:pt x="2214" y="190"/>
                    <a:pt x="2198" y="282"/>
                    <a:pt x="2194" y="306"/>
                  </a:cubicBezTo>
                  <a:cubicBezTo>
                    <a:pt x="2191" y="329"/>
                    <a:pt x="2181" y="372"/>
                    <a:pt x="2182" y="369"/>
                  </a:cubicBezTo>
                  <a:cubicBezTo>
                    <a:pt x="2183" y="365"/>
                    <a:pt x="2171" y="171"/>
                    <a:pt x="2114" y="132"/>
                  </a:cubicBezTo>
                  <a:cubicBezTo>
                    <a:pt x="2113" y="278"/>
                    <a:pt x="2113" y="278"/>
                    <a:pt x="2113" y="278"/>
                  </a:cubicBezTo>
                  <a:cubicBezTo>
                    <a:pt x="2094" y="221"/>
                    <a:pt x="2094" y="221"/>
                    <a:pt x="2094" y="221"/>
                  </a:cubicBezTo>
                  <a:cubicBezTo>
                    <a:pt x="2094" y="221"/>
                    <a:pt x="2098" y="158"/>
                    <a:pt x="2088" y="122"/>
                  </a:cubicBezTo>
                  <a:cubicBezTo>
                    <a:pt x="2078" y="85"/>
                    <a:pt x="2006" y="0"/>
                    <a:pt x="2006" y="0"/>
                  </a:cubicBezTo>
                  <a:cubicBezTo>
                    <a:pt x="1981" y="184"/>
                    <a:pt x="1981" y="184"/>
                    <a:pt x="1981" y="184"/>
                  </a:cubicBezTo>
                  <a:cubicBezTo>
                    <a:pt x="1981" y="184"/>
                    <a:pt x="1980" y="66"/>
                    <a:pt x="1892" y="31"/>
                  </a:cubicBezTo>
                  <a:cubicBezTo>
                    <a:pt x="1891" y="72"/>
                    <a:pt x="1891" y="72"/>
                    <a:pt x="1891" y="72"/>
                  </a:cubicBezTo>
                  <a:cubicBezTo>
                    <a:pt x="1858" y="58"/>
                    <a:pt x="1858" y="58"/>
                    <a:pt x="1858" y="58"/>
                  </a:cubicBezTo>
                  <a:cubicBezTo>
                    <a:pt x="1858" y="58"/>
                    <a:pt x="1857" y="72"/>
                    <a:pt x="1866" y="140"/>
                  </a:cubicBezTo>
                  <a:cubicBezTo>
                    <a:pt x="1875" y="208"/>
                    <a:pt x="1871" y="321"/>
                    <a:pt x="1871" y="321"/>
                  </a:cubicBezTo>
                  <a:cubicBezTo>
                    <a:pt x="1871" y="321"/>
                    <a:pt x="1675" y="256"/>
                    <a:pt x="1389" y="332"/>
                  </a:cubicBezTo>
                  <a:cubicBezTo>
                    <a:pt x="1103" y="409"/>
                    <a:pt x="988" y="502"/>
                    <a:pt x="988" y="502"/>
                  </a:cubicBezTo>
                  <a:cubicBezTo>
                    <a:pt x="955" y="468"/>
                    <a:pt x="955" y="468"/>
                    <a:pt x="955" y="468"/>
                  </a:cubicBezTo>
                  <a:cubicBezTo>
                    <a:pt x="959" y="496"/>
                    <a:pt x="959" y="496"/>
                    <a:pt x="959" y="496"/>
                  </a:cubicBezTo>
                  <a:cubicBezTo>
                    <a:pt x="959" y="496"/>
                    <a:pt x="895" y="455"/>
                    <a:pt x="869" y="455"/>
                  </a:cubicBezTo>
                  <a:cubicBezTo>
                    <a:pt x="908" y="523"/>
                    <a:pt x="908" y="523"/>
                    <a:pt x="908" y="523"/>
                  </a:cubicBezTo>
                  <a:cubicBezTo>
                    <a:pt x="908" y="523"/>
                    <a:pt x="709" y="605"/>
                    <a:pt x="638" y="6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ïŝ1ïḍè">
              <a:extLst>
                <a:ext uri="{FF2B5EF4-FFF2-40B4-BE49-F238E27FC236}">
                  <a16:creationId xmlns:a16="http://schemas.microsoft.com/office/drawing/2014/main" id="{E5AFEF5A-2F1C-4CF3-9257-23B01E743A40}"/>
                </a:ext>
              </a:extLst>
            </p:cNvPr>
            <p:cNvSpPr/>
            <p:nvPr/>
          </p:nvSpPr>
          <p:spPr bwMode="auto">
            <a:xfrm>
              <a:off x="5059363" y="3452814"/>
              <a:ext cx="98425" cy="49213"/>
            </a:xfrm>
            <a:custGeom>
              <a:avLst/>
              <a:gdLst>
                <a:gd name="T0" fmla="*/ 0 w 72"/>
                <a:gd name="T1" fmla="*/ 36 h 36"/>
                <a:gd name="T2" fmla="*/ 43 w 72"/>
                <a:gd name="T3" fmla="*/ 11 h 36"/>
                <a:gd name="T4" fmla="*/ 72 w 72"/>
                <a:gd name="T5" fmla="*/ 0 h 36"/>
                <a:gd name="T6" fmla="*/ 8 w 72"/>
                <a:gd name="T7" fmla="*/ 29 h 36"/>
                <a:gd name="T8" fmla="*/ 0 w 72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36">
                  <a:moveTo>
                    <a:pt x="0" y="36"/>
                  </a:moveTo>
                  <a:cubicBezTo>
                    <a:pt x="14" y="26"/>
                    <a:pt x="30" y="17"/>
                    <a:pt x="43" y="11"/>
                  </a:cubicBezTo>
                  <a:cubicBezTo>
                    <a:pt x="52" y="7"/>
                    <a:pt x="62" y="4"/>
                    <a:pt x="72" y="0"/>
                  </a:cubicBezTo>
                  <a:cubicBezTo>
                    <a:pt x="49" y="6"/>
                    <a:pt x="27" y="16"/>
                    <a:pt x="8" y="29"/>
                  </a:cubicBezTo>
                  <a:cubicBezTo>
                    <a:pt x="5" y="31"/>
                    <a:pt x="3" y="34"/>
                    <a:pt x="0" y="3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isḻiďe">
              <a:extLst>
                <a:ext uri="{FF2B5EF4-FFF2-40B4-BE49-F238E27FC236}">
                  <a16:creationId xmlns:a16="http://schemas.microsoft.com/office/drawing/2014/main" id="{A33751C9-9B5E-453A-8BE6-7EF4787AB0A1}"/>
                </a:ext>
              </a:extLst>
            </p:cNvPr>
            <p:cNvSpPr/>
            <p:nvPr/>
          </p:nvSpPr>
          <p:spPr bwMode="auto">
            <a:xfrm>
              <a:off x="4973638" y="2936876"/>
              <a:ext cx="396875" cy="612775"/>
            </a:xfrm>
            <a:custGeom>
              <a:avLst/>
              <a:gdLst>
                <a:gd name="T0" fmla="*/ 281 w 288"/>
                <a:gd name="T1" fmla="*/ 55 h 446"/>
                <a:gd name="T2" fmla="*/ 57 w 288"/>
                <a:gd name="T3" fmla="*/ 288 h 446"/>
                <a:gd name="T4" fmla="*/ 58 w 288"/>
                <a:gd name="T5" fmla="*/ 290 h 446"/>
                <a:gd name="T6" fmla="*/ 26 w 288"/>
                <a:gd name="T7" fmla="*/ 416 h 446"/>
                <a:gd name="T8" fmla="*/ 38 w 288"/>
                <a:gd name="T9" fmla="*/ 446 h 446"/>
                <a:gd name="T10" fmla="*/ 51 w 288"/>
                <a:gd name="T11" fmla="*/ 422 h 446"/>
                <a:gd name="T12" fmla="*/ 48 w 288"/>
                <a:gd name="T13" fmla="*/ 424 h 446"/>
                <a:gd name="T14" fmla="*/ 43 w 288"/>
                <a:gd name="T15" fmla="*/ 421 h 446"/>
                <a:gd name="T16" fmla="*/ 43 w 288"/>
                <a:gd name="T17" fmla="*/ 419 h 446"/>
                <a:gd name="T18" fmla="*/ 43 w 288"/>
                <a:gd name="T19" fmla="*/ 419 h 446"/>
                <a:gd name="T20" fmla="*/ 43 w 288"/>
                <a:gd name="T21" fmla="*/ 419 h 446"/>
                <a:gd name="T22" fmla="*/ 43 w 288"/>
                <a:gd name="T23" fmla="*/ 419 h 446"/>
                <a:gd name="T24" fmla="*/ 44 w 288"/>
                <a:gd name="T25" fmla="*/ 411 h 446"/>
                <a:gd name="T26" fmla="*/ 50 w 288"/>
                <a:gd name="T27" fmla="*/ 399 h 446"/>
                <a:gd name="T28" fmla="*/ 57 w 288"/>
                <a:gd name="T29" fmla="*/ 389 h 446"/>
                <a:gd name="T30" fmla="*/ 63 w 288"/>
                <a:gd name="T31" fmla="*/ 380 h 446"/>
                <a:gd name="T32" fmla="*/ 55 w 288"/>
                <a:gd name="T33" fmla="*/ 389 h 446"/>
                <a:gd name="T34" fmla="*/ 82 w 288"/>
                <a:gd name="T35" fmla="*/ 353 h 446"/>
                <a:gd name="T36" fmla="*/ 147 w 288"/>
                <a:gd name="T37" fmla="*/ 305 h 446"/>
                <a:gd name="T38" fmla="*/ 145 w 288"/>
                <a:gd name="T39" fmla="*/ 303 h 446"/>
                <a:gd name="T40" fmla="*/ 45 w 288"/>
                <a:gd name="T41" fmla="*/ 406 h 446"/>
                <a:gd name="T42" fmla="*/ 37 w 288"/>
                <a:gd name="T43" fmla="*/ 429 h 446"/>
                <a:gd name="T44" fmla="*/ 68 w 288"/>
                <a:gd name="T45" fmla="*/ 296 h 446"/>
                <a:gd name="T46" fmla="*/ 68 w 288"/>
                <a:gd name="T47" fmla="*/ 295 h 446"/>
                <a:gd name="T48" fmla="*/ 67 w 288"/>
                <a:gd name="T49" fmla="*/ 295 h 446"/>
                <a:gd name="T50" fmla="*/ 112 w 288"/>
                <a:gd name="T51" fmla="*/ 294 h 446"/>
                <a:gd name="T52" fmla="*/ 151 w 288"/>
                <a:gd name="T53" fmla="*/ 290 h 446"/>
                <a:gd name="T54" fmla="*/ 152 w 288"/>
                <a:gd name="T55" fmla="*/ 290 h 446"/>
                <a:gd name="T56" fmla="*/ 154 w 288"/>
                <a:gd name="T57" fmla="*/ 294 h 446"/>
                <a:gd name="T58" fmla="*/ 152 w 288"/>
                <a:gd name="T59" fmla="*/ 299 h 446"/>
                <a:gd name="T60" fmla="*/ 152 w 288"/>
                <a:gd name="T61" fmla="*/ 301 h 446"/>
                <a:gd name="T62" fmla="*/ 150 w 288"/>
                <a:gd name="T63" fmla="*/ 304 h 446"/>
                <a:gd name="T64" fmla="*/ 130 w 288"/>
                <a:gd name="T65" fmla="*/ 350 h 446"/>
                <a:gd name="T66" fmla="*/ 131 w 288"/>
                <a:gd name="T67" fmla="*/ 352 h 446"/>
                <a:gd name="T68" fmla="*/ 140 w 288"/>
                <a:gd name="T69" fmla="*/ 373 h 446"/>
                <a:gd name="T70" fmla="*/ 142 w 288"/>
                <a:gd name="T71" fmla="*/ 373 h 446"/>
                <a:gd name="T72" fmla="*/ 146 w 288"/>
                <a:gd name="T73" fmla="*/ 371 h 446"/>
                <a:gd name="T74" fmla="*/ 145 w 288"/>
                <a:gd name="T75" fmla="*/ 370 h 446"/>
                <a:gd name="T76" fmla="*/ 138 w 288"/>
                <a:gd name="T77" fmla="*/ 354 h 446"/>
                <a:gd name="T78" fmla="*/ 136 w 288"/>
                <a:gd name="T79" fmla="*/ 351 h 446"/>
                <a:gd name="T80" fmla="*/ 152 w 288"/>
                <a:gd name="T81" fmla="*/ 326 h 446"/>
                <a:gd name="T82" fmla="*/ 156 w 288"/>
                <a:gd name="T83" fmla="*/ 304 h 446"/>
                <a:gd name="T84" fmla="*/ 156 w 288"/>
                <a:gd name="T85" fmla="*/ 304 h 446"/>
                <a:gd name="T86" fmla="*/ 164 w 288"/>
                <a:gd name="T87" fmla="*/ 295 h 446"/>
                <a:gd name="T88" fmla="*/ 155 w 288"/>
                <a:gd name="T89" fmla="*/ 282 h 446"/>
                <a:gd name="T90" fmla="*/ 150 w 288"/>
                <a:gd name="T91" fmla="*/ 284 h 446"/>
                <a:gd name="T92" fmla="*/ 150 w 288"/>
                <a:gd name="T93" fmla="*/ 284 h 446"/>
                <a:gd name="T94" fmla="*/ 118 w 288"/>
                <a:gd name="T95" fmla="*/ 288 h 446"/>
                <a:gd name="T96" fmla="*/ 85 w 288"/>
                <a:gd name="T97" fmla="*/ 285 h 446"/>
                <a:gd name="T98" fmla="*/ 64 w 288"/>
                <a:gd name="T99" fmla="*/ 290 h 446"/>
                <a:gd name="T100" fmla="*/ 63 w 288"/>
                <a:gd name="T101" fmla="*/ 284 h 446"/>
                <a:gd name="T102" fmla="*/ 61 w 288"/>
                <a:gd name="T103" fmla="*/ 286 h 446"/>
                <a:gd name="T104" fmla="*/ 99 w 288"/>
                <a:gd name="T105" fmla="*/ 108 h 446"/>
                <a:gd name="T106" fmla="*/ 279 w 288"/>
                <a:gd name="T107" fmla="*/ 65 h 446"/>
                <a:gd name="T108" fmla="*/ 281 w 288"/>
                <a:gd name="T109" fmla="*/ 5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8" h="446">
                  <a:moveTo>
                    <a:pt x="281" y="55"/>
                  </a:moveTo>
                  <a:cubicBezTo>
                    <a:pt x="137" y="0"/>
                    <a:pt x="0" y="155"/>
                    <a:pt x="57" y="288"/>
                  </a:cubicBezTo>
                  <a:cubicBezTo>
                    <a:pt x="57" y="289"/>
                    <a:pt x="58" y="289"/>
                    <a:pt x="58" y="290"/>
                  </a:cubicBezTo>
                  <a:cubicBezTo>
                    <a:pt x="33" y="326"/>
                    <a:pt x="21" y="372"/>
                    <a:pt x="26" y="416"/>
                  </a:cubicBezTo>
                  <a:cubicBezTo>
                    <a:pt x="28" y="427"/>
                    <a:pt x="32" y="437"/>
                    <a:pt x="38" y="446"/>
                  </a:cubicBezTo>
                  <a:cubicBezTo>
                    <a:pt x="40" y="437"/>
                    <a:pt x="45" y="429"/>
                    <a:pt x="51" y="422"/>
                  </a:cubicBezTo>
                  <a:cubicBezTo>
                    <a:pt x="50" y="423"/>
                    <a:pt x="49" y="423"/>
                    <a:pt x="48" y="424"/>
                  </a:cubicBezTo>
                  <a:cubicBezTo>
                    <a:pt x="46" y="426"/>
                    <a:pt x="42" y="424"/>
                    <a:pt x="43" y="421"/>
                  </a:cubicBezTo>
                  <a:cubicBezTo>
                    <a:pt x="43" y="420"/>
                    <a:pt x="43" y="420"/>
                    <a:pt x="43" y="419"/>
                  </a:cubicBezTo>
                  <a:cubicBezTo>
                    <a:pt x="43" y="419"/>
                    <a:pt x="43" y="419"/>
                    <a:pt x="43" y="419"/>
                  </a:cubicBezTo>
                  <a:cubicBezTo>
                    <a:pt x="43" y="419"/>
                    <a:pt x="43" y="419"/>
                    <a:pt x="43" y="419"/>
                  </a:cubicBezTo>
                  <a:cubicBezTo>
                    <a:pt x="43" y="419"/>
                    <a:pt x="43" y="419"/>
                    <a:pt x="43" y="419"/>
                  </a:cubicBezTo>
                  <a:cubicBezTo>
                    <a:pt x="43" y="416"/>
                    <a:pt x="43" y="414"/>
                    <a:pt x="44" y="411"/>
                  </a:cubicBezTo>
                  <a:cubicBezTo>
                    <a:pt x="46" y="407"/>
                    <a:pt x="48" y="403"/>
                    <a:pt x="50" y="399"/>
                  </a:cubicBezTo>
                  <a:cubicBezTo>
                    <a:pt x="52" y="396"/>
                    <a:pt x="54" y="392"/>
                    <a:pt x="57" y="389"/>
                  </a:cubicBezTo>
                  <a:cubicBezTo>
                    <a:pt x="59" y="386"/>
                    <a:pt x="61" y="383"/>
                    <a:pt x="63" y="380"/>
                  </a:cubicBezTo>
                  <a:cubicBezTo>
                    <a:pt x="60" y="383"/>
                    <a:pt x="58" y="386"/>
                    <a:pt x="55" y="389"/>
                  </a:cubicBezTo>
                  <a:cubicBezTo>
                    <a:pt x="63" y="376"/>
                    <a:pt x="72" y="364"/>
                    <a:pt x="82" y="353"/>
                  </a:cubicBezTo>
                  <a:cubicBezTo>
                    <a:pt x="100" y="332"/>
                    <a:pt x="123" y="319"/>
                    <a:pt x="147" y="305"/>
                  </a:cubicBezTo>
                  <a:cubicBezTo>
                    <a:pt x="149" y="305"/>
                    <a:pt x="147" y="302"/>
                    <a:pt x="145" y="303"/>
                  </a:cubicBezTo>
                  <a:cubicBezTo>
                    <a:pt x="99" y="320"/>
                    <a:pt x="63" y="361"/>
                    <a:pt x="45" y="406"/>
                  </a:cubicBezTo>
                  <a:cubicBezTo>
                    <a:pt x="41" y="413"/>
                    <a:pt x="38" y="421"/>
                    <a:pt x="37" y="429"/>
                  </a:cubicBezTo>
                  <a:cubicBezTo>
                    <a:pt x="33" y="381"/>
                    <a:pt x="41" y="338"/>
                    <a:pt x="68" y="296"/>
                  </a:cubicBezTo>
                  <a:cubicBezTo>
                    <a:pt x="68" y="296"/>
                    <a:pt x="68" y="296"/>
                    <a:pt x="68" y="295"/>
                  </a:cubicBezTo>
                  <a:cubicBezTo>
                    <a:pt x="67" y="295"/>
                    <a:pt x="67" y="295"/>
                    <a:pt x="67" y="295"/>
                  </a:cubicBezTo>
                  <a:cubicBezTo>
                    <a:pt x="80" y="290"/>
                    <a:pt x="100" y="294"/>
                    <a:pt x="112" y="294"/>
                  </a:cubicBezTo>
                  <a:cubicBezTo>
                    <a:pt x="126" y="294"/>
                    <a:pt x="138" y="293"/>
                    <a:pt x="151" y="290"/>
                  </a:cubicBezTo>
                  <a:cubicBezTo>
                    <a:pt x="151" y="290"/>
                    <a:pt x="151" y="290"/>
                    <a:pt x="152" y="290"/>
                  </a:cubicBezTo>
                  <a:cubicBezTo>
                    <a:pt x="153" y="291"/>
                    <a:pt x="154" y="292"/>
                    <a:pt x="154" y="294"/>
                  </a:cubicBezTo>
                  <a:cubicBezTo>
                    <a:pt x="155" y="296"/>
                    <a:pt x="153" y="298"/>
                    <a:pt x="152" y="299"/>
                  </a:cubicBezTo>
                  <a:cubicBezTo>
                    <a:pt x="151" y="300"/>
                    <a:pt x="151" y="301"/>
                    <a:pt x="152" y="301"/>
                  </a:cubicBezTo>
                  <a:cubicBezTo>
                    <a:pt x="151" y="302"/>
                    <a:pt x="150" y="302"/>
                    <a:pt x="150" y="304"/>
                  </a:cubicBezTo>
                  <a:cubicBezTo>
                    <a:pt x="151" y="322"/>
                    <a:pt x="137" y="334"/>
                    <a:pt x="130" y="350"/>
                  </a:cubicBezTo>
                  <a:cubicBezTo>
                    <a:pt x="130" y="351"/>
                    <a:pt x="130" y="351"/>
                    <a:pt x="131" y="352"/>
                  </a:cubicBezTo>
                  <a:cubicBezTo>
                    <a:pt x="127" y="360"/>
                    <a:pt x="133" y="369"/>
                    <a:pt x="140" y="373"/>
                  </a:cubicBezTo>
                  <a:cubicBezTo>
                    <a:pt x="141" y="373"/>
                    <a:pt x="141" y="373"/>
                    <a:pt x="142" y="373"/>
                  </a:cubicBezTo>
                  <a:cubicBezTo>
                    <a:pt x="143" y="372"/>
                    <a:pt x="144" y="372"/>
                    <a:pt x="146" y="371"/>
                  </a:cubicBezTo>
                  <a:cubicBezTo>
                    <a:pt x="145" y="371"/>
                    <a:pt x="145" y="370"/>
                    <a:pt x="145" y="370"/>
                  </a:cubicBezTo>
                  <a:cubicBezTo>
                    <a:pt x="139" y="366"/>
                    <a:pt x="138" y="360"/>
                    <a:pt x="138" y="354"/>
                  </a:cubicBezTo>
                  <a:cubicBezTo>
                    <a:pt x="138" y="353"/>
                    <a:pt x="138" y="352"/>
                    <a:pt x="136" y="351"/>
                  </a:cubicBezTo>
                  <a:cubicBezTo>
                    <a:pt x="142" y="343"/>
                    <a:pt x="147" y="335"/>
                    <a:pt x="152" y="326"/>
                  </a:cubicBezTo>
                  <a:cubicBezTo>
                    <a:pt x="156" y="319"/>
                    <a:pt x="158" y="312"/>
                    <a:pt x="156" y="304"/>
                  </a:cubicBezTo>
                  <a:cubicBezTo>
                    <a:pt x="156" y="304"/>
                    <a:pt x="156" y="304"/>
                    <a:pt x="156" y="304"/>
                  </a:cubicBezTo>
                  <a:cubicBezTo>
                    <a:pt x="160" y="303"/>
                    <a:pt x="164" y="300"/>
                    <a:pt x="164" y="295"/>
                  </a:cubicBezTo>
                  <a:cubicBezTo>
                    <a:pt x="165" y="289"/>
                    <a:pt x="161" y="283"/>
                    <a:pt x="155" y="282"/>
                  </a:cubicBezTo>
                  <a:cubicBezTo>
                    <a:pt x="153" y="281"/>
                    <a:pt x="151" y="282"/>
                    <a:pt x="150" y="284"/>
                  </a:cubicBezTo>
                  <a:cubicBezTo>
                    <a:pt x="150" y="284"/>
                    <a:pt x="150" y="284"/>
                    <a:pt x="150" y="284"/>
                  </a:cubicBezTo>
                  <a:cubicBezTo>
                    <a:pt x="139" y="286"/>
                    <a:pt x="129" y="288"/>
                    <a:pt x="118" y="288"/>
                  </a:cubicBezTo>
                  <a:cubicBezTo>
                    <a:pt x="107" y="288"/>
                    <a:pt x="96" y="286"/>
                    <a:pt x="85" y="285"/>
                  </a:cubicBezTo>
                  <a:cubicBezTo>
                    <a:pt x="76" y="284"/>
                    <a:pt x="70" y="285"/>
                    <a:pt x="64" y="290"/>
                  </a:cubicBezTo>
                  <a:cubicBezTo>
                    <a:pt x="64" y="288"/>
                    <a:pt x="63" y="286"/>
                    <a:pt x="63" y="284"/>
                  </a:cubicBezTo>
                  <a:cubicBezTo>
                    <a:pt x="62" y="285"/>
                    <a:pt x="61" y="285"/>
                    <a:pt x="61" y="286"/>
                  </a:cubicBezTo>
                  <a:cubicBezTo>
                    <a:pt x="41" y="225"/>
                    <a:pt x="52" y="156"/>
                    <a:pt x="99" y="108"/>
                  </a:cubicBezTo>
                  <a:cubicBezTo>
                    <a:pt x="147" y="59"/>
                    <a:pt x="213" y="51"/>
                    <a:pt x="279" y="65"/>
                  </a:cubicBezTo>
                  <a:cubicBezTo>
                    <a:pt x="286" y="67"/>
                    <a:pt x="288" y="57"/>
                    <a:pt x="281" y="5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îṧľîdê">
              <a:extLst>
                <a:ext uri="{FF2B5EF4-FFF2-40B4-BE49-F238E27FC236}">
                  <a16:creationId xmlns:a16="http://schemas.microsoft.com/office/drawing/2014/main" id="{6186120B-881A-434C-B95A-720EB6B88862}"/>
                </a:ext>
              </a:extLst>
            </p:cNvPr>
            <p:cNvSpPr/>
            <p:nvPr/>
          </p:nvSpPr>
          <p:spPr bwMode="auto">
            <a:xfrm>
              <a:off x="5226051" y="3494089"/>
              <a:ext cx="31750" cy="85725"/>
            </a:xfrm>
            <a:custGeom>
              <a:avLst/>
              <a:gdLst>
                <a:gd name="T0" fmla="*/ 6 w 24"/>
                <a:gd name="T1" fmla="*/ 7 h 63"/>
                <a:gd name="T2" fmla="*/ 0 w 24"/>
                <a:gd name="T3" fmla="*/ 0 h 63"/>
                <a:gd name="T4" fmla="*/ 20 w 24"/>
                <a:gd name="T5" fmla="*/ 61 h 63"/>
                <a:gd name="T6" fmla="*/ 23 w 24"/>
                <a:gd name="T7" fmla="*/ 60 h 63"/>
                <a:gd name="T8" fmla="*/ 6 w 24"/>
                <a:gd name="T9" fmla="*/ 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3">
                  <a:moveTo>
                    <a:pt x="6" y="7"/>
                  </a:moveTo>
                  <a:cubicBezTo>
                    <a:pt x="4" y="4"/>
                    <a:pt x="2" y="2"/>
                    <a:pt x="0" y="0"/>
                  </a:cubicBezTo>
                  <a:cubicBezTo>
                    <a:pt x="6" y="20"/>
                    <a:pt x="13" y="40"/>
                    <a:pt x="20" y="61"/>
                  </a:cubicBezTo>
                  <a:cubicBezTo>
                    <a:pt x="21" y="63"/>
                    <a:pt x="24" y="62"/>
                    <a:pt x="23" y="60"/>
                  </a:cubicBezTo>
                  <a:cubicBezTo>
                    <a:pt x="18" y="42"/>
                    <a:pt x="12" y="24"/>
                    <a:pt x="6" y="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î$ľiḋè">
              <a:extLst>
                <a:ext uri="{FF2B5EF4-FFF2-40B4-BE49-F238E27FC236}">
                  <a16:creationId xmlns:a16="http://schemas.microsoft.com/office/drawing/2014/main" id="{FA81436D-7117-449B-9835-14C099D2EFDB}"/>
                </a:ext>
              </a:extLst>
            </p:cNvPr>
            <p:cNvSpPr/>
            <p:nvPr/>
          </p:nvSpPr>
          <p:spPr bwMode="auto">
            <a:xfrm>
              <a:off x="5703888" y="3309939"/>
              <a:ext cx="73025" cy="46038"/>
            </a:xfrm>
            <a:custGeom>
              <a:avLst/>
              <a:gdLst>
                <a:gd name="T0" fmla="*/ 10 w 53"/>
                <a:gd name="T1" fmla="*/ 14 h 34"/>
                <a:gd name="T2" fmla="*/ 48 w 53"/>
                <a:gd name="T3" fmla="*/ 33 h 34"/>
                <a:gd name="T4" fmla="*/ 50 w 53"/>
                <a:gd name="T5" fmla="*/ 28 h 34"/>
                <a:gd name="T6" fmla="*/ 0 w 53"/>
                <a:gd name="T7" fmla="*/ 0 h 34"/>
                <a:gd name="T8" fmla="*/ 10 w 53"/>
                <a:gd name="T9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4">
                  <a:moveTo>
                    <a:pt x="10" y="14"/>
                  </a:moveTo>
                  <a:cubicBezTo>
                    <a:pt x="23" y="21"/>
                    <a:pt x="35" y="27"/>
                    <a:pt x="48" y="33"/>
                  </a:cubicBezTo>
                  <a:cubicBezTo>
                    <a:pt x="52" y="34"/>
                    <a:pt x="53" y="30"/>
                    <a:pt x="50" y="28"/>
                  </a:cubicBezTo>
                  <a:cubicBezTo>
                    <a:pt x="32" y="20"/>
                    <a:pt x="16" y="10"/>
                    <a:pt x="0" y="0"/>
                  </a:cubicBezTo>
                  <a:cubicBezTo>
                    <a:pt x="3" y="4"/>
                    <a:pt x="7" y="9"/>
                    <a:pt x="10" y="1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îšḻiďê">
              <a:extLst>
                <a:ext uri="{FF2B5EF4-FFF2-40B4-BE49-F238E27FC236}">
                  <a16:creationId xmlns:a16="http://schemas.microsoft.com/office/drawing/2014/main" id="{A088C253-B285-42A5-AFAE-F8D6C2DBA88F}"/>
                </a:ext>
              </a:extLst>
            </p:cNvPr>
            <p:cNvSpPr/>
            <p:nvPr/>
          </p:nvSpPr>
          <p:spPr bwMode="auto">
            <a:xfrm>
              <a:off x="5653088" y="3278189"/>
              <a:ext cx="33338" cy="31750"/>
            </a:xfrm>
            <a:custGeom>
              <a:avLst/>
              <a:gdLst>
                <a:gd name="T0" fmla="*/ 16 w 24"/>
                <a:gd name="T1" fmla="*/ 11 h 23"/>
                <a:gd name="T2" fmla="*/ 13 w 24"/>
                <a:gd name="T3" fmla="*/ 11 h 23"/>
                <a:gd name="T4" fmla="*/ 0 w 24"/>
                <a:gd name="T5" fmla="*/ 0 h 23"/>
                <a:gd name="T6" fmla="*/ 4 w 24"/>
                <a:gd name="T7" fmla="*/ 6 h 23"/>
                <a:gd name="T8" fmla="*/ 5 w 24"/>
                <a:gd name="T9" fmla="*/ 8 h 23"/>
                <a:gd name="T10" fmla="*/ 24 w 24"/>
                <a:gd name="T11" fmla="*/ 23 h 23"/>
                <a:gd name="T12" fmla="*/ 16 w 24"/>
                <a:gd name="T1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3">
                  <a:moveTo>
                    <a:pt x="16" y="11"/>
                  </a:moveTo>
                  <a:cubicBezTo>
                    <a:pt x="15" y="12"/>
                    <a:pt x="14" y="12"/>
                    <a:pt x="13" y="11"/>
                  </a:cubicBezTo>
                  <a:cubicBezTo>
                    <a:pt x="9" y="7"/>
                    <a:pt x="4" y="3"/>
                    <a:pt x="0" y="0"/>
                  </a:cubicBezTo>
                  <a:cubicBezTo>
                    <a:pt x="1" y="2"/>
                    <a:pt x="3" y="4"/>
                    <a:pt x="4" y="6"/>
                  </a:cubicBezTo>
                  <a:cubicBezTo>
                    <a:pt x="4" y="7"/>
                    <a:pt x="5" y="8"/>
                    <a:pt x="5" y="8"/>
                  </a:cubicBezTo>
                  <a:cubicBezTo>
                    <a:pt x="11" y="13"/>
                    <a:pt x="17" y="18"/>
                    <a:pt x="24" y="23"/>
                  </a:cubicBezTo>
                  <a:cubicBezTo>
                    <a:pt x="21" y="19"/>
                    <a:pt x="18" y="15"/>
                    <a:pt x="16" y="1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îṡḷîďê">
              <a:extLst>
                <a:ext uri="{FF2B5EF4-FFF2-40B4-BE49-F238E27FC236}">
                  <a16:creationId xmlns:a16="http://schemas.microsoft.com/office/drawing/2014/main" id="{665ECCC9-4DDF-4EC3-9D61-E74C7046F2BE}"/>
                </a:ext>
              </a:extLst>
            </p:cNvPr>
            <p:cNvSpPr/>
            <p:nvPr/>
          </p:nvSpPr>
          <p:spPr bwMode="auto">
            <a:xfrm>
              <a:off x="6411913" y="2686051"/>
              <a:ext cx="66675" cy="66675"/>
            </a:xfrm>
            <a:custGeom>
              <a:avLst/>
              <a:gdLst>
                <a:gd name="T0" fmla="*/ 46 w 48"/>
                <a:gd name="T1" fmla="*/ 0 h 49"/>
                <a:gd name="T2" fmla="*/ 0 w 48"/>
                <a:gd name="T3" fmla="*/ 47 h 49"/>
                <a:gd name="T4" fmla="*/ 3 w 48"/>
                <a:gd name="T5" fmla="*/ 47 h 49"/>
                <a:gd name="T6" fmla="*/ 46 w 48"/>
                <a:gd name="T7" fmla="*/ 2 h 49"/>
                <a:gd name="T8" fmla="*/ 46 w 48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9">
                  <a:moveTo>
                    <a:pt x="46" y="0"/>
                  </a:moveTo>
                  <a:cubicBezTo>
                    <a:pt x="22" y="6"/>
                    <a:pt x="4" y="24"/>
                    <a:pt x="0" y="47"/>
                  </a:cubicBezTo>
                  <a:cubicBezTo>
                    <a:pt x="0" y="49"/>
                    <a:pt x="3" y="49"/>
                    <a:pt x="3" y="47"/>
                  </a:cubicBezTo>
                  <a:cubicBezTo>
                    <a:pt x="8" y="26"/>
                    <a:pt x="25" y="9"/>
                    <a:pt x="46" y="2"/>
                  </a:cubicBezTo>
                  <a:cubicBezTo>
                    <a:pt x="48" y="2"/>
                    <a:pt x="47" y="0"/>
                    <a:pt x="46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íṩlídé">
              <a:extLst>
                <a:ext uri="{FF2B5EF4-FFF2-40B4-BE49-F238E27FC236}">
                  <a16:creationId xmlns:a16="http://schemas.microsoft.com/office/drawing/2014/main" id="{A1D3130E-87D3-4E3D-B314-6E1D0713FBDE}"/>
                </a:ext>
              </a:extLst>
            </p:cNvPr>
            <p:cNvSpPr/>
            <p:nvPr/>
          </p:nvSpPr>
          <p:spPr bwMode="auto">
            <a:xfrm>
              <a:off x="6423026" y="2646364"/>
              <a:ext cx="158750" cy="111125"/>
            </a:xfrm>
            <a:custGeom>
              <a:avLst/>
              <a:gdLst>
                <a:gd name="T0" fmla="*/ 113 w 116"/>
                <a:gd name="T1" fmla="*/ 1 h 81"/>
                <a:gd name="T2" fmla="*/ 0 w 116"/>
                <a:gd name="T3" fmla="*/ 79 h 81"/>
                <a:gd name="T4" fmla="*/ 2 w 116"/>
                <a:gd name="T5" fmla="*/ 80 h 81"/>
                <a:gd name="T6" fmla="*/ 114 w 116"/>
                <a:gd name="T7" fmla="*/ 4 h 81"/>
                <a:gd name="T8" fmla="*/ 113 w 116"/>
                <a:gd name="T9" fmla="*/ 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81">
                  <a:moveTo>
                    <a:pt x="113" y="1"/>
                  </a:moveTo>
                  <a:cubicBezTo>
                    <a:pt x="66" y="11"/>
                    <a:pt x="25" y="39"/>
                    <a:pt x="0" y="79"/>
                  </a:cubicBezTo>
                  <a:cubicBezTo>
                    <a:pt x="0" y="80"/>
                    <a:pt x="2" y="81"/>
                    <a:pt x="2" y="80"/>
                  </a:cubicBezTo>
                  <a:cubicBezTo>
                    <a:pt x="29" y="42"/>
                    <a:pt x="67" y="15"/>
                    <a:pt x="114" y="4"/>
                  </a:cubicBezTo>
                  <a:cubicBezTo>
                    <a:pt x="116" y="3"/>
                    <a:pt x="115" y="0"/>
                    <a:pt x="113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îSļiḋê">
              <a:extLst>
                <a:ext uri="{FF2B5EF4-FFF2-40B4-BE49-F238E27FC236}">
                  <a16:creationId xmlns:a16="http://schemas.microsoft.com/office/drawing/2014/main" id="{9ECD87FE-1EBA-4B1E-AC97-D2BA765AEA5F}"/>
                </a:ext>
              </a:extLst>
            </p:cNvPr>
            <p:cNvSpPr/>
            <p:nvPr/>
          </p:nvSpPr>
          <p:spPr bwMode="auto">
            <a:xfrm>
              <a:off x="6600826" y="2613026"/>
              <a:ext cx="53975" cy="25400"/>
            </a:xfrm>
            <a:custGeom>
              <a:avLst/>
              <a:gdLst>
                <a:gd name="T0" fmla="*/ 37 w 39"/>
                <a:gd name="T1" fmla="*/ 1 h 19"/>
                <a:gd name="T2" fmla="*/ 1 w 39"/>
                <a:gd name="T3" fmla="*/ 18 h 19"/>
                <a:gd name="T4" fmla="*/ 2 w 39"/>
                <a:gd name="T5" fmla="*/ 19 h 19"/>
                <a:gd name="T6" fmla="*/ 38 w 39"/>
                <a:gd name="T7" fmla="*/ 2 h 19"/>
                <a:gd name="T8" fmla="*/ 37 w 39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9">
                  <a:moveTo>
                    <a:pt x="37" y="1"/>
                  </a:moveTo>
                  <a:cubicBezTo>
                    <a:pt x="25" y="6"/>
                    <a:pt x="13" y="12"/>
                    <a:pt x="1" y="18"/>
                  </a:cubicBezTo>
                  <a:cubicBezTo>
                    <a:pt x="0" y="18"/>
                    <a:pt x="1" y="19"/>
                    <a:pt x="2" y="19"/>
                  </a:cubicBezTo>
                  <a:cubicBezTo>
                    <a:pt x="14" y="13"/>
                    <a:pt x="26" y="8"/>
                    <a:pt x="38" y="2"/>
                  </a:cubicBezTo>
                  <a:cubicBezTo>
                    <a:pt x="39" y="2"/>
                    <a:pt x="38" y="0"/>
                    <a:pt x="37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iṡļîḋê">
              <a:extLst>
                <a:ext uri="{FF2B5EF4-FFF2-40B4-BE49-F238E27FC236}">
                  <a16:creationId xmlns:a16="http://schemas.microsoft.com/office/drawing/2014/main" id="{764F0C6E-FE29-4B2D-BCBA-A7920664454F}"/>
                </a:ext>
              </a:extLst>
            </p:cNvPr>
            <p:cNvSpPr/>
            <p:nvPr/>
          </p:nvSpPr>
          <p:spPr bwMode="auto">
            <a:xfrm>
              <a:off x="6694488" y="2530476"/>
              <a:ext cx="50800" cy="47625"/>
            </a:xfrm>
            <a:custGeom>
              <a:avLst/>
              <a:gdLst>
                <a:gd name="T0" fmla="*/ 34 w 37"/>
                <a:gd name="T1" fmla="*/ 1 h 35"/>
                <a:gd name="T2" fmla="*/ 1 w 37"/>
                <a:gd name="T3" fmla="*/ 32 h 35"/>
                <a:gd name="T4" fmla="*/ 3 w 37"/>
                <a:gd name="T5" fmla="*/ 34 h 35"/>
                <a:gd name="T6" fmla="*/ 36 w 37"/>
                <a:gd name="T7" fmla="*/ 3 h 35"/>
                <a:gd name="T8" fmla="*/ 34 w 37"/>
                <a:gd name="T9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5">
                  <a:moveTo>
                    <a:pt x="34" y="1"/>
                  </a:moveTo>
                  <a:cubicBezTo>
                    <a:pt x="23" y="11"/>
                    <a:pt x="11" y="21"/>
                    <a:pt x="1" y="32"/>
                  </a:cubicBezTo>
                  <a:cubicBezTo>
                    <a:pt x="0" y="33"/>
                    <a:pt x="2" y="35"/>
                    <a:pt x="3" y="34"/>
                  </a:cubicBezTo>
                  <a:cubicBezTo>
                    <a:pt x="15" y="25"/>
                    <a:pt x="25" y="14"/>
                    <a:pt x="36" y="3"/>
                  </a:cubicBezTo>
                  <a:cubicBezTo>
                    <a:pt x="37" y="2"/>
                    <a:pt x="35" y="0"/>
                    <a:pt x="34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išľïḋé">
              <a:extLst>
                <a:ext uri="{FF2B5EF4-FFF2-40B4-BE49-F238E27FC236}">
                  <a16:creationId xmlns:a16="http://schemas.microsoft.com/office/drawing/2014/main" id="{65C6694D-7661-4316-934E-9FCC6807BDC3}"/>
                </a:ext>
              </a:extLst>
            </p:cNvPr>
            <p:cNvSpPr/>
            <p:nvPr/>
          </p:nvSpPr>
          <p:spPr bwMode="auto">
            <a:xfrm>
              <a:off x="6827838" y="1770064"/>
              <a:ext cx="295275" cy="671513"/>
            </a:xfrm>
            <a:custGeom>
              <a:avLst/>
              <a:gdLst>
                <a:gd name="T0" fmla="*/ 211 w 215"/>
                <a:gd name="T1" fmla="*/ 3 h 489"/>
                <a:gd name="T2" fmla="*/ 192 w 215"/>
                <a:gd name="T3" fmla="*/ 132 h 489"/>
                <a:gd name="T4" fmla="*/ 148 w 215"/>
                <a:gd name="T5" fmla="*/ 261 h 489"/>
                <a:gd name="T6" fmla="*/ 1 w 215"/>
                <a:gd name="T7" fmla="*/ 487 h 489"/>
                <a:gd name="T8" fmla="*/ 2 w 215"/>
                <a:gd name="T9" fmla="*/ 488 h 489"/>
                <a:gd name="T10" fmla="*/ 152 w 215"/>
                <a:gd name="T11" fmla="*/ 263 h 489"/>
                <a:gd name="T12" fmla="*/ 215 w 215"/>
                <a:gd name="T13" fmla="*/ 4 h 489"/>
                <a:gd name="T14" fmla="*/ 211 w 215"/>
                <a:gd name="T15" fmla="*/ 3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489">
                  <a:moveTo>
                    <a:pt x="211" y="3"/>
                  </a:moveTo>
                  <a:cubicBezTo>
                    <a:pt x="206" y="46"/>
                    <a:pt x="202" y="89"/>
                    <a:pt x="192" y="132"/>
                  </a:cubicBezTo>
                  <a:cubicBezTo>
                    <a:pt x="181" y="176"/>
                    <a:pt x="167" y="219"/>
                    <a:pt x="148" y="261"/>
                  </a:cubicBezTo>
                  <a:cubicBezTo>
                    <a:pt x="112" y="344"/>
                    <a:pt x="62" y="419"/>
                    <a:pt x="1" y="487"/>
                  </a:cubicBezTo>
                  <a:cubicBezTo>
                    <a:pt x="0" y="488"/>
                    <a:pt x="1" y="489"/>
                    <a:pt x="2" y="488"/>
                  </a:cubicBezTo>
                  <a:cubicBezTo>
                    <a:pt x="65" y="422"/>
                    <a:pt x="115" y="345"/>
                    <a:pt x="152" y="263"/>
                  </a:cubicBezTo>
                  <a:cubicBezTo>
                    <a:pt x="187" y="183"/>
                    <a:pt x="214" y="91"/>
                    <a:pt x="215" y="4"/>
                  </a:cubicBezTo>
                  <a:cubicBezTo>
                    <a:pt x="215" y="1"/>
                    <a:pt x="211" y="0"/>
                    <a:pt x="211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íş1ïḑè">
              <a:extLst>
                <a:ext uri="{FF2B5EF4-FFF2-40B4-BE49-F238E27FC236}">
                  <a16:creationId xmlns:a16="http://schemas.microsoft.com/office/drawing/2014/main" id="{2B82B61A-71EA-40A0-840A-EB13850D3BC9}"/>
                </a:ext>
              </a:extLst>
            </p:cNvPr>
            <p:cNvSpPr/>
            <p:nvPr/>
          </p:nvSpPr>
          <p:spPr bwMode="auto">
            <a:xfrm>
              <a:off x="6889751" y="1717676"/>
              <a:ext cx="388938" cy="876300"/>
            </a:xfrm>
            <a:custGeom>
              <a:avLst/>
              <a:gdLst>
                <a:gd name="T0" fmla="*/ 265 w 282"/>
                <a:gd name="T1" fmla="*/ 265 h 637"/>
                <a:gd name="T2" fmla="*/ 258 w 282"/>
                <a:gd name="T3" fmla="*/ 280 h 637"/>
                <a:gd name="T4" fmla="*/ 275 w 282"/>
                <a:gd name="T5" fmla="*/ 190 h 637"/>
                <a:gd name="T6" fmla="*/ 272 w 282"/>
                <a:gd name="T7" fmla="*/ 188 h 637"/>
                <a:gd name="T8" fmla="*/ 242 w 282"/>
                <a:gd name="T9" fmla="*/ 211 h 637"/>
                <a:gd name="T10" fmla="*/ 207 w 282"/>
                <a:gd name="T11" fmla="*/ 23 h 637"/>
                <a:gd name="T12" fmla="*/ 205 w 282"/>
                <a:gd name="T13" fmla="*/ 23 h 637"/>
                <a:gd name="T14" fmla="*/ 161 w 282"/>
                <a:gd name="T15" fmla="*/ 9 h 637"/>
                <a:gd name="T16" fmla="*/ 163 w 282"/>
                <a:gd name="T17" fmla="*/ 12 h 637"/>
                <a:gd name="T18" fmla="*/ 202 w 282"/>
                <a:gd name="T19" fmla="*/ 28 h 637"/>
                <a:gd name="T20" fmla="*/ 207 w 282"/>
                <a:gd name="T21" fmla="*/ 28 h 637"/>
                <a:gd name="T22" fmla="*/ 206 w 282"/>
                <a:gd name="T23" fmla="*/ 25 h 637"/>
                <a:gd name="T24" fmla="*/ 233 w 282"/>
                <a:gd name="T25" fmla="*/ 217 h 637"/>
                <a:gd name="T26" fmla="*/ 236 w 282"/>
                <a:gd name="T27" fmla="*/ 220 h 637"/>
                <a:gd name="T28" fmla="*/ 239 w 282"/>
                <a:gd name="T29" fmla="*/ 215 h 637"/>
                <a:gd name="T30" fmla="*/ 240 w 282"/>
                <a:gd name="T31" fmla="*/ 215 h 637"/>
                <a:gd name="T32" fmla="*/ 265 w 282"/>
                <a:gd name="T33" fmla="*/ 197 h 637"/>
                <a:gd name="T34" fmla="*/ 268 w 282"/>
                <a:gd name="T35" fmla="*/ 203 h 637"/>
                <a:gd name="T36" fmla="*/ 265 w 282"/>
                <a:gd name="T37" fmla="*/ 220 h 637"/>
                <a:gd name="T38" fmla="*/ 253 w 282"/>
                <a:gd name="T39" fmla="*/ 286 h 637"/>
                <a:gd name="T40" fmla="*/ 254 w 282"/>
                <a:gd name="T41" fmla="*/ 288 h 637"/>
                <a:gd name="T42" fmla="*/ 1 w 282"/>
                <a:gd name="T43" fmla="*/ 634 h 637"/>
                <a:gd name="T44" fmla="*/ 4 w 282"/>
                <a:gd name="T45" fmla="*/ 636 h 637"/>
                <a:gd name="T46" fmla="*/ 267 w 282"/>
                <a:gd name="T47" fmla="*/ 266 h 637"/>
                <a:gd name="T48" fmla="*/ 265 w 282"/>
                <a:gd name="T49" fmla="*/ 265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2" h="637">
                  <a:moveTo>
                    <a:pt x="265" y="265"/>
                  </a:moveTo>
                  <a:cubicBezTo>
                    <a:pt x="263" y="270"/>
                    <a:pt x="260" y="275"/>
                    <a:pt x="258" y="280"/>
                  </a:cubicBezTo>
                  <a:cubicBezTo>
                    <a:pt x="264" y="250"/>
                    <a:pt x="269" y="220"/>
                    <a:pt x="275" y="190"/>
                  </a:cubicBezTo>
                  <a:cubicBezTo>
                    <a:pt x="275" y="188"/>
                    <a:pt x="273" y="187"/>
                    <a:pt x="272" y="188"/>
                  </a:cubicBezTo>
                  <a:cubicBezTo>
                    <a:pt x="262" y="195"/>
                    <a:pt x="252" y="203"/>
                    <a:pt x="242" y="211"/>
                  </a:cubicBezTo>
                  <a:cubicBezTo>
                    <a:pt x="282" y="151"/>
                    <a:pt x="268" y="66"/>
                    <a:pt x="207" y="23"/>
                  </a:cubicBezTo>
                  <a:cubicBezTo>
                    <a:pt x="206" y="23"/>
                    <a:pt x="206" y="23"/>
                    <a:pt x="205" y="23"/>
                  </a:cubicBezTo>
                  <a:cubicBezTo>
                    <a:pt x="199" y="7"/>
                    <a:pt x="177" y="0"/>
                    <a:pt x="161" y="9"/>
                  </a:cubicBezTo>
                  <a:cubicBezTo>
                    <a:pt x="159" y="11"/>
                    <a:pt x="161" y="13"/>
                    <a:pt x="163" y="12"/>
                  </a:cubicBezTo>
                  <a:cubicBezTo>
                    <a:pt x="178" y="5"/>
                    <a:pt x="197" y="13"/>
                    <a:pt x="202" y="28"/>
                  </a:cubicBezTo>
                  <a:cubicBezTo>
                    <a:pt x="202" y="31"/>
                    <a:pt x="208" y="31"/>
                    <a:pt x="207" y="28"/>
                  </a:cubicBezTo>
                  <a:cubicBezTo>
                    <a:pt x="207" y="27"/>
                    <a:pt x="207" y="26"/>
                    <a:pt x="206" y="25"/>
                  </a:cubicBezTo>
                  <a:cubicBezTo>
                    <a:pt x="266" y="77"/>
                    <a:pt x="277" y="152"/>
                    <a:pt x="233" y="217"/>
                  </a:cubicBezTo>
                  <a:cubicBezTo>
                    <a:pt x="231" y="219"/>
                    <a:pt x="235" y="221"/>
                    <a:pt x="236" y="220"/>
                  </a:cubicBezTo>
                  <a:cubicBezTo>
                    <a:pt x="237" y="218"/>
                    <a:pt x="238" y="217"/>
                    <a:pt x="239" y="215"/>
                  </a:cubicBezTo>
                  <a:cubicBezTo>
                    <a:pt x="239" y="215"/>
                    <a:pt x="240" y="215"/>
                    <a:pt x="240" y="215"/>
                  </a:cubicBezTo>
                  <a:cubicBezTo>
                    <a:pt x="246" y="211"/>
                    <a:pt x="258" y="198"/>
                    <a:pt x="265" y="197"/>
                  </a:cubicBezTo>
                  <a:cubicBezTo>
                    <a:pt x="272" y="196"/>
                    <a:pt x="269" y="196"/>
                    <a:pt x="268" y="203"/>
                  </a:cubicBezTo>
                  <a:cubicBezTo>
                    <a:pt x="268" y="209"/>
                    <a:pt x="266" y="214"/>
                    <a:pt x="265" y="220"/>
                  </a:cubicBezTo>
                  <a:cubicBezTo>
                    <a:pt x="261" y="242"/>
                    <a:pt x="257" y="264"/>
                    <a:pt x="253" y="286"/>
                  </a:cubicBezTo>
                  <a:cubicBezTo>
                    <a:pt x="253" y="287"/>
                    <a:pt x="254" y="288"/>
                    <a:pt x="254" y="288"/>
                  </a:cubicBezTo>
                  <a:cubicBezTo>
                    <a:pt x="192" y="417"/>
                    <a:pt x="107" y="533"/>
                    <a:pt x="1" y="634"/>
                  </a:cubicBezTo>
                  <a:cubicBezTo>
                    <a:pt x="0" y="635"/>
                    <a:pt x="2" y="637"/>
                    <a:pt x="4" y="636"/>
                  </a:cubicBezTo>
                  <a:cubicBezTo>
                    <a:pt x="116" y="531"/>
                    <a:pt x="206" y="403"/>
                    <a:pt x="267" y="266"/>
                  </a:cubicBezTo>
                  <a:cubicBezTo>
                    <a:pt x="267" y="265"/>
                    <a:pt x="266" y="264"/>
                    <a:pt x="265" y="26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íşḻîḍé">
              <a:extLst>
                <a:ext uri="{FF2B5EF4-FFF2-40B4-BE49-F238E27FC236}">
                  <a16:creationId xmlns:a16="http://schemas.microsoft.com/office/drawing/2014/main" id="{943CCB38-9967-4929-95E3-871C9FA08A75}"/>
                </a:ext>
              </a:extLst>
            </p:cNvPr>
            <p:cNvSpPr/>
            <p:nvPr/>
          </p:nvSpPr>
          <p:spPr bwMode="auto">
            <a:xfrm>
              <a:off x="6711951" y="2665414"/>
              <a:ext cx="98425" cy="71438"/>
            </a:xfrm>
            <a:custGeom>
              <a:avLst/>
              <a:gdLst>
                <a:gd name="T0" fmla="*/ 70 w 72"/>
                <a:gd name="T1" fmla="*/ 1 h 52"/>
                <a:gd name="T2" fmla="*/ 1 w 72"/>
                <a:gd name="T3" fmla="*/ 49 h 52"/>
                <a:gd name="T4" fmla="*/ 3 w 72"/>
                <a:gd name="T5" fmla="*/ 51 h 52"/>
                <a:gd name="T6" fmla="*/ 71 w 72"/>
                <a:gd name="T7" fmla="*/ 3 h 52"/>
                <a:gd name="T8" fmla="*/ 70 w 72"/>
                <a:gd name="T9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52">
                  <a:moveTo>
                    <a:pt x="70" y="1"/>
                  </a:moveTo>
                  <a:cubicBezTo>
                    <a:pt x="47" y="17"/>
                    <a:pt x="24" y="33"/>
                    <a:pt x="1" y="49"/>
                  </a:cubicBezTo>
                  <a:cubicBezTo>
                    <a:pt x="0" y="50"/>
                    <a:pt x="2" y="52"/>
                    <a:pt x="3" y="51"/>
                  </a:cubicBezTo>
                  <a:cubicBezTo>
                    <a:pt x="26" y="35"/>
                    <a:pt x="48" y="19"/>
                    <a:pt x="71" y="3"/>
                  </a:cubicBezTo>
                  <a:cubicBezTo>
                    <a:pt x="72" y="2"/>
                    <a:pt x="71" y="0"/>
                    <a:pt x="70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îs1ïḍe">
              <a:extLst>
                <a:ext uri="{FF2B5EF4-FFF2-40B4-BE49-F238E27FC236}">
                  <a16:creationId xmlns:a16="http://schemas.microsoft.com/office/drawing/2014/main" id="{7304C7FC-8746-4F56-BFAC-45F2BD1B67CF}"/>
                </a:ext>
              </a:extLst>
            </p:cNvPr>
            <p:cNvSpPr/>
            <p:nvPr/>
          </p:nvSpPr>
          <p:spPr bwMode="auto">
            <a:xfrm>
              <a:off x="6757988" y="2149476"/>
              <a:ext cx="581025" cy="627063"/>
            </a:xfrm>
            <a:custGeom>
              <a:avLst/>
              <a:gdLst>
                <a:gd name="T0" fmla="*/ 420 w 422"/>
                <a:gd name="T1" fmla="*/ 1 h 456"/>
                <a:gd name="T2" fmla="*/ 249 w 422"/>
                <a:gd name="T3" fmla="*/ 262 h 456"/>
                <a:gd name="T4" fmla="*/ 2 w 422"/>
                <a:gd name="T5" fmla="*/ 453 h 456"/>
                <a:gd name="T6" fmla="*/ 5 w 422"/>
                <a:gd name="T7" fmla="*/ 456 h 456"/>
                <a:gd name="T8" fmla="*/ 421 w 422"/>
                <a:gd name="T9" fmla="*/ 2 h 456"/>
                <a:gd name="T10" fmla="*/ 420 w 422"/>
                <a:gd name="T11" fmla="*/ 1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2" h="456">
                  <a:moveTo>
                    <a:pt x="420" y="1"/>
                  </a:moveTo>
                  <a:cubicBezTo>
                    <a:pt x="378" y="97"/>
                    <a:pt x="320" y="186"/>
                    <a:pt x="249" y="262"/>
                  </a:cubicBezTo>
                  <a:cubicBezTo>
                    <a:pt x="177" y="340"/>
                    <a:pt x="94" y="401"/>
                    <a:pt x="2" y="453"/>
                  </a:cubicBezTo>
                  <a:cubicBezTo>
                    <a:pt x="0" y="454"/>
                    <a:pt x="3" y="456"/>
                    <a:pt x="5" y="456"/>
                  </a:cubicBezTo>
                  <a:cubicBezTo>
                    <a:pt x="191" y="363"/>
                    <a:pt x="341" y="193"/>
                    <a:pt x="421" y="2"/>
                  </a:cubicBezTo>
                  <a:cubicBezTo>
                    <a:pt x="422" y="1"/>
                    <a:pt x="420" y="0"/>
                    <a:pt x="420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ïṥḷïdé">
              <a:extLst>
                <a:ext uri="{FF2B5EF4-FFF2-40B4-BE49-F238E27FC236}">
                  <a16:creationId xmlns:a16="http://schemas.microsoft.com/office/drawing/2014/main" id="{8CF56BBF-91FF-40B7-BD71-FD25563A3C2B}"/>
                </a:ext>
              </a:extLst>
            </p:cNvPr>
            <p:cNvSpPr/>
            <p:nvPr/>
          </p:nvSpPr>
          <p:spPr bwMode="auto">
            <a:xfrm>
              <a:off x="7221538" y="2052639"/>
              <a:ext cx="114300" cy="165100"/>
            </a:xfrm>
            <a:custGeom>
              <a:avLst/>
              <a:gdLst>
                <a:gd name="T0" fmla="*/ 74 w 83"/>
                <a:gd name="T1" fmla="*/ 64 h 120"/>
                <a:gd name="T2" fmla="*/ 71 w 83"/>
                <a:gd name="T3" fmla="*/ 2 h 120"/>
                <a:gd name="T4" fmla="*/ 67 w 83"/>
                <a:gd name="T5" fmla="*/ 2 h 120"/>
                <a:gd name="T6" fmla="*/ 1 w 83"/>
                <a:gd name="T7" fmla="*/ 72 h 120"/>
                <a:gd name="T8" fmla="*/ 3 w 83"/>
                <a:gd name="T9" fmla="*/ 73 h 120"/>
                <a:gd name="T10" fmla="*/ 69 w 83"/>
                <a:gd name="T11" fmla="*/ 7 h 120"/>
                <a:gd name="T12" fmla="*/ 65 w 83"/>
                <a:gd name="T13" fmla="*/ 72 h 120"/>
                <a:gd name="T14" fmla="*/ 65 w 83"/>
                <a:gd name="T15" fmla="*/ 73 h 120"/>
                <a:gd name="T16" fmla="*/ 20 w 83"/>
                <a:gd name="T17" fmla="*/ 113 h 120"/>
                <a:gd name="T18" fmla="*/ 23 w 83"/>
                <a:gd name="T19" fmla="*/ 117 h 120"/>
                <a:gd name="T20" fmla="*/ 67 w 83"/>
                <a:gd name="T21" fmla="*/ 95 h 120"/>
                <a:gd name="T22" fmla="*/ 57 w 83"/>
                <a:gd name="T23" fmla="*/ 116 h 120"/>
                <a:gd name="T24" fmla="*/ 60 w 83"/>
                <a:gd name="T25" fmla="*/ 118 h 120"/>
                <a:gd name="T26" fmla="*/ 73 w 83"/>
                <a:gd name="T27" fmla="*/ 91 h 120"/>
                <a:gd name="T28" fmla="*/ 70 w 83"/>
                <a:gd name="T29" fmla="*/ 89 h 120"/>
                <a:gd name="T30" fmla="*/ 33 w 83"/>
                <a:gd name="T31" fmla="*/ 107 h 120"/>
                <a:gd name="T32" fmla="*/ 66 w 83"/>
                <a:gd name="T33" fmla="*/ 75 h 120"/>
                <a:gd name="T34" fmla="*/ 69 w 83"/>
                <a:gd name="T35" fmla="*/ 75 h 120"/>
                <a:gd name="T36" fmla="*/ 72 w 83"/>
                <a:gd name="T37" fmla="*/ 69 h 120"/>
                <a:gd name="T38" fmla="*/ 76 w 83"/>
                <a:gd name="T39" fmla="*/ 66 h 120"/>
                <a:gd name="T40" fmla="*/ 74 w 83"/>
                <a:gd name="T41" fmla="*/ 6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3" h="120">
                  <a:moveTo>
                    <a:pt x="74" y="64"/>
                  </a:moveTo>
                  <a:cubicBezTo>
                    <a:pt x="83" y="44"/>
                    <a:pt x="82" y="22"/>
                    <a:pt x="71" y="2"/>
                  </a:cubicBezTo>
                  <a:cubicBezTo>
                    <a:pt x="70" y="1"/>
                    <a:pt x="69" y="0"/>
                    <a:pt x="67" y="2"/>
                  </a:cubicBezTo>
                  <a:cubicBezTo>
                    <a:pt x="45" y="25"/>
                    <a:pt x="22" y="47"/>
                    <a:pt x="1" y="72"/>
                  </a:cubicBezTo>
                  <a:cubicBezTo>
                    <a:pt x="0" y="73"/>
                    <a:pt x="2" y="74"/>
                    <a:pt x="3" y="73"/>
                  </a:cubicBezTo>
                  <a:cubicBezTo>
                    <a:pt x="26" y="52"/>
                    <a:pt x="47" y="29"/>
                    <a:pt x="69" y="7"/>
                  </a:cubicBezTo>
                  <a:cubicBezTo>
                    <a:pt x="79" y="28"/>
                    <a:pt x="77" y="52"/>
                    <a:pt x="65" y="72"/>
                  </a:cubicBezTo>
                  <a:cubicBezTo>
                    <a:pt x="65" y="72"/>
                    <a:pt x="65" y="73"/>
                    <a:pt x="65" y="73"/>
                  </a:cubicBezTo>
                  <a:cubicBezTo>
                    <a:pt x="50" y="86"/>
                    <a:pt x="35" y="100"/>
                    <a:pt x="20" y="113"/>
                  </a:cubicBezTo>
                  <a:cubicBezTo>
                    <a:pt x="18" y="115"/>
                    <a:pt x="21" y="118"/>
                    <a:pt x="23" y="117"/>
                  </a:cubicBezTo>
                  <a:cubicBezTo>
                    <a:pt x="38" y="110"/>
                    <a:pt x="52" y="102"/>
                    <a:pt x="67" y="95"/>
                  </a:cubicBezTo>
                  <a:cubicBezTo>
                    <a:pt x="63" y="102"/>
                    <a:pt x="60" y="109"/>
                    <a:pt x="57" y="116"/>
                  </a:cubicBezTo>
                  <a:cubicBezTo>
                    <a:pt x="56" y="118"/>
                    <a:pt x="59" y="120"/>
                    <a:pt x="60" y="118"/>
                  </a:cubicBezTo>
                  <a:cubicBezTo>
                    <a:pt x="64" y="109"/>
                    <a:pt x="69" y="100"/>
                    <a:pt x="73" y="91"/>
                  </a:cubicBezTo>
                  <a:cubicBezTo>
                    <a:pt x="74" y="89"/>
                    <a:pt x="71" y="88"/>
                    <a:pt x="70" y="89"/>
                  </a:cubicBezTo>
                  <a:cubicBezTo>
                    <a:pt x="58" y="95"/>
                    <a:pt x="45" y="101"/>
                    <a:pt x="33" y="107"/>
                  </a:cubicBezTo>
                  <a:cubicBezTo>
                    <a:pt x="44" y="96"/>
                    <a:pt x="55" y="86"/>
                    <a:pt x="66" y="75"/>
                  </a:cubicBezTo>
                  <a:cubicBezTo>
                    <a:pt x="67" y="76"/>
                    <a:pt x="68" y="76"/>
                    <a:pt x="69" y="75"/>
                  </a:cubicBezTo>
                  <a:cubicBezTo>
                    <a:pt x="70" y="73"/>
                    <a:pt x="71" y="71"/>
                    <a:pt x="72" y="69"/>
                  </a:cubicBezTo>
                  <a:cubicBezTo>
                    <a:pt x="73" y="68"/>
                    <a:pt x="75" y="67"/>
                    <a:pt x="76" y="66"/>
                  </a:cubicBezTo>
                  <a:cubicBezTo>
                    <a:pt x="77" y="65"/>
                    <a:pt x="75" y="64"/>
                    <a:pt x="74" y="6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iş1ïḍe">
              <a:extLst>
                <a:ext uri="{FF2B5EF4-FFF2-40B4-BE49-F238E27FC236}">
                  <a16:creationId xmlns:a16="http://schemas.microsoft.com/office/drawing/2014/main" id="{B89E86A1-A6A5-4A25-AF12-C5EEDDAC3677}"/>
                </a:ext>
              </a:extLst>
            </p:cNvPr>
            <p:cNvSpPr/>
            <p:nvPr/>
          </p:nvSpPr>
          <p:spPr bwMode="auto">
            <a:xfrm>
              <a:off x="6765926" y="2384426"/>
              <a:ext cx="481013" cy="390525"/>
            </a:xfrm>
            <a:custGeom>
              <a:avLst/>
              <a:gdLst>
                <a:gd name="T0" fmla="*/ 347 w 350"/>
                <a:gd name="T1" fmla="*/ 1 h 284"/>
                <a:gd name="T2" fmla="*/ 3 w 350"/>
                <a:gd name="T3" fmla="*/ 277 h 284"/>
                <a:gd name="T4" fmla="*/ 6 w 350"/>
                <a:gd name="T5" fmla="*/ 282 h 284"/>
                <a:gd name="T6" fmla="*/ 349 w 350"/>
                <a:gd name="T7" fmla="*/ 3 h 284"/>
                <a:gd name="T8" fmla="*/ 347 w 350"/>
                <a:gd name="T9" fmla="*/ 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284">
                  <a:moveTo>
                    <a:pt x="347" y="1"/>
                  </a:moveTo>
                  <a:cubicBezTo>
                    <a:pt x="251" y="118"/>
                    <a:pt x="132" y="209"/>
                    <a:pt x="3" y="277"/>
                  </a:cubicBezTo>
                  <a:cubicBezTo>
                    <a:pt x="0" y="278"/>
                    <a:pt x="3" y="284"/>
                    <a:pt x="6" y="282"/>
                  </a:cubicBezTo>
                  <a:cubicBezTo>
                    <a:pt x="137" y="218"/>
                    <a:pt x="253" y="120"/>
                    <a:pt x="349" y="3"/>
                  </a:cubicBezTo>
                  <a:cubicBezTo>
                    <a:pt x="350" y="2"/>
                    <a:pt x="348" y="0"/>
                    <a:pt x="347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íṩlîde">
              <a:extLst>
                <a:ext uri="{FF2B5EF4-FFF2-40B4-BE49-F238E27FC236}">
                  <a16:creationId xmlns:a16="http://schemas.microsoft.com/office/drawing/2014/main" id="{7C226127-5FEE-454F-BDF8-41766BA30E9C}"/>
                </a:ext>
              </a:extLst>
            </p:cNvPr>
            <p:cNvSpPr/>
            <p:nvPr/>
          </p:nvSpPr>
          <p:spPr bwMode="auto">
            <a:xfrm>
              <a:off x="7273926" y="2265364"/>
              <a:ext cx="55563" cy="92075"/>
            </a:xfrm>
            <a:custGeom>
              <a:avLst/>
              <a:gdLst>
                <a:gd name="T0" fmla="*/ 36 w 41"/>
                <a:gd name="T1" fmla="*/ 2 h 68"/>
                <a:gd name="T2" fmla="*/ 1 w 41"/>
                <a:gd name="T3" fmla="*/ 65 h 68"/>
                <a:gd name="T4" fmla="*/ 3 w 41"/>
                <a:gd name="T5" fmla="*/ 67 h 68"/>
                <a:gd name="T6" fmla="*/ 40 w 41"/>
                <a:gd name="T7" fmla="*/ 5 h 68"/>
                <a:gd name="T8" fmla="*/ 36 w 41"/>
                <a:gd name="T9" fmla="*/ 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68">
                  <a:moveTo>
                    <a:pt x="36" y="2"/>
                  </a:moveTo>
                  <a:cubicBezTo>
                    <a:pt x="24" y="22"/>
                    <a:pt x="11" y="44"/>
                    <a:pt x="1" y="65"/>
                  </a:cubicBezTo>
                  <a:cubicBezTo>
                    <a:pt x="0" y="67"/>
                    <a:pt x="2" y="68"/>
                    <a:pt x="3" y="67"/>
                  </a:cubicBezTo>
                  <a:cubicBezTo>
                    <a:pt x="17" y="48"/>
                    <a:pt x="29" y="26"/>
                    <a:pt x="40" y="5"/>
                  </a:cubicBezTo>
                  <a:cubicBezTo>
                    <a:pt x="41" y="3"/>
                    <a:pt x="38" y="0"/>
                    <a:pt x="36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íṣľiḓè">
              <a:extLst>
                <a:ext uri="{FF2B5EF4-FFF2-40B4-BE49-F238E27FC236}">
                  <a16:creationId xmlns:a16="http://schemas.microsoft.com/office/drawing/2014/main" id="{D05A30FD-7819-45F3-82F5-1775AEE9E1C4}"/>
                </a:ext>
              </a:extLst>
            </p:cNvPr>
            <p:cNvSpPr/>
            <p:nvPr/>
          </p:nvSpPr>
          <p:spPr bwMode="auto">
            <a:xfrm>
              <a:off x="7331076" y="2271714"/>
              <a:ext cx="41275" cy="106363"/>
            </a:xfrm>
            <a:custGeom>
              <a:avLst/>
              <a:gdLst>
                <a:gd name="T0" fmla="*/ 2 w 30"/>
                <a:gd name="T1" fmla="*/ 1 h 78"/>
                <a:gd name="T2" fmla="*/ 1 w 30"/>
                <a:gd name="T3" fmla="*/ 3 h 78"/>
                <a:gd name="T4" fmla="*/ 26 w 30"/>
                <a:gd name="T5" fmla="*/ 75 h 78"/>
                <a:gd name="T6" fmla="*/ 29 w 30"/>
                <a:gd name="T7" fmla="*/ 76 h 78"/>
                <a:gd name="T8" fmla="*/ 2 w 30"/>
                <a:gd name="T9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78">
                  <a:moveTo>
                    <a:pt x="2" y="1"/>
                  </a:moveTo>
                  <a:cubicBezTo>
                    <a:pt x="1" y="0"/>
                    <a:pt x="0" y="2"/>
                    <a:pt x="1" y="3"/>
                  </a:cubicBezTo>
                  <a:cubicBezTo>
                    <a:pt x="17" y="25"/>
                    <a:pt x="25" y="47"/>
                    <a:pt x="26" y="75"/>
                  </a:cubicBezTo>
                  <a:cubicBezTo>
                    <a:pt x="26" y="77"/>
                    <a:pt x="29" y="78"/>
                    <a:pt x="29" y="76"/>
                  </a:cubicBezTo>
                  <a:cubicBezTo>
                    <a:pt x="30" y="48"/>
                    <a:pt x="21" y="20"/>
                    <a:pt x="2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iṩḻide">
              <a:extLst>
                <a:ext uri="{FF2B5EF4-FFF2-40B4-BE49-F238E27FC236}">
                  <a16:creationId xmlns:a16="http://schemas.microsoft.com/office/drawing/2014/main" id="{D4CD4F2C-9488-4B47-96D9-90016D7070C5}"/>
                </a:ext>
              </a:extLst>
            </p:cNvPr>
            <p:cNvSpPr/>
            <p:nvPr/>
          </p:nvSpPr>
          <p:spPr bwMode="auto">
            <a:xfrm>
              <a:off x="7243763" y="2393951"/>
              <a:ext cx="122238" cy="123825"/>
            </a:xfrm>
            <a:custGeom>
              <a:avLst/>
              <a:gdLst>
                <a:gd name="T0" fmla="*/ 86 w 88"/>
                <a:gd name="T1" fmla="*/ 1 h 90"/>
                <a:gd name="T2" fmla="*/ 1 w 88"/>
                <a:gd name="T3" fmla="*/ 86 h 90"/>
                <a:gd name="T4" fmla="*/ 3 w 88"/>
                <a:gd name="T5" fmla="*/ 88 h 90"/>
                <a:gd name="T6" fmla="*/ 88 w 88"/>
                <a:gd name="T7" fmla="*/ 3 h 90"/>
                <a:gd name="T8" fmla="*/ 86 w 88"/>
                <a:gd name="T9" fmla="*/ 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90">
                  <a:moveTo>
                    <a:pt x="86" y="1"/>
                  </a:moveTo>
                  <a:cubicBezTo>
                    <a:pt x="57" y="29"/>
                    <a:pt x="28" y="57"/>
                    <a:pt x="1" y="86"/>
                  </a:cubicBezTo>
                  <a:cubicBezTo>
                    <a:pt x="0" y="87"/>
                    <a:pt x="2" y="90"/>
                    <a:pt x="3" y="88"/>
                  </a:cubicBezTo>
                  <a:cubicBezTo>
                    <a:pt x="32" y="61"/>
                    <a:pt x="59" y="31"/>
                    <a:pt x="88" y="3"/>
                  </a:cubicBezTo>
                  <a:cubicBezTo>
                    <a:pt x="88" y="2"/>
                    <a:pt x="87" y="0"/>
                    <a:pt x="86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îśļíďé">
              <a:extLst>
                <a:ext uri="{FF2B5EF4-FFF2-40B4-BE49-F238E27FC236}">
                  <a16:creationId xmlns:a16="http://schemas.microsoft.com/office/drawing/2014/main" id="{6431D66E-EC81-45C7-93BB-8AD90AD7A351}"/>
                </a:ext>
              </a:extLst>
            </p:cNvPr>
            <p:cNvSpPr/>
            <p:nvPr/>
          </p:nvSpPr>
          <p:spPr bwMode="auto">
            <a:xfrm>
              <a:off x="6653213" y="2459039"/>
              <a:ext cx="681038" cy="419100"/>
            </a:xfrm>
            <a:custGeom>
              <a:avLst/>
              <a:gdLst>
                <a:gd name="T0" fmla="*/ 492 w 494"/>
                <a:gd name="T1" fmla="*/ 14 h 305"/>
                <a:gd name="T2" fmla="*/ 449 w 494"/>
                <a:gd name="T3" fmla="*/ 36 h 305"/>
                <a:gd name="T4" fmla="*/ 484 w 494"/>
                <a:gd name="T5" fmla="*/ 2 h 305"/>
                <a:gd name="T6" fmla="*/ 483 w 494"/>
                <a:gd name="T7" fmla="*/ 1 h 305"/>
                <a:gd name="T8" fmla="*/ 442 w 494"/>
                <a:gd name="T9" fmla="*/ 39 h 305"/>
                <a:gd name="T10" fmla="*/ 443 w 494"/>
                <a:gd name="T11" fmla="*/ 42 h 305"/>
                <a:gd name="T12" fmla="*/ 487 w 494"/>
                <a:gd name="T13" fmla="*/ 20 h 305"/>
                <a:gd name="T14" fmla="*/ 461 w 494"/>
                <a:gd name="T15" fmla="*/ 56 h 305"/>
                <a:gd name="T16" fmla="*/ 379 w 494"/>
                <a:gd name="T17" fmla="*/ 124 h 305"/>
                <a:gd name="T18" fmla="*/ 381 w 494"/>
                <a:gd name="T19" fmla="*/ 127 h 305"/>
                <a:gd name="T20" fmla="*/ 397 w 494"/>
                <a:gd name="T21" fmla="*/ 117 h 305"/>
                <a:gd name="T22" fmla="*/ 3 w 494"/>
                <a:gd name="T23" fmla="*/ 300 h 305"/>
                <a:gd name="T24" fmla="*/ 4 w 494"/>
                <a:gd name="T25" fmla="*/ 305 h 305"/>
                <a:gd name="T26" fmla="*/ 406 w 494"/>
                <a:gd name="T27" fmla="*/ 112 h 305"/>
                <a:gd name="T28" fmla="*/ 406 w 494"/>
                <a:gd name="T29" fmla="*/ 111 h 305"/>
                <a:gd name="T30" fmla="*/ 493 w 494"/>
                <a:gd name="T31" fmla="*/ 17 h 305"/>
                <a:gd name="T32" fmla="*/ 492 w 494"/>
                <a:gd name="T33" fmla="*/ 1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4" h="305">
                  <a:moveTo>
                    <a:pt x="492" y="14"/>
                  </a:moveTo>
                  <a:cubicBezTo>
                    <a:pt x="487" y="16"/>
                    <a:pt x="453" y="32"/>
                    <a:pt x="449" y="36"/>
                  </a:cubicBezTo>
                  <a:cubicBezTo>
                    <a:pt x="453" y="32"/>
                    <a:pt x="481" y="6"/>
                    <a:pt x="484" y="2"/>
                  </a:cubicBezTo>
                  <a:cubicBezTo>
                    <a:pt x="485" y="1"/>
                    <a:pt x="484" y="0"/>
                    <a:pt x="483" y="1"/>
                  </a:cubicBezTo>
                  <a:cubicBezTo>
                    <a:pt x="469" y="13"/>
                    <a:pt x="455" y="26"/>
                    <a:pt x="442" y="39"/>
                  </a:cubicBezTo>
                  <a:cubicBezTo>
                    <a:pt x="440" y="40"/>
                    <a:pt x="442" y="43"/>
                    <a:pt x="443" y="42"/>
                  </a:cubicBezTo>
                  <a:cubicBezTo>
                    <a:pt x="447" y="41"/>
                    <a:pt x="485" y="18"/>
                    <a:pt x="487" y="20"/>
                  </a:cubicBezTo>
                  <a:cubicBezTo>
                    <a:pt x="489" y="22"/>
                    <a:pt x="465" y="52"/>
                    <a:pt x="461" y="56"/>
                  </a:cubicBezTo>
                  <a:cubicBezTo>
                    <a:pt x="437" y="84"/>
                    <a:pt x="410" y="106"/>
                    <a:pt x="379" y="124"/>
                  </a:cubicBezTo>
                  <a:cubicBezTo>
                    <a:pt x="377" y="125"/>
                    <a:pt x="379" y="127"/>
                    <a:pt x="381" y="127"/>
                  </a:cubicBezTo>
                  <a:cubicBezTo>
                    <a:pt x="387" y="124"/>
                    <a:pt x="392" y="120"/>
                    <a:pt x="397" y="117"/>
                  </a:cubicBezTo>
                  <a:cubicBezTo>
                    <a:pt x="285" y="219"/>
                    <a:pt x="148" y="280"/>
                    <a:pt x="3" y="300"/>
                  </a:cubicBezTo>
                  <a:cubicBezTo>
                    <a:pt x="0" y="300"/>
                    <a:pt x="1" y="305"/>
                    <a:pt x="4" y="305"/>
                  </a:cubicBezTo>
                  <a:cubicBezTo>
                    <a:pt x="153" y="288"/>
                    <a:pt x="293" y="218"/>
                    <a:pt x="406" y="112"/>
                  </a:cubicBezTo>
                  <a:cubicBezTo>
                    <a:pt x="406" y="111"/>
                    <a:pt x="406" y="111"/>
                    <a:pt x="406" y="111"/>
                  </a:cubicBezTo>
                  <a:cubicBezTo>
                    <a:pt x="441" y="86"/>
                    <a:pt x="470" y="55"/>
                    <a:pt x="493" y="17"/>
                  </a:cubicBezTo>
                  <a:cubicBezTo>
                    <a:pt x="494" y="16"/>
                    <a:pt x="493" y="14"/>
                    <a:pt x="492" y="1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ïṡḻîḓé">
              <a:extLst>
                <a:ext uri="{FF2B5EF4-FFF2-40B4-BE49-F238E27FC236}">
                  <a16:creationId xmlns:a16="http://schemas.microsoft.com/office/drawing/2014/main" id="{412866DB-B85C-4AD4-9CC7-911D21623483}"/>
                </a:ext>
              </a:extLst>
            </p:cNvPr>
            <p:cNvSpPr/>
            <p:nvPr/>
          </p:nvSpPr>
          <p:spPr bwMode="auto">
            <a:xfrm>
              <a:off x="6567488" y="1468439"/>
              <a:ext cx="292100" cy="1162050"/>
            </a:xfrm>
            <a:custGeom>
              <a:avLst/>
              <a:gdLst>
                <a:gd name="T0" fmla="*/ 206 w 212"/>
                <a:gd name="T1" fmla="*/ 3 h 845"/>
                <a:gd name="T2" fmla="*/ 0 w 212"/>
                <a:gd name="T3" fmla="*/ 843 h 845"/>
                <a:gd name="T4" fmla="*/ 2 w 212"/>
                <a:gd name="T5" fmla="*/ 844 h 845"/>
                <a:gd name="T6" fmla="*/ 212 w 212"/>
                <a:gd name="T7" fmla="*/ 4 h 845"/>
                <a:gd name="T8" fmla="*/ 206 w 212"/>
                <a:gd name="T9" fmla="*/ 3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845">
                  <a:moveTo>
                    <a:pt x="206" y="3"/>
                  </a:moveTo>
                  <a:cubicBezTo>
                    <a:pt x="177" y="293"/>
                    <a:pt x="109" y="573"/>
                    <a:pt x="0" y="843"/>
                  </a:cubicBezTo>
                  <a:cubicBezTo>
                    <a:pt x="0" y="844"/>
                    <a:pt x="2" y="845"/>
                    <a:pt x="2" y="844"/>
                  </a:cubicBezTo>
                  <a:cubicBezTo>
                    <a:pt x="113" y="578"/>
                    <a:pt x="186" y="292"/>
                    <a:pt x="212" y="4"/>
                  </a:cubicBezTo>
                  <a:cubicBezTo>
                    <a:pt x="212" y="1"/>
                    <a:pt x="207" y="0"/>
                    <a:pt x="206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íṡļïḋê">
              <a:extLst>
                <a:ext uri="{FF2B5EF4-FFF2-40B4-BE49-F238E27FC236}">
                  <a16:creationId xmlns:a16="http://schemas.microsoft.com/office/drawing/2014/main" id="{4F8FCA86-7B75-4A4A-A4AE-DCE555ED1F70}"/>
                </a:ext>
              </a:extLst>
            </p:cNvPr>
            <p:cNvSpPr/>
            <p:nvPr/>
          </p:nvSpPr>
          <p:spPr bwMode="auto">
            <a:xfrm>
              <a:off x="6875463" y="1466851"/>
              <a:ext cx="84138" cy="252413"/>
            </a:xfrm>
            <a:custGeom>
              <a:avLst/>
              <a:gdLst>
                <a:gd name="T0" fmla="*/ 2 w 61"/>
                <a:gd name="T1" fmla="*/ 1 h 183"/>
                <a:gd name="T2" fmla="*/ 1 w 61"/>
                <a:gd name="T3" fmla="*/ 2 h 183"/>
                <a:gd name="T4" fmla="*/ 48 w 61"/>
                <a:gd name="T5" fmla="*/ 180 h 183"/>
                <a:gd name="T6" fmla="*/ 52 w 61"/>
                <a:gd name="T7" fmla="*/ 180 h 183"/>
                <a:gd name="T8" fmla="*/ 2 w 61"/>
                <a:gd name="T9" fmla="*/ 1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8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38" y="55"/>
                    <a:pt x="54" y="115"/>
                    <a:pt x="48" y="180"/>
                  </a:cubicBezTo>
                  <a:cubicBezTo>
                    <a:pt x="48" y="182"/>
                    <a:pt x="52" y="183"/>
                    <a:pt x="52" y="180"/>
                  </a:cubicBezTo>
                  <a:cubicBezTo>
                    <a:pt x="61" y="117"/>
                    <a:pt x="42" y="51"/>
                    <a:pt x="2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iş1ïḍé">
              <a:extLst>
                <a:ext uri="{FF2B5EF4-FFF2-40B4-BE49-F238E27FC236}">
                  <a16:creationId xmlns:a16="http://schemas.microsoft.com/office/drawing/2014/main" id="{2D263304-C0F3-4244-AB40-6E42EC04DDD3}"/>
                </a:ext>
              </a:extLst>
            </p:cNvPr>
            <p:cNvSpPr/>
            <p:nvPr/>
          </p:nvSpPr>
          <p:spPr bwMode="auto">
            <a:xfrm>
              <a:off x="6848476" y="1741489"/>
              <a:ext cx="87313" cy="303213"/>
            </a:xfrm>
            <a:custGeom>
              <a:avLst/>
              <a:gdLst>
                <a:gd name="T0" fmla="*/ 60 w 63"/>
                <a:gd name="T1" fmla="*/ 1 h 221"/>
                <a:gd name="T2" fmla="*/ 1 w 63"/>
                <a:gd name="T3" fmla="*/ 216 h 221"/>
                <a:gd name="T4" fmla="*/ 6 w 63"/>
                <a:gd name="T5" fmla="*/ 218 h 221"/>
                <a:gd name="T6" fmla="*/ 63 w 63"/>
                <a:gd name="T7" fmla="*/ 2 h 221"/>
                <a:gd name="T8" fmla="*/ 60 w 63"/>
                <a:gd name="T9" fmla="*/ 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21">
                  <a:moveTo>
                    <a:pt x="60" y="1"/>
                  </a:moveTo>
                  <a:cubicBezTo>
                    <a:pt x="57" y="78"/>
                    <a:pt x="36" y="148"/>
                    <a:pt x="1" y="216"/>
                  </a:cubicBezTo>
                  <a:cubicBezTo>
                    <a:pt x="0" y="219"/>
                    <a:pt x="4" y="221"/>
                    <a:pt x="6" y="218"/>
                  </a:cubicBezTo>
                  <a:cubicBezTo>
                    <a:pt x="43" y="153"/>
                    <a:pt x="62" y="77"/>
                    <a:pt x="63" y="2"/>
                  </a:cubicBezTo>
                  <a:cubicBezTo>
                    <a:pt x="63" y="1"/>
                    <a:pt x="60" y="0"/>
                    <a:pt x="60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îŝḷíḓé">
              <a:extLst>
                <a:ext uri="{FF2B5EF4-FFF2-40B4-BE49-F238E27FC236}">
                  <a16:creationId xmlns:a16="http://schemas.microsoft.com/office/drawing/2014/main" id="{90418EA5-73FE-440E-B1CF-9F55C016A6CB}"/>
                </a:ext>
              </a:extLst>
            </p:cNvPr>
            <p:cNvSpPr/>
            <p:nvPr/>
          </p:nvSpPr>
          <p:spPr bwMode="auto">
            <a:xfrm>
              <a:off x="6657976" y="1963739"/>
              <a:ext cx="269875" cy="601663"/>
            </a:xfrm>
            <a:custGeom>
              <a:avLst/>
              <a:gdLst>
                <a:gd name="T0" fmla="*/ 194 w 196"/>
                <a:gd name="T1" fmla="*/ 1 h 438"/>
                <a:gd name="T2" fmla="*/ 135 w 196"/>
                <a:gd name="T3" fmla="*/ 233 h 438"/>
                <a:gd name="T4" fmla="*/ 1 w 196"/>
                <a:gd name="T5" fmla="*/ 433 h 438"/>
                <a:gd name="T6" fmla="*/ 5 w 196"/>
                <a:gd name="T7" fmla="*/ 436 h 438"/>
                <a:gd name="T8" fmla="*/ 196 w 196"/>
                <a:gd name="T9" fmla="*/ 2 h 438"/>
                <a:gd name="T10" fmla="*/ 194 w 196"/>
                <a:gd name="T11" fmla="*/ 1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438">
                  <a:moveTo>
                    <a:pt x="194" y="1"/>
                  </a:moveTo>
                  <a:cubicBezTo>
                    <a:pt x="187" y="81"/>
                    <a:pt x="167" y="160"/>
                    <a:pt x="135" y="233"/>
                  </a:cubicBezTo>
                  <a:cubicBezTo>
                    <a:pt x="101" y="308"/>
                    <a:pt x="55" y="371"/>
                    <a:pt x="1" y="433"/>
                  </a:cubicBezTo>
                  <a:cubicBezTo>
                    <a:pt x="0" y="435"/>
                    <a:pt x="3" y="438"/>
                    <a:pt x="5" y="436"/>
                  </a:cubicBezTo>
                  <a:cubicBezTo>
                    <a:pt x="120" y="325"/>
                    <a:pt x="186" y="159"/>
                    <a:pt x="196" y="2"/>
                  </a:cubicBezTo>
                  <a:cubicBezTo>
                    <a:pt x="196" y="0"/>
                    <a:pt x="194" y="0"/>
                    <a:pt x="194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îsḻïḋe">
              <a:extLst>
                <a:ext uri="{FF2B5EF4-FFF2-40B4-BE49-F238E27FC236}">
                  <a16:creationId xmlns:a16="http://schemas.microsoft.com/office/drawing/2014/main" id="{98EC2B2C-3D45-483A-BCFA-8800FF9A353A}"/>
                </a:ext>
              </a:extLst>
            </p:cNvPr>
            <p:cNvSpPr/>
            <p:nvPr/>
          </p:nvSpPr>
          <p:spPr bwMode="auto">
            <a:xfrm>
              <a:off x="6869113" y="1644651"/>
              <a:ext cx="139700" cy="679450"/>
            </a:xfrm>
            <a:custGeom>
              <a:avLst/>
              <a:gdLst>
                <a:gd name="T0" fmla="*/ 100 w 102"/>
                <a:gd name="T1" fmla="*/ 1 h 494"/>
                <a:gd name="T2" fmla="*/ 1 w 102"/>
                <a:gd name="T3" fmla="*/ 490 h 494"/>
                <a:gd name="T4" fmla="*/ 5 w 102"/>
                <a:gd name="T5" fmla="*/ 492 h 494"/>
                <a:gd name="T6" fmla="*/ 102 w 102"/>
                <a:gd name="T7" fmla="*/ 1 h 494"/>
                <a:gd name="T8" fmla="*/ 100 w 102"/>
                <a:gd name="T9" fmla="*/ 1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494">
                  <a:moveTo>
                    <a:pt x="100" y="1"/>
                  </a:moveTo>
                  <a:cubicBezTo>
                    <a:pt x="98" y="170"/>
                    <a:pt x="61" y="332"/>
                    <a:pt x="1" y="490"/>
                  </a:cubicBezTo>
                  <a:cubicBezTo>
                    <a:pt x="0" y="492"/>
                    <a:pt x="4" y="494"/>
                    <a:pt x="5" y="492"/>
                  </a:cubicBezTo>
                  <a:cubicBezTo>
                    <a:pt x="71" y="338"/>
                    <a:pt x="101" y="168"/>
                    <a:pt x="102" y="1"/>
                  </a:cubicBezTo>
                  <a:cubicBezTo>
                    <a:pt x="102" y="0"/>
                    <a:pt x="100" y="0"/>
                    <a:pt x="100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îSļîḓé">
              <a:extLst>
                <a:ext uri="{FF2B5EF4-FFF2-40B4-BE49-F238E27FC236}">
                  <a16:creationId xmlns:a16="http://schemas.microsoft.com/office/drawing/2014/main" id="{78644463-9D40-40F3-9BE9-1987B776AA3A}"/>
                </a:ext>
              </a:extLst>
            </p:cNvPr>
            <p:cNvSpPr/>
            <p:nvPr/>
          </p:nvSpPr>
          <p:spPr bwMode="auto">
            <a:xfrm>
              <a:off x="6923088" y="1639889"/>
              <a:ext cx="185738" cy="717550"/>
            </a:xfrm>
            <a:custGeom>
              <a:avLst/>
              <a:gdLst>
                <a:gd name="T0" fmla="*/ 69 w 134"/>
                <a:gd name="T1" fmla="*/ 1 h 523"/>
                <a:gd name="T2" fmla="*/ 67 w 134"/>
                <a:gd name="T3" fmla="*/ 2 h 523"/>
                <a:gd name="T4" fmla="*/ 1 w 134"/>
                <a:gd name="T5" fmla="*/ 517 h 523"/>
                <a:gd name="T6" fmla="*/ 5 w 134"/>
                <a:gd name="T7" fmla="*/ 520 h 523"/>
                <a:gd name="T8" fmla="*/ 69 w 134"/>
                <a:gd name="T9" fmla="*/ 1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523">
                  <a:moveTo>
                    <a:pt x="69" y="1"/>
                  </a:moveTo>
                  <a:cubicBezTo>
                    <a:pt x="68" y="0"/>
                    <a:pt x="66" y="1"/>
                    <a:pt x="67" y="2"/>
                  </a:cubicBezTo>
                  <a:cubicBezTo>
                    <a:pt x="127" y="174"/>
                    <a:pt x="102" y="366"/>
                    <a:pt x="1" y="517"/>
                  </a:cubicBezTo>
                  <a:cubicBezTo>
                    <a:pt x="0" y="520"/>
                    <a:pt x="3" y="523"/>
                    <a:pt x="5" y="520"/>
                  </a:cubicBezTo>
                  <a:cubicBezTo>
                    <a:pt x="109" y="372"/>
                    <a:pt x="134" y="171"/>
                    <a:pt x="69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íšḻïḑè">
              <a:extLst>
                <a:ext uri="{FF2B5EF4-FFF2-40B4-BE49-F238E27FC236}">
                  <a16:creationId xmlns:a16="http://schemas.microsoft.com/office/drawing/2014/main" id="{149A7A83-88F3-4C38-AB1A-162714DDF845}"/>
                </a:ext>
              </a:extLst>
            </p:cNvPr>
            <p:cNvSpPr/>
            <p:nvPr/>
          </p:nvSpPr>
          <p:spPr bwMode="auto">
            <a:xfrm>
              <a:off x="6745288" y="2306639"/>
              <a:ext cx="169863" cy="254000"/>
            </a:xfrm>
            <a:custGeom>
              <a:avLst/>
              <a:gdLst>
                <a:gd name="T0" fmla="*/ 121 w 124"/>
                <a:gd name="T1" fmla="*/ 1 h 185"/>
                <a:gd name="T2" fmla="*/ 2 w 124"/>
                <a:gd name="T3" fmla="*/ 179 h 185"/>
                <a:gd name="T4" fmla="*/ 5 w 124"/>
                <a:gd name="T5" fmla="*/ 183 h 185"/>
                <a:gd name="T6" fmla="*/ 123 w 124"/>
                <a:gd name="T7" fmla="*/ 3 h 185"/>
                <a:gd name="T8" fmla="*/ 121 w 124"/>
                <a:gd name="T9" fmla="*/ 1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85">
                  <a:moveTo>
                    <a:pt x="121" y="1"/>
                  </a:moveTo>
                  <a:cubicBezTo>
                    <a:pt x="81" y="60"/>
                    <a:pt x="40" y="119"/>
                    <a:pt x="2" y="179"/>
                  </a:cubicBezTo>
                  <a:cubicBezTo>
                    <a:pt x="0" y="182"/>
                    <a:pt x="4" y="185"/>
                    <a:pt x="5" y="183"/>
                  </a:cubicBezTo>
                  <a:cubicBezTo>
                    <a:pt x="46" y="124"/>
                    <a:pt x="84" y="63"/>
                    <a:pt x="123" y="3"/>
                  </a:cubicBezTo>
                  <a:cubicBezTo>
                    <a:pt x="124" y="1"/>
                    <a:pt x="122" y="0"/>
                    <a:pt x="121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ïṡlïďe">
              <a:extLst>
                <a:ext uri="{FF2B5EF4-FFF2-40B4-BE49-F238E27FC236}">
                  <a16:creationId xmlns:a16="http://schemas.microsoft.com/office/drawing/2014/main" id="{A5CF1540-C2F7-409B-BD2B-A3E08A6D76F9}"/>
                </a:ext>
              </a:extLst>
            </p:cNvPr>
            <p:cNvSpPr/>
            <p:nvPr/>
          </p:nvSpPr>
          <p:spPr bwMode="auto">
            <a:xfrm>
              <a:off x="5284788" y="3524251"/>
              <a:ext cx="180975" cy="711200"/>
            </a:xfrm>
            <a:custGeom>
              <a:avLst/>
              <a:gdLst>
                <a:gd name="T0" fmla="*/ 130 w 131"/>
                <a:gd name="T1" fmla="*/ 513 h 517"/>
                <a:gd name="T2" fmla="*/ 4 w 131"/>
                <a:gd name="T3" fmla="*/ 2 h 517"/>
                <a:gd name="T4" fmla="*/ 2 w 131"/>
                <a:gd name="T5" fmla="*/ 2 h 517"/>
                <a:gd name="T6" fmla="*/ 126 w 131"/>
                <a:gd name="T7" fmla="*/ 515 h 517"/>
                <a:gd name="T8" fmla="*/ 130 w 131"/>
                <a:gd name="T9" fmla="*/ 513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517">
                  <a:moveTo>
                    <a:pt x="130" y="513"/>
                  </a:moveTo>
                  <a:cubicBezTo>
                    <a:pt x="47" y="355"/>
                    <a:pt x="4" y="180"/>
                    <a:pt x="4" y="2"/>
                  </a:cubicBezTo>
                  <a:cubicBezTo>
                    <a:pt x="4" y="1"/>
                    <a:pt x="2" y="0"/>
                    <a:pt x="2" y="2"/>
                  </a:cubicBezTo>
                  <a:cubicBezTo>
                    <a:pt x="0" y="180"/>
                    <a:pt x="42" y="357"/>
                    <a:pt x="126" y="515"/>
                  </a:cubicBezTo>
                  <a:cubicBezTo>
                    <a:pt x="127" y="517"/>
                    <a:pt x="131" y="516"/>
                    <a:pt x="130" y="51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iŝḷïḑe">
              <a:extLst>
                <a:ext uri="{FF2B5EF4-FFF2-40B4-BE49-F238E27FC236}">
                  <a16:creationId xmlns:a16="http://schemas.microsoft.com/office/drawing/2014/main" id="{95061BFE-2624-4C10-9510-21A290D94A9A}"/>
                </a:ext>
              </a:extLst>
            </p:cNvPr>
            <p:cNvSpPr/>
            <p:nvPr/>
          </p:nvSpPr>
          <p:spPr bwMode="auto">
            <a:xfrm>
              <a:off x="5427663" y="4065589"/>
              <a:ext cx="134938" cy="290513"/>
            </a:xfrm>
            <a:custGeom>
              <a:avLst/>
              <a:gdLst>
                <a:gd name="T0" fmla="*/ 96 w 98"/>
                <a:gd name="T1" fmla="*/ 206 h 211"/>
                <a:gd name="T2" fmla="*/ 3 w 98"/>
                <a:gd name="T3" fmla="*/ 1 h 211"/>
                <a:gd name="T4" fmla="*/ 0 w 98"/>
                <a:gd name="T5" fmla="*/ 2 h 211"/>
                <a:gd name="T6" fmla="*/ 94 w 98"/>
                <a:gd name="T7" fmla="*/ 209 h 211"/>
                <a:gd name="T8" fmla="*/ 96 w 98"/>
                <a:gd name="T9" fmla="*/ 206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211">
                  <a:moveTo>
                    <a:pt x="96" y="206"/>
                  </a:moveTo>
                  <a:cubicBezTo>
                    <a:pt x="42" y="150"/>
                    <a:pt x="8" y="80"/>
                    <a:pt x="3" y="1"/>
                  </a:cubicBezTo>
                  <a:cubicBezTo>
                    <a:pt x="3" y="0"/>
                    <a:pt x="0" y="0"/>
                    <a:pt x="0" y="2"/>
                  </a:cubicBezTo>
                  <a:cubicBezTo>
                    <a:pt x="5" y="80"/>
                    <a:pt x="38" y="155"/>
                    <a:pt x="94" y="209"/>
                  </a:cubicBezTo>
                  <a:cubicBezTo>
                    <a:pt x="96" y="211"/>
                    <a:pt x="98" y="208"/>
                    <a:pt x="96" y="20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ïṥļiďé">
              <a:extLst>
                <a:ext uri="{FF2B5EF4-FFF2-40B4-BE49-F238E27FC236}">
                  <a16:creationId xmlns:a16="http://schemas.microsoft.com/office/drawing/2014/main" id="{6464A241-A7B8-40BC-9D24-082CA20693CB}"/>
                </a:ext>
              </a:extLst>
            </p:cNvPr>
            <p:cNvSpPr/>
            <p:nvPr/>
          </p:nvSpPr>
          <p:spPr bwMode="auto">
            <a:xfrm>
              <a:off x="5514976" y="4235451"/>
              <a:ext cx="76200" cy="114300"/>
            </a:xfrm>
            <a:custGeom>
              <a:avLst/>
              <a:gdLst>
                <a:gd name="T0" fmla="*/ 54 w 56"/>
                <a:gd name="T1" fmla="*/ 79 h 83"/>
                <a:gd name="T2" fmla="*/ 3 w 56"/>
                <a:gd name="T3" fmla="*/ 2 h 83"/>
                <a:gd name="T4" fmla="*/ 1 w 56"/>
                <a:gd name="T5" fmla="*/ 2 h 83"/>
                <a:gd name="T6" fmla="*/ 51 w 56"/>
                <a:gd name="T7" fmla="*/ 81 h 83"/>
                <a:gd name="T8" fmla="*/ 54 w 56"/>
                <a:gd name="T9" fmla="*/ 7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83">
                  <a:moveTo>
                    <a:pt x="54" y="79"/>
                  </a:moveTo>
                  <a:cubicBezTo>
                    <a:pt x="27" y="60"/>
                    <a:pt x="9" y="34"/>
                    <a:pt x="3" y="2"/>
                  </a:cubicBezTo>
                  <a:cubicBezTo>
                    <a:pt x="3" y="0"/>
                    <a:pt x="0" y="0"/>
                    <a:pt x="1" y="2"/>
                  </a:cubicBezTo>
                  <a:cubicBezTo>
                    <a:pt x="6" y="34"/>
                    <a:pt x="24" y="63"/>
                    <a:pt x="51" y="81"/>
                  </a:cubicBezTo>
                  <a:cubicBezTo>
                    <a:pt x="54" y="83"/>
                    <a:pt x="56" y="80"/>
                    <a:pt x="54" y="7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ïṥ1íḋe">
              <a:extLst>
                <a:ext uri="{FF2B5EF4-FFF2-40B4-BE49-F238E27FC236}">
                  <a16:creationId xmlns:a16="http://schemas.microsoft.com/office/drawing/2014/main" id="{076C2759-AD64-4F9F-B530-955F1D3B4AF7}"/>
                </a:ext>
              </a:extLst>
            </p:cNvPr>
            <p:cNvSpPr/>
            <p:nvPr/>
          </p:nvSpPr>
          <p:spPr bwMode="auto">
            <a:xfrm>
              <a:off x="5595938" y="4348164"/>
              <a:ext cx="33338" cy="36513"/>
            </a:xfrm>
            <a:custGeom>
              <a:avLst/>
              <a:gdLst>
                <a:gd name="T0" fmla="*/ 23 w 24"/>
                <a:gd name="T1" fmla="*/ 22 h 26"/>
                <a:gd name="T2" fmla="*/ 2 w 24"/>
                <a:gd name="T3" fmla="*/ 2 h 26"/>
                <a:gd name="T4" fmla="*/ 1 w 24"/>
                <a:gd name="T5" fmla="*/ 4 h 26"/>
                <a:gd name="T6" fmla="*/ 22 w 24"/>
                <a:gd name="T7" fmla="*/ 24 h 26"/>
                <a:gd name="T8" fmla="*/ 23 w 24"/>
                <a:gd name="T9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6">
                  <a:moveTo>
                    <a:pt x="23" y="22"/>
                  </a:moveTo>
                  <a:cubicBezTo>
                    <a:pt x="16" y="15"/>
                    <a:pt x="9" y="9"/>
                    <a:pt x="2" y="2"/>
                  </a:cubicBezTo>
                  <a:cubicBezTo>
                    <a:pt x="1" y="0"/>
                    <a:pt x="0" y="2"/>
                    <a:pt x="1" y="4"/>
                  </a:cubicBezTo>
                  <a:cubicBezTo>
                    <a:pt x="8" y="10"/>
                    <a:pt x="15" y="17"/>
                    <a:pt x="22" y="24"/>
                  </a:cubicBezTo>
                  <a:cubicBezTo>
                    <a:pt x="23" y="26"/>
                    <a:pt x="24" y="24"/>
                    <a:pt x="23" y="2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íṣ1íḓé">
              <a:extLst>
                <a:ext uri="{FF2B5EF4-FFF2-40B4-BE49-F238E27FC236}">
                  <a16:creationId xmlns:a16="http://schemas.microsoft.com/office/drawing/2014/main" id="{0C92310B-2B8D-4FAC-B0ED-BA92FE08CD55}"/>
                </a:ext>
              </a:extLst>
            </p:cNvPr>
            <p:cNvSpPr/>
            <p:nvPr/>
          </p:nvSpPr>
          <p:spPr bwMode="auto">
            <a:xfrm>
              <a:off x="5465763" y="4268789"/>
              <a:ext cx="333375" cy="444500"/>
            </a:xfrm>
            <a:custGeom>
              <a:avLst/>
              <a:gdLst>
                <a:gd name="T0" fmla="*/ 239 w 242"/>
                <a:gd name="T1" fmla="*/ 318 h 323"/>
                <a:gd name="T2" fmla="*/ 3 w 242"/>
                <a:gd name="T3" fmla="*/ 2 h 323"/>
                <a:gd name="T4" fmla="*/ 1 w 242"/>
                <a:gd name="T5" fmla="*/ 2 h 323"/>
                <a:gd name="T6" fmla="*/ 237 w 242"/>
                <a:gd name="T7" fmla="*/ 321 h 323"/>
                <a:gd name="T8" fmla="*/ 239 w 242"/>
                <a:gd name="T9" fmla="*/ 318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323">
                  <a:moveTo>
                    <a:pt x="239" y="318"/>
                  </a:moveTo>
                  <a:cubicBezTo>
                    <a:pt x="131" y="235"/>
                    <a:pt x="48" y="131"/>
                    <a:pt x="3" y="2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43" y="128"/>
                    <a:pt x="126" y="247"/>
                    <a:pt x="237" y="321"/>
                  </a:cubicBezTo>
                  <a:cubicBezTo>
                    <a:pt x="239" y="323"/>
                    <a:pt x="242" y="320"/>
                    <a:pt x="239" y="31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ïş1íḑè">
              <a:extLst>
                <a:ext uri="{FF2B5EF4-FFF2-40B4-BE49-F238E27FC236}">
                  <a16:creationId xmlns:a16="http://schemas.microsoft.com/office/drawing/2014/main" id="{88663941-F3ED-479B-9223-6CD1B5AED605}"/>
                </a:ext>
              </a:extLst>
            </p:cNvPr>
            <p:cNvSpPr/>
            <p:nvPr/>
          </p:nvSpPr>
          <p:spPr bwMode="auto">
            <a:xfrm>
              <a:off x="5840413" y="4748214"/>
              <a:ext cx="85725" cy="50800"/>
            </a:xfrm>
            <a:custGeom>
              <a:avLst/>
              <a:gdLst>
                <a:gd name="T0" fmla="*/ 60 w 62"/>
                <a:gd name="T1" fmla="*/ 34 h 37"/>
                <a:gd name="T2" fmla="*/ 2 w 62"/>
                <a:gd name="T3" fmla="*/ 1 h 37"/>
                <a:gd name="T4" fmla="*/ 1 w 62"/>
                <a:gd name="T5" fmla="*/ 3 h 37"/>
                <a:gd name="T6" fmla="*/ 59 w 62"/>
                <a:gd name="T7" fmla="*/ 36 h 37"/>
                <a:gd name="T8" fmla="*/ 60 w 62"/>
                <a:gd name="T9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37">
                  <a:moveTo>
                    <a:pt x="60" y="34"/>
                  </a:moveTo>
                  <a:cubicBezTo>
                    <a:pt x="41" y="22"/>
                    <a:pt x="22" y="11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21" y="14"/>
                    <a:pt x="40" y="26"/>
                    <a:pt x="59" y="36"/>
                  </a:cubicBezTo>
                  <a:cubicBezTo>
                    <a:pt x="61" y="37"/>
                    <a:pt x="62" y="34"/>
                    <a:pt x="60" y="3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íŝlïḓé">
              <a:extLst>
                <a:ext uri="{FF2B5EF4-FFF2-40B4-BE49-F238E27FC236}">
                  <a16:creationId xmlns:a16="http://schemas.microsoft.com/office/drawing/2014/main" id="{7C90F08F-F387-4026-8AE1-3B9CB798D90F}"/>
                </a:ext>
              </a:extLst>
            </p:cNvPr>
            <p:cNvSpPr/>
            <p:nvPr/>
          </p:nvSpPr>
          <p:spPr bwMode="auto">
            <a:xfrm>
              <a:off x="5924551" y="4781551"/>
              <a:ext cx="53975" cy="25400"/>
            </a:xfrm>
            <a:custGeom>
              <a:avLst/>
              <a:gdLst>
                <a:gd name="T0" fmla="*/ 37 w 39"/>
                <a:gd name="T1" fmla="*/ 13 h 18"/>
                <a:gd name="T2" fmla="*/ 4 w 39"/>
                <a:gd name="T3" fmla="*/ 1 h 18"/>
                <a:gd name="T4" fmla="*/ 2 w 39"/>
                <a:gd name="T5" fmla="*/ 4 h 18"/>
                <a:gd name="T6" fmla="*/ 36 w 39"/>
                <a:gd name="T7" fmla="*/ 17 h 18"/>
                <a:gd name="T8" fmla="*/ 37 w 39"/>
                <a:gd name="T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8">
                  <a:moveTo>
                    <a:pt x="37" y="13"/>
                  </a:moveTo>
                  <a:cubicBezTo>
                    <a:pt x="26" y="9"/>
                    <a:pt x="15" y="5"/>
                    <a:pt x="4" y="1"/>
                  </a:cubicBezTo>
                  <a:cubicBezTo>
                    <a:pt x="1" y="0"/>
                    <a:pt x="0" y="3"/>
                    <a:pt x="2" y="4"/>
                  </a:cubicBezTo>
                  <a:cubicBezTo>
                    <a:pt x="13" y="9"/>
                    <a:pt x="25" y="13"/>
                    <a:pt x="36" y="17"/>
                  </a:cubicBezTo>
                  <a:cubicBezTo>
                    <a:pt x="38" y="18"/>
                    <a:pt x="39" y="14"/>
                    <a:pt x="37" y="1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íŝľíḓe">
              <a:extLst>
                <a:ext uri="{FF2B5EF4-FFF2-40B4-BE49-F238E27FC236}">
                  <a16:creationId xmlns:a16="http://schemas.microsoft.com/office/drawing/2014/main" id="{6B2922B2-E932-46E4-89CB-29D78D2D7B2E}"/>
                </a:ext>
              </a:extLst>
            </p:cNvPr>
            <p:cNvSpPr/>
            <p:nvPr/>
          </p:nvSpPr>
          <p:spPr bwMode="auto">
            <a:xfrm>
              <a:off x="6338888" y="4003676"/>
              <a:ext cx="250825" cy="179388"/>
            </a:xfrm>
            <a:custGeom>
              <a:avLst/>
              <a:gdLst>
                <a:gd name="T0" fmla="*/ 181 w 182"/>
                <a:gd name="T1" fmla="*/ 127 h 130"/>
                <a:gd name="T2" fmla="*/ 2 w 182"/>
                <a:gd name="T3" fmla="*/ 1 h 130"/>
                <a:gd name="T4" fmla="*/ 1 w 182"/>
                <a:gd name="T5" fmla="*/ 2 h 130"/>
                <a:gd name="T6" fmla="*/ 180 w 182"/>
                <a:gd name="T7" fmla="*/ 129 h 130"/>
                <a:gd name="T8" fmla="*/ 181 w 182"/>
                <a:gd name="T9" fmla="*/ 12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30">
                  <a:moveTo>
                    <a:pt x="181" y="127"/>
                  </a:moveTo>
                  <a:cubicBezTo>
                    <a:pt x="122" y="85"/>
                    <a:pt x="62" y="43"/>
                    <a:pt x="2" y="1"/>
                  </a:cubicBezTo>
                  <a:cubicBezTo>
                    <a:pt x="1" y="0"/>
                    <a:pt x="0" y="2"/>
                    <a:pt x="1" y="2"/>
                  </a:cubicBezTo>
                  <a:cubicBezTo>
                    <a:pt x="60" y="45"/>
                    <a:pt x="120" y="87"/>
                    <a:pt x="180" y="129"/>
                  </a:cubicBezTo>
                  <a:cubicBezTo>
                    <a:pt x="181" y="130"/>
                    <a:pt x="182" y="128"/>
                    <a:pt x="181" y="12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iS1iďe">
              <a:extLst>
                <a:ext uri="{FF2B5EF4-FFF2-40B4-BE49-F238E27FC236}">
                  <a16:creationId xmlns:a16="http://schemas.microsoft.com/office/drawing/2014/main" id="{73416567-B9A1-4D58-BAB0-CA73C5350698}"/>
                </a:ext>
              </a:extLst>
            </p:cNvPr>
            <p:cNvSpPr/>
            <p:nvPr/>
          </p:nvSpPr>
          <p:spPr bwMode="auto">
            <a:xfrm>
              <a:off x="6418263" y="3990976"/>
              <a:ext cx="236538" cy="203200"/>
            </a:xfrm>
            <a:custGeom>
              <a:avLst/>
              <a:gdLst>
                <a:gd name="T0" fmla="*/ 171 w 172"/>
                <a:gd name="T1" fmla="*/ 144 h 147"/>
                <a:gd name="T2" fmla="*/ 2 w 172"/>
                <a:gd name="T3" fmla="*/ 0 h 147"/>
                <a:gd name="T4" fmla="*/ 1 w 172"/>
                <a:gd name="T5" fmla="*/ 1 h 147"/>
                <a:gd name="T6" fmla="*/ 167 w 172"/>
                <a:gd name="T7" fmla="*/ 145 h 147"/>
                <a:gd name="T8" fmla="*/ 171 w 172"/>
                <a:gd name="T9" fmla="*/ 144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47">
                  <a:moveTo>
                    <a:pt x="171" y="144"/>
                  </a:moveTo>
                  <a:cubicBezTo>
                    <a:pt x="134" y="81"/>
                    <a:pt x="74" y="28"/>
                    <a:pt x="2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72" y="33"/>
                    <a:pt x="129" y="82"/>
                    <a:pt x="167" y="145"/>
                  </a:cubicBezTo>
                  <a:cubicBezTo>
                    <a:pt x="168" y="147"/>
                    <a:pt x="172" y="146"/>
                    <a:pt x="171" y="14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íṡ1ïḑè">
              <a:extLst>
                <a:ext uri="{FF2B5EF4-FFF2-40B4-BE49-F238E27FC236}">
                  <a16:creationId xmlns:a16="http://schemas.microsoft.com/office/drawing/2014/main" id="{BD886A96-825E-4913-A079-B520F84F0BA1}"/>
                </a:ext>
              </a:extLst>
            </p:cNvPr>
            <p:cNvSpPr/>
            <p:nvPr/>
          </p:nvSpPr>
          <p:spPr bwMode="auto">
            <a:xfrm>
              <a:off x="6456363" y="3797301"/>
              <a:ext cx="371475" cy="263525"/>
            </a:xfrm>
            <a:custGeom>
              <a:avLst/>
              <a:gdLst>
                <a:gd name="T0" fmla="*/ 267 w 269"/>
                <a:gd name="T1" fmla="*/ 188 h 191"/>
                <a:gd name="T2" fmla="*/ 2 w 269"/>
                <a:gd name="T3" fmla="*/ 0 h 191"/>
                <a:gd name="T4" fmla="*/ 0 w 269"/>
                <a:gd name="T5" fmla="*/ 1 h 191"/>
                <a:gd name="T6" fmla="*/ 266 w 269"/>
                <a:gd name="T7" fmla="*/ 190 h 191"/>
                <a:gd name="T8" fmla="*/ 267 w 269"/>
                <a:gd name="T9" fmla="*/ 188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191">
                  <a:moveTo>
                    <a:pt x="267" y="188"/>
                  </a:moveTo>
                  <a:cubicBezTo>
                    <a:pt x="161" y="150"/>
                    <a:pt x="68" y="85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66" y="87"/>
                    <a:pt x="159" y="153"/>
                    <a:pt x="266" y="190"/>
                  </a:cubicBezTo>
                  <a:cubicBezTo>
                    <a:pt x="268" y="191"/>
                    <a:pt x="269" y="188"/>
                    <a:pt x="267" y="18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ïṧ1iďé">
              <a:extLst>
                <a:ext uri="{FF2B5EF4-FFF2-40B4-BE49-F238E27FC236}">
                  <a16:creationId xmlns:a16="http://schemas.microsoft.com/office/drawing/2014/main" id="{770BB451-3750-4F0C-AC8A-EB11FA6DB6CA}"/>
                </a:ext>
              </a:extLst>
            </p:cNvPr>
            <p:cNvSpPr/>
            <p:nvPr/>
          </p:nvSpPr>
          <p:spPr bwMode="auto">
            <a:xfrm>
              <a:off x="6632576" y="3817939"/>
              <a:ext cx="239713" cy="220663"/>
            </a:xfrm>
            <a:custGeom>
              <a:avLst/>
              <a:gdLst>
                <a:gd name="T0" fmla="*/ 173 w 174"/>
                <a:gd name="T1" fmla="*/ 157 h 160"/>
                <a:gd name="T2" fmla="*/ 2 w 174"/>
                <a:gd name="T3" fmla="*/ 0 h 160"/>
                <a:gd name="T4" fmla="*/ 1 w 174"/>
                <a:gd name="T5" fmla="*/ 2 h 160"/>
                <a:gd name="T6" fmla="*/ 170 w 174"/>
                <a:gd name="T7" fmla="*/ 159 h 160"/>
                <a:gd name="T8" fmla="*/ 173 w 174"/>
                <a:gd name="T9" fmla="*/ 15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60">
                  <a:moveTo>
                    <a:pt x="173" y="157"/>
                  </a:moveTo>
                  <a:cubicBezTo>
                    <a:pt x="132" y="94"/>
                    <a:pt x="70" y="39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70" y="43"/>
                    <a:pt x="124" y="96"/>
                    <a:pt x="170" y="159"/>
                  </a:cubicBezTo>
                  <a:cubicBezTo>
                    <a:pt x="172" y="160"/>
                    <a:pt x="174" y="159"/>
                    <a:pt x="173" y="15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iṣḻiḓe">
              <a:extLst>
                <a:ext uri="{FF2B5EF4-FFF2-40B4-BE49-F238E27FC236}">
                  <a16:creationId xmlns:a16="http://schemas.microsoft.com/office/drawing/2014/main" id="{B1B33391-9048-419B-AF0C-557C7A9E0192}"/>
                </a:ext>
              </a:extLst>
            </p:cNvPr>
            <p:cNvSpPr/>
            <p:nvPr/>
          </p:nvSpPr>
          <p:spPr bwMode="auto">
            <a:xfrm>
              <a:off x="6880226" y="4048126"/>
              <a:ext cx="31750" cy="52388"/>
            </a:xfrm>
            <a:custGeom>
              <a:avLst/>
              <a:gdLst>
                <a:gd name="T0" fmla="*/ 24 w 24"/>
                <a:gd name="T1" fmla="*/ 36 h 38"/>
                <a:gd name="T2" fmla="*/ 3 w 24"/>
                <a:gd name="T3" fmla="*/ 1 h 38"/>
                <a:gd name="T4" fmla="*/ 1 w 24"/>
                <a:gd name="T5" fmla="*/ 1 h 38"/>
                <a:gd name="T6" fmla="*/ 21 w 24"/>
                <a:gd name="T7" fmla="*/ 37 h 38"/>
                <a:gd name="T8" fmla="*/ 24 w 24"/>
                <a:gd name="T9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8">
                  <a:moveTo>
                    <a:pt x="24" y="36"/>
                  </a:moveTo>
                  <a:cubicBezTo>
                    <a:pt x="17" y="24"/>
                    <a:pt x="9" y="13"/>
                    <a:pt x="3" y="1"/>
                  </a:cubicBezTo>
                  <a:cubicBezTo>
                    <a:pt x="2" y="0"/>
                    <a:pt x="0" y="0"/>
                    <a:pt x="1" y="1"/>
                  </a:cubicBezTo>
                  <a:cubicBezTo>
                    <a:pt x="8" y="13"/>
                    <a:pt x="14" y="25"/>
                    <a:pt x="21" y="37"/>
                  </a:cubicBezTo>
                  <a:cubicBezTo>
                    <a:pt x="22" y="38"/>
                    <a:pt x="24" y="37"/>
                    <a:pt x="24" y="3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íşḻîdé">
              <a:extLst>
                <a:ext uri="{FF2B5EF4-FFF2-40B4-BE49-F238E27FC236}">
                  <a16:creationId xmlns:a16="http://schemas.microsoft.com/office/drawing/2014/main" id="{C4A191B0-5F0F-4802-AA4B-303DE3F59DF8}"/>
                </a:ext>
              </a:extLst>
            </p:cNvPr>
            <p:cNvSpPr/>
            <p:nvPr/>
          </p:nvSpPr>
          <p:spPr bwMode="auto">
            <a:xfrm>
              <a:off x="6856413" y="4102101"/>
              <a:ext cx="76200" cy="14288"/>
            </a:xfrm>
            <a:custGeom>
              <a:avLst/>
              <a:gdLst>
                <a:gd name="T0" fmla="*/ 53 w 55"/>
                <a:gd name="T1" fmla="*/ 6 h 10"/>
                <a:gd name="T2" fmla="*/ 2 w 55"/>
                <a:gd name="T3" fmla="*/ 0 h 10"/>
                <a:gd name="T4" fmla="*/ 2 w 55"/>
                <a:gd name="T5" fmla="*/ 2 h 10"/>
                <a:gd name="T6" fmla="*/ 53 w 55"/>
                <a:gd name="T7" fmla="*/ 10 h 10"/>
                <a:gd name="T8" fmla="*/ 53 w 55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10">
                  <a:moveTo>
                    <a:pt x="53" y="6"/>
                  </a:moveTo>
                  <a:cubicBezTo>
                    <a:pt x="36" y="4"/>
                    <a:pt x="19" y="2"/>
                    <a:pt x="2" y="0"/>
                  </a:cubicBezTo>
                  <a:cubicBezTo>
                    <a:pt x="0" y="0"/>
                    <a:pt x="0" y="2"/>
                    <a:pt x="2" y="2"/>
                  </a:cubicBezTo>
                  <a:cubicBezTo>
                    <a:pt x="19" y="5"/>
                    <a:pt x="36" y="8"/>
                    <a:pt x="53" y="10"/>
                  </a:cubicBezTo>
                  <a:cubicBezTo>
                    <a:pt x="55" y="10"/>
                    <a:pt x="55" y="7"/>
                    <a:pt x="53" y="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ïsḻïḋé">
              <a:extLst>
                <a:ext uri="{FF2B5EF4-FFF2-40B4-BE49-F238E27FC236}">
                  <a16:creationId xmlns:a16="http://schemas.microsoft.com/office/drawing/2014/main" id="{FEFAF543-58ED-449E-9CAF-5F7757B00688}"/>
                </a:ext>
              </a:extLst>
            </p:cNvPr>
            <p:cNvSpPr/>
            <p:nvPr/>
          </p:nvSpPr>
          <p:spPr bwMode="auto">
            <a:xfrm>
              <a:off x="6481763" y="3949701"/>
              <a:ext cx="293688" cy="215900"/>
            </a:xfrm>
            <a:custGeom>
              <a:avLst/>
              <a:gdLst>
                <a:gd name="T0" fmla="*/ 212 w 214"/>
                <a:gd name="T1" fmla="*/ 153 h 157"/>
                <a:gd name="T2" fmla="*/ 94 w 214"/>
                <a:gd name="T3" fmla="*/ 92 h 157"/>
                <a:gd name="T4" fmla="*/ 2 w 214"/>
                <a:gd name="T5" fmla="*/ 1 h 157"/>
                <a:gd name="T6" fmla="*/ 1 w 214"/>
                <a:gd name="T7" fmla="*/ 2 h 157"/>
                <a:gd name="T8" fmla="*/ 211 w 214"/>
                <a:gd name="T9" fmla="*/ 156 h 157"/>
                <a:gd name="T10" fmla="*/ 212 w 214"/>
                <a:gd name="T11" fmla="*/ 15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4" h="157">
                  <a:moveTo>
                    <a:pt x="212" y="153"/>
                  </a:moveTo>
                  <a:cubicBezTo>
                    <a:pt x="170" y="137"/>
                    <a:pt x="130" y="119"/>
                    <a:pt x="94" y="92"/>
                  </a:cubicBezTo>
                  <a:cubicBezTo>
                    <a:pt x="59" y="67"/>
                    <a:pt x="27" y="36"/>
                    <a:pt x="2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50" y="71"/>
                    <a:pt x="125" y="131"/>
                    <a:pt x="211" y="156"/>
                  </a:cubicBezTo>
                  <a:cubicBezTo>
                    <a:pt x="214" y="157"/>
                    <a:pt x="214" y="154"/>
                    <a:pt x="212" y="15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îṣḻïde">
              <a:extLst>
                <a:ext uri="{FF2B5EF4-FFF2-40B4-BE49-F238E27FC236}">
                  <a16:creationId xmlns:a16="http://schemas.microsoft.com/office/drawing/2014/main" id="{6BF8DF0C-563D-4DCF-AEA3-C6E921D74D7F}"/>
                </a:ext>
              </a:extLst>
            </p:cNvPr>
            <p:cNvSpPr/>
            <p:nvPr/>
          </p:nvSpPr>
          <p:spPr bwMode="auto">
            <a:xfrm>
              <a:off x="6626226" y="3979864"/>
              <a:ext cx="217488" cy="193675"/>
            </a:xfrm>
            <a:custGeom>
              <a:avLst/>
              <a:gdLst>
                <a:gd name="T0" fmla="*/ 157 w 158"/>
                <a:gd name="T1" fmla="*/ 138 h 141"/>
                <a:gd name="T2" fmla="*/ 108 w 158"/>
                <a:gd name="T3" fmla="*/ 88 h 141"/>
                <a:gd name="T4" fmla="*/ 141 w 158"/>
                <a:gd name="T5" fmla="*/ 93 h 141"/>
                <a:gd name="T6" fmla="*/ 141 w 158"/>
                <a:gd name="T7" fmla="*/ 89 h 141"/>
                <a:gd name="T8" fmla="*/ 119 w 158"/>
                <a:gd name="T9" fmla="*/ 85 h 141"/>
                <a:gd name="T10" fmla="*/ 118 w 158"/>
                <a:gd name="T11" fmla="*/ 84 h 141"/>
                <a:gd name="T12" fmla="*/ 2 w 158"/>
                <a:gd name="T13" fmla="*/ 1 h 141"/>
                <a:gd name="T14" fmla="*/ 1 w 158"/>
                <a:gd name="T15" fmla="*/ 2 h 141"/>
                <a:gd name="T16" fmla="*/ 114 w 158"/>
                <a:gd name="T17" fmla="*/ 84 h 141"/>
                <a:gd name="T18" fmla="*/ 91 w 158"/>
                <a:gd name="T19" fmla="*/ 80 h 141"/>
                <a:gd name="T20" fmla="*/ 90 w 158"/>
                <a:gd name="T21" fmla="*/ 85 h 141"/>
                <a:gd name="T22" fmla="*/ 150 w 158"/>
                <a:gd name="T23" fmla="*/ 135 h 141"/>
                <a:gd name="T24" fmla="*/ 100 w 158"/>
                <a:gd name="T25" fmla="*/ 123 h 141"/>
                <a:gd name="T26" fmla="*/ 99 w 158"/>
                <a:gd name="T27" fmla="*/ 125 h 141"/>
                <a:gd name="T28" fmla="*/ 154 w 158"/>
                <a:gd name="T29" fmla="*/ 141 h 141"/>
                <a:gd name="T30" fmla="*/ 157 w 158"/>
                <a:gd name="T31" fmla="*/ 13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8" h="141">
                  <a:moveTo>
                    <a:pt x="157" y="138"/>
                  </a:moveTo>
                  <a:cubicBezTo>
                    <a:pt x="147" y="117"/>
                    <a:pt x="130" y="100"/>
                    <a:pt x="108" y="88"/>
                  </a:cubicBezTo>
                  <a:cubicBezTo>
                    <a:pt x="119" y="90"/>
                    <a:pt x="130" y="92"/>
                    <a:pt x="141" y="93"/>
                  </a:cubicBezTo>
                  <a:cubicBezTo>
                    <a:pt x="144" y="93"/>
                    <a:pt x="144" y="90"/>
                    <a:pt x="141" y="89"/>
                  </a:cubicBezTo>
                  <a:cubicBezTo>
                    <a:pt x="134" y="88"/>
                    <a:pt x="126" y="86"/>
                    <a:pt x="119" y="85"/>
                  </a:cubicBezTo>
                  <a:cubicBezTo>
                    <a:pt x="119" y="84"/>
                    <a:pt x="119" y="84"/>
                    <a:pt x="118" y="84"/>
                  </a:cubicBezTo>
                  <a:cubicBezTo>
                    <a:pt x="81" y="55"/>
                    <a:pt x="41" y="28"/>
                    <a:pt x="2" y="1"/>
                  </a:cubicBezTo>
                  <a:cubicBezTo>
                    <a:pt x="1" y="0"/>
                    <a:pt x="0" y="2"/>
                    <a:pt x="1" y="2"/>
                  </a:cubicBezTo>
                  <a:cubicBezTo>
                    <a:pt x="38" y="30"/>
                    <a:pt x="75" y="58"/>
                    <a:pt x="114" y="84"/>
                  </a:cubicBezTo>
                  <a:cubicBezTo>
                    <a:pt x="106" y="83"/>
                    <a:pt x="98" y="82"/>
                    <a:pt x="91" y="80"/>
                  </a:cubicBezTo>
                  <a:cubicBezTo>
                    <a:pt x="88" y="80"/>
                    <a:pt x="87" y="84"/>
                    <a:pt x="90" y="85"/>
                  </a:cubicBezTo>
                  <a:cubicBezTo>
                    <a:pt x="116" y="94"/>
                    <a:pt x="137" y="112"/>
                    <a:pt x="150" y="135"/>
                  </a:cubicBezTo>
                  <a:cubicBezTo>
                    <a:pt x="133" y="131"/>
                    <a:pt x="117" y="127"/>
                    <a:pt x="100" y="123"/>
                  </a:cubicBezTo>
                  <a:cubicBezTo>
                    <a:pt x="98" y="122"/>
                    <a:pt x="98" y="124"/>
                    <a:pt x="99" y="125"/>
                  </a:cubicBezTo>
                  <a:cubicBezTo>
                    <a:pt x="118" y="130"/>
                    <a:pt x="136" y="136"/>
                    <a:pt x="154" y="141"/>
                  </a:cubicBezTo>
                  <a:cubicBezTo>
                    <a:pt x="156" y="141"/>
                    <a:pt x="158" y="140"/>
                    <a:pt x="157" y="13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íṩ1ïďê">
              <a:extLst>
                <a:ext uri="{FF2B5EF4-FFF2-40B4-BE49-F238E27FC236}">
                  <a16:creationId xmlns:a16="http://schemas.microsoft.com/office/drawing/2014/main" id="{049AB94C-876C-41F7-B42C-EC94E9FEB10C}"/>
                </a:ext>
              </a:extLst>
            </p:cNvPr>
            <p:cNvSpPr/>
            <p:nvPr/>
          </p:nvSpPr>
          <p:spPr bwMode="auto">
            <a:xfrm>
              <a:off x="6681788" y="3779839"/>
              <a:ext cx="406400" cy="66675"/>
            </a:xfrm>
            <a:custGeom>
              <a:avLst/>
              <a:gdLst>
                <a:gd name="T0" fmla="*/ 293 w 296"/>
                <a:gd name="T1" fmla="*/ 42 h 49"/>
                <a:gd name="T2" fmla="*/ 142 w 296"/>
                <a:gd name="T3" fmla="*/ 32 h 49"/>
                <a:gd name="T4" fmla="*/ 1 w 296"/>
                <a:gd name="T5" fmla="*/ 0 h 49"/>
                <a:gd name="T6" fmla="*/ 1 w 296"/>
                <a:gd name="T7" fmla="*/ 2 h 49"/>
                <a:gd name="T8" fmla="*/ 294 w 296"/>
                <a:gd name="T9" fmla="*/ 45 h 49"/>
                <a:gd name="T10" fmla="*/ 293 w 296"/>
                <a:gd name="T11" fmla="*/ 4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6" h="49">
                  <a:moveTo>
                    <a:pt x="293" y="42"/>
                  </a:moveTo>
                  <a:cubicBezTo>
                    <a:pt x="243" y="41"/>
                    <a:pt x="193" y="39"/>
                    <a:pt x="142" y="32"/>
                  </a:cubicBezTo>
                  <a:cubicBezTo>
                    <a:pt x="94" y="25"/>
                    <a:pt x="47" y="14"/>
                    <a:pt x="1" y="0"/>
                  </a:cubicBezTo>
                  <a:cubicBezTo>
                    <a:pt x="0" y="0"/>
                    <a:pt x="0" y="1"/>
                    <a:pt x="1" y="2"/>
                  </a:cubicBezTo>
                  <a:cubicBezTo>
                    <a:pt x="93" y="31"/>
                    <a:pt x="196" y="49"/>
                    <a:pt x="294" y="45"/>
                  </a:cubicBezTo>
                  <a:cubicBezTo>
                    <a:pt x="296" y="45"/>
                    <a:pt x="295" y="42"/>
                    <a:pt x="293" y="4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îsḷîde">
              <a:extLst>
                <a:ext uri="{FF2B5EF4-FFF2-40B4-BE49-F238E27FC236}">
                  <a16:creationId xmlns:a16="http://schemas.microsoft.com/office/drawing/2014/main" id="{55F3895E-E6BC-4202-8187-DA535C9C6C66}"/>
                </a:ext>
              </a:extLst>
            </p:cNvPr>
            <p:cNvSpPr/>
            <p:nvPr/>
          </p:nvSpPr>
          <p:spPr bwMode="auto">
            <a:xfrm>
              <a:off x="6756401" y="3673476"/>
              <a:ext cx="369888" cy="114300"/>
            </a:xfrm>
            <a:custGeom>
              <a:avLst/>
              <a:gdLst>
                <a:gd name="T0" fmla="*/ 266 w 268"/>
                <a:gd name="T1" fmla="*/ 80 h 83"/>
                <a:gd name="T2" fmla="*/ 1 w 268"/>
                <a:gd name="T3" fmla="*/ 0 h 83"/>
                <a:gd name="T4" fmla="*/ 1 w 268"/>
                <a:gd name="T5" fmla="*/ 1 h 83"/>
                <a:gd name="T6" fmla="*/ 265 w 268"/>
                <a:gd name="T7" fmla="*/ 83 h 83"/>
                <a:gd name="T8" fmla="*/ 266 w 268"/>
                <a:gd name="T9" fmla="*/ 8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83">
                  <a:moveTo>
                    <a:pt x="266" y="80"/>
                  </a:moveTo>
                  <a:cubicBezTo>
                    <a:pt x="187" y="33"/>
                    <a:pt x="95" y="6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96" y="9"/>
                    <a:pt x="184" y="37"/>
                    <a:pt x="265" y="83"/>
                  </a:cubicBezTo>
                  <a:cubicBezTo>
                    <a:pt x="266" y="83"/>
                    <a:pt x="268" y="81"/>
                    <a:pt x="266" y="8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íşlïḓe">
              <a:extLst>
                <a:ext uri="{FF2B5EF4-FFF2-40B4-BE49-F238E27FC236}">
                  <a16:creationId xmlns:a16="http://schemas.microsoft.com/office/drawing/2014/main" id="{48AA67E9-C53A-4945-9512-2BC39CDC34D8}"/>
                </a:ext>
              </a:extLst>
            </p:cNvPr>
            <p:cNvSpPr/>
            <p:nvPr/>
          </p:nvSpPr>
          <p:spPr bwMode="auto">
            <a:xfrm>
              <a:off x="7073901" y="3790951"/>
              <a:ext cx="53975" cy="23813"/>
            </a:xfrm>
            <a:custGeom>
              <a:avLst/>
              <a:gdLst>
                <a:gd name="T0" fmla="*/ 37 w 39"/>
                <a:gd name="T1" fmla="*/ 0 h 17"/>
                <a:gd name="T2" fmla="*/ 1 w 39"/>
                <a:gd name="T3" fmla="*/ 14 h 17"/>
                <a:gd name="T4" fmla="*/ 3 w 39"/>
                <a:gd name="T5" fmla="*/ 17 h 17"/>
                <a:gd name="T6" fmla="*/ 38 w 39"/>
                <a:gd name="T7" fmla="*/ 2 h 17"/>
                <a:gd name="T8" fmla="*/ 37 w 39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7">
                  <a:moveTo>
                    <a:pt x="37" y="0"/>
                  </a:moveTo>
                  <a:cubicBezTo>
                    <a:pt x="25" y="4"/>
                    <a:pt x="13" y="9"/>
                    <a:pt x="1" y="14"/>
                  </a:cubicBezTo>
                  <a:cubicBezTo>
                    <a:pt x="0" y="15"/>
                    <a:pt x="1" y="17"/>
                    <a:pt x="3" y="17"/>
                  </a:cubicBezTo>
                  <a:cubicBezTo>
                    <a:pt x="15" y="12"/>
                    <a:pt x="27" y="7"/>
                    <a:pt x="38" y="2"/>
                  </a:cubicBezTo>
                  <a:cubicBezTo>
                    <a:pt x="39" y="1"/>
                    <a:pt x="38" y="0"/>
                    <a:pt x="37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iŝľîdè">
              <a:extLst>
                <a:ext uri="{FF2B5EF4-FFF2-40B4-BE49-F238E27FC236}">
                  <a16:creationId xmlns:a16="http://schemas.microsoft.com/office/drawing/2014/main" id="{31D91AF2-9500-4EEC-ACA6-28048C61F7E8}"/>
                </a:ext>
              </a:extLst>
            </p:cNvPr>
            <p:cNvSpPr/>
            <p:nvPr/>
          </p:nvSpPr>
          <p:spPr bwMode="auto">
            <a:xfrm>
              <a:off x="7078663" y="3819526"/>
              <a:ext cx="71438" cy="36513"/>
            </a:xfrm>
            <a:custGeom>
              <a:avLst/>
              <a:gdLst>
                <a:gd name="T0" fmla="*/ 50 w 52"/>
                <a:gd name="T1" fmla="*/ 6 h 26"/>
                <a:gd name="T2" fmla="*/ 1 w 52"/>
                <a:gd name="T3" fmla="*/ 0 h 26"/>
                <a:gd name="T4" fmla="*/ 1 w 52"/>
                <a:gd name="T5" fmla="*/ 2 h 26"/>
                <a:gd name="T6" fmla="*/ 44 w 52"/>
                <a:gd name="T7" fmla="*/ 9 h 26"/>
                <a:gd name="T8" fmla="*/ 19 w 52"/>
                <a:gd name="T9" fmla="*/ 22 h 26"/>
                <a:gd name="T10" fmla="*/ 21 w 52"/>
                <a:gd name="T11" fmla="*/ 25 h 26"/>
                <a:gd name="T12" fmla="*/ 51 w 52"/>
                <a:gd name="T13" fmla="*/ 9 h 26"/>
                <a:gd name="T14" fmla="*/ 50 w 52"/>
                <a:gd name="T15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26">
                  <a:moveTo>
                    <a:pt x="50" y="6"/>
                  </a:moveTo>
                  <a:cubicBezTo>
                    <a:pt x="33" y="4"/>
                    <a:pt x="17" y="3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ubicBezTo>
                    <a:pt x="15" y="4"/>
                    <a:pt x="30" y="6"/>
                    <a:pt x="44" y="9"/>
                  </a:cubicBezTo>
                  <a:cubicBezTo>
                    <a:pt x="36" y="13"/>
                    <a:pt x="27" y="18"/>
                    <a:pt x="19" y="22"/>
                  </a:cubicBezTo>
                  <a:cubicBezTo>
                    <a:pt x="17" y="24"/>
                    <a:pt x="19" y="26"/>
                    <a:pt x="21" y="25"/>
                  </a:cubicBezTo>
                  <a:cubicBezTo>
                    <a:pt x="31" y="20"/>
                    <a:pt x="41" y="15"/>
                    <a:pt x="51" y="9"/>
                  </a:cubicBezTo>
                  <a:cubicBezTo>
                    <a:pt x="52" y="9"/>
                    <a:pt x="51" y="7"/>
                    <a:pt x="50" y="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íSļíḑè">
              <a:extLst>
                <a:ext uri="{FF2B5EF4-FFF2-40B4-BE49-F238E27FC236}">
                  <a16:creationId xmlns:a16="http://schemas.microsoft.com/office/drawing/2014/main" id="{F0BACE4F-F8EB-4099-A020-A041A5A3DC9B}"/>
                </a:ext>
              </a:extLst>
            </p:cNvPr>
            <p:cNvSpPr/>
            <p:nvPr/>
          </p:nvSpPr>
          <p:spPr bwMode="auto">
            <a:xfrm>
              <a:off x="6704013" y="3846514"/>
              <a:ext cx="342900" cy="103188"/>
            </a:xfrm>
            <a:custGeom>
              <a:avLst/>
              <a:gdLst>
                <a:gd name="T0" fmla="*/ 245 w 248"/>
                <a:gd name="T1" fmla="*/ 70 h 75"/>
                <a:gd name="T2" fmla="*/ 2 w 248"/>
                <a:gd name="T3" fmla="*/ 1 h 75"/>
                <a:gd name="T4" fmla="*/ 1 w 248"/>
                <a:gd name="T5" fmla="*/ 2 h 75"/>
                <a:gd name="T6" fmla="*/ 246 w 248"/>
                <a:gd name="T7" fmla="*/ 73 h 75"/>
                <a:gd name="T8" fmla="*/ 245 w 248"/>
                <a:gd name="T9" fmla="*/ 7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75">
                  <a:moveTo>
                    <a:pt x="245" y="70"/>
                  </a:moveTo>
                  <a:cubicBezTo>
                    <a:pt x="158" y="65"/>
                    <a:pt x="76" y="45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72" y="46"/>
                    <a:pt x="159" y="75"/>
                    <a:pt x="246" y="73"/>
                  </a:cubicBezTo>
                  <a:cubicBezTo>
                    <a:pt x="248" y="73"/>
                    <a:pt x="247" y="71"/>
                    <a:pt x="245" y="7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ï$ļîḓè">
              <a:extLst>
                <a:ext uri="{FF2B5EF4-FFF2-40B4-BE49-F238E27FC236}">
                  <a16:creationId xmlns:a16="http://schemas.microsoft.com/office/drawing/2014/main" id="{A5EED0A4-AD19-481C-81C8-48EC13FADD18}"/>
                </a:ext>
              </a:extLst>
            </p:cNvPr>
            <p:cNvSpPr/>
            <p:nvPr/>
          </p:nvSpPr>
          <p:spPr bwMode="auto">
            <a:xfrm>
              <a:off x="6892926" y="3825876"/>
              <a:ext cx="192088" cy="109538"/>
            </a:xfrm>
            <a:custGeom>
              <a:avLst/>
              <a:gdLst>
                <a:gd name="T0" fmla="*/ 137 w 139"/>
                <a:gd name="T1" fmla="*/ 76 h 79"/>
                <a:gd name="T2" fmla="*/ 2 w 139"/>
                <a:gd name="T3" fmla="*/ 1 h 79"/>
                <a:gd name="T4" fmla="*/ 1 w 139"/>
                <a:gd name="T5" fmla="*/ 3 h 79"/>
                <a:gd name="T6" fmla="*/ 135 w 139"/>
                <a:gd name="T7" fmla="*/ 78 h 79"/>
                <a:gd name="T8" fmla="*/ 137 w 139"/>
                <a:gd name="T9" fmla="*/ 7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79">
                  <a:moveTo>
                    <a:pt x="137" y="76"/>
                  </a:moveTo>
                  <a:cubicBezTo>
                    <a:pt x="93" y="50"/>
                    <a:pt x="47" y="26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46" y="28"/>
                    <a:pt x="90" y="55"/>
                    <a:pt x="135" y="78"/>
                  </a:cubicBezTo>
                  <a:cubicBezTo>
                    <a:pt x="137" y="79"/>
                    <a:pt x="139" y="77"/>
                    <a:pt x="137" y="7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iṩ1ïdê">
              <a:extLst>
                <a:ext uri="{FF2B5EF4-FFF2-40B4-BE49-F238E27FC236}">
                  <a16:creationId xmlns:a16="http://schemas.microsoft.com/office/drawing/2014/main" id="{6523DD03-A94D-4D6C-8E37-46320A4955D8}"/>
                </a:ext>
              </a:extLst>
            </p:cNvPr>
            <p:cNvSpPr/>
            <p:nvPr/>
          </p:nvSpPr>
          <p:spPr bwMode="auto">
            <a:xfrm>
              <a:off x="6457951" y="3670301"/>
              <a:ext cx="169863" cy="122238"/>
            </a:xfrm>
            <a:custGeom>
              <a:avLst/>
              <a:gdLst>
                <a:gd name="T0" fmla="*/ 121 w 123"/>
                <a:gd name="T1" fmla="*/ 86 h 88"/>
                <a:gd name="T2" fmla="*/ 4 w 123"/>
                <a:gd name="T3" fmla="*/ 1 h 88"/>
                <a:gd name="T4" fmla="*/ 2 w 123"/>
                <a:gd name="T5" fmla="*/ 4 h 88"/>
                <a:gd name="T6" fmla="*/ 120 w 123"/>
                <a:gd name="T7" fmla="*/ 87 h 88"/>
                <a:gd name="T8" fmla="*/ 121 w 123"/>
                <a:gd name="T9" fmla="*/ 8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88">
                  <a:moveTo>
                    <a:pt x="121" y="86"/>
                  </a:moveTo>
                  <a:cubicBezTo>
                    <a:pt x="82" y="58"/>
                    <a:pt x="44" y="29"/>
                    <a:pt x="4" y="1"/>
                  </a:cubicBezTo>
                  <a:cubicBezTo>
                    <a:pt x="2" y="0"/>
                    <a:pt x="0" y="2"/>
                    <a:pt x="2" y="4"/>
                  </a:cubicBezTo>
                  <a:cubicBezTo>
                    <a:pt x="41" y="32"/>
                    <a:pt x="81" y="59"/>
                    <a:pt x="120" y="87"/>
                  </a:cubicBezTo>
                  <a:cubicBezTo>
                    <a:pt x="121" y="88"/>
                    <a:pt x="123" y="87"/>
                    <a:pt x="121" y="8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ïś1ïḑè">
              <a:extLst>
                <a:ext uri="{FF2B5EF4-FFF2-40B4-BE49-F238E27FC236}">
                  <a16:creationId xmlns:a16="http://schemas.microsoft.com/office/drawing/2014/main" id="{177BDE0C-3528-4091-AAD1-8F6742BF9662}"/>
                </a:ext>
              </a:extLst>
            </p:cNvPr>
            <p:cNvSpPr/>
            <p:nvPr/>
          </p:nvSpPr>
          <p:spPr bwMode="auto">
            <a:xfrm>
              <a:off x="6848476" y="2552701"/>
              <a:ext cx="474663" cy="334963"/>
            </a:xfrm>
            <a:custGeom>
              <a:avLst/>
              <a:gdLst>
                <a:gd name="T0" fmla="*/ 342 w 344"/>
                <a:gd name="T1" fmla="*/ 14 h 243"/>
                <a:gd name="T2" fmla="*/ 333 w 344"/>
                <a:gd name="T3" fmla="*/ 1 h 243"/>
                <a:gd name="T4" fmla="*/ 329 w 344"/>
                <a:gd name="T5" fmla="*/ 1 h 243"/>
                <a:gd name="T6" fmla="*/ 1 w 344"/>
                <a:gd name="T7" fmla="*/ 241 h 243"/>
                <a:gd name="T8" fmla="*/ 3 w 344"/>
                <a:gd name="T9" fmla="*/ 242 h 243"/>
                <a:gd name="T10" fmla="*/ 182 w 344"/>
                <a:gd name="T11" fmla="*/ 131 h 243"/>
                <a:gd name="T12" fmla="*/ 262 w 344"/>
                <a:gd name="T13" fmla="*/ 68 h 243"/>
                <a:gd name="T14" fmla="*/ 301 w 344"/>
                <a:gd name="T15" fmla="*/ 34 h 243"/>
                <a:gd name="T16" fmla="*/ 322 w 344"/>
                <a:gd name="T17" fmla="*/ 15 h 243"/>
                <a:gd name="T18" fmla="*/ 338 w 344"/>
                <a:gd name="T19" fmla="*/ 17 h 243"/>
                <a:gd name="T20" fmla="*/ 342 w 344"/>
                <a:gd name="T21" fmla="*/ 14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4" h="243">
                  <a:moveTo>
                    <a:pt x="342" y="14"/>
                  </a:moveTo>
                  <a:cubicBezTo>
                    <a:pt x="339" y="10"/>
                    <a:pt x="336" y="5"/>
                    <a:pt x="333" y="1"/>
                  </a:cubicBezTo>
                  <a:cubicBezTo>
                    <a:pt x="332" y="0"/>
                    <a:pt x="330" y="0"/>
                    <a:pt x="329" y="1"/>
                  </a:cubicBezTo>
                  <a:cubicBezTo>
                    <a:pt x="230" y="95"/>
                    <a:pt x="121" y="174"/>
                    <a:pt x="1" y="241"/>
                  </a:cubicBezTo>
                  <a:cubicBezTo>
                    <a:pt x="0" y="241"/>
                    <a:pt x="2" y="243"/>
                    <a:pt x="3" y="242"/>
                  </a:cubicBezTo>
                  <a:cubicBezTo>
                    <a:pt x="65" y="210"/>
                    <a:pt x="125" y="172"/>
                    <a:pt x="182" y="131"/>
                  </a:cubicBezTo>
                  <a:cubicBezTo>
                    <a:pt x="209" y="111"/>
                    <a:pt x="236" y="90"/>
                    <a:pt x="262" y="68"/>
                  </a:cubicBezTo>
                  <a:cubicBezTo>
                    <a:pt x="275" y="57"/>
                    <a:pt x="288" y="46"/>
                    <a:pt x="301" y="34"/>
                  </a:cubicBezTo>
                  <a:cubicBezTo>
                    <a:pt x="307" y="28"/>
                    <a:pt x="314" y="19"/>
                    <a:pt x="322" y="15"/>
                  </a:cubicBezTo>
                  <a:cubicBezTo>
                    <a:pt x="331" y="10"/>
                    <a:pt x="330" y="6"/>
                    <a:pt x="338" y="17"/>
                  </a:cubicBezTo>
                  <a:cubicBezTo>
                    <a:pt x="340" y="19"/>
                    <a:pt x="344" y="17"/>
                    <a:pt x="342" y="1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íŝḷïḓè">
              <a:extLst>
                <a:ext uri="{FF2B5EF4-FFF2-40B4-BE49-F238E27FC236}">
                  <a16:creationId xmlns:a16="http://schemas.microsoft.com/office/drawing/2014/main" id="{2934646F-EC14-497C-8678-8514F89F221A}"/>
                </a:ext>
              </a:extLst>
            </p:cNvPr>
            <p:cNvSpPr/>
            <p:nvPr/>
          </p:nvSpPr>
          <p:spPr bwMode="auto">
            <a:xfrm>
              <a:off x="6807201" y="2578101"/>
              <a:ext cx="555625" cy="498475"/>
            </a:xfrm>
            <a:custGeom>
              <a:avLst/>
              <a:gdLst>
                <a:gd name="T0" fmla="*/ 378 w 403"/>
                <a:gd name="T1" fmla="*/ 1 h 363"/>
                <a:gd name="T2" fmla="*/ 376 w 403"/>
                <a:gd name="T3" fmla="*/ 2 h 363"/>
                <a:gd name="T4" fmla="*/ 336 w 403"/>
                <a:gd name="T5" fmla="*/ 140 h 363"/>
                <a:gd name="T6" fmla="*/ 240 w 403"/>
                <a:gd name="T7" fmla="*/ 236 h 363"/>
                <a:gd name="T8" fmla="*/ 3 w 403"/>
                <a:gd name="T9" fmla="*/ 357 h 363"/>
                <a:gd name="T10" fmla="*/ 6 w 403"/>
                <a:gd name="T11" fmla="*/ 362 h 363"/>
                <a:gd name="T12" fmla="*/ 265 w 403"/>
                <a:gd name="T13" fmla="*/ 221 h 363"/>
                <a:gd name="T14" fmla="*/ 361 w 403"/>
                <a:gd name="T15" fmla="*/ 113 h 363"/>
                <a:gd name="T16" fmla="*/ 378 w 403"/>
                <a:gd name="T17" fmla="*/ 1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3" h="363">
                  <a:moveTo>
                    <a:pt x="378" y="1"/>
                  </a:moveTo>
                  <a:cubicBezTo>
                    <a:pt x="377" y="0"/>
                    <a:pt x="376" y="0"/>
                    <a:pt x="376" y="2"/>
                  </a:cubicBezTo>
                  <a:cubicBezTo>
                    <a:pt x="403" y="50"/>
                    <a:pt x="366" y="102"/>
                    <a:pt x="336" y="140"/>
                  </a:cubicBezTo>
                  <a:cubicBezTo>
                    <a:pt x="308" y="175"/>
                    <a:pt x="275" y="208"/>
                    <a:pt x="240" y="236"/>
                  </a:cubicBezTo>
                  <a:cubicBezTo>
                    <a:pt x="170" y="293"/>
                    <a:pt x="90" y="333"/>
                    <a:pt x="3" y="357"/>
                  </a:cubicBezTo>
                  <a:cubicBezTo>
                    <a:pt x="0" y="358"/>
                    <a:pt x="2" y="363"/>
                    <a:pt x="6" y="362"/>
                  </a:cubicBezTo>
                  <a:cubicBezTo>
                    <a:pt x="101" y="335"/>
                    <a:pt x="191" y="286"/>
                    <a:pt x="265" y="221"/>
                  </a:cubicBezTo>
                  <a:cubicBezTo>
                    <a:pt x="300" y="189"/>
                    <a:pt x="334" y="153"/>
                    <a:pt x="361" y="113"/>
                  </a:cubicBezTo>
                  <a:cubicBezTo>
                    <a:pt x="383" y="81"/>
                    <a:pt x="402" y="37"/>
                    <a:pt x="378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5" name="ïšľîḑê">
              <a:extLst>
                <a:ext uri="{FF2B5EF4-FFF2-40B4-BE49-F238E27FC236}">
                  <a16:creationId xmlns:a16="http://schemas.microsoft.com/office/drawing/2014/main" id="{232E3AF0-B15E-4D00-9997-9F8A2022307A}"/>
                </a:ext>
              </a:extLst>
            </p:cNvPr>
            <p:cNvSpPr/>
            <p:nvPr/>
          </p:nvSpPr>
          <p:spPr bwMode="auto">
            <a:xfrm>
              <a:off x="6764338" y="2809876"/>
              <a:ext cx="585788" cy="333375"/>
            </a:xfrm>
            <a:custGeom>
              <a:avLst/>
              <a:gdLst>
                <a:gd name="T0" fmla="*/ 418 w 426"/>
                <a:gd name="T1" fmla="*/ 3 h 242"/>
                <a:gd name="T2" fmla="*/ 414 w 426"/>
                <a:gd name="T3" fmla="*/ 1 h 242"/>
                <a:gd name="T4" fmla="*/ 288 w 426"/>
                <a:gd name="T5" fmla="*/ 64 h 242"/>
                <a:gd name="T6" fmla="*/ 289 w 426"/>
                <a:gd name="T7" fmla="*/ 66 h 242"/>
                <a:gd name="T8" fmla="*/ 347 w 426"/>
                <a:gd name="T9" fmla="*/ 39 h 242"/>
                <a:gd name="T10" fmla="*/ 382 w 426"/>
                <a:gd name="T11" fmla="*/ 22 h 242"/>
                <a:gd name="T12" fmla="*/ 412 w 426"/>
                <a:gd name="T13" fmla="*/ 10 h 242"/>
                <a:gd name="T14" fmla="*/ 417 w 426"/>
                <a:gd name="T15" fmla="*/ 47 h 242"/>
                <a:gd name="T16" fmla="*/ 410 w 426"/>
                <a:gd name="T17" fmla="*/ 86 h 242"/>
                <a:gd name="T18" fmla="*/ 352 w 426"/>
                <a:gd name="T19" fmla="*/ 125 h 242"/>
                <a:gd name="T20" fmla="*/ 350 w 426"/>
                <a:gd name="T21" fmla="*/ 129 h 242"/>
                <a:gd name="T22" fmla="*/ 345 w 426"/>
                <a:gd name="T23" fmla="*/ 147 h 242"/>
                <a:gd name="T24" fmla="*/ 324 w 426"/>
                <a:gd name="T25" fmla="*/ 159 h 242"/>
                <a:gd name="T26" fmla="*/ 281 w 426"/>
                <a:gd name="T27" fmla="*/ 180 h 242"/>
                <a:gd name="T28" fmla="*/ 195 w 426"/>
                <a:gd name="T29" fmla="*/ 207 h 242"/>
                <a:gd name="T30" fmla="*/ 3 w 426"/>
                <a:gd name="T31" fmla="*/ 212 h 242"/>
                <a:gd name="T32" fmla="*/ 3 w 426"/>
                <a:gd name="T33" fmla="*/ 217 h 242"/>
                <a:gd name="T34" fmla="*/ 363 w 426"/>
                <a:gd name="T35" fmla="*/ 143 h 242"/>
                <a:gd name="T36" fmla="*/ 364 w 426"/>
                <a:gd name="T37" fmla="*/ 139 h 242"/>
                <a:gd name="T38" fmla="*/ 358 w 426"/>
                <a:gd name="T39" fmla="*/ 131 h 242"/>
                <a:gd name="T40" fmla="*/ 411 w 426"/>
                <a:gd name="T41" fmla="*/ 96 h 242"/>
                <a:gd name="T42" fmla="*/ 418 w 426"/>
                <a:gd name="T43" fmla="*/ 3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6" h="242">
                  <a:moveTo>
                    <a:pt x="418" y="3"/>
                  </a:moveTo>
                  <a:cubicBezTo>
                    <a:pt x="418" y="1"/>
                    <a:pt x="416" y="0"/>
                    <a:pt x="414" y="1"/>
                  </a:cubicBezTo>
                  <a:cubicBezTo>
                    <a:pt x="372" y="22"/>
                    <a:pt x="330" y="43"/>
                    <a:pt x="288" y="64"/>
                  </a:cubicBezTo>
                  <a:cubicBezTo>
                    <a:pt x="287" y="65"/>
                    <a:pt x="289" y="66"/>
                    <a:pt x="289" y="66"/>
                  </a:cubicBezTo>
                  <a:cubicBezTo>
                    <a:pt x="309" y="57"/>
                    <a:pt x="328" y="48"/>
                    <a:pt x="347" y="39"/>
                  </a:cubicBezTo>
                  <a:cubicBezTo>
                    <a:pt x="358" y="33"/>
                    <a:pt x="370" y="28"/>
                    <a:pt x="382" y="22"/>
                  </a:cubicBezTo>
                  <a:cubicBezTo>
                    <a:pt x="389" y="19"/>
                    <a:pt x="407" y="6"/>
                    <a:pt x="412" y="10"/>
                  </a:cubicBezTo>
                  <a:cubicBezTo>
                    <a:pt x="418" y="13"/>
                    <a:pt x="417" y="43"/>
                    <a:pt x="417" y="47"/>
                  </a:cubicBezTo>
                  <a:cubicBezTo>
                    <a:pt x="417" y="60"/>
                    <a:pt x="415" y="74"/>
                    <a:pt x="410" y="86"/>
                  </a:cubicBezTo>
                  <a:cubicBezTo>
                    <a:pt x="400" y="110"/>
                    <a:pt x="379" y="127"/>
                    <a:pt x="352" y="125"/>
                  </a:cubicBezTo>
                  <a:cubicBezTo>
                    <a:pt x="349" y="125"/>
                    <a:pt x="349" y="128"/>
                    <a:pt x="350" y="129"/>
                  </a:cubicBezTo>
                  <a:cubicBezTo>
                    <a:pt x="357" y="139"/>
                    <a:pt x="354" y="141"/>
                    <a:pt x="345" y="147"/>
                  </a:cubicBezTo>
                  <a:cubicBezTo>
                    <a:pt x="338" y="151"/>
                    <a:pt x="331" y="155"/>
                    <a:pt x="324" y="159"/>
                  </a:cubicBezTo>
                  <a:cubicBezTo>
                    <a:pt x="310" y="167"/>
                    <a:pt x="295" y="174"/>
                    <a:pt x="281" y="180"/>
                  </a:cubicBezTo>
                  <a:cubicBezTo>
                    <a:pt x="253" y="191"/>
                    <a:pt x="224" y="201"/>
                    <a:pt x="195" y="207"/>
                  </a:cubicBezTo>
                  <a:cubicBezTo>
                    <a:pt x="131" y="221"/>
                    <a:pt x="68" y="220"/>
                    <a:pt x="3" y="212"/>
                  </a:cubicBezTo>
                  <a:cubicBezTo>
                    <a:pt x="0" y="212"/>
                    <a:pt x="0" y="216"/>
                    <a:pt x="3" y="217"/>
                  </a:cubicBezTo>
                  <a:cubicBezTo>
                    <a:pt x="125" y="242"/>
                    <a:pt x="260" y="210"/>
                    <a:pt x="363" y="143"/>
                  </a:cubicBezTo>
                  <a:cubicBezTo>
                    <a:pt x="365" y="142"/>
                    <a:pt x="364" y="140"/>
                    <a:pt x="364" y="139"/>
                  </a:cubicBezTo>
                  <a:cubicBezTo>
                    <a:pt x="362" y="136"/>
                    <a:pt x="360" y="133"/>
                    <a:pt x="358" y="131"/>
                  </a:cubicBezTo>
                  <a:cubicBezTo>
                    <a:pt x="380" y="130"/>
                    <a:pt x="400" y="116"/>
                    <a:pt x="411" y="96"/>
                  </a:cubicBezTo>
                  <a:cubicBezTo>
                    <a:pt x="426" y="68"/>
                    <a:pt x="422" y="34"/>
                    <a:pt x="418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6" name="ísľíḓê">
              <a:extLst>
                <a:ext uri="{FF2B5EF4-FFF2-40B4-BE49-F238E27FC236}">
                  <a16:creationId xmlns:a16="http://schemas.microsoft.com/office/drawing/2014/main" id="{78D3EA5F-6EA6-4D04-A756-F65EFF74203E}"/>
                </a:ext>
              </a:extLst>
            </p:cNvPr>
            <p:cNvSpPr/>
            <p:nvPr/>
          </p:nvSpPr>
          <p:spPr bwMode="auto">
            <a:xfrm>
              <a:off x="6796088" y="3154364"/>
              <a:ext cx="520700" cy="107950"/>
            </a:xfrm>
            <a:custGeom>
              <a:avLst/>
              <a:gdLst>
                <a:gd name="T0" fmla="*/ 374 w 377"/>
                <a:gd name="T1" fmla="*/ 0 h 79"/>
                <a:gd name="T2" fmla="*/ 220 w 377"/>
                <a:gd name="T3" fmla="*/ 23 h 79"/>
                <a:gd name="T4" fmla="*/ 220 w 377"/>
                <a:gd name="T5" fmla="*/ 25 h 79"/>
                <a:gd name="T6" fmla="*/ 293 w 377"/>
                <a:gd name="T7" fmla="*/ 15 h 79"/>
                <a:gd name="T8" fmla="*/ 334 w 377"/>
                <a:gd name="T9" fmla="*/ 10 h 79"/>
                <a:gd name="T10" fmla="*/ 367 w 377"/>
                <a:gd name="T11" fmla="*/ 5 h 79"/>
                <a:gd name="T12" fmla="*/ 345 w 377"/>
                <a:gd name="T13" fmla="*/ 17 h 79"/>
                <a:gd name="T14" fmla="*/ 313 w 377"/>
                <a:gd name="T15" fmla="*/ 31 h 79"/>
                <a:gd name="T16" fmla="*/ 254 w 377"/>
                <a:gd name="T17" fmla="*/ 48 h 79"/>
                <a:gd name="T18" fmla="*/ 4 w 377"/>
                <a:gd name="T19" fmla="*/ 9 h 79"/>
                <a:gd name="T20" fmla="*/ 3 w 377"/>
                <a:gd name="T21" fmla="*/ 14 h 79"/>
                <a:gd name="T22" fmla="*/ 375 w 377"/>
                <a:gd name="T23" fmla="*/ 4 h 79"/>
                <a:gd name="T24" fmla="*/ 374 w 377"/>
                <a:gd name="T2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7" h="79">
                  <a:moveTo>
                    <a:pt x="374" y="0"/>
                  </a:moveTo>
                  <a:cubicBezTo>
                    <a:pt x="323" y="8"/>
                    <a:pt x="271" y="15"/>
                    <a:pt x="220" y="23"/>
                  </a:cubicBezTo>
                  <a:cubicBezTo>
                    <a:pt x="218" y="23"/>
                    <a:pt x="219" y="25"/>
                    <a:pt x="220" y="25"/>
                  </a:cubicBezTo>
                  <a:cubicBezTo>
                    <a:pt x="244" y="22"/>
                    <a:pt x="269" y="19"/>
                    <a:pt x="293" y="15"/>
                  </a:cubicBezTo>
                  <a:cubicBezTo>
                    <a:pt x="307" y="13"/>
                    <a:pt x="320" y="12"/>
                    <a:pt x="334" y="10"/>
                  </a:cubicBezTo>
                  <a:cubicBezTo>
                    <a:pt x="342" y="9"/>
                    <a:pt x="360" y="3"/>
                    <a:pt x="367" y="5"/>
                  </a:cubicBezTo>
                  <a:cubicBezTo>
                    <a:pt x="365" y="4"/>
                    <a:pt x="350" y="14"/>
                    <a:pt x="345" y="17"/>
                  </a:cubicBezTo>
                  <a:cubicBezTo>
                    <a:pt x="334" y="22"/>
                    <a:pt x="324" y="27"/>
                    <a:pt x="313" y="31"/>
                  </a:cubicBezTo>
                  <a:cubicBezTo>
                    <a:pt x="294" y="39"/>
                    <a:pt x="274" y="44"/>
                    <a:pt x="254" y="48"/>
                  </a:cubicBezTo>
                  <a:cubicBezTo>
                    <a:pt x="168" y="66"/>
                    <a:pt x="80" y="52"/>
                    <a:pt x="4" y="9"/>
                  </a:cubicBezTo>
                  <a:cubicBezTo>
                    <a:pt x="1" y="8"/>
                    <a:pt x="0" y="12"/>
                    <a:pt x="3" y="14"/>
                  </a:cubicBezTo>
                  <a:cubicBezTo>
                    <a:pt x="116" y="79"/>
                    <a:pt x="266" y="76"/>
                    <a:pt x="375" y="4"/>
                  </a:cubicBezTo>
                  <a:cubicBezTo>
                    <a:pt x="377" y="3"/>
                    <a:pt x="376" y="0"/>
                    <a:pt x="374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íṥlïḓè">
              <a:extLst>
                <a:ext uri="{FF2B5EF4-FFF2-40B4-BE49-F238E27FC236}">
                  <a16:creationId xmlns:a16="http://schemas.microsoft.com/office/drawing/2014/main" id="{0EBD768A-9006-409B-BFF7-9353E9889BE2}"/>
                </a:ext>
              </a:extLst>
            </p:cNvPr>
            <p:cNvSpPr/>
            <p:nvPr/>
          </p:nvSpPr>
          <p:spPr bwMode="auto">
            <a:xfrm>
              <a:off x="6762751" y="3263901"/>
              <a:ext cx="412750" cy="171450"/>
            </a:xfrm>
            <a:custGeom>
              <a:avLst/>
              <a:gdLst>
                <a:gd name="T0" fmla="*/ 298 w 300"/>
                <a:gd name="T1" fmla="*/ 109 h 124"/>
                <a:gd name="T2" fmla="*/ 191 w 300"/>
                <a:gd name="T3" fmla="*/ 82 h 124"/>
                <a:gd name="T4" fmla="*/ 190 w 300"/>
                <a:gd name="T5" fmla="*/ 84 h 124"/>
                <a:gd name="T6" fmla="*/ 252 w 300"/>
                <a:gd name="T7" fmla="*/ 100 h 124"/>
                <a:gd name="T8" fmla="*/ 274 w 300"/>
                <a:gd name="T9" fmla="*/ 106 h 124"/>
                <a:gd name="T10" fmla="*/ 287 w 300"/>
                <a:gd name="T11" fmla="*/ 110 h 124"/>
                <a:gd name="T12" fmla="*/ 284 w 300"/>
                <a:gd name="T13" fmla="*/ 110 h 124"/>
                <a:gd name="T14" fmla="*/ 183 w 300"/>
                <a:gd name="T15" fmla="*/ 101 h 124"/>
                <a:gd name="T16" fmla="*/ 6 w 300"/>
                <a:gd name="T17" fmla="*/ 2 h 124"/>
                <a:gd name="T18" fmla="*/ 2 w 300"/>
                <a:gd name="T19" fmla="*/ 6 h 124"/>
                <a:gd name="T20" fmla="*/ 298 w 300"/>
                <a:gd name="T21" fmla="*/ 113 h 124"/>
                <a:gd name="T22" fmla="*/ 298 w 300"/>
                <a:gd name="T23" fmla="*/ 10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0" h="124">
                  <a:moveTo>
                    <a:pt x="298" y="109"/>
                  </a:moveTo>
                  <a:cubicBezTo>
                    <a:pt x="262" y="100"/>
                    <a:pt x="226" y="91"/>
                    <a:pt x="191" y="82"/>
                  </a:cubicBezTo>
                  <a:cubicBezTo>
                    <a:pt x="189" y="81"/>
                    <a:pt x="189" y="84"/>
                    <a:pt x="190" y="84"/>
                  </a:cubicBezTo>
                  <a:cubicBezTo>
                    <a:pt x="211" y="90"/>
                    <a:pt x="231" y="95"/>
                    <a:pt x="252" y="100"/>
                  </a:cubicBezTo>
                  <a:cubicBezTo>
                    <a:pt x="274" y="106"/>
                    <a:pt x="274" y="106"/>
                    <a:pt x="274" y="106"/>
                  </a:cubicBezTo>
                  <a:cubicBezTo>
                    <a:pt x="278" y="107"/>
                    <a:pt x="283" y="109"/>
                    <a:pt x="287" y="110"/>
                  </a:cubicBezTo>
                  <a:cubicBezTo>
                    <a:pt x="286" y="110"/>
                    <a:pt x="285" y="110"/>
                    <a:pt x="284" y="110"/>
                  </a:cubicBezTo>
                  <a:cubicBezTo>
                    <a:pt x="251" y="114"/>
                    <a:pt x="215" y="109"/>
                    <a:pt x="183" y="101"/>
                  </a:cubicBezTo>
                  <a:cubicBezTo>
                    <a:pt x="115" y="85"/>
                    <a:pt x="56" y="50"/>
                    <a:pt x="6" y="2"/>
                  </a:cubicBezTo>
                  <a:cubicBezTo>
                    <a:pt x="3" y="0"/>
                    <a:pt x="0" y="3"/>
                    <a:pt x="2" y="6"/>
                  </a:cubicBezTo>
                  <a:cubicBezTo>
                    <a:pt x="77" y="84"/>
                    <a:pt x="191" y="124"/>
                    <a:pt x="298" y="113"/>
                  </a:cubicBezTo>
                  <a:cubicBezTo>
                    <a:pt x="300" y="112"/>
                    <a:pt x="299" y="110"/>
                    <a:pt x="298" y="10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ïśḷíḓê">
              <a:extLst>
                <a:ext uri="{FF2B5EF4-FFF2-40B4-BE49-F238E27FC236}">
                  <a16:creationId xmlns:a16="http://schemas.microsoft.com/office/drawing/2014/main" id="{38C567AE-28ED-4FA4-B893-EA701A16EB56}"/>
                </a:ext>
              </a:extLst>
            </p:cNvPr>
            <p:cNvSpPr/>
            <p:nvPr/>
          </p:nvSpPr>
          <p:spPr bwMode="auto">
            <a:xfrm>
              <a:off x="7051676" y="3228976"/>
              <a:ext cx="222250" cy="84138"/>
            </a:xfrm>
            <a:custGeom>
              <a:avLst/>
              <a:gdLst>
                <a:gd name="T0" fmla="*/ 157 w 161"/>
                <a:gd name="T1" fmla="*/ 0 h 61"/>
                <a:gd name="T2" fmla="*/ 75 w 161"/>
                <a:gd name="T3" fmla="*/ 2 h 61"/>
                <a:gd name="T4" fmla="*/ 76 w 161"/>
                <a:gd name="T5" fmla="*/ 6 h 61"/>
                <a:gd name="T6" fmla="*/ 149 w 161"/>
                <a:gd name="T7" fmla="*/ 5 h 61"/>
                <a:gd name="T8" fmla="*/ 1 w 161"/>
                <a:gd name="T9" fmla="*/ 59 h 61"/>
                <a:gd name="T10" fmla="*/ 2 w 161"/>
                <a:gd name="T11" fmla="*/ 61 h 61"/>
                <a:gd name="T12" fmla="*/ 159 w 161"/>
                <a:gd name="T13" fmla="*/ 4 h 61"/>
                <a:gd name="T14" fmla="*/ 157 w 161"/>
                <a:gd name="T1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1" h="61">
                  <a:moveTo>
                    <a:pt x="157" y="0"/>
                  </a:moveTo>
                  <a:cubicBezTo>
                    <a:pt x="130" y="1"/>
                    <a:pt x="103" y="1"/>
                    <a:pt x="75" y="2"/>
                  </a:cubicBezTo>
                  <a:cubicBezTo>
                    <a:pt x="72" y="2"/>
                    <a:pt x="73" y="7"/>
                    <a:pt x="76" y="6"/>
                  </a:cubicBezTo>
                  <a:cubicBezTo>
                    <a:pt x="101" y="6"/>
                    <a:pt x="125" y="5"/>
                    <a:pt x="149" y="5"/>
                  </a:cubicBezTo>
                  <a:cubicBezTo>
                    <a:pt x="104" y="33"/>
                    <a:pt x="54" y="51"/>
                    <a:pt x="1" y="59"/>
                  </a:cubicBezTo>
                  <a:cubicBezTo>
                    <a:pt x="0" y="59"/>
                    <a:pt x="0" y="61"/>
                    <a:pt x="2" y="61"/>
                  </a:cubicBezTo>
                  <a:cubicBezTo>
                    <a:pt x="58" y="55"/>
                    <a:pt x="111" y="35"/>
                    <a:pt x="159" y="4"/>
                  </a:cubicBezTo>
                  <a:cubicBezTo>
                    <a:pt x="161" y="3"/>
                    <a:pt x="159" y="0"/>
                    <a:pt x="157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íṥľídê">
              <a:extLst>
                <a:ext uri="{FF2B5EF4-FFF2-40B4-BE49-F238E27FC236}">
                  <a16:creationId xmlns:a16="http://schemas.microsoft.com/office/drawing/2014/main" id="{C84EC24C-1D71-4F25-875E-E669D8E685AC}"/>
                </a:ext>
              </a:extLst>
            </p:cNvPr>
            <p:cNvSpPr/>
            <p:nvPr/>
          </p:nvSpPr>
          <p:spPr bwMode="auto">
            <a:xfrm>
              <a:off x="7099301" y="3033714"/>
              <a:ext cx="217488" cy="128588"/>
            </a:xfrm>
            <a:custGeom>
              <a:avLst/>
              <a:gdLst>
                <a:gd name="T0" fmla="*/ 156 w 158"/>
                <a:gd name="T1" fmla="*/ 23 h 94"/>
                <a:gd name="T2" fmla="*/ 2 w 158"/>
                <a:gd name="T3" fmla="*/ 51 h 94"/>
                <a:gd name="T4" fmla="*/ 5 w 158"/>
                <a:gd name="T5" fmla="*/ 53 h 94"/>
                <a:gd name="T6" fmla="*/ 120 w 158"/>
                <a:gd name="T7" fmla="*/ 16 h 94"/>
                <a:gd name="T8" fmla="*/ 149 w 158"/>
                <a:gd name="T9" fmla="*/ 23 h 94"/>
                <a:gd name="T10" fmla="*/ 131 w 158"/>
                <a:gd name="T11" fmla="*/ 44 h 94"/>
                <a:gd name="T12" fmla="*/ 80 w 158"/>
                <a:gd name="T13" fmla="*/ 92 h 94"/>
                <a:gd name="T14" fmla="*/ 82 w 158"/>
                <a:gd name="T15" fmla="*/ 94 h 94"/>
                <a:gd name="T16" fmla="*/ 157 w 158"/>
                <a:gd name="T17" fmla="*/ 25 h 94"/>
                <a:gd name="T18" fmla="*/ 156 w 158"/>
                <a:gd name="T19" fmla="*/ 2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94">
                  <a:moveTo>
                    <a:pt x="156" y="23"/>
                  </a:moveTo>
                  <a:cubicBezTo>
                    <a:pt x="104" y="0"/>
                    <a:pt x="43" y="12"/>
                    <a:pt x="2" y="51"/>
                  </a:cubicBezTo>
                  <a:cubicBezTo>
                    <a:pt x="0" y="52"/>
                    <a:pt x="3" y="55"/>
                    <a:pt x="5" y="53"/>
                  </a:cubicBezTo>
                  <a:cubicBezTo>
                    <a:pt x="36" y="25"/>
                    <a:pt x="78" y="10"/>
                    <a:pt x="120" y="16"/>
                  </a:cubicBezTo>
                  <a:cubicBezTo>
                    <a:pt x="125" y="17"/>
                    <a:pt x="148" y="20"/>
                    <a:pt x="149" y="23"/>
                  </a:cubicBezTo>
                  <a:cubicBezTo>
                    <a:pt x="152" y="30"/>
                    <a:pt x="135" y="40"/>
                    <a:pt x="131" y="44"/>
                  </a:cubicBezTo>
                  <a:cubicBezTo>
                    <a:pt x="114" y="60"/>
                    <a:pt x="97" y="76"/>
                    <a:pt x="80" y="92"/>
                  </a:cubicBezTo>
                  <a:cubicBezTo>
                    <a:pt x="79" y="93"/>
                    <a:pt x="81" y="94"/>
                    <a:pt x="82" y="94"/>
                  </a:cubicBezTo>
                  <a:cubicBezTo>
                    <a:pt x="107" y="71"/>
                    <a:pt x="132" y="48"/>
                    <a:pt x="157" y="25"/>
                  </a:cubicBezTo>
                  <a:cubicBezTo>
                    <a:pt x="158" y="25"/>
                    <a:pt x="157" y="23"/>
                    <a:pt x="156" y="2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îšľíďê">
              <a:extLst>
                <a:ext uri="{FF2B5EF4-FFF2-40B4-BE49-F238E27FC236}">
                  <a16:creationId xmlns:a16="http://schemas.microsoft.com/office/drawing/2014/main" id="{D4F4A4D7-35B3-44A5-B64D-C1994C0AA85C}"/>
                </a:ext>
              </a:extLst>
            </p:cNvPr>
            <p:cNvSpPr/>
            <p:nvPr/>
          </p:nvSpPr>
          <p:spPr bwMode="auto">
            <a:xfrm>
              <a:off x="6854826" y="3503614"/>
              <a:ext cx="309563" cy="46038"/>
            </a:xfrm>
            <a:custGeom>
              <a:avLst/>
              <a:gdLst>
                <a:gd name="T0" fmla="*/ 222 w 225"/>
                <a:gd name="T1" fmla="*/ 18 h 34"/>
                <a:gd name="T2" fmla="*/ 2 w 225"/>
                <a:gd name="T3" fmla="*/ 0 h 34"/>
                <a:gd name="T4" fmla="*/ 2 w 225"/>
                <a:gd name="T5" fmla="*/ 2 h 34"/>
                <a:gd name="T6" fmla="*/ 223 w 225"/>
                <a:gd name="T7" fmla="*/ 21 h 34"/>
                <a:gd name="T8" fmla="*/ 222 w 225"/>
                <a:gd name="T9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34">
                  <a:moveTo>
                    <a:pt x="222" y="18"/>
                  </a:moveTo>
                  <a:cubicBezTo>
                    <a:pt x="147" y="26"/>
                    <a:pt x="74" y="23"/>
                    <a:pt x="2" y="0"/>
                  </a:cubicBezTo>
                  <a:cubicBezTo>
                    <a:pt x="0" y="0"/>
                    <a:pt x="0" y="2"/>
                    <a:pt x="2" y="2"/>
                  </a:cubicBezTo>
                  <a:cubicBezTo>
                    <a:pt x="72" y="25"/>
                    <a:pt x="150" y="34"/>
                    <a:pt x="223" y="21"/>
                  </a:cubicBezTo>
                  <a:cubicBezTo>
                    <a:pt x="225" y="21"/>
                    <a:pt x="224" y="18"/>
                    <a:pt x="222" y="1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iṡḻiḑê">
              <a:extLst>
                <a:ext uri="{FF2B5EF4-FFF2-40B4-BE49-F238E27FC236}">
                  <a16:creationId xmlns:a16="http://schemas.microsoft.com/office/drawing/2014/main" id="{B955C67D-ACDE-4FB2-986A-04344BAAB320}"/>
                </a:ext>
              </a:extLst>
            </p:cNvPr>
            <p:cNvSpPr/>
            <p:nvPr/>
          </p:nvSpPr>
          <p:spPr bwMode="auto">
            <a:xfrm>
              <a:off x="6794501" y="3633789"/>
              <a:ext cx="322263" cy="50800"/>
            </a:xfrm>
            <a:custGeom>
              <a:avLst/>
              <a:gdLst>
                <a:gd name="T0" fmla="*/ 230 w 234"/>
                <a:gd name="T1" fmla="*/ 1 h 37"/>
                <a:gd name="T2" fmla="*/ 2 w 234"/>
                <a:gd name="T3" fmla="*/ 4 h 37"/>
                <a:gd name="T4" fmla="*/ 1 w 234"/>
                <a:gd name="T5" fmla="*/ 6 h 37"/>
                <a:gd name="T6" fmla="*/ 232 w 234"/>
                <a:gd name="T7" fmla="*/ 5 h 37"/>
                <a:gd name="T8" fmla="*/ 230 w 234"/>
                <a:gd name="T9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37">
                  <a:moveTo>
                    <a:pt x="230" y="1"/>
                  </a:moveTo>
                  <a:cubicBezTo>
                    <a:pt x="155" y="29"/>
                    <a:pt x="78" y="33"/>
                    <a:pt x="2" y="4"/>
                  </a:cubicBezTo>
                  <a:cubicBezTo>
                    <a:pt x="1" y="3"/>
                    <a:pt x="0" y="5"/>
                    <a:pt x="1" y="6"/>
                  </a:cubicBezTo>
                  <a:cubicBezTo>
                    <a:pt x="74" y="35"/>
                    <a:pt x="160" y="37"/>
                    <a:pt x="232" y="5"/>
                  </a:cubicBezTo>
                  <a:cubicBezTo>
                    <a:pt x="234" y="4"/>
                    <a:pt x="232" y="0"/>
                    <a:pt x="230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íṩľiḍe">
              <a:extLst>
                <a:ext uri="{FF2B5EF4-FFF2-40B4-BE49-F238E27FC236}">
                  <a16:creationId xmlns:a16="http://schemas.microsoft.com/office/drawing/2014/main" id="{2A8DDC01-1887-4248-A985-A6A02E3ADC3F}"/>
                </a:ext>
              </a:extLst>
            </p:cNvPr>
            <p:cNvSpPr/>
            <p:nvPr/>
          </p:nvSpPr>
          <p:spPr bwMode="auto">
            <a:xfrm>
              <a:off x="7026276" y="3563939"/>
              <a:ext cx="7938" cy="4763"/>
            </a:xfrm>
            <a:custGeom>
              <a:avLst/>
              <a:gdLst>
                <a:gd name="T0" fmla="*/ 2 w 5"/>
                <a:gd name="T1" fmla="*/ 0 h 3"/>
                <a:gd name="T2" fmla="*/ 3 w 5"/>
                <a:gd name="T3" fmla="*/ 3 h 3"/>
                <a:gd name="T4" fmla="*/ 2 w 5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2" y="0"/>
                  </a:moveTo>
                  <a:cubicBezTo>
                    <a:pt x="0" y="0"/>
                    <a:pt x="1" y="3"/>
                    <a:pt x="3" y="3"/>
                  </a:cubicBezTo>
                  <a:cubicBezTo>
                    <a:pt x="5" y="3"/>
                    <a:pt x="5" y="0"/>
                    <a:pt x="2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ïṥḻíďè">
              <a:extLst>
                <a:ext uri="{FF2B5EF4-FFF2-40B4-BE49-F238E27FC236}">
                  <a16:creationId xmlns:a16="http://schemas.microsoft.com/office/drawing/2014/main" id="{B5DF88BE-F51A-42FD-B982-BB07D113D242}"/>
                </a:ext>
              </a:extLst>
            </p:cNvPr>
            <p:cNvSpPr/>
            <p:nvPr/>
          </p:nvSpPr>
          <p:spPr bwMode="auto">
            <a:xfrm>
              <a:off x="6083301" y="4748214"/>
              <a:ext cx="474663" cy="328613"/>
            </a:xfrm>
            <a:custGeom>
              <a:avLst/>
              <a:gdLst>
                <a:gd name="T0" fmla="*/ 344 w 345"/>
                <a:gd name="T1" fmla="*/ 234 h 238"/>
                <a:gd name="T2" fmla="*/ 307 w 345"/>
                <a:gd name="T3" fmla="*/ 214 h 238"/>
                <a:gd name="T4" fmla="*/ 340 w 345"/>
                <a:gd name="T5" fmla="*/ 216 h 238"/>
                <a:gd name="T6" fmla="*/ 339 w 345"/>
                <a:gd name="T7" fmla="*/ 212 h 238"/>
                <a:gd name="T8" fmla="*/ 300 w 345"/>
                <a:gd name="T9" fmla="*/ 210 h 238"/>
                <a:gd name="T10" fmla="*/ 87 w 345"/>
                <a:gd name="T11" fmla="*/ 2 h 238"/>
                <a:gd name="T12" fmla="*/ 86 w 345"/>
                <a:gd name="T13" fmla="*/ 2 h 238"/>
                <a:gd name="T14" fmla="*/ 288 w 345"/>
                <a:gd name="T15" fmla="*/ 208 h 238"/>
                <a:gd name="T16" fmla="*/ 3 w 345"/>
                <a:gd name="T17" fmla="*/ 17 h 238"/>
                <a:gd name="T18" fmla="*/ 1 w 345"/>
                <a:gd name="T19" fmla="*/ 17 h 238"/>
                <a:gd name="T20" fmla="*/ 295 w 345"/>
                <a:gd name="T21" fmla="*/ 213 h 238"/>
                <a:gd name="T22" fmla="*/ 342 w 345"/>
                <a:gd name="T23" fmla="*/ 237 h 238"/>
                <a:gd name="T24" fmla="*/ 344 w 345"/>
                <a:gd name="T25" fmla="*/ 23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5" h="238">
                  <a:moveTo>
                    <a:pt x="344" y="234"/>
                  </a:moveTo>
                  <a:cubicBezTo>
                    <a:pt x="331" y="228"/>
                    <a:pt x="319" y="221"/>
                    <a:pt x="307" y="214"/>
                  </a:cubicBezTo>
                  <a:cubicBezTo>
                    <a:pt x="318" y="215"/>
                    <a:pt x="329" y="216"/>
                    <a:pt x="340" y="216"/>
                  </a:cubicBezTo>
                  <a:cubicBezTo>
                    <a:pt x="342" y="216"/>
                    <a:pt x="342" y="212"/>
                    <a:pt x="339" y="212"/>
                  </a:cubicBezTo>
                  <a:cubicBezTo>
                    <a:pt x="326" y="212"/>
                    <a:pt x="313" y="211"/>
                    <a:pt x="300" y="210"/>
                  </a:cubicBezTo>
                  <a:cubicBezTo>
                    <a:pt x="213" y="158"/>
                    <a:pt x="141" y="90"/>
                    <a:pt x="87" y="2"/>
                  </a:cubicBezTo>
                  <a:cubicBezTo>
                    <a:pt x="86" y="0"/>
                    <a:pt x="85" y="1"/>
                    <a:pt x="86" y="2"/>
                  </a:cubicBezTo>
                  <a:cubicBezTo>
                    <a:pt x="135" y="85"/>
                    <a:pt x="205" y="158"/>
                    <a:pt x="288" y="208"/>
                  </a:cubicBezTo>
                  <a:cubicBezTo>
                    <a:pt x="170" y="191"/>
                    <a:pt x="63" y="120"/>
                    <a:pt x="3" y="17"/>
                  </a:cubicBezTo>
                  <a:cubicBezTo>
                    <a:pt x="2" y="16"/>
                    <a:pt x="0" y="16"/>
                    <a:pt x="1" y="17"/>
                  </a:cubicBezTo>
                  <a:cubicBezTo>
                    <a:pt x="62" y="125"/>
                    <a:pt x="174" y="198"/>
                    <a:pt x="295" y="213"/>
                  </a:cubicBezTo>
                  <a:cubicBezTo>
                    <a:pt x="311" y="222"/>
                    <a:pt x="326" y="230"/>
                    <a:pt x="342" y="237"/>
                  </a:cubicBezTo>
                  <a:cubicBezTo>
                    <a:pt x="344" y="238"/>
                    <a:pt x="345" y="235"/>
                    <a:pt x="344" y="23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îṡlîḋe">
              <a:extLst>
                <a:ext uri="{FF2B5EF4-FFF2-40B4-BE49-F238E27FC236}">
                  <a16:creationId xmlns:a16="http://schemas.microsoft.com/office/drawing/2014/main" id="{ECAC1925-940B-4976-854A-96555C2737BE}"/>
                </a:ext>
              </a:extLst>
            </p:cNvPr>
            <p:cNvSpPr/>
            <p:nvPr/>
          </p:nvSpPr>
          <p:spPr bwMode="auto">
            <a:xfrm>
              <a:off x="5791201" y="4875214"/>
              <a:ext cx="206375" cy="271463"/>
            </a:xfrm>
            <a:custGeom>
              <a:avLst/>
              <a:gdLst>
                <a:gd name="T0" fmla="*/ 147 w 150"/>
                <a:gd name="T1" fmla="*/ 1 h 197"/>
                <a:gd name="T2" fmla="*/ 3 w 150"/>
                <a:gd name="T3" fmla="*/ 193 h 197"/>
                <a:gd name="T4" fmla="*/ 5 w 150"/>
                <a:gd name="T5" fmla="*/ 196 h 197"/>
                <a:gd name="T6" fmla="*/ 149 w 150"/>
                <a:gd name="T7" fmla="*/ 2 h 197"/>
                <a:gd name="T8" fmla="*/ 147 w 150"/>
                <a:gd name="T9" fmla="*/ 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97">
                  <a:moveTo>
                    <a:pt x="147" y="1"/>
                  </a:moveTo>
                  <a:cubicBezTo>
                    <a:pt x="117" y="79"/>
                    <a:pt x="71" y="144"/>
                    <a:pt x="3" y="193"/>
                  </a:cubicBezTo>
                  <a:cubicBezTo>
                    <a:pt x="0" y="194"/>
                    <a:pt x="3" y="197"/>
                    <a:pt x="5" y="196"/>
                  </a:cubicBezTo>
                  <a:cubicBezTo>
                    <a:pt x="72" y="150"/>
                    <a:pt x="126" y="80"/>
                    <a:pt x="149" y="2"/>
                  </a:cubicBezTo>
                  <a:cubicBezTo>
                    <a:pt x="150" y="1"/>
                    <a:pt x="148" y="0"/>
                    <a:pt x="147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ís1îḓê">
              <a:extLst>
                <a:ext uri="{FF2B5EF4-FFF2-40B4-BE49-F238E27FC236}">
                  <a16:creationId xmlns:a16="http://schemas.microsoft.com/office/drawing/2014/main" id="{6ED7E047-2D26-40D8-8075-BEFB2DE35E83}"/>
                </a:ext>
              </a:extLst>
            </p:cNvPr>
            <p:cNvSpPr/>
            <p:nvPr/>
          </p:nvSpPr>
          <p:spPr bwMode="auto">
            <a:xfrm>
              <a:off x="5805488" y="4975226"/>
              <a:ext cx="265113" cy="288925"/>
            </a:xfrm>
            <a:custGeom>
              <a:avLst/>
              <a:gdLst>
                <a:gd name="T0" fmla="*/ 189 w 193"/>
                <a:gd name="T1" fmla="*/ 2 h 210"/>
                <a:gd name="T2" fmla="*/ 135 w 193"/>
                <a:gd name="T3" fmla="*/ 147 h 210"/>
                <a:gd name="T4" fmla="*/ 74 w 193"/>
                <a:gd name="T5" fmla="*/ 194 h 210"/>
                <a:gd name="T6" fmla="*/ 2 w 193"/>
                <a:gd name="T7" fmla="*/ 145 h 210"/>
                <a:gd name="T8" fmla="*/ 1 w 193"/>
                <a:gd name="T9" fmla="*/ 145 h 210"/>
                <a:gd name="T10" fmla="*/ 106 w 193"/>
                <a:gd name="T11" fmla="*/ 184 h 210"/>
                <a:gd name="T12" fmla="*/ 192 w 193"/>
                <a:gd name="T13" fmla="*/ 4 h 210"/>
                <a:gd name="T14" fmla="*/ 189 w 193"/>
                <a:gd name="T15" fmla="*/ 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3" h="210">
                  <a:moveTo>
                    <a:pt x="189" y="2"/>
                  </a:moveTo>
                  <a:cubicBezTo>
                    <a:pt x="164" y="48"/>
                    <a:pt x="162" y="102"/>
                    <a:pt x="135" y="147"/>
                  </a:cubicBezTo>
                  <a:cubicBezTo>
                    <a:pt x="121" y="169"/>
                    <a:pt x="101" y="188"/>
                    <a:pt x="74" y="194"/>
                  </a:cubicBezTo>
                  <a:cubicBezTo>
                    <a:pt x="41" y="202"/>
                    <a:pt x="5" y="181"/>
                    <a:pt x="2" y="145"/>
                  </a:cubicBezTo>
                  <a:cubicBezTo>
                    <a:pt x="2" y="144"/>
                    <a:pt x="0" y="144"/>
                    <a:pt x="1" y="145"/>
                  </a:cubicBezTo>
                  <a:cubicBezTo>
                    <a:pt x="4" y="200"/>
                    <a:pt x="68" y="210"/>
                    <a:pt x="106" y="184"/>
                  </a:cubicBezTo>
                  <a:cubicBezTo>
                    <a:pt x="163" y="144"/>
                    <a:pt x="164" y="62"/>
                    <a:pt x="192" y="4"/>
                  </a:cubicBezTo>
                  <a:cubicBezTo>
                    <a:pt x="193" y="2"/>
                    <a:pt x="190" y="0"/>
                    <a:pt x="189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ísļíḓè">
              <a:extLst>
                <a:ext uri="{FF2B5EF4-FFF2-40B4-BE49-F238E27FC236}">
                  <a16:creationId xmlns:a16="http://schemas.microsoft.com/office/drawing/2014/main" id="{AF7CC937-6111-4BD4-9E67-FA05FFE08F9B}"/>
                </a:ext>
              </a:extLst>
            </p:cNvPr>
            <p:cNvSpPr/>
            <p:nvPr/>
          </p:nvSpPr>
          <p:spPr bwMode="auto">
            <a:xfrm>
              <a:off x="5680076" y="4881564"/>
              <a:ext cx="261938" cy="119063"/>
            </a:xfrm>
            <a:custGeom>
              <a:avLst/>
              <a:gdLst>
                <a:gd name="T0" fmla="*/ 186 w 190"/>
                <a:gd name="T1" fmla="*/ 2 h 86"/>
                <a:gd name="T2" fmla="*/ 1 w 190"/>
                <a:gd name="T3" fmla="*/ 68 h 86"/>
                <a:gd name="T4" fmla="*/ 1 w 190"/>
                <a:gd name="T5" fmla="*/ 70 h 86"/>
                <a:gd name="T6" fmla="*/ 189 w 190"/>
                <a:gd name="T7" fmla="*/ 4 h 86"/>
                <a:gd name="T8" fmla="*/ 186 w 190"/>
                <a:gd name="T9" fmla="*/ 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86">
                  <a:moveTo>
                    <a:pt x="186" y="2"/>
                  </a:moveTo>
                  <a:cubicBezTo>
                    <a:pt x="140" y="55"/>
                    <a:pt x="71" y="80"/>
                    <a:pt x="1" y="68"/>
                  </a:cubicBezTo>
                  <a:cubicBezTo>
                    <a:pt x="0" y="68"/>
                    <a:pt x="0" y="70"/>
                    <a:pt x="1" y="70"/>
                  </a:cubicBezTo>
                  <a:cubicBezTo>
                    <a:pt x="70" y="86"/>
                    <a:pt x="145" y="59"/>
                    <a:pt x="189" y="4"/>
                  </a:cubicBezTo>
                  <a:cubicBezTo>
                    <a:pt x="190" y="2"/>
                    <a:pt x="187" y="0"/>
                    <a:pt x="186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îṧḷïde">
              <a:extLst>
                <a:ext uri="{FF2B5EF4-FFF2-40B4-BE49-F238E27FC236}">
                  <a16:creationId xmlns:a16="http://schemas.microsoft.com/office/drawing/2014/main" id="{81467B4D-B3D1-4C5E-9D9E-6DCBEF2A016B}"/>
                </a:ext>
              </a:extLst>
            </p:cNvPr>
            <p:cNvSpPr/>
            <p:nvPr/>
          </p:nvSpPr>
          <p:spPr bwMode="auto">
            <a:xfrm>
              <a:off x="5689601" y="4954589"/>
              <a:ext cx="215900" cy="98425"/>
            </a:xfrm>
            <a:custGeom>
              <a:avLst/>
              <a:gdLst>
                <a:gd name="T0" fmla="*/ 152 w 157"/>
                <a:gd name="T1" fmla="*/ 2 h 71"/>
                <a:gd name="T2" fmla="*/ 1 w 157"/>
                <a:gd name="T3" fmla="*/ 43 h 71"/>
                <a:gd name="T4" fmla="*/ 1 w 157"/>
                <a:gd name="T5" fmla="*/ 45 h 71"/>
                <a:gd name="T6" fmla="*/ 155 w 157"/>
                <a:gd name="T7" fmla="*/ 4 h 71"/>
                <a:gd name="T8" fmla="*/ 152 w 157"/>
                <a:gd name="T9" fmla="*/ 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71">
                  <a:moveTo>
                    <a:pt x="152" y="2"/>
                  </a:moveTo>
                  <a:cubicBezTo>
                    <a:pt x="119" y="49"/>
                    <a:pt x="54" y="68"/>
                    <a:pt x="1" y="43"/>
                  </a:cubicBezTo>
                  <a:cubicBezTo>
                    <a:pt x="0" y="42"/>
                    <a:pt x="0" y="44"/>
                    <a:pt x="1" y="45"/>
                  </a:cubicBezTo>
                  <a:cubicBezTo>
                    <a:pt x="55" y="71"/>
                    <a:pt x="122" y="54"/>
                    <a:pt x="155" y="4"/>
                  </a:cubicBezTo>
                  <a:cubicBezTo>
                    <a:pt x="157" y="2"/>
                    <a:pt x="154" y="0"/>
                    <a:pt x="152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íślíḋé">
              <a:extLst>
                <a:ext uri="{FF2B5EF4-FFF2-40B4-BE49-F238E27FC236}">
                  <a16:creationId xmlns:a16="http://schemas.microsoft.com/office/drawing/2014/main" id="{3216BF4A-9F8B-4936-9233-6B9EBC129F80}"/>
                </a:ext>
              </a:extLst>
            </p:cNvPr>
            <p:cNvSpPr/>
            <p:nvPr/>
          </p:nvSpPr>
          <p:spPr bwMode="auto">
            <a:xfrm>
              <a:off x="6065838" y="5022851"/>
              <a:ext cx="158750" cy="295275"/>
            </a:xfrm>
            <a:custGeom>
              <a:avLst/>
              <a:gdLst>
                <a:gd name="T0" fmla="*/ 114 w 116"/>
                <a:gd name="T1" fmla="*/ 211 h 215"/>
                <a:gd name="T2" fmla="*/ 3 w 116"/>
                <a:gd name="T3" fmla="*/ 2 h 215"/>
                <a:gd name="T4" fmla="*/ 1 w 116"/>
                <a:gd name="T5" fmla="*/ 1 h 215"/>
                <a:gd name="T6" fmla="*/ 112 w 116"/>
                <a:gd name="T7" fmla="*/ 213 h 215"/>
                <a:gd name="T8" fmla="*/ 114 w 116"/>
                <a:gd name="T9" fmla="*/ 211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215">
                  <a:moveTo>
                    <a:pt x="114" y="211"/>
                  </a:moveTo>
                  <a:cubicBezTo>
                    <a:pt x="46" y="162"/>
                    <a:pt x="3" y="86"/>
                    <a:pt x="3" y="2"/>
                  </a:cubicBezTo>
                  <a:cubicBezTo>
                    <a:pt x="3" y="1"/>
                    <a:pt x="1" y="0"/>
                    <a:pt x="1" y="1"/>
                  </a:cubicBezTo>
                  <a:cubicBezTo>
                    <a:pt x="0" y="85"/>
                    <a:pt x="41" y="168"/>
                    <a:pt x="112" y="213"/>
                  </a:cubicBezTo>
                  <a:cubicBezTo>
                    <a:pt x="114" y="215"/>
                    <a:pt x="116" y="212"/>
                    <a:pt x="114" y="21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i$1iḓé">
              <a:extLst>
                <a:ext uri="{FF2B5EF4-FFF2-40B4-BE49-F238E27FC236}">
                  <a16:creationId xmlns:a16="http://schemas.microsoft.com/office/drawing/2014/main" id="{D44EA672-C2F5-49FA-81BD-5269366FCD2E}"/>
                </a:ext>
              </a:extLst>
            </p:cNvPr>
            <p:cNvSpPr/>
            <p:nvPr/>
          </p:nvSpPr>
          <p:spPr bwMode="auto">
            <a:xfrm>
              <a:off x="6148388" y="5051426"/>
              <a:ext cx="292100" cy="377825"/>
            </a:xfrm>
            <a:custGeom>
              <a:avLst/>
              <a:gdLst>
                <a:gd name="T0" fmla="*/ 210 w 212"/>
                <a:gd name="T1" fmla="*/ 270 h 275"/>
                <a:gd name="T2" fmla="*/ 2 w 212"/>
                <a:gd name="T3" fmla="*/ 2 h 275"/>
                <a:gd name="T4" fmla="*/ 0 w 212"/>
                <a:gd name="T5" fmla="*/ 2 h 275"/>
                <a:gd name="T6" fmla="*/ 208 w 212"/>
                <a:gd name="T7" fmla="*/ 274 h 275"/>
                <a:gd name="T8" fmla="*/ 210 w 212"/>
                <a:gd name="T9" fmla="*/ 27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275">
                  <a:moveTo>
                    <a:pt x="210" y="270"/>
                  </a:moveTo>
                  <a:cubicBezTo>
                    <a:pt x="108" y="210"/>
                    <a:pt x="32" y="117"/>
                    <a:pt x="2" y="2"/>
                  </a:cubicBezTo>
                  <a:cubicBezTo>
                    <a:pt x="2" y="0"/>
                    <a:pt x="0" y="0"/>
                    <a:pt x="0" y="2"/>
                  </a:cubicBezTo>
                  <a:cubicBezTo>
                    <a:pt x="28" y="115"/>
                    <a:pt x="104" y="219"/>
                    <a:pt x="208" y="274"/>
                  </a:cubicBezTo>
                  <a:cubicBezTo>
                    <a:pt x="211" y="275"/>
                    <a:pt x="212" y="271"/>
                    <a:pt x="210" y="27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îṩ1ïďè">
              <a:extLst>
                <a:ext uri="{FF2B5EF4-FFF2-40B4-BE49-F238E27FC236}">
                  <a16:creationId xmlns:a16="http://schemas.microsoft.com/office/drawing/2014/main" id="{1D9D12D5-6F31-4DE3-A9E3-DB6CF744BCD8}"/>
                </a:ext>
              </a:extLst>
            </p:cNvPr>
            <p:cNvSpPr/>
            <p:nvPr/>
          </p:nvSpPr>
          <p:spPr bwMode="auto">
            <a:xfrm>
              <a:off x="6273801" y="5370514"/>
              <a:ext cx="103188" cy="42863"/>
            </a:xfrm>
            <a:custGeom>
              <a:avLst/>
              <a:gdLst>
                <a:gd name="T0" fmla="*/ 73 w 75"/>
                <a:gd name="T1" fmla="*/ 27 h 31"/>
                <a:gd name="T2" fmla="*/ 2 w 75"/>
                <a:gd name="T3" fmla="*/ 0 h 31"/>
                <a:gd name="T4" fmla="*/ 1 w 75"/>
                <a:gd name="T5" fmla="*/ 2 h 31"/>
                <a:gd name="T6" fmla="*/ 72 w 75"/>
                <a:gd name="T7" fmla="*/ 30 h 31"/>
                <a:gd name="T8" fmla="*/ 73 w 75"/>
                <a:gd name="T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31">
                  <a:moveTo>
                    <a:pt x="73" y="27"/>
                  </a:moveTo>
                  <a:cubicBezTo>
                    <a:pt x="50" y="17"/>
                    <a:pt x="25" y="9"/>
                    <a:pt x="2" y="0"/>
                  </a:cubicBezTo>
                  <a:cubicBezTo>
                    <a:pt x="0" y="0"/>
                    <a:pt x="0" y="2"/>
                    <a:pt x="1" y="2"/>
                  </a:cubicBezTo>
                  <a:cubicBezTo>
                    <a:pt x="24" y="11"/>
                    <a:pt x="48" y="22"/>
                    <a:pt x="72" y="30"/>
                  </a:cubicBezTo>
                  <a:cubicBezTo>
                    <a:pt x="74" y="31"/>
                    <a:pt x="75" y="28"/>
                    <a:pt x="73" y="2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ïšḷîḑe">
              <a:extLst>
                <a:ext uri="{FF2B5EF4-FFF2-40B4-BE49-F238E27FC236}">
                  <a16:creationId xmlns:a16="http://schemas.microsoft.com/office/drawing/2014/main" id="{F1A12C3E-01D9-4564-B633-2549A71F42CA}"/>
                </a:ext>
              </a:extLst>
            </p:cNvPr>
            <p:cNvSpPr/>
            <p:nvPr/>
          </p:nvSpPr>
          <p:spPr bwMode="auto">
            <a:xfrm>
              <a:off x="5873751" y="5175251"/>
              <a:ext cx="176213" cy="260350"/>
            </a:xfrm>
            <a:custGeom>
              <a:avLst/>
              <a:gdLst>
                <a:gd name="T0" fmla="*/ 125 w 128"/>
                <a:gd name="T1" fmla="*/ 2 h 190"/>
                <a:gd name="T2" fmla="*/ 2 w 128"/>
                <a:gd name="T3" fmla="*/ 185 h 190"/>
                <a:gd name="T4" fmla="*/ 5 w 128"/>
                <a:gd name="T5" fmla="*/ 188 h 190"/>
                <a:gd name="T6" fmla="*/ 128 w 128"/>
                <a:gd name="T7" fmla="*/ 3 h 190"/>
                <a:gd name="T8" fmla="*/ 125 w 128"/>
                <a:gd name="T9" fmla="*/ 2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90">
                  <a:moveTo>
                    <a:pt x="125" y="2"/>
                  </a:moveTo>
                  <a:cubicBezTo>
                    <a:pt x="107" y="73"/>
                    <a:pt x="65" y="143"/>
                    <a:pt x="2" y="185"/>
                  </a:cubicBezTo>
                  <a:cubicBezTo>
                    <a:pt x="0" y="186"/>
                    <a:pt x="3" y="190"/>
                    <a:pt x="5" y="188"/>
                  </a:cubicBezTo>
                  <a:cubicBezTo>
                    <a:pt x="65" y="139"/>
                    <a:pt x="110" y="80"/>
                    <a:pt x="128" y="3"/>
                  </a:cubicBezTo>
                  <a:cubicBezTo>
                    <a:pt x="128" y="1"/>
                    <a:pt x="126" y="0"/>
                    <a:pt x="125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íṥḷíḓe">
              <a:extLst>
                <a:ext uri="{FF2B5EF4-FFF2-40B4-BE49-F238E27FC236}">
                  <a16:creationId xmlns:a16="http://schemas.microsoft.com/office/drawing/2014/main" id="{0F85B86F-BEA4-4BB0-A6FA-DD6557229010}"/>
                </a:ext>
              </a:extLst>
            </p:cNvPr>
            <p:cNvSpPr/>
            <p:nvPr/>
          </p:nvSpPr>
          <p:spPr bwMode="auto">
            <a:xfrm>
              <a:off x="5872163" y="5454651"/>
              <a:ext cx="119063" cy="85725"/>
            </a:xfrm>
            <a:custGeom>
              <a:avLst/>
              <a:gdLst>
                <a:gd name="T0" fmla="*/ 84 w 86"/>
                <a:gd name="T1" fmla="*/ 59 h 63"/>
                <a:gd name="T2" fmla="*/ 2 w 86"/>
                <a:gd name="T3" fmla="*/ 1 h 63"/>
                <a:gd name="T4" fmla="*/ 1 w 86"/>
                <a:gd name="T5" fmla="*/ 2 h 63"/>
                <a:gd name="T6" fmla="*/ 82 w 86"/>
                <a:gd name="T7" fmla="*/ 62 h 63"/>
                <a:gd name="T8" fmla="*/ 84 w 86"/>
                <a:gd name="T9" fmla="*/ 5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63">
                  <a:moveTo>
                    <a:pt x="84" y="59"/>
                  </a:moveTo>
                  <a:cubicBezTo>
                    <a:pt x="57" y="39"/>
                    <a:pt x="29" y="20"/>
                    <a:pt x="2" y="1"/>
                  </a:cubicBezTo>
                  <a:cubicBezTo>
                    <a:pt x="1" y="0"/>
                    <a:pt x="0" y="2"/>
                    <a:pt x="1" y="2"/>
                  </a:cubicBezTo>
                  <a:cubicBezTo>
                    <a:pt x="28" y="22"/>
                    <a:pt x="55" y="43"/>
                    <a:pt x="82" y="62"/>
                  </a:cubicBezTo>
                  <a:cubicBezTo>
                    <a:pt x="84" y="63"/>
                    <a:pt x="86" y="61"/>
                    <a:pt x="84" y="5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îṧľïḋê">
              <a:extLst>
                <a:ext uri="{FF2B5EF4-FFF2-40B4-BE49-F238E27FC236}">
                  <a16:creationId xmlns:a16="http://schemas.microsoft.com/office/drawing/2014/main" id="{EA37CD7C-6583-4139-8B07-D716807CF3FA}"/>
                </a:ext>
              </a:extLst>
            </p:cNvPr>
            <p:cNvSpPr/>
            <p:nvPr/>
          </p:nvSpPr>
          <p:spPr bwMode="auto">
            <a:xfrm>
              <a:off x="6013451" y="5299076"/>
              <a:ext cx="139700" cy="247650"/>
            </a:xfrm>
            <a:custGeom>
              <a:avLst/>
              <a:gdLst>
                <a:gd name="T0" fmla="*/ 98 w 102"/>
                <a:gd name="T1" fmla="*/ 3 h 180"/>
                <a:gd name="T2" fmla="*/ 1 w 102"/>
                <a:gd name="T3" fmla="*/ 178 h 180"/>
                <a:gd name="T4" fmla="*/ 3 w 102"/>
                <a:gd name="T5" fmla="*/ 179 h 180"/>
                <a:gd name="T6" fmla="*/ 102 w 102"/>
                <a:gd name="T7" fmla="*/ 4 h 180"/>
                <a:gd name="T8" fmla="*/ 98 w 102"/>
                <a:gd name="T9" fmla="*/ 3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180">
                  <a:moveTo>
                    <a:pt x="98" y="3"/>
                  </a:moveTo>
                  <a:cubicBezTo>
                    <a:pt x="81" y="69"/>
                    <a:pt x="49" y="128"/>
                    <a:pt x="1" y="178"/>
                  </a:cubicBezTo>
                  <a:cubicBezTo>
                    <a:pt x="0" y="179"/>
                    <a:pt x="2" y="180"/>
                    <a:pt x="3" y="179"/>
                  </a:cubicBezTo>
                  <a:cubicBezTo>
                    <a:pt x="52" y="132"/>
                    <a:pt x="87" y="70"/>
                    <a:pt x="102" y="4"/>
                  </a:cubicBezTo>
                  <a:cubicBezTo>
                    <a:pt x="102" y="2"/>
                    <a:pt x="99" y="0"/>
                    <a:pt x="98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ïşḻíḑé">
              <a:extLst>
                <a:ext uri="{FF2B5EF4-FFF2-40B4-BE49-F238E27FC236}">
                  <a16:creationId xmlns:a16="http://schemas.microsoft.com/office/drawing/2014/main" id="{FF747266-C773-4338-A125-6C9F052D533E}"/>
                </a:ext>
              </a:extLst>
            </p:cNvPr>
            <p:cNvSpPr/>
            <p:nvPr/>
          </p:nvSpPr>
          <p:spPr bwMode="auto">
            <a:xfrm>
              <a:off x="6227763" y="5068889"/>
              <a:ext cx="495300" cy="461963"/>
            </a:xfrm>
            <a:custGeom>
              <a:avLst/>
              <a:gdLst>
                <a:gd name="T0" fmla="*/ 357 w 359"/>
                <a:gd name="T1" fmla="*/ 332 h 336"/>
                <a:gd name="T2" fmla="*/ 154 w 359"/>
                <a:gd name="T3" fmla="*/ 194 h 336"/>
                <a:gd name="T4" fmla="*/ 2 w 359"/>
                <a:gd name="T5" fmla="*/ 1 h 336"/>
                <a:gd name="T6" fmla="*/ 0 w 359"/>
                <a:gd name="T7" fmla="*/ 2 h 336"/>
                <a:gd name="T8" fmla="*/ 149 w 359"/>
                <a:gd name="T9" fmla="*/ 194 h 336"/>
                <a:gd name="T10" fmla="*/ 355 w 359"/>
                <a:gd name="T11" fmla="*/ 335 h 336"/>
                <a:gd name="T12" fmla="*/ 357 w 359"/>
                <a:gd name="T13" fmla="*/ 33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9" h="336">
                  <a:moveTo>
                    <a:pt x="357" y="332"/>
                  </a:moveTo>
                  <a:cubicBezTo>
                    <a:pt x="283" y="293"/>
                    <a:pt x="215" y="251"/>
                    <a:pt x="154" y="194"/>
                  </a:cubicBezTo>
                  <a:cubicBezTo>
                    <a:pt x="94" y="137"/>
                    <a:pt x="44" y="72"/>
                    <a:pt x="2" y="1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39" y="74"/>
                    <a:pt x="90" y="138"/>
                    <a:pt x="149" y="194"/>
                  </a:cubicBezTo>
                  <a:cubicBezTo>
                    <a:pt x="209" y="251"/>
                    <a:pt x="279" y="304"/>
                    <a:pt x="355" y="335"/>
                  </a:cubicBezTo>
                  <a:cubicBezTo>
                    <a:pt x="358" y="336"/>
                    <a:pt x="359" y="333"/>
                    <a:pt x="357" y="33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ïṡľiḓè">
              <a:extLst>
                <a:ext uri="{FF2B5EF4-FFF2-40B4-BE49-F238E27FC236}">
                  <a16:creationId xmlns:a16="http://schemas.microsoft.com/office/drawing/2014/main" id="{45CF84E7-0576-4248-89FE-8A780796E56E}"/>
                </a:ext>
              </a:extLst>
            </p:cNvPr>
            <p:cNvSpPr/>
            <p:nvPr/>
          </p:nvSpPr>
          <p:spPr bwMode="auto">
            <a:xfrm>
              <a:off x="6411913" y="5060951"/>
              <a:ext cx="493713" cy="425450"/>
            </a:xfrm>
            <a:custGeom>
              <a:avLst/>
              <a:gdLst>
                <a:gd name="T0" fmla="*/ 357 w 359"/>
                <a:gd name="T1" fmla="*/ 305 h 310"/>
                <a:gd name="T2" fmla="*/ 197 w 359"/>
                <a:gd name="T3" fmla="*/ 223 h 310"/>
                <a:gd name="T4" fmla="*/ 224 w 359"/>
                <a:gd name="T5" fmla="*/ 228 h 310"/>
                <a:gd name="T6" fmla="*/ 227 w 359"/>
                <a:gd name="T7" fmla="*/ 225 h 310"/>
                <a:gd name="T8" fmla="*/ 219 w 359"/>
                <a:gd name="T9" fmla="*/ 213 h 310"/>
                <a:gd name="T10" fmla="*/ 226 w 359"/>
                <a:gd name="T11" fmla="*/ 218 h 310"/>
                <a:gd name="T12" fmla="*/ 228 w 359"/>
                <a:gd name="T13" fmla="*/ 215 h 310"/>
                <a:gd name="T14" fmla="*/ 107 w 359"/>
                <a:gd name="T15" fmla="*/ 122 h 310"/>
                <a:gd name="T16" fmla="*/ 2 w 359"/>
                <a:gd name="T17" fmla="*/ 1 h 310"/>
                <a:gd name="T18" fmla="*/ 1 w 359"/>
                <a:gd name="T19" fmla="*/ 2 h 310"/>
                <a:gd name="T20" fmla="*/ 214 w 359"/>
                <a:gd name="T21" fmla="*/ 211 h 310"/>
                <a:gd name="T22" fmla="*/ 209 w 359"/>
                <a:gd name="T23" fmla="*/ 220 h 310"/>
                <a:gd name="T24" fmla="*/ 177 w 359"/>
                <a:gd name="T25" fmla="*/ 214 h 310"/>
                <a:gd name="T26" fmla="*/ 176 w 359"/>
                <a:gd name="T27" fmla="*/ 219 h 310"/>
                <a:gd name="T28" fmla="*/ 355 w 359"/>
                <a:gd name="T29" fmla="*/ 309 h 310"/>
                <a:gd name="T30" fmla="*/ 357 w 359"/>
                <a:gd name="T31" fmla="*/ 30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9" h="310">
                  <a:moveTo>
                    <a:pt x="357" y="305"/>
                  </a:moveTo>
                  <a:cubicBezTo>
                    <a:pt x="304" y="277"/>
                    <a:pt x="251" y="250"/>
                    <a:pt x="197" y="223"/>
                  </a:cubicBezTo>
                  <a:cubicBezTo>
                    <a:pt x="206" y="225"/>
                    <a:pt x="215" y="227"/>
                    <a:pt x="224" y="228"/>
                  </a:cubicBezTo>
                  <a:cubicBezTo>
                    <a:pt x="227" y="229"/>
                    <a:pt x="228" y="226"/>
                    <a:pt x="227" y="225"/>
                  </a:cubicBezTo>
                  <a:cubicBezTo>
                    <a:pt x="224" y="221"/>
                    <a:pt x="221" y="217"/>
                    <a:pt x="219" y="213"/>
                  </a:cubicBezTo>
                  <a:cubicBezTo>
                    <a:pt x="221" y="215"/>
                    <a:pt x="224" y="216"/>
                    <a:pt x="226" y="218"/>
                  </a:cubicBezTo>
                  <a:cubicBezTo>
                    <a:pt x="228" y="219"/>
                    <a:pt x="230" y="216"/>
                    <a:pt x="228" y="215"/>
                  </a:cubicBezTo>
                  <a:cubicBezTo>
                    <a:pt x="186" y="186"/>
                    <a:pt x="144" y="157"/>
                    <a:pt x="107" y="122"/>
                  </a:cubicBezTo>
                  <a:cubicBezTo>
                    <a:pt x="68" y="86"/>
                    <a:pt x="33" y="45"/>
                    <a:pt x="2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56" y="83"/>
                    <a:pt x="129" y="161"/>
                    <a:pt x="214" y="211"/>
                  </a:cubicBezTo>
                  <a:cubicBezTo>
                    <a:pt x="219" y="218"/>
                    <a:pt x="222" y="221"/>
                    <a:pt x="209" y="220"/>
                  </a:cubicBezTo>
                  <a:cubicBezTo>
                    <a:pt x="199" y="220"/>
                    <a:pt x="188" y="216"/>
                    <a:pt x="177" y="214"/>
                  </a:cubicBezTo>
                  <a:cubicBezTo>
                    <a:pt x="174" y="213"/>
                    <a:pt x="173" y="218"/>
                    <a:pt x="176" y="219"/>
                  </a:cubicBezTo>
                  <a:cubicBezTo>
                    <a:pt x="236" y="249"/>
                    <a:pt x="295" y="280"/>
                    <a:pt x="355" y="309"/>
                  </a:cubicBezTo>
                  <a:cubicBezTo>
                    <a:pt x="358" y="310"/>
                    <a:pt x="359" y="306"/>
                    <a:pt x="357" y="30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íṧḻíďe">
              <a:extLst>
                <a:ext uri="{FF2B5EF4-FFF2-40B4-BE49-F238E27FC236}">
                  <a16:creationId xmlns:a16="http://schemas.microsoft.com/office/drawing/2014/main" id="{99A72BF4-228E-4692-9F2F-D13746F833C1}"/>
                </a:ext>
              </a:extLst>
            </p:cNvPr>
            <p:cNvSpPr/>
            <p:nvPr/>
          </p:nvSpPr>
          <p:spPr bwMode="auto">
            <a:xfrm>
              <a:off x="6731001" y="5507039"/>
              <a:ext cx="222250" cy="107950"/>
            </a:xfrm>
            <a:custGeom>
              <a:avLst/>
              <a:gdLst>
                <a:gd name="T0" fmla="*/ 146 w 162"/>
                <a:gd name="T1" fmla="*/ 2 h 78"/>
                <a:gd name="T2" fmla="*/ 143 w 162"/>
                <a:gd name="T3" fmla="*/ 4 h 78"/>
                <a:gd name="T4" fmla="*/ 135 w 162"/>
                <a:gd name="T5" fmla="*/ 49 h 78"/>
                <a:gd name="T6" fmla="*/ 72 w 162"/>
                <a:gd name="T7" fmla="*/ 48 h 78"/>
                <a:gd name="T8" fmla="*/ 2 w 162"/>
                <a:gd name="T9" fmla="*/ 30 h 78"/>
                <a:gd name="T10" fmla="*/ 2 w 162"/>
                <a:gd name="T11" fmla="*/ 33 h 78"/>
                <a:gd name="T12" fmla="*/ 134 w 162"/>
                <a:gd name="T13" fmla="*/ 56 h 78"/>
                <a:gd name="T14" fmla="*/ 146 w 162"/>
                <a:gd name="T15" fmla="*/ 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2" h="78">
                  <a:moveTo>
                    <a:pt x="146" y="2"/>
                  </a:moveTo>
                  <a:cubicBezTo>
                    <a:pt x="145" y="0"/>
                    <a:pt x="141" y="2"/>
                    <a:pt x="143" y="4"/>
                  </a:cubicBezTo>
                  <a:cubicBezTo>
                    <a:pt x="155" y="18"/>
                    <a:pt x="149" y="39"/>
                    <a:pt x="135" y="49"/>
                  </a:cubicBezTo>
                  <a:cubicBezTo>
                    <a:pt x="117" y="62"/>
                    <a:pt x="92" y="55"/>
                    <a:pt x="72" y="48"/>
                  </a:cubicBezTo>
                  <a:cubicBezTo>
                    <a:pt x="49" y="39"/>
                    <a:pt x="27" y="28"/>
                    <a:pt x="2" y="30"/>
                  </a:cubicBezTo>
                  <a:cubicBezTo>
                    <a:pt x="0" y="31"/>
                    <a:pt x="0" y="33"/>
                    <a:pt x="2" y="33"/>
                  </a:cubicBezTo>
                  <a:cubicBezTo>
                    <a:pt x="45" y="30"/>
                    <a:pt x="92" y="78"/>
                    <a:pt x="134" y="56"/>
                  </a:cubicBezTo>
                  <a:cubicBezTo>
                    <a:pt x="153" y="45"/>
                    <a:pt x="162" y="18"/>
                    <a:pt x="146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íŝļidé">
              <a:extLst>
                <a:ext uri="{FF2B5EF4-FFF2-40B4-BE49-F238E27FC236}">
                  <a16:creationId xmlns:a16="http://schemas.microsoft.com/office/drawing/2014/main" id="{6F1486F4-F85C-4F95-AF34-433D74997B74}"/>
                </a:ext>
              </a:extLst>
            </p:cNvPr>
            <p:cNvSpPr/>
            <p:nvPr/>
          </p:nvSpPr>
          <p:spPr bwMode="auto">
            <a:xfrm>
              <a:off x="6240463" y="5343526"/>
              <a:ext cx="420688" cy="454025"/>
            </a:xfrm>
            <a:custGeom>
              <a:avLst/>
              <a:gdLst>
                <a:gd name="T0" fmla="*/ 304 w 305"/>
                <a:gd name="T1" fmla="*/ 327 h 330"/>
                <a:gd name="T2" fmla="*/ 3 w 305"/>
                <a:gd name="T3" fmla="*/ 2 h 330"/>
                <a:gd name="T4" fmla="*/ 1 w 305"/>
                <a:gd name="T5" fmla="*/ 2 h 330"/>
                <a:gd name="T6" fmla="*/ 303 w 305"/>
                <a:gd name="T7" fmla="*/ 329 h 330"/>
                <a:gd name="T8" fmla="*/ 304 w 305"/>
                <a:gd name="T9" fmla="*/ 32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330">
                  <a:moveTo>
                    <a:pt x="304" y="327"/>
                  </a:moveTo>
                  <a:cubicBezTo>
                    <a:pt x="179" y="243"/>
                    <a:pt x="77" y="133"/>
                    <a:pt x="3" y="2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71" y="134"/>
                    <a:pt x="177" y="249"/>
                    <a:pt x="303" y="329"/>
                  </a:cubicBezTo>
                  <a:cubicBezTo>
                    <a:pt x="304" y="330"/>
                    <a:pt x="305" y="328"/>
                    <a:pt x="304" y="32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ïṥľïḍê">
              <a:extLst>
                <a:ext uri="{FF2B5EF4-FFF2-40B4-BE49-F238E27FC236}">
                  <a16:creationId xmlns:a16="http://schemas.microsoft.com/office/drawing/2014/main" id="{0A61F977-BCED-493E-8651-83C59260492C}"/>
                </a:ext>
              </a:extLst>
            </p:cNvPr>
            <p:cNvSpPr/>
            <p:nvPr/>
          </p:nvSpPr>
          <p:spPr bwMode="auto">
            <a:xfrm>
              <a:off x="6656388" y="5686426"/>
              <a:ext cx="131763" cy="155575"/>
            </a:xfrm>
            <a:custGeom>
              <a:avLst/>
              <a:gdLst>
                <a:gd name="T0" fmla="*/ 93 w 96"/>
                <a:gd name="T1" fmla="*/ 24 h 113"/>
                <a:gd name="T2" fmla="*/ 3 w 96"/>
                <a:gd name="T3" fmla="*/ 0 h 113"/>
                <a:gd name="T4" fmla="*/ 1 w 96"/>
                <a:gd name="T5" fmla="*/ 3 h 113"/>
                <a:gd name="T6" fmla="*/ 50 w 96"/>
                <a:gd name="T7" fmla="*/ 112 h 113"/>
                <a:gd name="T8" fmla="*/ 52 w 96"/>
                <a:gd name="T9" fmla="*/ 111 h 113"/>
                <a:gd name="T10" fmla="*/ 11 w 96"/>
                <a:gd name="T11" fmla="*/ 16 h 113"/>
                <a:gd name="T12" fmla="*/ 18 w 96"/>
                <a:gd name="T13" fmla="*/ 8 h 113"/>
                <a:gd name="T14" fmla="*/ 40 w 96"/>
                <a:gd name="T15" fmla="*/ 14 h 113"/>
                <a:gd name="T16" fmla="*/ 93 w 96"/>
                <a:gd name="T17" fmla="*/ 28 h 113"/>
                <a:gd name="T18" fmla="*/ 93 w 96"/>
                <a:gd name="T19" fmla="*/ 2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13">
                  <a:moveTo>
                    <a:pt x="93" y="24"/>
                  </a:moveTo>
                  <a:cubicBezTo>
                    <a:pt x="64" y="14"/>
                    <a:pt x="33" y="8"/>
                    <a:pt x="3" y="0"/>
                  </a:cubicBezTo>
                  <a:cubicBezTo>
                    <a:pt x="2" y="0"/>
                    <a:pt x="0" y="1"/>
                    <a:pt x="1" y="3"/>
                  </a:cubicBezTo>
                  <a:cubicBezTo>
                    <a:pt x="17" y="39"/>
                    <a:pt x="34" y="76"/>
                    <a:pt x="50" y="112"/>
                  </a:cubicBezTo>
                  <a:cubicBezTo>
                    <a:pt x="51" y="113"/>
                    <a:pt x="52" y="113"/>
                    <a:pt x="52" y="111"/>
                  </a:cubicBezTo>
                  <a:cubicBezTo>
                    <a:pt x="39" y="80"/>
                    <a:pt x="21" y="49"/>
                    <a:pt x="11" y="16"/>
                  </a:cubicBezTo>
                  <a:cubicBezTo>
                    <a:pt x="8" y="5"/>
                    <a:pt x="7" y="6"/>
                    <a:pt x="18" y="8"/>
                  </a:cubicBezTo>
                  <a:cubicBezTo>
                    <a:pt x="25" y="9"/>
                    <a:pt x="33" y="12"/>
                    <a:pt x="40" y="14"/>
                  </a:cubicBezTo>
                  <a:cubicBezTo>
                    <a:pt x="58" y="19"/>
                    <a:pt x="75" y="24"/>
                    <a:pt x="93" y="28"/>
                  </a:cubicBezTo>
                  <a:cubicBezTo>
                    <a:pt x="96" y="28"/>
                    <a:pt x="96" y="24"/>
                    <a:pt x="93" y="2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iṣ1iďê">
              <a:extLst>
                <a:ext uri="{FF2B5EF4-FFF2-40B4-BE49-F238E27FC236}">
                  <a16:creationId xmlns:a16="http://schemas.microsoft.com/office/drawing/2014/main" id="{516E0A18-A13B-422B-BACF-47053453DB81}"/>
                </a:ext>
              </a:extLst>
            </p:cNvPr>
            <p:cNvSpPr/>
            <p:nvPr/>
          </p:nvSpPr>
          <p:spPr bwMode="auto">
            <a:xfrm>
              <a:off x="6607176" y="5459414"/>
              <a:ext cx="184150" cy="258763"/>
            </a:xfrm>
            <a:custGeom>
              <a:avLst/>
              <a:gdLst>
                <a:gd name="T0" fmla="*/ 133 w 134"/>
                <a:gd name="T1" fmla="*/ 186 h 188"/>
                <a:gd name="T2" fmla="*/ 12 w 134"/>
                <a:gd name="T3" fmla="*/ 7 h 188"/>
                <a:gd name="T4" fmla="*/ 0 w 134"/>
                <a:gd name="T5" fmla="*/ 0 h 188"/>
                <a:gd name="T6" fmla="*/ 131 w 134"/>
                <a:gd name="T7" fmla="*/ 187 h 188"/>
                <a:gd name="T8" fmla="*/ 133 w 134"/>
                <a:gd name="T9" fmla="*/ 18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88">
                  <a:moveTo>
                    <a:pt x="133" y="186"/>
                  </a:moveTo>
                  <a:cubicBezTo>
                    <a:pt x="94" y="125"/>
                    <a:pt x="54" y="66"/>
                    <a:pt x="12" y="7"/>
                  </a:cubicBezTo>
                  <a:cubicBezTo>
                    <a:pt x="8" y="5"/>
                    <a:pt x="4" y="3"/>
                    <a:pt x="0" y="0"/>
                  </a:cubicBezTo>
                  <a:cubicBezTo>
                    <a:pt x="43" y="63"/>
                    <a:pt x="86" y="126"/>
                    <a:pt x="131" y="187"/>
                  </a:cubicBezTo>
                  <a:cubicBezTo>
                    <a:pt x="132" y="188"/>
                    <a:pt x="134" y="187"/>
                    <a:pt x="133" y="18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îṡliḓe">
              <a:extLst>
                <a:ext uri="{FF2B5EF4-FFF2-40B4-BE49-F238E27FC236}">
                  <a16:creationId xmlns:a16="http://schemas.microsoft.com/office/drawing/2014/main" id="{181215A5-8984-403B-979E-4C528880B440}"/>
                </a:ext>
              </a:extLst>
            </p:cNvPr>
            <p:cNvSpPr/>
            <p:nvPr/>
          </p:nvSpPr>
          <p:spPr bwMode="auto">
            <a:xfrm>
              <a:off x="6621463" y="4616451"/>
              <a:ext cx="595313" cy="117475"/>
            </a:xfrm>
            <a:custGeom>
              <a:avLst/>
              <a:gdLst>
                <a:gd name="T0" fmla="*/ 427 w 432"/>
                <a:gd name="T1" fmla="*/ 17 h 85"/>
                <a:gd name="T2" fmla="*/ 3 w 432"/>
                <a:gd name="T3" fmla="*/ 1 h 85"/>
                <a:gd name="T4" fmla="*/ 2 w 432"/>
                <a:gd name="T5" fmla="*/ 3 h 85"/>
                <a:gd name="T6" fmla="*/ 429 w 432"/>
                <a:gd name="T7" fmla="*/ 22 h 85"/>
                <a:gd name="T8" fmla="*/ 427 w 432"/>
                <a:gd name="T9" fmla="*/ 1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2" h="85">
                  <a:moveTo>
                    <a:pt x="427" y="17"/>
                  </a:moveTo>
                  <a:cubicBezTo>
                    <a:pt x="291" y="78"/>
                    <a:pt x="134" y="73"/>
                    <a:pt x="3" y="1"/>
                  </a:cubicBezTo>
                  <a:cubicBezTo>
                    <a:pt x="1" y="0"/>
                    <a:pt x="0" y="2"/>
                    <a:pt x="2" y="3"/>
                  </a:cubicBezTo>
                  <a:cubicBezTo>
                    <a:pt x="131" y="76"/>
                    <a:pt x="294" y="85"/>
                    <a:pt x="429" y="22"/>
                  </a:cubicBezTo>
                  <a:cubicBezTo>
                    <a:pt x="432" y="21"/>
                    <a:pt x="430" y="15"/>
                    <a:pt x="427" y="1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ïśḷíde">
              <a:extLst>
                <a:ext uri="{FF2B5EF4-FFF2-40B4-BE49-F238E27FC236}">
                  <a16:creationId xmlns:a16="http://schemas.microsoft.com/office/drawing/2014/main" id="{E902F46D-1166-4055-8F71-1DF11D631CC6}"/>
                </a:ext>
              </a:extLst>
            </p:cNvPr>
            <p:cNvSpPr/>
            <p:nvPr/>
          </p:nvSpPr>
          <p:spPr bwMode="auto">
            <a:xfrm>
              <a:off x="6689726" y="4657726"/>
              <a:ext cx="533400" cy="182563"/>
            </a:xfrm>
            <a:custGeom>
              <a:avLst/>
              <a:gdLst>
                <a:gd name="T0" fmla="*/ 383 w 387"/>
                <a:gd name="T1" fmla="*/ 2 h 133"/>
                <a:gd name="T2" fmla="*/ 238 w 387"/>
                <a:gd name="T3" fmla="*/ 110 h 133"/>
                <a:gd name="T4" fmla="*/ 4 w 387"/>
                <a:gd name="T5" fmla="*/ 92 h 133"/>
                <a:gd name="T6" fmla="*/ 3 w 387"/>
                <a:gd name="T7" fmla="*/ 97 h 133"/>
                <a:gd name="T8" fmla="*/ 246 w 387"/>
                <a:gd name="T9" fmla="*/ 113 h 133"/>
                <a:gd name="T10" fmla="*/ 386 w 387"/>
                <a:gd name="T11" fmla="*/ 3 h 133"/>
                <a:gd name="T12" fmla="*/ 383 w 387"/>
                <a:gd name="T13" fmla="*/ 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7" h="133">
                  <a:moveTo>
                    <a:pt x="383" y="2"/>
                  </a:moveTo>
                  <a:cubicBezTo>
                    <a:pt x="355" y="60"/>
                    <a:pt x="299" y="96"/>
                    <a:pt x="238" y="110"/>
                  </a:cubicBezTo>
                  <a:cubicBezTo>
                    <a:pt x="159" y="127"/>
                    <a:pt x="81" y="107"/>
                    <a:pt x="4" y="92"/>
                  </a:cubicBezTo>
                  <a:cubicBezTo>
                    <a:pt x="0" y="92"/>
                    <a:pt x="0" y="96"/>
                    <a:pt x="3" y="97"/>
                  </a:cubicBezTo>
                  <a:cubicBezTo>
                    <a:pt x="81" y="116"/>
                    <a:pt x="167" y="133"/>
                    <a:pt x="246" y="113"/>
                  </a:cubicBezTo>
                  <a:cubicBezTo>
                    <a:pt x="305" y="98"/>
                    <a:pt x="362" y="62"/>
                    <a:pt x="386" y="3"/>
                  </a:cubicBezTo>
                  <a:cubicBezTo>
                    <a:pt x="387" y="2"/>
                    <a:pt x="384" y="0"/>
                    <a:pt x="383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i$ḻiḑé">
              <a:extLst>
                <a:ext uri="{FF2B5EF4-FFF2-40B4-BE49-F238E27FC236}">
                  <a16:creationId xmlns:a16="http://schemas.microsoft.com/office/drawing/2014/main" id="{1A3686D1-2666-4FCA-990D-C5D914F59DA2}"/>
                </a:ext>
              </a:extLst>
            </p:cNvPr>
            <p:cNvSpPr/>
            <p:nvPr/>
          </p:nvSpPr>
          <p:spPr bwMode="auto">
            <a:xfrm>
              <a:off x="6678613" y="4905376"/>
              <a:ext cx="322263" cy="79375"/>
            </a:xfrm>
            <a:custGeom>
              <a:avLst/>
              <a:gdLst>
                <a:gd name="T0" fmla="*/ 229 w 234"/>
                <a:gd name="T1" fmla="*/ 1 h 58"/>
                <a:gd name="T2" fmla="*/ 116 w 234"/>
                <a:gd name="T3" fmla="*/ 38 h 58"/>
                <a:gd name="T4" fmla="*/ 2 w 234"/>
                <a:gd name="T5" fmla="*/ 5 h 58"/>
                <a:gd name="T6" fmla="*/ 1 w 234"/>
                <a:gd name="T7" fmla="*/ 7 h 58"/>
                <a:gd name="T8" fmla="*/ 232 w 234"/>
                <a:gd name="T9" fmla="*/ 5 h 58"/>
                <a:gd name="T10" fmla="*/ 229 w 234"/>
                <a:gd name="T11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4" h="58">
                  <a:moveTo>
                    <a:pt x="229" y="1"/>
                  </a:moveTo>
                  <a:cubicBezTo>
                    <a:pt x="194" y="24"/>
                    <a:pt x="158" y="37"/>
                    <a:pt x="116" y="38"/>
                  </a:cubicBezTo>
                  <a:cubicBezTo>
                    <a:pt x="74" y="38"/>
                    <a:pt x="39" y="24"/>
                    <a:pt x="2" y="5"/>
                  </a:cubicBezTo>
                  <a:cubicBezTo>
                    <a:pt x="1" y="5"/>
                    <a:pt x="0" y="6"/>
                    <a:pt x="1" y="7"/>
                  </a:cubicBezTo>
                  <a:cubicBezTo>
                    <a:pt x="62" y="58"/>
                    <a:pt x="170" y="53"/>
                    <a:pt x="232" y="5"/>
                  </a:cubicBezTo>
                  <a:cubicBezTo>
                    <a:pt x="234" y="3"/>
                    <a:pt x="231" y="0"/>
                    <a:pt x="229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íṧḻiḑê">
              <a:extLst>
                <a:ext uri="{FF2B5EF4-FFF2-40B4-BE49-F238E27FC236}">
                  <a16:creationId xmlns:a16="http://schemas.microsoft.com/office/drawing/2014/main" id="{4B894657-350F-486D-B915-7985F7AED4F6}"/>
                </a:ext>
              </a:extLst>
            </p:cNvPr>
            <p:cNvSpPr/>
            <p:nvPr/>
          </p:nvSpPr>
          <p:spPr bwMode="auto">
            <a:xfrm>
              <a:off x="6810376" y="4816476"/>
              <a:ext cx="147638" cy="46038"/>
            </a:xfrm>
            <a:custGeom>
              <a:avLst/>
              <a:gdLst>
                <a:gd name="T0" fmla="*/ 105 w 107"/>
                <a:gd name="T1" fmla="*/ 29 h 34"/>
                <a:gd name="T2" fmla="*/ 1 w 107"/>
                <a:gd name="T3" fmla="*/ 0 h 34"/>
                <a:gd name="T4" fmla="*/ 1 w 107"/>
                <a:gd name="T5" fmla="*/ 2 h 34"/>
                <a:gd name="T6" fmla="*/ 105 w 107"/>
                <a:gd name="T7" fmla="*/ 33 h 34"/>
                <a:gd name="T8" fmla="*/ 105 w 107"/>
                <a:gd name="T9" fmla="*/ 2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34">
                  <a:moveTo>
                    <a:pt x="105" y="29"/>
                  </a:moveTo>
                  <a:cubicBezTo>
                    <a:pt x="71" y="19"/>
                    <a:pt x="36" y="1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ubicBezTo>
                    <a:pt x="36" y="13"/>
                    <a:pt x="70" y="23"/>
                    <a:pt x="105" y="33"/>
                  </a:cubicBezTo>
                  <a:cubicBezTo>
                    <a:pt x="107" y="34"/>
                    <a:pt x="107" y="30"/>
                    <a:pt x="105" y="2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işḻíďe">
              <a:extLst>
                <a:ext uri="{FF2B5EF4-FFF2-40B4-BE49-F238E27FC236}">
                  <a16:creationId xmlns:a16="http://schemas.microsoft.com/office/drawing/2014/main" id="{B1EA8A11-397A-43B8-BF55-5B3F4D9E6DD1}"/>
                </a:ext>
              </a:extLst>
            </p:cNvPr>
            <p:cNvSpPr/>
            <p:nvPr/>
          </p:nvSpPr>
          <p:spPr bwMode="auto">
            <a:xfrm>
              <a:off x="5375276" y="2246314"/>
              <a:ext cx="339725" cy="1044575"/>
            </a:xfrm>
            <a:custGeom>
              <a:avLst/>
              <a:gdLst>
                <a:gd name="T0" fmla="*/ 151 w 247"/>
                <a:gd name="T1" fmla="*/ 374 h 760"/>
                <a:gd name="T2" fmla="*/ 3 w 247"/>
                <a:gd name="T3" fmla="*/ 1 h 760"/>
                <a:gd name="T4" fmla="*/ 1 w 247"/>
                <a:gd name="T5" fmla="*/ 2 h 760"/>
                <a:gd name="T6" fmla="*/ 146 w 247"/>
                <a:gd name="T7" fmla="*/ 368 h 760"/>
                <a:gd name="T8" fmla="*/ 242 w 247"/>
                <a:gd name="T9" fmla="*/ 757 h 760"/>
                <a:gd name="T10" fmla="*/ 246 w 247"/>
                <a:gd name="T11" fmla="*/ 757 h 760"/>
                <a:gd name="T12" fmla="*/ 151 w 247"/>
                <a:gd name="T13" fmla="*/ 374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" h="760">
                  <a:moveTo>
                    <a:pt x="151" y="374"/>
                  </a:moveTo>
                  <a:cubicBezTo>
                    <a:pt x="111" y="248"/>
                    <a:pt x="65" y="119"/>
                    <a:pt x="3" y="1"/>
                  </a:cubicBezTo>
                  <a:cubicBezTo>
                    <a:pt x="2" y="0"/>
                    <a:pt x="0" y="0"/>
                    <a:pt x="1" y="2"/>
                  </a:cubicBezTo>
                  <a:cubicBezTo>
                    <a:pt x="53" y="123"/>
                    <a:pt x="105" y="242"/>
                    <a:pt x="146" y="368"/>
                  </a:cubicBezTo>
                  <a:cubicBezTo>
                    <a:pt x="187" y="495"/>
                    <a:pt x="219" y="625"/>
                    <a:pt x="242" y="757"/>
                  </a:cubicBezTo>
                  <a:cubicBezTo>
                    <a:pt x="242" y="760"/>
                    <a:pt x="247" y="760"/>
                    <a:pt x="246" y="757"/>
                  </a:cubicBezTo>
                  <a:cubicBezTo>
                    <a:pt x="223" y="627"/>
                    <a:pt x="191" y="500"/>
                    <a:pt x="151" y="37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iṡḷïďè">
              <a:extLst>
                <a:ext uri="{FF2B5EF4-FFF2-40B4-BE49-F238E27FC236}">
                  <a16:creationId xmlns:a16="http://schemas.microsoft.com/office/drawing/2014/main" id="{D98AFE4F-7C9F-4B05-914C-E1D3ED36BC20}"/>
                </a:ext>
              </a:extLst>
            </p:cNvPr>
            <p:cNvSpPr/>
            <p:nvPr/>
          </p:nvSpPr>
          <p:spPr bwMode="auto">
            <a:xfrm>
              <a:off x="5310188" y="2081214"/>
              <a:ext cx="92075" cy="127000"/>
            </a:xfrm>
            <a:custGeom>
              <a:avLst/>
              <a:gdLst>
                <a:gd name="T0" fmla="*/ 65 w 67"/>
                <a:gd name="T1" fmla="*/ 55 h 92"/>
                <a:gd name="T2" fmla="*/ 11 w 67"/>
                <a:gd name="T3" fmla="*/ 1 h 92"/>
                <a:gd name="T4" fmla="*/ 8 w 67"/>
                <a:gd name="T5" fmla="*/ 2 h 92"/>
                <a:gd name="T6" fmla="*/ 49 w 67"/>
                <a:gd name="T7" fmla="*/ 91 h 92"/>
                <a:gd name="T8" fmla="*/ 50 w 67"/>
                <a:gd name="T9" fmla="*/ 89 h 92"/>
                <a:gd name="T10" fmla="*/ 10 w 67"/>
                <a:gd name="T11" fmla="*/ 22 h 92"/>
                <a:gd name="T12" fmla="*/ 10 w 67"/>
                <a:gd name="T13" fmla="*/ 12 h 92"/>
                <a:gd name="T14" fmla="*/ 14 w 67"/>
                <a:gd name="T15" fmla="*/ 9 h 92"/>
                <a:gd name="T16" fmla="*/ 29 w 67"/>
                <a:gd name="T17" fmla="*/ 23 h 92"/>
                <a:gd name="T18" fmla="*/ 64 w 67"/>
                <a:gd name="T19" fmla="*/ 57 h 92"/>
                <a:gd name="T20" fmla="*/ 65 w 67"/>
                <a:gd name="T2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92">
                  <a:moveTo>
                    <a:pt x="65" y="55"/>
                  </a:moveTo>
                  <a:cubicBezTo>
                    <a:pt x="47" y="37"/>
                    <a:pt x="29" y="19"/>
                    <a:pt x="11" y="1"/>
                  </a:cubicBezTo>
                  <a:cubicBezTo>
                    <a:pt x="10" y="0"/>
                    <a:pt x="8" y="1"/>
                    <a:pt x="8" y="2"/>
                  </a:cubicBezTo>
                  <a:cubicBezTo>
                    <a:pt x="0" y="38"/>
                    <a:pt x="17" y="75"/>
                    <a:pt x="49" y="91"/>
                  </a:cubicBezTo>
                  <a:cubicBezTo>
                    <a:pt x="51" y="92"/>
                    <a:pt x="51" y="90"/>
                    <a:pt x="50" y="89"/>
                  </a:cubicBezTo>
                  <a:cubicBezTo>
                    <a:pt x="26" y="75"/>
                    <a:pt x="10" y="50"/>
                    <a:pt x="10" y="22"/>
                  </a:cubicBezTo>
                  <a:cubicBezTo>
                    <a:pt x="9" y="18"/>
                    <a:pt x="10" y="15"/>
                    <a:pt x="10" y="12"/>
                  </a:cubicBezTo>
                  <a:cubicBezTo>
                    <a:pt x="9" y="8"/>
                    <a:pt x="10" y="7"/>
                    <a:pt x="14" y="9"/>
                  </a:cubicBezTo>
                  <a:cubicBezTo>
                    <a:pt x="17" y="9"/>
                    <a:pt x="26" y="21"/>
                    <a:pt x="29" y="23"/>
                  </a:cubicBezTo>
                  <a:cubicBezTo>
                    <a:pt x="40" y="35"/>
                    <a:pt x="52" y="46"/>
                    <a:pt x="64" y="57"/>
                  </a:cubicBezTo>
                  <a:cubicBezTo>
                    <a:pt x="65" y="59"/>
                    <a:pt x="67" y="56"/>
                    <a:pt x="65" y="5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ï$1íḋê">
              <a:extLst>
                <a:ext uri="{FF2B5EF4-FFF2-40B4-BE49-F238E27FC236}">
                  <a16:creationId xmlns:a16="http://schemas.microsoft.com/office/drawing/2014/main" id="{1AA153BC-F645-49B2-A1B7-57D833D10859}"/>
                </a:ext>
              </a:extLst>
            </p:cNvPr>
            <p:cNvSpPr/>
            <p:nvPr/>
          </p:nvSpPr>
          <p:spPr bwMode="auto">
            <a:xfrm>
              <a:off x="5403851" y="2138364"/>
              <a:ext cx="176213" cy="284163"/>
            </a:xfrm>
            <a:custGeom>
              <a:avLst/>
              <a:gdLst>
                <a:gd name="T0" fmla="*/ 127 w 128"/>
                <a:gd name="T1" fmla="*/ 204 h 207"/>
                <a:gd name="T2" fmla="*/ 2 w 128"/>
                <a:gd name="T3" fmla="*/ 1 h 207"/>
                <a:gd name="T4" fmla="*/ 1 w 128"/>
                <a:gd name="T5" fmla="*/ 2 h 207"/>
                <a:gd name="T6" fmla="*/ 124 w 128"/>
                <a:gd name="T7" fmla="*/ 206 h 207"/>
                <a:gd name="T8" fmla="*/ 127 w 128"/>
                <a:gd name="T9" fmla="*/ 20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207">
                  <a:moveTo>
                    <a:pt x="127" y="204"/>
                  </a:moveTo>
                  <a:cubicBezTo>
                    <a:pt x="85" y="136"/>
                    <a:pt x="44" y="69"/>
                    <a:pt x="2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42" y="70"/>
                    <a:pt x="83" y="138"/>
                    <a:pt x="124" y="206"/>
                  </a:cubicBezTo>
                  <a:cubicBezTo>
                    <a:pt x="125" y="207"/>
                    <a:pt x="128" y="206"/>
                    <a:pt x="127" y="20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iṥļíḓe">
              <a:extLst>
                <a:ext uri="{FF2B5EF4-FFF2-40B4-BE49-F238E27FC236}">
                  <a16:creationId xmlns:a16="http://schemas.microsoft.com/office/drawing/2014/main" id="{40084CF9-3FE7-4F9B-A944-87ED264D285D}"/>
                </a:ext>
              </a:extLst>
            </p:cNvPr>
            <p:cNvSpPr/>
            <p:nvPr/>
          </p:nvSpPr>
          <p:spPr bwMode="auto">
            <a:xfrm>
              <a:off x="5641976" y="2411414"/>
              <a:ext cx="122238" cy="352425"/>
            </a:xfrm>
            <a:custGeom>
              <a:avLst/>
              <a:gdLst>
                <a:gd name="T0" fmla="*/ 2 w 89"/>
                <a:gd name="T1" fmla="*/ 1 h 256"/>
                <a:gd name="T2" fmla="*/ 1 w 89"/>
                <a:gd name="T3" fmla="*/ 2 h 256"/>
                <a:gd name="T4" fmla="*/ 87 w 89"/>
                <a:gd name="T5" fmla="*/ 255 h 256"/>
                <a:gd name="T6" fmla="*/ 89 w 89"/>
                <a:gd name="T7" fmla="*/ 254 h 256"/>
                <a:gd name="T8" fmla="*/ 2 w 89"/>
                <a:gd name="T9" fmla="*/ 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256">
                  <a:moveTo>
                    <a:pt x="2" y="1"/>
                  </a:moveTo>
                  <a:cubicBezTo>
                    <a:pt x="2" y="0"/>
                    <a:pt x="0" y="0"/>
                    <a:pt x="1" y="2"/>
                  </a:cubicBezTo>
                  <a:cubicBezTo>
                    <a:pt x="29" y="86"/>
                    <a:pt x="58" y="170"/>
                    <a:pt x="87" y="255"/>
                  </a:cubicBezTo>
                  <a:cubicBezTo>
                    <a:pt x="87" y="256"/>
                    <a:pt x="89" y="256"/>
                    <a:pt x="89" y="254"/>
                  </a:cubicBezTo>
                  <a:cubicBezTo>
                    <a:pt x="60" y="170"/>
                    <a:pt x="31" y="85"/>
                    <a:pt x="2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iS1îḓe">
              <a:extLst>
                <a:ext uri="{FF2B5EF4-FFF2-40B4-BE49-F238E27FC236}">
                  <a16:creationId xmlns:a16="http://schemas.microsoft.com/office/drawing/2014/main" id="{BD02BEF5-E3A0-4EEE-A736-68B4A340D1AA}"/>
                </a:ext>
              </a:extLst>
            </p:cNvPr>
            <p:cNvSpPr/>
            <p:nvPr/>
          </p:nvSpPr>
          <p:spPr bwMode="auto">
            <a:xfrm>
              <a:off x="5786438" y="3360739"/>
              <a:ext cx="96838" cy="53975"/>
            </a:xfrm>
            <a:custGeom>
              <a:avLst/>
              <a:gdLst>
                <a:gd name="T0" fmla="*/ 68 w 71"/>
                <a:gd name="T1" fmla="*/ 0 h 40"/>
                <a:gd name="T2" fmla="*/ 1 w 71"/>
                <a:gd name="T3" fmla="*/ 38 h 40"/>
                <a:gd name="T4" fmla="*/ 2 w 71"/>
                <a:gd name="T5" fmla="*/ 39 h 40"/>
                <a:gd name="T6" fmla="*/ 69 w 71"/>
                <a:gd name="T7" fmla="*/ 3 h 40"/>
                <a:gd name="T8" fmla="*/ 68 w 71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40">
                  <a:moveTo>
                    <a:pt x="68" y="0"/>
                  </a:moveTo>
                  <a:cubicBezTo>
                    <a:pt x="41" y="1"/>
                    <a:pt x="16" y="15"/>
                    <a:pt x="1" y="38"/>
                  </a:cubicBezTo>
                  <a:cubicBezTo>
                    <a:pt x="0" y="39"/>
                    <a:pt x="2" y="40"/>
                    <a:pt x="2" y="39"/>
                  </a:cubicBezTo>
                  <a:cubicBezTo>
                    <a:pt x="18" y="18"/>
                    <a:pt x="42" y="5"/>
                    <a:pt x="69" y="3"/>
                  </a:cubicBezTo>
                  <a:cubicBezTo>
                    <a:pt x="71" y="3"/>
                    <a:pt x="70" y="0"/>
                    <a:pt x="68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iṡḷídé">
              <a:extLst>
                <a:ext uri="{FF2B5EF4-FFF2-40B4-BE49-F238E27FC236}">
                  <a16:creationId xmlns:a16="http://schemas.microsoft.com/office/drawing/2014/main" id="{AF2C38BE-9A00-4B12-96CD-9F1356DF2CFB}"/>
                </a:ext>
              </a:extLst>
            </p:cNvPr>
            <p:cNvSpPr/>
            <p:nvPr/>
          </p:nvSpPr>
          <p:spPr bwMode="auto">
            <a:xfrm>
              <a:off x="5892801" y="3368676"/>
              <a:ext cx="19050" cy="11113"/>
            </a:xfrm>
            <a:custGeom>
              <a:avLst/>
              <a:gdLst>
                <a:gd name="T0" fmla="*/ 11 w 14"/>
                <a:gd name="T1" fmla="*/ 0 h 8"/>
                <a:gd name="T2" fmla="*/ 1 w 14"/>
                <a:gd name="T3" fmla="*/ 5 h 8"/>
                <a:gd name="T4" fmla="*/ 2 w 14"/>
                <a:gd name="T5" fmla="*/ 7 h 8"/>
                <a:gd name="T6" fmla="*/ 13 w 14"/>
                <a:gd name="T7" fmla="*/ 2 h 8"/>
                <a:gd name="T8" fmla="*/ 11 w 1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8">
                  <a:moveTo>
                    <a:pt x="11" y="0"/>
                  </a:moveTo>
                  <a:cubicBezTo>
                    <a:pt x="8" y="2"/>
                    <a:pt x="4" y="4"/>
                    <a:pt x="1" y="5"/>
                  </a:cubicBezTo>
                  <a:cubicBezTo>
                    <a:pt x="0" y="6"/>
                    <a:pt x="1" y="8"/>
                    <a:pt x="2" y="7"/>
                  </a:cubicBezTo>
                  <a:cubicBezTo>
                    <a:pt x="6" y="6"/>
                    <a:pt x="9" y="4"/>
                    <a:pt x="13" y="2"/>
                  </a:cubicBezTo>
                  <a:cubicBezTo>
                    <a:pt x="14" y="2"/>
                    <a:pt x="13" y="0"/>
                    <a:pt x="11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íśľîdé">
              <a:extLst>
                <a:ext uri="{FF2B5EF4-FFF2-40B4-BE49-F238E27FC236}">
                  <a16:creationId xmlns:a16="http://schemas.microsoft.com/office/drawing/2014/main" id="{165236D7-5FF5-4130-9EB1-E473E7603889}"/>
                </a:ext>
              </a:extLst>
            </p:cNvPr>
            <p:cNvSpPr/>
            <p:nvPr/>
          </p:nvSpPr>
          <p:spPr bwMode="auto">
            <a:xfrm>
              <a:off x="6013451" y="3297239"/>
              <a:ext cx="46038" cy="46038"/>
            </a:xfrm>
            <a:custGeom>
              <a:avLst/>
              <a:gdLst>
                <a:gd name="T0" fmla="*/ 32 w 34"/>
                <a:gd name="T1" fmla="*/ 1 h 34"/>
                <a:gd name="T2" fmla="*/ 1 w 34"/>
                <a:gd name="T3" fmla="*/ 32 h 34"/>
                <a:gd name="T4" fmla="*/ 2 w 34"/>
                <a:gd name="T5" fmla="*/ 33 h 34"/>
                <a:gd name="T6" fmla="*/ 33 w 34"/>
                <a:gd name="T7" fmla="*/ 2 h 34"/>
                <a:gd name="T8" fmla="*/ 32 w 34"/>
                <a:gd name="T9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32" y="1"/>
                  </a:moveTo>
                  <a:cubicBezTo>
                    <a:pt x="21" y="11"/>
                    <a:pt x="11" y="22"/>
                    <a:pt x="1" y="32"/>
                  </a:cubicBezTo>
                  <a:cubicBezTo>
                    <a:pt x="0" y="33"/>
                    <a:pt x="1" y="34"/>
                    <a:pt x="2" y="33"/>
                  </a:cubicBezTo>
                  <a:cubicBezTo>
                    <a:pt x="13" y="23"/>
                    <a:pt x="23" y="13"/>
                    <a:pt x="33" y="2"/>
                  </a:cubicBezTo>
                  <a:cubicBezTo>
                    <a:pt x="34" y="1"/>
                    <a:pt x="32" y="0"/>
                    <a:pt x="32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i$ľíḋè">
              <a:extLst>
                <a:ext uri="{FF2B5EF4-FFF2-40B4-BE49-F238E27FC236}">
                  <a16:creationId xmlns:a16="http://schemas.microsoft.com/office/drawing/2014/main" id="{123F3EB9-A892-4738-BCE8-C42AFC9AA919}"/>
                </a:ext>
              </a:extLst>
            </p:cNvPr>
            <p:cNvSpPr/>
            <p:nvPr/>
          </p:nvSpPr>
          <p:spPr bwMode="auto">
            <a:xfrm>
              <a:off x="6203951" y="3106739"/>
              <a:ext cx="11113" cy="23813"/>
            </a:xfrm>
            <a:custGeom>
              <a:avLst/>
              <a:gdLst>
                <a:gd name="T0" fmla="*/ 6 w 8"/>
                <a:gd name="T1" fmla="*/ 1 h 18"/>
                <a:gd name="T2" fmla="*/ 1 w 8"/>
                <a:gd name="T3" fmla="*/ 16 h 18"/>
                <a:gd name="T4" fmla="*/ 3 w 8"/>
                <a:gd name="T5" fmla="*/ 17 h 18"/>
                <a:gd name="T6" fmla="*/ 8 w 8"/>
                <a:gd name="T7" fmla="*/ 2 h 18"/>
                <a:gd name="T8" fmla="*/ 6 w 8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8">
                  <a:moveTo>
                    <a:pt x="6" y="1"/>
                  </a:moveTo>
                  <a:cubicBezTo>
                    <a:pt x="4" y="6"/>
                    <a:pt x="3" y="11"/>
                    <a:pt x="1" y="16"/>
                  </a:cubicBezTo>
                  <a:cubicBezTo>
                    <a:pt x="0" y="17"/>
                    <a:pt x="2" y="18"/>
                    <a:pt x="3" y="17"/>
                  </a:cubicBezTo>
                  <a:cubicBezTo>
                    <a:pt x="4" y="12"/>
                    <a:pt x="6" y="7"/>
                    <a:pt x="8" y="2"/>
                  </a:cubicBezTo>
                  <a:cubicBezTo>
                    <a:pt x="8" y="1"/>
                    <a:pt x="6" y="0"/>
                    <a:pt x="6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íşļide">
              <a:extLst>
                <a:ext uri="{FF2B5EF4-FFF2-40B4-BE49-F238E27FC236}">
                  <a16:creationId xmlns:a16="http://schemas.microsoft.com/office/drawing/2014/main" id="{DBACE31A-0D70-44C3-8D06-6140BB6E67CF}"/>
                </a:ext>
              </a:extLst>
            </p:cNvPr>
            <p:cNvSpPr/>
            <p:nvPr/>
          </p:nvSpPr>
          <p:spPr bwMode="auto">
            <a:xfrm>
              <a:off x="6308726" y="4303714"/>
              <a:ext cx="342900" cy="290513"/>
            </a:xfrm>
            <a:custGeom>
              <a:avLst/>
              <a:gdLst>
                <a:gd name="T0" fmla="*/ 246 w 249"/>
                <a:gd name="T1" fmla="*/ 207 h 212"/>
                <a:gd name="T2" fmla="*/ 4 w 249"/>
                <a:gd name="T3" fmla="*/ 5 h 212"/>
                <a:gd name="T4" fmla="*/ 153 w 249"/>
                <a:gd name="T5" fmla="*/ 58 h 212"/>
                <a:gd name="T6" fmla="*/ 154 w 249"/>
                <a:gd name="T7" fmla="*/ 54 h 212"/>
                <a:gd name="T8" fmla="*/ 4 w 249"/>
                <a:gd name="T9" fmla="*/ 3 h 212"/>
                <a:gd name="T10" fmla="*/ 3 w 249"/>
                <a:gd name="T11" fmla="*/ 3 h 212"/>
                <a:gd name="T12" fmla="*/ 2 w 249"/>
                <a:gd name="T13" fmla="*/ 1 h 212"/>
                <a:gd name="T14" fmla="*/ 0 w 249"/>
                <a:gd name="T15" fmla="*/ 2 h 212"/>
                <a:gd name="T16" fmla="*/ 245 w 249"/>
                <a:gd name="T17" fmla="*/ 211 h 212"/>
                <a:gd name="T18" fmla="*/ 246 w 249"/>
                <a:gd name="T19" fmla="*/ 207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9" h="212">
                  <a:moveTo>
                    <a:pt x="246" y="207"/>
                  </a:moveTo>
                  <a:cubicBezTo>
                    <a:pt x="135" y="188"/>
                    <a:pt x="41" y="111"/>
                    <a:pt x="4" y="5"/>
                  </a:cubicBezTo>
                  <a:cubicBezTo>
                    <a:pt x="53" y="23"/>
                    <a:pt x="103" y="42"/>
                    <a:pt x="153" y="58"/>
                  </a:cubicBezTo>
                  <a:cubicBezTo>
                    <a:pt x="156" y="59"/>
                    <a:pt x="157" y="55"/>
                    <a:pt x="154" y="54"/>
                  </a:cubicBezTo>
                  <a:cubicBezTo>
                    <a:pt x="105" y="36"/>
                    <a:pt x="54" y="19"/>
                    <a:pt x="4" y="3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2"/>
                    <a:pt x="2" y="2"/>
                    <a:pt x="2" y="1"/>
                  </a:cubicBezTo>
                  <a:cubicBezTo>
                    <a:pt x="2" y="0"/>
                    <a:pt x="0" y="0"/>
                    <a:pt x="0" y="2"/>
                  </a:cubicBezTo>
                  <a:cubicBezTo>
                    <a:pt x="35" y="110"/>
                    <a:pt x="132" y="195"/>
                    <a:pt x="245" y="211"/>
                  </a:cubicBezTo>
                  <a:cubicBezTo>
                    <a:pt x="248" y="212"/>
                    <a:pt x="249" y="208"/>
                    <a:pt x="246" y="20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ŝlïḍê">
              <a:extLst>
                <a:ext uri="{FF2B5EF4-FFF2-40B4-BE49-F238E27FC236}">
                  <a16:creationId xmlns:a16="http://schemas.microsoft.com/office/drawing/2014/main" id="{3F111426-1840-4D75-A00B-AB5B42DFC995}"/>
                </a:ext>
              </a:extLst>
            </p:cNvPr>
            <p:cNvSpPr/>
            <p:nvPr/>
          </p:nvSpPr>
          <p:spPr bwMode="auto">
            <a:xfrm>
              <a:off x="6321426" y="4179889"/>
              <a:ext cx="179388" cy="130175"/>
            </a:xfrm>
            <a:custGeom>
              <a:avLst/>
              <a:gdLst>
                <a:gd name="T0" fmla="*/ 128 w 130"/>
                <a:gd name="T1" fmla="*/ 91 h 95"/>
                <a:gd name="T2" fmla="*/ 3 w 130"/>
                <a:gd name="T3" fmla="*/ 1 h 95"/>
                <a:gd name="T4" fmla="*/ 1 w 130"/>
                <a:gd name="T5" fmla="*/ 2 h 95"/>
                <a:gd name="T6" fmla="*/ 125 w 130"/>
                <a:gd name="T7" fmla="*/ 93 h 95"/>
                <a:gd name="T8" fmla="*/ 128 w 130"/>
                <a:gd name="T9" fmla="*/ 9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95">
                  <a:moveTo>
                    <a:pt x="128" y="91"/>
                  </a:moveTo>
                  <a:cubicBezTo>
                    <a:pt x="86" y="60"/>
                    <a:pt x="44" y="30"/>
                    <a:pt x="3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43" y="33"/>
                    <a:pt x="84" y="64"/>
                    <a:pt x="125" y="93"/>
                  </a:cubicBezTo>
                  <a:cubicBezTo>
                    <a:pt x="128" y="95"/>
                    <a:pt x="130" y="92"/>
                    <a:pt x="128" y="9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ïṣļîďè">
              <a:extLst>
                <a:ext uri="{FF2B5EF4-FFF2-40B4-BE49-F238E27FC236}">
                  <a16:creationId xmlns:a16="http://schemas.microsoft.com/office/drawing/2014/main" id="{C36F39D5-021C-497A-81CC-3645D1CF89D7}"/>
                </a:ext>
              </a:extLst>
            </p:cNvPr>
            <p:cNvSpPr/>
            <p:nvPr/>
          </p:nvSpPr>
          <p:spPr bwMode="auto">
            <a:xfrm>
              <a:off x="6519863" y="4327526"/>
              <a:ext cx="93663" cy="87313"/>
            </a:xfrm>
            <a:custGeom>
              <a:avLst/>
              <a:gdLst>
                <a:gd name="T0" fmla="*/ 65 w 68"/>
                <a:gd name="T1" fmla="*/ 58 h 64"/>
                <a:gd name="T2" fmla="*/ 3 w 68"/>
                <a:gd name="T3" fmla="*/ 1 h 64"/>
                <a:gd name="T4" fmla="*/ 1 w 68"/>
                <a:gd name="T5" fmla="*/ 3 h 64"/>
                <a:gd name="T6" fmla="*/ 63 w 68"/>
                <a:gd name="T7" fmla="*/ 62 h 64"/>
                <a:gd name="T8" fmla="*/ 65 w 68"/>
                <a:gd name="T9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4">
                  <a:moveTo>
                    <a:pt x="65" y="58"/>
                  </a:moveTo>
                  <a:cubicBezTo>
                    <a:pt x="45" y="39"/>
                    <a:pt x="24" y="20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21" y="23"/>
                    <a:pt x="42" y="43"/>
                    <a:pt x="63" y="62"/>
                  </a:cubicBezTo>
                  <a:cubicBezTo>
                    <a:pt x="65" y="64"/>
                    <a:pt x="68" y="61"/>
                    <a:pt x="65" y="5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îṥ1ídê">
              <a:extLst>
                <a:ext uri="{FF2B5EF4-FFF2-40B4-BE49-F238E27FC236}">
                  <a16:creationId xmlns:a16="http://schemas.microsoft.com/office/drawing/2014/main" id="{F59B08A6-943E-4204-8443-A9CC23E44DD6}"/>
                </a:ext>
              </a:extLst>
            </p:cNvPr>
            <p:cNvSpPr/>
            <p:nvPr/>
          </p:nvSpPr>
          <p:spPr bwMode="auto">
            <a:xfrm>
              <a:off x="6599238" y="4416426"/>
              <a:ext cx="11113" cy="23813"/>
            </a:xfrm>
            <a:custGeom>
              <a:avLst/>
              <a:gdLst>
                <a:gd name="T0" fmla="*/ 3 w 8"/>
                <a:gd name="T1" fmla="*/ 2 h 17"/>
                <a:gd name="T2" fmla="*/ 0 w 8"/>
                <a:gd name="T3" fmla="*/ 15 h 17"/>
                <a:gd name="T4" fmla="*/ 2 w 8"/>
                <a:gd name="T5" fmla="*/ 16 h 17"/>
                <a:gd name="T6" fmla="*/ 7 w 8"/>
                <a:gd name="T7" fmla="*/ 4 h 17"/>
                <a:gd name="T8" fmla="*/ 3 w 8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7">
                  <a:moveTo>
                    <a:pt x="3" y="2"/>
                  </a:moveTo>
                  <a:cubicBezTo>
                    <a:pt x="2" y="6"/>
                    <a:pt x="1" y="11"/>
                    <a:pt x="0" y="15"/>
                  </a:cubicBezTo>
                  <a:cubicBezTo>
                    <a:pt x="0" y="17"/>
                    <a:pt x="2" y="17"/>
                    <a:pt x="2" y="16"/>
                  </a:cubicBezTo>
                  <a:cubicBezTo>
                    <a:pt x="4" y="12"/>
                    <a:pt x="6" y="8"/>
                    <a:pt x="7" y="4"/>
                  </a:cubicBezTo>
                  <a:cubicBezTo>
                    <a:pt x="8" y="2"/>
                    <a:pt x="4" y="0"/>
                    <a:pt x="3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ṩľïdé">
              <a:extLst>
                <a:ext uri="{FF2B5EF4-FFF2-40B4-BE49-F238E27FC236}">
                  <a16:creationId xmlns:a16="http://schemas.microsoft.com/office/drawing/2014/main" id="{B460504C-6E00-45C4-A742-1FF42AFAC60A}"/>
                </a:ext>
              </a:extLst>
            </p:cNvPr>
            <p:cNvSpPr/>
            <p:nvPr/>
          </p:nvSpPr>
          <p:spPr bwMode="auto">
            <a:xfrm>
              <a:off x="6473826" y="4344989"/>
              <a:ext cx="41275" cy="26988"/>
            </a:xfrm>
            <a:custGeom>
              <a:avLst/>
              <a:gdLst>
                <a:gd name="T0" fmla="*/ 27 w 29"/>
                <a:gd name="T1" fmla="*/ 17 h 20"/>
                <a:gd name="T2" fmla="*/ 2 w 29"/>
                <a:gd name="T3" fmla="*/ 1 h 20"/>
                <a:gd name="T4" fmla="*/ 1 w 29"/>
                <a:gd name="T5" fmla="*/ 2 h 20"/>
                <a:gd name="T6" fmla="*/ 26 w 29"/>
                <a:gd name="T7" fmla="*/ 19 h 20"/>
                <a:gd name="T8" fmla="*/ 27 w 29"/>
                <a:gd name="T9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0">
                  <a:moveTo>
                    <a:pt x="27" y="17"/>
                  </a:moveTo>
                  <a:cubicBezTo>
                    <a:pt x="19" y="12"/>
                    <a:pt x="11" y="6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9" y="8"/>
                    <a:pt x="18" y="13"/>
                    <a:pt x="26" y="19"/>
                  </a:cubicBezTo>
                  <a:cubicBezTo>
                    <a:pt x="27" y="20"/>
                    <a:pt x="29" y="18"/>
                    <a:pt x="27" y="1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ïṥḷïdê">
              <a:extLst>
                <a:ext uri="{FF2B5EF4-FFF2-40B4-BE49-F238E27FC236}">
                  <a16:creationId xmlns:a16="http://schemas.microsoft.com/office/drawing/2014/main" id="{7FD2DD04-BCA8-4249-8723-A68F856034B8}"/>
                </a:ext>
              </a:extLst>
            </p:cNvPr>
            <p:cNvSpPr/>
            <p:nvPr/>
          </p:nvSpPr>
          <p:spPr bwMode="auto">
            <a:xfrm>
              <a:off x="6276976" y="4102101"/>
              <a:ext cx="301625" cy="184150"/>
            </a:xfrm>
            <a:custGeom>
              <a:avLst/>
              <a:gdLst>
                <a:gd name="T0" fmla="*/ 216 w 219"/>
                <a:gd name="T1" fmla="*/ 130 h 134"/>
                <a:gd name="T2" fmla="*/ 99 w 219"/>
                <a:gd name="T3" fmla="*/ 89 h 134"/>
                <a:gd name="T4" fmla="*/ 3 w 219"/>
                <a:gd name="T5" fmla="*/ 1 h 134"/>
                <a:gd name="T6" fmla="*/ 1 w 219"/>
                <a:gd name="T7" fmla="*/ 2 h 134"/>
                <a:gd name="T8" fmla="*/ 216 w 219"/>
                <a:gd name="T9" fmla="*/ 134 h 134"/>
                <a:gd name="T10" fmla="*/ 216 w 219"/>
                <a:gd name="T11" fmla="*/ 13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9" h="134">
                  <a:moveTo>
                    <a:pt x="216" y="130"/>
                  </a:moveTo>
                  <a:cubicBezTo>
                    <a:pt x="175" y="123"/>
                    <a:pt x="135" y="110"/>
                    <a:pt x="99" y="89"/>
                  </a:cubicBezTo>
                  <a:cubicBezTo>
                    <a:pt x="60" y="66"/>
                    <a:pt x="31" y="35"/>
                    <a:pt x="3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44" y="74"/>
                    <a:pt x="134" y="124"/>
                    <a:pt x="216" y="134"/>
                  </a:cubicBezTo>
                  <a:cubicBezTo>
                    <a:pt x="218" y="134"/>
                    <a:pt x="219" y="131"/>
                    <a:pt x="216" y="13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îşlïďè">
              <a:extLst>
                <a:ext uri="{FF2B5EF4-FFF2-40B4-BE49-F238E27FC236}">
                  <a16:creationId xmlns:a16="http://schemas.microsoft.com/office/drawing/2014/main" id="{3FF43547-778F-4A1E-921B-1687379A3E60}"/>
                </a:ext>
              </a:extLst>
            </p:cNvPr>
            <p:cNvSpPr/>
            <p:nvPr/>
          </p:nvSpPr>
          <p:spPr bwMode="auto">
            <a:xfrm>
              <a:off x="6353176" y="4043364"/>
              <a:ext cx="225425" cy="198438"/>
            </a:xfrm>
            <a:custGeom>
              <a:avLst/>
              <a:gdLst>
                <a:gd name="T0" fmla="*/ 161 w 164"/>
                <a:gd name="T1" fmla="*/ 139 h 144"/>
                <a:gd name="T2" fmla="*/ 2 w 164"/>
                <a:gd name="T3" fmla="*/ 1 h 144"/>
                <a:gd name="T4" fmla="*/ 1 w 164"/>
                <a:gd name="T5" fmla="*/ 2 h 144"/>
                <a:gd name="T6" fmla="*/ 160 w 164"/>
                <a:gd name="T7" fmla="*/ 142 h 144"/>
                <a:gd name="T8" fmla="*/ 161 w 164"/>
                <a:gd name="T9" fmla="*/ 13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44">
                  <a:moveTo>
                    <a:pt x="161" y="139"/>
                  </a:moveTo>
                  <a:cubicBezTo>
                    <a:pt x="96" y="106"/>
                    <a:pt x="44" y="62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37" y="63"/>
                    <a:pt x="95" y="114"/>
                    <a:pt x="160" y="142"/>
                  </a:cubicBezTo>
                  <a:cubicBezTo>
                    <a:pt x="162" y="144"/>
                    <a:pt x="164" y="140"/>
                    <a:pt x="161" y="13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îṥḷíḑè">
              <a:extLst>
                <a:ext uri="{FF2B5EF4-FFF2-40B4-BE49-F238E27FC236}">
                  <a16:creationId xmlns:a16="http://schemas.microsoft.com/office/drawing/2014/main" id="{C390F8F2-B460-4679-8EC2-DB3F9275EC42}"/>
                </a:ext>
              </a:extLst>
            </p:cNvPr>
            <p:cNvSpPr/>
            <p:nvPr/>
          </p:nvSpPr>
          <p:spPr bwMode="auto">
            <a:xfrm>
              <a:off x="6572251" y="4276726"/>
              <a:ext cx="49213" cy="3175"/>
            </a:xfrm>
            <a:custGeom>
              <a:avLst/>
              <a:gdLst>
                <a:gd name="T0" fmla="*/ 34 w 36"/>
                <a:gd name="T1" fmla="*/ 0 h 3"/>
                <a:gd name="T2" fmla="*/ 1 w 36"/>
                <a:gd name="T3" fmla="*/ 1 h 3"/>
                <a:gd name="T4" fmla="*/ 1 w 36"/>
                <a:gd name="T5" fmla="*/ 3 h 3"/>
                <a:gd name="T6" fmla="*/ 35 w 36"/>
                <a:gd name="T7" fmla="*/ 3 h 3"/>
                <a:gd name="T8" fmla="*/ 34 w 3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">
                  <a:moveTo>
                    <a:pt x="34" y="0"/>
                  </a:moveTo>
                  <a:cubicBezTo>
                    <a:pt x="23" y="0"/>
                    <a:pt x="12" y="0"/>
                    <a:pt x="1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12" y="3"/>
                    <a:pt x="24" y="3"/>
                    <a:pt x="35" y="3"/>
                  </a:cubicBezTo>
                  <a:cubicBezTo>
                    <a:pt x="36" y="3"/>
                    <a:pt x="36" y="0"/>
                    <a:pt x="34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ṥlïḓê">
              <a:extLst>
                <a:ext uri="{FF2B5EF4-FFF2-40B4-BE49-F238E27FC236}">
                  <a16:creationId xmlns:a16="http://schemas.microsoft.com/office/drawing/2014/main" id="{40E5C8BA-A2D9-49C8-8C05-FDC9851B19B1}"/>
                </a:ext>
              </a:extLst>
            </p:cNvPr>
            <p:cNvSpPr/>
            <p:nvPr/>
          </p:nvSpPr>
          <p:spPr bwMode="auto">
            <a:xfrm>
              <a:off x="6594476" y="4246564"/>
              <a:ext cx="34925" cy="30163"/>
            </a:xfrm>
            <a:custGeom>
              <a:avLst/>
              <a:gdLst>
                <a:gd name="T0" fmla="*/ 23 w 25"/>
                <a:gd name="T1" fmla="*/ 18 h 21"/>
                <a:gd name="T2" fmla="*/ 2 w 25"/>
                <a:gd name="T3" fmla="*/ 1 h 21"/>
                <a:gd name="T4" fmla="*/ 1 w 25"/>
                <a:gd name="T5" fmla="*/ 3 h 21"/>
                <a:gd name="T6" fmla="*/ 22 w 25"/>
                <a:gd name="T7" fmla="*/ 20 h 21"/>
                <a:gd name="T8" fmla="*/ 23 w 25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23" y="18"/>
                  </a:moveTo>
                  <a:cubicBezTo>
                    <a:pt x="16" y="12"/>
                    <a:pt x="9" y="7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8" y="8"/>
                    <a:pt x="15" y="14"/>
                    <a:pt x="22" y="20"/>
                  </a:cubicBezTo>
                  <a:cubicBezTo>
                    <a:pt x="23" y="21"/>
                    <a:pt x="25" y="19"/>
                    <a:pt x="23" y="1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i$ḷîḑé">
              <a:extLst>
                <a:ext uri="{FF2B5EF4-FFF2-40B4-BE49-F238E27FC236}">
                  <a16:creationId xmlns:a16="http://schemas.microsoft.com/office/drawing/2014/main" id="{B0AB8847-C272-448C-8569-0353E69FF949}"/>
                </a:ext>
              </a:extLst>
            </p:cNvPr>
            <p:cNvSpPr/>
            <p:nvPr/>
          </p:nvSpPr>
          <p:spPr bwMode="auto">
            <a:xfrm>
              <a:off x="6492876" y="4151314"/>
              <a:ext cx="209550" cy="103188"/>
            </a:xfrm>
            <a:custGeom>
              <a:avLst/>
              <a:gdLst>
                <a:gd name="T0" fmla="*/ 151 w 153"/>
                <a:gd name="T1" fmla="*/ 70 h 75"/>
                <a:gd name="T2" fmla="*/ 2 w 153"/>
                <a:gd name="T3" fmla="*/ 1 h 75"/>
                <a:gd name="T4" fmla="*/ 1 w 153"/>
                <a:gd name="T5" fmla="*/ 2 h 75"/>
                <a:gd name="T6" fmla="*/ 150 w 153"/>
                <a:gd name="T7" fmla="*/ 74 h 75"/>
                <a:gd name="T8" fmla="*/ 151 w 153"/>
                <a:gd name="T9" fmla="*/ 7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75">
                  <a:moveTo>
                    <a:pt x="151" y="70"/>
                  </a:moveTo>
                  <a:cubicBezTo>
                    <a:pt x="96" y="57"/>
                    <a:pt x="46" y="36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44" y="37"/>
                    <a:pt x="95" y="64"/>
                    <a:pt x="150" y="74"/>
                  </a:cubicBezTo>
                  <a:cubicBezTo>
                    <a:pt x="153" y="75"/>
                    <a:pt x="153" y="71"/>
                    <a:pt x="151" y="7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îṥļîďê">
              <a:extLst>
                <a:ext uri="{FF2B5EF4-FFF2-40B4-BE49-F238E27FC236}">
                  <a16:creationId xmlns:a16="http://schemas.microsoft.com/office/drawing/2014/main" id="{3949A16B-8E41-4FC6-8BDE-06D8A786F839}"/>
                </a:ext>
              </a:extLst>
            </p:cNvPr>
            <p:cNvSpPr/>
            <p:nvPr/>
          </p:nvSpPr>
          <p:spPr bwMode="auto">
            <a:xfrm>
              <a:off x="6645276" y="4202114"/>
              <a:ext cx="80963" cy="57150"/>
            </a:xfrm>
            <a:custGeom>
              <a:avLst/>
              <a:gdLst>
                <a:gd name="T0" fmla="*/ 58 w 59"/>
                <a:gd name="T1" fmla="*/ 37 h 42"/>
                <a:gd name="T2" fmla="*/ 3 w 59"/>
                <a:gd name="T3" fmla="*/ 1 h 42"/>
                <a:gd name="T4" fmla="*/ 2 w 59"/>
                <a:gd name="T5" fmla="*/ 2 h 42"/>
                <a:gd name="T6" fmla="*/ 56 w 59"/>
                <a:gd name="T7" fmla="*/ 40 h 42"/>
                <a:gd name="T8" fmla="*/ 58 w 59"/>
                <a:gd name="T9" fmla="*/ 3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42">
                  <a:moveTo>
                    <a:pt x="58" y="37"/>
                  </a:moveTo>
                  <a:cubicBezTo>
                    <a:pt x="40" y="24"/>
                    <a:pt x="21" y="13"/>
                    <a:pt x="3" y="1"/>
                  </a:cubicBezTo>
                  <a:cubicBezTo>
                    <a:pt x="2" y="0"/>
                    <a:pt x="0" y="1"/>
                    <a:pt x="2" y="2"/>
                  </a:cubicBezTo>
                  <a:cubicBezTo>
                    <a:pt x="20" y="15"/>
                    <a:pt x="37" y="29"/>
                    <a:pt x="56" y="40"/>
                  </a:cubicBezTo>
                  <a:cubicBezTo>
                    <a:pt x="58" y="42"/>
                    <a:pt x="59" y="38"/>
                    <a:pt x="58" y="3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sľïde">
              <a:extLst>
                <a:ext uri="{FF2B5EF4-FFF2-40B4-BE49-F238E27FC236}">
                  <a16:creationId xmlns:a16="http://schemas.microsoft.com/office/drawing/2014/main" id="{E662B24D-FC89-4433-AD43-D6562F2315BB}"/>
                </a:ext>
              </a:extLst>
            </p:cNvPr>
            <p:cNvSpPr/>
            <p:nvPr/>
          </p:nvSpPr>
          <p:spPr bwMode="auto">
            <a:xfrm>
              <a:off x="5737226" y="2513014"/>
              <a:ext cx="114300" cy="469900"/>
            </a:xfrm>
            <a:custGeom>
              <a:avLst/>
              <a:gdLst>
                <a:gd name="T0" fmla="*/ 3 w 82"/>
                <a:gd name="T1" fmla="*/ 2 h 342"/>
                <a:gd name="T2" fmla="*/ 1 w 82"/>
                <a:gd name="T3" fmla="*/ 2 h 342"/>
                <a:gd name="T4" fmla="*/ 78 w 82"/>
                <a:gd name="T5" fmla="*/ 339 h 342"/>
                <a:gd name="T6" fmla="*/ 82 w 82"/>
                <a:gd name="T7" fmla="*/ 339 h 342"/>
                <a:gd name="T8" fmla="*/ 3 w 82"/>
                <a:gd name="T9" fmla="*/ 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42">
                  <a:moveTo>
                    <a:pt x="3" y="2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48" y="109"/>
                    <a:pt x="73" y="223"/>
                    <a:pt x="78" y="339"/>
                  </a:cubicBezTo>
                  <a:cubicBezTo>
                    <a:pt x="78" y="342"/>
                    <a:pt x="82" y="342"/>
                    <a:pt x="82" y="339"/>
                  </a:cubicBezTo>
                  <a:cubicBezTo>
                    <a:pt x="78" y="223"/>
                    <a:pt x="50" y="108"/>
                    <a:pt x="3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şḷîḓé">
              <a:extLst>
                <a:ext uri="{FF2B5EF4-FFF2-40B4-BE49-F238E27FC236}">
                  <a16:creationId xmlns:a16="http://schemas.microsoft.com/office/drawing/2014/main" id="{9117BC06-81DE-4057-8E4F-E94520C1CB6F}"/>
                </a:ext>
              </a:extLst>
            </p:cNvPr>
            <p:cNvSpPr/>
            <p:nvPr/>
          </p:nvSpPr>
          <p:spPr bwMode="auto">
            <a:xfrm>
              <a:off x="5729288" y="2497139"/>
              <a:ext cx="26988" cy="168275"/>
            </a:xfrm>
            <a:custGeom>
              <a:avLst/>
              <a:gdLst>
                <a:gd name="T0" fmla="*/ 3 w 19"/>
                <a:gd name="T1" fmla="*/ 2 h 122"/>
                <a:gd name="T2" fmla="*/ 1 w 19"/>
                <a:gd name="T3" fmla="*/ 2 h 122"/>
                <a:gd name="T4" fmla="*/ 15 w 19"/>
                <a:gd name="T5" fmla="*/ 120 h 122"/>
                <a:gd name="T6" fmla="*/ 19 w 19"/>
                <a:gd name="T7" fmla="*/ 119 h 122"/>
                <a:gd name="T8" fmla="*/ 3 w 19"/>
                <a:gd name="T9" fmla="*/ 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22">
                  <a:moveTo>
                    <a:pt x="3" y="2"/>
                  </a:moveTo>
                  <a:cubicBezTo>
                    <a:pt x="2" y="1"/>
                    <a:pt x="0" y="0"/>
                    <a:pt x="1" y="2"/>
                  </a:cubicBezTo>
                  <a:cubicBezTo>
                    <a:pt x="5" y="41"/>
                    <a:pt x="10" y="80"/>
                    <a:pt x="15" y="120"/>
                  </a:cubicBezTo>
                  <a:cubicBezTo>
                    <a:pt x="15" y="122"/>
                    <a:pt x="19" y="122"/>
                    <a:pt x="19" y="119"/>
                  </a:cubicBezTo>
                  <a:cubicBezTo>
                    <a:pt x="14" y="80"/>
                    <a:pt x="8" y="41"/>
                    <a:pt x="3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iSḻiďé">
              <a:extLst>
                <a:ext uri="{FF2B5EF4-FFF2-40B4-BE49-F238E27FC236}">
                  <a16:creationId xmlns:a16="http://schemas.microsoft.com/office/drawing/2014/main" id="{42A02234-0411-42DC-9599-260B127A931A}"/>
                </a:ext>
              </a:extLst>
            </p:cNvPr>
            <p:cNvSpPr/>
            <p:nvPr/>
          </p:nvSpPr>
          <p:spPr bwMode="auto">
            <a:xfrm>
              <a:off x="5816601" y="2655889"/>
              <a:ext cx="157163" cy="522288"/>
            </a:xfrm>
            <a:custGeom>
              <a:avLst/>
              <a:gdLst>
                <a:gd name="T0" fmla="*/ 3 w 114"/>
                <a:gd name="T1" fmla="*/ 1 h 379"/>
                <a:gd name="T2" fmla="*/ 1 w 114"/>
                <a:gd name="T3" fmla="*/ 1 h 379"/>
                <a:gd name="T4" fmla="*/ 111 w 114"/>
                <a:gd name="T5" fmla="*/ 376 h 379"/>
                <a:gd name="T6" fmla="*/ 114 w 114"/>
                <a:gd name="T7" fmla="*/ 376 h 379"/>
                <a:gd name="T8" fmla="*/ 3 w 114"/>
                <a:gd name="T9" fmla="*/ 1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379">
                  <a:moveTo>
                    <a:pt x="3" y="1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64" y="118"/>
                    <a:pt x="100" y="244"/>
                    <a:pt x="111" y="376"/>
                  </a:cubicBezTo>
                  <a:cubicBezTo>
                    <a:pt x="111" y="378"/>
                    <a:pt x="114" y="379"/>
                    <a:pt x="114" y="376"/>
                  </a:cubicBezTo>
                  <a:cubicBezTo>
                    <a:pt x="107" y="245"/>
                    <a:pt x="67" y="115"/>
                    <a:pt x="3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íşḻïḓê">
              <a:extLst>
                <a:ext uri="{FF2B5EF4-FFF2-40B4-BE49-F238E27FC236}">
                  <a16:creationId xmlns:a16="http://schemas.microsoft.com/office/drawing/2014/main" id="{DCEF405E-2B9F-438F-B58C-5E46AF65C8B8}"/>
                </a:ext>
              </a:extLst>
            </p:cNvPr>
            <p:cNvSpPr/>
            <p:nvPr/>
          </p:nvSpPr>
          <p:spPr bwMode="auto">
            <a:xfrm>
              <a:off x="5819776" y="2693989"/>
              <a:ext cx="39688" cy="192088"/>
            </a:xfrm>
            <a:custGeom>
              <a:avLst/>
              <a:gdLst>
                <a:gd name="T0" fmla="*/ 2 w 29"/>
                <a:gd name="T1" fmla="*/ 1 h 140"/>
                <a:gd name="T2" fmla="*/ 0 w 29"/>
                <a:gd name="T3" fmla="*/ 1 h 140"/>
                <a:gd name="T4" fmla="*/ 25 w 29"/>
                <a:gd name="T5" fmla="*/ 138 h 140"/>
                <a:gd name="T6" fmla="*/ 29 w 29"/>
                <a:gd name="T7" fmla="*/ 138 h 140"/>
                <a:gd name="T8" fmla="*/ 2 w 29"/>
                <a:gd name="T9" fmla="*/ 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40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7" y="47"/>
                    <a:pt x="16" y="93"/>
                    <a:pt x="25" y="138"/>
                  </a:cubicBezTo>
                  <a:cubicBezTo>
                    <a:pt x="25" y="140"/>
                    <a:pt x="29" y="140"/>
                    <a:pt x="29" y="138"/>
                  </a:cubicBezTo>
                  <a:cubicBezTo>
                    <a:pt x="21" y="92"/>
                    <a:pt x="12" y="46"/>
                    <a:pt x="2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ïSlîḋè">
              <a:extLst>
                <a:ext uri="{FF2B5EF4-FFF2-40B4-BE49-F238E27FC236}">
                  <a16:creationId xmlns:a16="http://schemas.microsoft.com/office/drawing/2014/main" id="{76D6BE8D-77AD-4867-80E8-94AB744484E3}"/>
                </a:ext>
              </a:extLst>
            </p:cNvPr>
            <p:cNvSpPr/>
            <p:nvPr/>
          </p:nvSpPr>
          <p:spPr bwMode="auto">
            <a:xfrm>
              <a:off x="5364163" y="2481264"/>
              <a:ext cx="344488" cy="787400"/>
            </a:xfrm>
            <a:custGeom>
              <a:avLst/>
              <a:gdLst>
                <a:gd name="T0" fmla="*/ 249 w 250"/>
                <a:gd name="T1" fmla="*/ 569 h 573"/>
                <a:gd name="T2" fmla="*/ 6 w 250"/>
                <a:gd name="T3" fmla="*/ 29 h 573"/>
                <a:gd name="T4" fmla="*/ 5 w 250"/>
                <a:gd name="T5" fmla="*/ 18 h 573"/>
                <a:gd name="T6" fmla="*/ 13 w 250"/>
                <a:gd name="T7" fmla="*/ 12 h 573"/>
                <a:gd name="T8" fmla="*/ 44 w 250"/>
                <a:gd name="T9" fmla="*/ 38 h 573"/>
                <a:gd name="T10" fmla="*/ 99 w 250"/>
                <a:gd name="T11" fmla="*/ 112 h 573"/>
                <a:gd name="T12" fmla="*/ 100 w 250"/>
                <a:gd name="T13" fmla="*/ 113 h 573"/>
                <a:gd name="T14" fmla="*/ 144 w 250"/>
                <a:gd name="T15" fmla="*/ 187 h 573"/>
                <a:gd name="T16" fmla="*/ 146 w 250"/>
                <a:gd name="T17" fmla="*/ 185 h 573"/>
                <a:gd name="T18" fmla="*/ 102 w 250"/>
                <a:gd name="T19" fmla="*/ 113 h 573"/>
                <a:gd name="T20" fmla="*/ 102 w 250"/>
                <a:gd name="T21" fmla="*/ 111 h 573"/>
                <a:gd name="T22" fmla="*/ 4 w 250"/>
                <a:gd name="T23" fmla="*/ 1 h 573"/>
                <a:gd name="T24" fmla="*/ 1 w 250"/>
                <a:gd name="T25" fmla="*/ 2 h 573"/>
                <a:gd name="T26" fmla="*/ 3 w 250"/>
                <a:gd name="T27" fmla="*/ 23 h 573"/>
                <a:gd name="T28" fmla="*/ 2 w 250"/>
                <a:gd name="T29" fmla="*/ 22 h 573"/>
                <a:gd name="T30" fmla="*/ 0 w 250"/>
                <a:gd name="T31" fmla="*/ 23 h 573"/>
                <a:gd name="T32" fmla="*/ 3 w 250"/>
                <a:gd name="T33" fmla="*/ 28 h 573"/>
                <a:gd name="T34" fmla="*/ 3 w 250"/>
                <a:gd name="T35" fmla="*/ 34 h 573"/>
                <a:gd name="T36" fmla="*/ 6 w 250"/>
                <a:gd name="T37" fmla="*/ 34 h 573"/>
                <a:gd name="T38" fmla="*/ 6 w 250"/>
                <a:gd name="T39" fmla="*/ 33 h 573"/>
                <a:gd name="T40" fmla="*/ 244 w 250"/>
                <a:gd name="T41" fmla="*/ 570 h 573"/>
                <a:gd name="T42" fmla="*/ 249 w 250"/>
                <a:gd name="T43" fmla="*/ 569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0" h="573">
                  <a:moveTo>
                    <a:pt x="249" y="569"/>
                  </a:moveTo>
                  <a:cubicBezTo>
                    <a:pt x="183" y="383"/>
                    <a:pt x="100" y="202"/>
                    <a:pt x="6" y="29"/>
                  </a:cubicBezTo>
                  <a:cubicBezTo>
                    <a:pt x="5" y="25"/>
                    <a:pt x="5" y="21"/>
                    <a:pt x="5" y="18"/>
                  </a:cubicBezTo>
                  <a:cubicBezTo>
                    <a:pt x="6" y="8"/>
                    <a:pt x="4" y="7"/>
                    <a:pt x="13" y="12"/>
                  </a:cubicBezTo>
                  <a:cubicBezTo>
                    <a:pt x="24" y="18"/>
                    <a:pt x="34" y="29"/>
                    <a:pt x="44" y="38"/>
                  </a:cubicBezTo>
                  <a:cubicBezTo>
                    <a:pt x="66" y="60"/>
                    <a:pt x="84" y="85"/>
                    <a:pt x="99" y="112"/>
                  </a:cubicBezTo>
                  <a:cubicBezTo>
                    <a:pt x="99" y="113"/>
                    <a:pt x="99" y="113"/>
                    <a:pt x="100" y="113"/>
                  </a:cubicBezTo>
                  <a:cubicBezTo>
                    <a:pt x="114" y="138"/>
                    <a:pt x="129" y="162"/>
                    <a:pt x="144" y="187"/>
                  </a:cubicBezTo>
                  <a:cubicBezTo>
                    <a:pt x="145" y="188"/>
                    <a:pt x="147" y="187"/>
                    <a:pt x="146" y="185"/>
                  </a:cubicBezTo>
                  <a:cubicBezTo>
                    <a:pt x="132" y="161"/>
                    <a:pt x="117" y="137"/>
                    <a:pt x="102" y="113"/>
                  </a:cubicBezTo>
                  <a:cubicBezTo>
                    <a:pt x="102" y="113"/>
                    <a:pt x="103" y="112"/>
                    <a:pt x="102" y="111"/>
                  </a:cubicBezTo>
                  <a:cubicBezTo>
                    <a:pt x="80" y="67"/>
                    <a:pt x="46" y="29"/>
                    <a:pt x="4" y="1"/>
                  </a:cubicBezTo>
                  <a:cubicBezTo>
                    <a:pt x="3" y="0"/>
                    <a:pt x="1" y="1"/>
                    <a:pt x="1" y="2"/>
                  </a:cubicBezTo>
                  <a:cubicBezTo>
                    <a:pt x="2" y="9"/>
                    <a:pt x="2" y="16"/>
                    <a:pt x="3" y="23"/>
                  </a:cubicBezTo>
                  <a:cubicBezTo>
                    <a:pt x="2" y="23"/>
                    <a:pt x="2" y="23"/>
                    <a:pt x="2" y="22"/>
                  </a:cubicBezTo>
                  <a:cubicBezTo>
                    <a:pt x="1" y="21"/>
                    <a:pt x="0" y="22"/>
                    <a:pt x="0" y="23"/>
                  </a:cubicBezTo>
                  <a:cubicBezTo>
                    <a:pt x="1" y="24"/>
                    <a:pt x="2" y="26"/>
                    <a:pt x="3" y="28"/>
                  </a:cubicBezTo>
                  <a:cubicBezTo>
                    <a:pt x="3" y="30"/>
                    <a:pt x="3" y="32"/>
                    <a:pt x="3" y="34"/>
                  </a:cubicBezTo>
                  <a:cubicBezTo>
                    <a:pt x="3" y="35"/>
                    <a:pt x="6" y="35"/>
                    <a:pt x="6" y="34"/>
                  </a:cubicBezTo>
                  <a:cubicBezTo>
                    <a:pt x="6" y="34"/>
                    <a:pt x="6" y="33"/>
                    <a:pt x="6" y="33"/>
                  </a:cubicBezTo>
                  <a:cubicBezTo>
                    <a:pt x="98" y="206"/>
                    <a:pt x="176" y="386"/>
                    <a:pt x="244" y="570"/>
                  </a:cubicBezTo>
                  <a:cubicBezTo>
                    <a:pt x="245" y="573"/>
                    <a:pt x="250" y="572"/>
                    <a:pt x="249" y="56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ïṧļïḋè">
              <a:extLst>
                <a:ext uri="{FF2B5EF4-FFF2-40B4-BE49-F238E27FC236}">
                  <a16:creationId xmlns:a16="http://schemas.microsoft.com/office/drawing/2014/main" id="{46492981-3243-4F75-AE36-72EF2C9F8550}"/>
                </a:ext>
              </a:extLst>
            </p:cNvPr>
            <p:cNvSpPr/>
            <p:nvPr/>
          </p:nvSpPr>
          <p:spPr bwMode="auto">
            <a:xfrm>
              <a:off x="5370513" y="2384426"/>
              <a:ext cx="163513" cy="280988"/>
            </a:xfrm>
            <a:custGeom>
              <a:avLst/>
              <a:gdLst>
                <a:gd name="T0" fmla="*/ 118 w 119"/>
                <a:gd name="T1" fmla="*/ 201 h 205"/>
                <a:gd name="T2" fmla="*/ 3 w 119"/>
                <a:gd name="T3" fmla="*/ 1 h 205"/>
                <a:gd name="T4" fmla="*/ 1 w 119"/>
                <a:gd name="T5" fmla="*/ 2 h 205"/>
                <a:gd name="T6" fmla="*/ 114 w 119"/>
                <a:gd name="T7" fmla="*/ 203 h 205"/>
                <a:gd name="T8" fmla="*/ 118 w 119"/>
                <a:gd name="T9" fmla="*/ 20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205">
                  <a:moveTo>
                    <a:pt x="118" y="201"/>
                  </a:moveTo>
                  <a:cubicBezTo>
                    <a:pt x="80" y="135"/>
                    <a:pt x="41" y="68"/>
                    <a:pt x="3" y="1"/>
                  </a:cubicBezTo>
                  <a:cubicBezTo>
                    <a:pt x="3" y="0"/>
                    <a:pt x="0" y="0"/>
                    <a:pt x="1" y="2"/>
                  </a:cubicBezTo>
                  <a:cubicBezTo>
                    <a:pt x="39" y="69"/>
                    <a:pt x="76" y="136"/>
                    <a:pt x="114" y="203"/>
                  </a:cubicBezTo>
                  <a:cubicBezTo>
                    <a:pt x="115" y="205"/>
                    <a:pt x="119" y="204"/>
                    <a:pt x="118" y="20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ïsļiḑê">
              <a:extLst>
                <a:ext uri="{FF2B5EF4-FFF2-40B4-BE49-F238E27FC236}">
                  <a16:creationId xmlns:a16="http://schemas.microsoft.com/office/drawing/2014/main" id="{381CD85D-5BD1-45E8-A742-D9471E3C8652}"/>
                </a:ext>
              </a:extLst>
            </p:cNvPr>
            <p:cNvSpPr/>
            <p:nvPr/>
          </p:nvSpPr>
          <p:spPr bwMode="auto">
            <a:xfrm>
              <a:off x="5372101" y="2368551"/>
              <a:ext cx="130175" cy="176213"/>
            </a:xfrm>
            <a:custGeom>
              <a:avLst/>
              <a:gdLst>
                <a:gd name="T0" fmla="*/ 93 w 95"/>
                <a:gd name="T1" fmla="*/ 123 h 128"/>
                <a:gd name="T2" fmla="*/ 2 w 95"/>
                <a:gd name="T3" fmla="*/ 1 h 128"/>
                <a:gd name="T4" fmla="*/ 1 w 95"/>
                <a:gd name="T5" fmla="*/ 2 h 128"/>
                <a:gd name="T6" fmla="*/ 88 w 95"/>
                <a:gd name="T7" fmla="*/ 126 h 128"/>
                <a:gd name="T8" fmla="*/ 93 w 95"/>
                <a:gd name="T9" fmla="*/ 12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28">
                  <a:moveTo>
                    <a:pt x="93" y="123"/>
                  </a:moveTo>
                  <a:cubicBezTo>
                    <a:pt x="63" y="82"/>
                    <a:pt x="33" y="41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29" y="44"/>
                    <a:pt x="59" y="85"/>
                    <a:pt x="88" y="126"/>
                  </a:cubicBezTo>
                  <a:cubicBezTo>
                    <a:pt x="91" y="128"/>
                    <a:pt x="95" y="126"/>
                    <a:pt x="93" y="12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iṩľiḍé">
              <a:extLst>
                <a:ext uri="{FF2B5EF4-FFF2-40B4-BE49-F238E27FC236}">
                  <a16:creationId xmlns:a16="http://schemas.microsoft.com/office/drawing/2014/main" id="{42EF5AEE-91FA-41E3-B23A-71B047FBF8E8}"/>
                </a:ext>
              </a:extLst>
            </p:cNvPr>
            <p:cNvSpPr/>
            <p:nvPr/>
          </p:nvSpPr>
          <p:spPr bwMode="auto">
            <a:xfrm>
              <a:off x="6577013" y="5222876"/>
              <a:ext cx="479425" cy="166688"/>
            </a:xfrm>
            <a:custGeom>
              <a:avLst/>
              <a:gdLst>
                <a:gd name="T0" fmla="*/ 344 w 349"/>
                <a:gd name="T1" fmla="*/ 105 h 121"/>
                <a:gd name="T2" fmla="*/ 3 w 349"/>
                <a:gd name="T3" fmla="*/ 1 h 121"/>
                <a:gd name="T4" fmla="*/ 1 w 349"/>
                <a:gd name="T5" fmla="*/ 3 h 121"/>
                <a:gd name="T6" fmla="*/ 345 w 349"/>
                <a:gd name="T7" fmla="*/ 111 h 121"/>
                <a:gd name="T8" fmla="*/ 344 w 349"/>
                <a:gd name="T9" fmla="*/ 10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121">
                  <a:moveTo>
                    <a:pt x="344" y="105"/>
                  </a:moveTo>
                  <a:cubicBezTo>
                    <a:pt x="221" y="116"/>
                    <a:pt x="100" y="77"/>
                    <a:pt x="3" y="1"/>
                  </a:cubicBezTo>
                  <a:cubicBezTo>
                    <a:pt x="2" y="0"/>
                    <a:pt x="0" y="2"/>
                    <a:pt x="1" y="3"/>
                  </a:cubicBezTo>
                  <a:cubicBezTo>
                    <a:pt x="96" y="83"/>
                    <a:pt x="222" y="121"/>
                    <a:pt x="345" y="111"/>
                  </a:cubicBezTo>
                  <a:cubicBezTo>
                    <a:pt x="349" y="110"/>
                    <a:pt x="347" y="105"/>
                    <a:pt x="344" y="10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îṥļïḍê">
              <a:extLst>
                <a:ext uri="{FF2B5EF4-FFF2-40B4-BE49-F238E27FC236}">
                  <a16:creationId xmlns:a16="http://schemas.microsoft.com/office/drawing/2014/main" id="{39EF1294-E8E4-445D-9B1E-339F1B98EFB5}"/>
                </a:ext>
              </a:extLst>
            </p:cNvPr>
            <p:cNvSpPr/>
            <p:nvPr/>
          </p:nvSpPr>
          <p:spPr bwMode="auto">
            <a:xfrm>
              <a:off x="6648451" y="5116514"/>
              <a:ext cx="334963" cy="130175"/>
            </a:xfrm>
            <a:custGeom>
              <a:avLst/>
              <a:gdLst>
                <a:gd name="T0" fmla="*/ 240 w 244"/>
                <a:gd name="T1" fmla="*/ 51 h 95"/>
                <a:gd name="T2" fmla="*/ 159 w 244"/>
                <a:gd name="T3" fmla="*/ 83 h 95"/>
                <a:gd name="T4" fmla="*/ 220 w 244"/>
                <a:gd name="T5" fmla="*/ 54 h 95"/>
                <a:gd name="T6" fmla="*/ 227 w 244"/>
                <a:gd name="T7" fmla="*/ 52 h 95"/>
                <a:gd name="T8" fmla="*/ 226 w 244"/>
                <a:gd name="T9" fmla="*/ 49 h 95"/>
                <a:gd name="T10" fmla="*/ 110 w 244"/>
                <a:gd name="T11" fmla="*/ 44 h 95"/>
                <a:gd name="T12" fmla="*/ 2 w 244"/>
                <a:gd name="T13" fmla="*/ 1 h 95"/>
                <a:gd name="T14" fmla="*/ 1 w 244"/>
                <a:gd name="T15" fmla="*/ 3 h 95"/>
                <a:gd name="T16" fmla="*/ 210 w 244"/>
                <a:gd name="T17" fmla="*/ 56 h 95"/>
                <a:gd name="T18" fmla="*/ 152 w 244"/>
                <a:gd name="T19" fmla="*/ 81 h 95"/>
                <a:gd name="T20" fmla="*/ 153 w 244"/>
                <a:gd name="T21" fmla="*/ 85 h 95"/>
                <a:gd name="T22" fmla="*/ 243 w 244"/>
                <a:gd name="T23" fmla="*/ 54 h 95"/>
                <a:gd name="T24" fmla="*/ 240 w 244"/>
                <a:gd name="T25" fmla="*/ 5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4" h="95">
                  <a:moveTo>
                    <a:pt x="240" y="51"/>
                  </a:moveTo>
                  <a:cubicBezTo>
                    <a:pt x="221" y="77"/>
                    <a:pt x="190" y="90"/>
                    <a:pt x="159" y="83"/>
                  </a:cubicBezTo>
                  <a:cubicBezTo>
                    <a:pt x="180" y="73"/>
                    <a:pt x="200" y="64"/>
                    <a:pt x="220" y="54"/>
                  </a:cubicBezTo>
                  <a:cubicBezTo>
                    <a:pt x="223" y="53"/>
                    <a:pt x="225" y="53"/>
                    <a:pt x="227" y="52"/>
                  </a:cubicBezTo>
                  <a:cubicBezTo>
                    <a:pt x="229" y="52"/>
                    <a:pt x="228" y="49"/>
                    <a:pt x="226" y="49"/>
                  </a:cubicBezTo>
                  <a:cubicBezTo>
                    <a:pt x="186" y="51"/>
                    <a:pt x="149" y="53"/>
                    <a:pt x="110" y="44"/>
                  </a:cubicBezTo>
                  <a:cubicBezTo>
                    <a:pt x="71" y="36"/>
                    <a:pt x="35" y="22"/>
                    <a:pt x="2" y="1"/>
                  </a:cubicBezTo>
                  <a:cubicBezTo>
                    <a:pt x="0" y="0"/>
                    <a:pt x="0" y="2"/>
                    <a:pt x="1" y="3"/>
                  </a:cubicBezTo>
                  <a:cubicBezTo>
                    <a:pt x="61" y="41"/>
                    <a:pt x="138" y="65"/>
                    <a:pt x="210" y="56"/>
                  </a:cubicBezTo>
                  <a:cubicBezTo>
                    <a:pt x="190" y="64"/>
                    <a:pt x="171" y="73"/>
                    <a:pt x="152" y="81"/>
                  </a:cubicBezTo>
                  <a:cubicBezTo>
                    <a:pt x="150" y="82"/>
                    <a:pt x="151" y="85"/>
                    <a:pt x="153" y="85"/>
                  </a:cubicBezTo>
                  <a:cubicBezTo>
                    <a:pt x="186" y="95"/>
                    <a:pt x="224" y="83"/>
                    <a:pt x="243" y="54"/>
                  </a:cubicBezTo>
                  <a:cubicBezTo>
                    <a:pt x="244" y="52"/>
                    <a:pt x="242" y="49"/>
                    <a:pt x="240" y="5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iṡlîďê">
              <a:extLst>
                <a:ext uri="{FF2B5EF4-FFF2-40B4-BE49-F238E27FC236}">
                  <a16:creationId xmlns:a16="http://schemas.microsoft.com/office/drawing/2014/main" id="{5FECC0C6-ADCA-4C34-9274-88DB4FA1D5E9}"/>
                </a:ext>
              </a:extLst>
            </p:cNvPr>
            <p:cNvSpPr/>
            <p:nvPr/>
          </p:nvSpPr>
          <p:spPr bwMode="auto">
            <a:xfrm>
              <a:off x="6986588" y="5159376"/>
              <a:ext cx="69850" cy="30163"/>
            </a:xfrm>
            <a:custGeom>
              <a:avLst/>
              <a:gdLst>
                <a:gd name="T0" fmla="*/ 48 w 51"/>
                <a:gd name="T1" fmla="*/ 1 h 22"/>
                <a:gd name="T2" fmla="*/ 1 w 51"/>
                <a:gd name="T3" fmla="*/ 20 h 22"/>
                <a:gd name="T4" fmla="*/ 2 w 51"/>
                <a:gd name="T5" fmla="*/ 21 h 22"/>
                <a:gd name="T6" fmla="*/ 49 w 51"/>
                <a:gd name="T7" fmla="*/ 3 h 22"/>
                <a:gd name="T8" fmla="*/ 48 w 51"/>
                <a:gd name="T9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48" y="1"/>
                  </a:moveTo>
                  <a:cubicBezTo>
                    <a:pt x="32" y="7"/>
                    <a:pt x="17" y="13"/>
                    <a:pt x="1" y="20"/>
                  </a:cubicBezTo>
                  <a:cubicBezTo>
                    <a:pt x="0" y="20"/>
                    <a:pt x="1" y="22"/>
                    <a:pt x="2" y="21"/>
                  </a:cubicBezTo>
                  <a:cubicBezTo>
                    <a:pt x="18" y="15"/>
                    <a:pt x="34" y="10"/>
                    <a:pt x="49" y="3"/>
                  </a:cubicBezTo>
                  <a:cubicBezTo>
                    <a:pt x="51" y="3"/>
                    <a:pt x="50" y="0"/>
                    <a:pt x="48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îṥḷíḓe">
              <a:extLst>
                <a:ext uri="{FF2B5EF4-FFF2-40B4-BE49-F238E27FC236}">
                  <a16:creationId xmlns:a16="http://schemas.microsoft.com/office/drawing/2014/main" id="{6754C81E-CF48-4754-BBD0-4F2BDD20CC36}"/>
                </a:ext>
              </a:extLst>
            </p:cNvPr>
            <p:cNvSpPr/>
            <p:nvPr/>
          </p:nvSpPr>
          <p:spPr bwMode="auto">
            <a:xfrm>
              <a:off x="7024688" y="5137151"/>
              <a:ext cx="219075" cy="215900"/>
            </a:xfrm>
            <a:custGeom>
              <a:avLst/>
              <a:gdLst>
                <a:gd name="T0" fmla="*/ 148 w 159"/>
                <a:gd name="T1" fmla="*/ 3 h 156"/>
                <a:gd name="T2" fmla="*/ 144 w 159"/>
                <a:gd name="T3" fmla="*/ 4 h 156"/>
                <a:gd name="T4" fmla="*/ 80 w 159"/>
                <a:gd name="T5" fmla="*/ 100 h 156"/>
                <a:gd name="T6" fmla="*/ 1 w 159"/>
                <a:gd name="T7" fmla="*/ 153 h 156"/>
                <a:gd name="T8" fmla="*/ 2 w 159"/>
                <a:gd name="T9" fmla="*/ 155 h 156"/>
                <a:gd name="T10" fmla="*/ 104 w 159"/>
                <a:gd name="T11" fmla="*/ 84 h 156"/>
                <a:gd name="T12" fmla="*/ 148 w 159"/>
                <a:gd name="T13" fmla="*/ 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156">
                  <a:moveTo>
                    <a:pt x="148" y="3"/>
                  </a:moveTo>
                  <a:cubicBezTo>
                    <a:pt x="147" y="0"/>
                    <a:pt x="143" y="1"/>
                    <a:pt x="144" y="4"/>
                  </a:cubicBezTo>
                  <a:cubicBezTo>
                    <a:pt x="155" y="40"/>
                    <a:pt x="103" y="80"/>
                    <a:pt x="80" y="100"/>
                  </a:cubicBezTo>
                  <a:cubicBezTo>
                    <a:pt x="55" y="120"/>
                    <a:pt x="29" y="138"/>
                    <a:pt x="1" y="153"/>
                  </a:cubicBezTo>
                  <a:cubicBezTo>
                    <a:pt x="0" y="154"/>
                    <a:pt x="1" y="156"/>
                    <a:pt x="2" y="155"/>
                  </a:cubicBezTo>
                  <a:cubicBezTo>
                    <a:pt x="40" y="136"/>
                    <a:pt x="74" y="113"/>
                    <a:pt x="104" y="84"/>
                  </a:cubicBezTo>
                  <a:cubicBezTo>
                    <a:pt x="125" y="64"/>
                    <a:pt x="159" y="35"/>
                    <a:pt x="148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ïśḻídê">
              <a:extLst>
                <a:ext uri="{FF2B5EF4-FFF2-40B4-BE49-F238E27FC236}">
                  <a16:creationId xmlns:a16="http://schemas.microsoft.com/office/drawing/2014/main" id="{88143749-9997-4A2D-8B67-2EBF2BB9203A}"/>
                </a:ext>
              </a:extLst>
            </p:cNvPr>
            <p:cNvSpPr/>
            <p:nvPr/>
          </p:nvSpPr>
          <p:spPr bwMode="auto">
            <a:xfrm>
              <a:off x="7075488" y="5127626"/>
              <a:ext cx="80963" cy="23813"/>
            </a:xfrm>
            <a:custGeom>
              <a:avLst/>
              <a:gdLst>
                <a:gd name="T0" fmla="*/ 56 w 59"/>
                <a:gd name="T1" fmla="*/ 0 h 17"/>
                <a:gd name="T2" fmla="*/ 3 w 59"/>
                <a:gd name="T3" fmla="*/ 13 h 17"/>
                <a:gd name="T4" fmla="*/ 4 w 59"/>
                <a:gd name="T5" fmla="*/ 17 h 17"/>
                <a:gd name="T6" fmla="*/ 57 w 59"/>
                <a:gd name="T7" fmla="*/ 3 h 17"/>
                <a:gd name="T8" fmla="*/ 56 w 59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7">
                  <a:moveTo>
                    <a:pt x="56" y="0"/>
                  </a:moveTo>
                  <a:cubicBezTo>
                    <a:pt x="38" y="4"/>
                    <a:pt x="20" y="8"/>
                    <a:pt x="3" y="13"/>
                  </a:cubicBezTo>
                  <a:cubicBezTo>
                    <a:pt x="0" y="13"/>
                    <a:pt x="2" y="17"/>
                    <a:pt x="4" y="17"/>
                  </a:cubicBezTo>
                  <a:cubicBezTo>
                    <a:pt x="22" y="13"/>
                    <a:pt x="40" y="8"/>
                    <a:pt x="57" y="3"/>
                  </a:cubicBezTo>
                  <a:cubicBezTo>
                    <a:pt x="59" y="2"/>
                    <a:pt x="57" y="0"/>
                    <a:pt x="56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isľiḓè">
              <a:extLst>
                <a:ext uri="{FF2B5EF4-FFF2-40B4-BE49-F238E27FC236}">
                  <a16:creationId xmlns:a16="http://schemas.microsoft.com/office/drawing/2014/main" id="{7FB2258F-ED9D-4A21-96B6-0910ABE03842}"/>
                </a:ext>
              </a:extLst>
            </p:cNvPr>
            <p:cNvSpPr/>
            <p:nvPr/>
          </p:nvSpPr>
          <p:spPr bwMode="auto">
            <a:xfrm>
              <a:off x="6765926" y="4930776"/>
              <a:ext cx="395288" cy="234950"/>
            </a:xfrm>
            <a:custGeom>
              <a:avLst/>
              <a:gdLst>
                <a:gd name="T0" fmla="*/ 283 w 287"/>
                <a:gd name="T1" fmla="*/ 9 h 171"/>
                <a:gd name="T2" fmla="*/ 240 w 287"/>
                <a:gd name="T3" fmla="*/ 1 h 171"/>
                <a:gd name="T4" fmla="*/ 239 w 287"/>
                <a:gd name="T5" fmla="*/ 7 h 171"/>
                <a:gd name="T6" fmla="*/ 276 w 287"/>
                <a:gd name="T7" fmla="*/ 14 h 171"/>
                <a:gd name="T8" fmla="*/ 2 w 287"/>
                <a:gd name="T9" fmla="*/ 112 h 171"/>
                <a:gd name="T10" fmla="*/ 1 w 287"/>
                <a:gd name="T11" fmla="*/ 113 h 171"/>
                <a:gd name="T12" fmla="*/ 149 w 287"/>
                <a:gd name="T13" fmla="*/ 122 h 171"/>
                <a:gd name="T14" fmla="*/ 285 w 287"/>
                <a:gd name="T15" fmla="*/ 15 h 171"/>
                <a:gd name="T16" fmla="*/ 283 w 287"/>
                <a:gd name="T17" fmla="*/ 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171">
                  <a:moveTo>
                    <a:pt x="283" y="9"/>
                  </a:moveTo>
                  <a:cubicBezTo>
                    <a:pt x="269" y="6"/>
                    <a:pt x="254" y="4"/>
                    <a:pt x="240" y="1"/>
                  </a:cubicBezTo>
                  <a:cubicBezTo>
                    <a:pt x="235" y="0"/>
                    <a:pt x="235" y="6"/>
                    <a:pt x="239" y="7"/>
                  </a:cubicBezTo>
                  <a:cubicBezTo>
                    <a:pt x="251" y="10"/>
                    <a:pt x="264" y="12"/>
                    <a:pt x="276" y="14"/>
                  </a:cubicBezTo>
                  <a:cubicBezTo>
                    <a:pt x="210" y="91"/>
                    <a:pt x="105" y="171"/>
                    <a:pt x="2" y="112"/>
                  </a:cubicBezTo>
                  <a:cubicBezTo>
                    <a:pt x="1" y="111"/>
                    <a:pt x="0" y="113"/>
                    <a:pt x="1" y="113"/>
                  </a:cubicBezTo>
                  <a:cubicBezTo>
                    <a:pt x="44" y="143"/>
                    <a:pt x="102" y="141"/>
                    <a:pt x="149" y="122"/>
                  </a:cubicBezTo>
                  <a:cubicBezTo>
                    <a:pt x="204" y="99"/>
                    <a:pt x="245" y="56"/>
                    <a:pt x="285" y="15"/>
                  </a:cubicBezTo>
                  <a:cubicBezTo>
                    <a:pt x="287" y="13"/>
                    <a:pt x="285" y="10"/>
                    <a:pt x="283" y="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îṧḷîdé">
              <a:extLst>
                <a:ext uri="{FF2B5EF4-FFF2-40B4-BE49-F238E27FC236}">
                  <a16:creationId xmlns:a16="http://schemas.microsoft.com/office/drawing/2014/main" id="{800356DC-111D-4A9F-8578-79E96591AB41}"/>
                </a:ext>
              </a:extLst>
            </p:cNvPr>
            <p:cNvSpPr/>
            <p:nvPr/>
          </p:nvSpPr>
          <p:spPr bwMode="auto">
            <a:xfrm>
              <a:off x="7018338" y="4924426"/>
              <a:ext cx="71438" cy="42863"/>
            </a:xfrm>
            <a:custGeom>
              <a:avLst/>
              <a:gdLst>
                <a:gd name="T0" fmla="*/ 50 w 52"/>
                <a:gd name="T1" fmla="*/ 0 h 31"/>
                <a:gd name="T2" fmla="*/ 26 w 52"/>
                <a:gd name="T3" fmla="*/ 12 h 31"/>
                <a:gd name="T4" fmla="*/ 1 w 52"/>
                <a:gd name="T5" fmla="*/ 27 h 31"/>
                <a:gd name="T6" fmla="*/ 3 w 52"/>
                <a:gd name="T7" fmla="*/ 30 h 31"/>
                <a:gd name="T8" fmla="*/ 26 w 52"/>
                <a:gd name="T9" fmla="*/ 18 h 31"/>
                <a:gd name="T10" fmla="*/ 51 w 52"/>
                <a:gd name="T11" fmla="*/ 2 h 31"/>
                <a:gd name="T12" fmla="*/ 50 w 52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31">
                  <a:moveTo>
                    <a:pt x="50" y="0"/>
                  </a:moveTo>
                  <a:cubicBezTo>
                    <a:pt x="41" y="3"/>
                    <a:pt x="34" y="8"/>
                    <a:pt x="26" y="12"/>
                  </a:cubicBezTo>
                  <a:cubicBezTo>
                    <a:pt x="18" y="17"/>
                    <a:pt x="9" y="21"/>
                    <a:pt x="1" y="27"/>
                  </a:cubicBezTo>
                  <a:cubicBezTo>
                    <a:pt x="0" y="28"/>
                    <a:pt x="1" y="31"/>
                    <a:pt x="3" y="30"/>
                  </a:cubicBezTo>
                  <a:cubicBezTo>
                    <a:pt x="11" y="27"/>
                    <a:pt x="19" y="22"/>
                    <a:pt x="26" y="18"/>
                  </a:cubicBezTo>
                  <a:cubicBezTo>
                    <a:pt x="34" y="13"/>
                    <a:pt x="43" y="8"/>
                    <a:pt x="51" y="2"/>
                  </a:cubicBezTo>
                  <a:cubicBezTo>
                    <a:pt x="52" y="1"/>
                    <a:pt x="51" y="0"/>
                    <a:pt x="50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îşlîďê">
              <a:extLst>
                <a:ext uri="{FF2B5EF4-FFF2-40B4-BE49-F238E27FC236}">
                  <a16:creationId xmlns:a16="http://schemas.microsoft.com/office/drawing/2014/main" id="{30C26FEE-AC30-42EC-9B1C-3393652368B4}"/>
                </a:ext>
              </a:extLst>
            </p:cNvPr>
            <p:cNvSpPr/>
            <p:nvPr/>
          </p:nvSpPr>
          <p:spPr bwMode="auto">
            <a:xfrm>
              <a:off x="6911976" y="4964114"/>
              <a:ext cx="85725" cy="22225"/>
            </a:xfrm>
            <a:custGeom>
              <a:avLst/>
              <a:gdLst>
                <a:gd name="T0" fmla="*/ 60 w 62"/>
                <a:gd name="T1" fmla="*/ 0 h 16"/>
                <a:gd name="T2" fmla="*/ 2 w 62"/>
                <a:gd name="T3" fmla="*/ 13 h 16"/>
                <a:gd name="T4" fmla="*/ 3 w 62"/>
                <a:gd name="T5" fmla="*/ 16 h 16"/>
                <a:gd name="T6" fmla="*/ 61 w 62"/>
                <a:gd name="T7" fmla="*/ 2 h 16"/>
                <a:gd name="T8" fmla="*/ 60 w 62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6">
                  <a:moveTo>
                    <a:pt x="60" y="0"/>
                  </a:moveTo>
                  <a:cubicBezTo>
                    <a:pt x="41" y="4"/>
                    <a:pt x="21" y="8"/>
                    <a:pt x="2" y="13"/>
                  </a:cubicBezTo>
                  <a:cubicBezTo>
                    <a:pt x="0" y="13"/>
                    <a:pt x="1" y="16"/>
                    <a:pt x="3" y="16"/>
                  </a:cubicBezTo>
                  <a:cubicBezTo>
                    <a:pt x="22" y="11"/>
                    <a:pt x="42" y="7"/>
                    <a:pt x="61" y="2"/>
                  </a:cubicBezTo>
                  <a:cubicBezTo>
                    <a:pt x="62" y="2"/>
                    <a:pt x="61" y="0"/>
                    <a:pt x="60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iṩlîḍe">
              <a:extLst>
                <a:ext uri="{FF2B5EF4-FFF2-40B4-BE49-F238E27FC236}">
                  <a16:creationId xmlns:a16="http://schemas.microsoft.com/office/drawing/2014/main" id="{491622E9-9F39-40E9-AA01-959967340E00}"/>
                </a:ext>
              </a:extLst>
            </p:cNvPr>
            <p:cNvSpPr/>
            <p:nvPr/>
          </p:nvSpPr>
          <p:spPr bwMode="auto">
            <a:xfrm>
              <a:off x="6324601" y="4768851"/>
              <a:ext cx="377825" cy="307975"/>
            </a:xfrm>
            <a:custGeom>
              <a:avLst/>
              <a:gdLst>
                <a:gd name="T0" fmla="*/ 272 w 274"/>
                <a:gd name="T1" fmla="*/ 223 h 225"/>
                <a:gd name="T2" fmla="*/ 8 w 274"/>
                <a:gd name="T3" fmla="*/ 3 h 225"/>
                <a:gd name="T4" fmla="*/ 2 w 274"/>
                <a:gd name="T5" fmla="*/ 7 h 225"/>
                <a:gd name="T6" fmla="*/ 272 w 274"/>
                <a:gd name="T7" fmla="*/ 225 h 225"/>
                <a:gd name="T8" fmla="*/ 272 w 274"/>
                <a:gd name="T9" fmla="*/ 22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225">
                  <a:moveTo>
                    <a:pt x="272" y="223"/>
                  </a:moveTo>
                  <a:cubicBezTo>
                    <a:pt x="165" y="176"/>
                    <a:pt x="73" y="101"/>
                    <a:pt x="8" y="3"/>
                  </a:cubicBezTo>
                  <a:cubicBezTo>
                    <a:pt x="5" y="0"/>
                    <a:pt x="0" y="3"/>
                    <a:pt x="2" y="7"/>
                  </a:cubicBezTo>
                  <a:cubicBezTo>
                    <a:pt x="68" y="105"/>
                    <a:pt x="162" y="182"/>
                    <a:pt x="272" y="225"/>
                  </a:cubicBezTo>
                  <a:cubicBezTo>
                    <a:pt x="273" y="225"/>
                    <a:pt x="274" y="223"/>
                    <a:pt x="272" y="22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iṣḷíḋe">
              <a:extLst>
                <a:ext uri="{FF2B5EF4-FFF2-40B4-BE49-F238E27FC236}">
                  <a16:creationId xmlns:a16="http://schemas.microsoft.com/office/drawing/2014/main" id="{AC580381-6C30-441F-978B-36D7F1A0B914}"/>
                </a:ext>
              </a:extLst>
            </p:cNvPr>
            <p:cNvSpPr/>
            <p:nvPr/>
          </p:nvSpPr>
          <p:spPr bwMode="auto">
            <a:xfrm>
              <a:off x="6450013" y="4989514"/>
              <a:ext cx="422275" cy="147638"/>
            </a:xfrm>
            <a:custGeom>
              <a:avLst/>
              <a:gdLst>
                <a:gd name="T0" fmla="*/ 300 w 307"/>
                <a:gd name="T1" fmla="*/ 81 h 108"/>
                <a:gd name="T2" fmla="*/ 2 w 307"/>
                <a:gd name="T3" fmla="*/ 1 h 108"/>
                <a:gd name="T4" fmla="*/ 1 w 307"/>
                <a:gd name="T5" fmla="*/ 3 h 108"/>
                <a:gd name="T6" fmla="*/ 303 w 307"/>
                <a:gd name="T7" fmla="*/ 87 h 108"/>
                <a:gd name="T8" fmla="*/ 300 w 307"/>
                <a:gd name="T9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" h="108">
                  <a:moveTo>
                    <a:pt x="300" y="81"/>
                  </a:moveTo>
                  <a:cubicBezTo>
                    <a:pt x="195" y="102"/>
                    <a:pt x="83" y="72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82" y="77"/>
                    <a:pt x="195" y="108"/>
                    <a:pt x="303" y="87"/>
                  </a:cubicBezTo>
                  <a:cubicBezTo>
                    <a:pt x="307" y="86"/>
                    <a:pt x="304" y="80"/>
                    <a:pt x="300" y="8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ïsļïďè">
              <a:extLst>
                <a:ext uri="{FF2B5EF4-FFF2-40B4-BE49-F238E27FC236}">
                  <a16:creationId xmlns:a16="http://schemas.microsoft.com/office/drawing/2014/main" id="{F3BBD01A-C01F-4D22-9FC5-416C8F9AB43B}"/>
                </a:ext>
              </a:extLst>
            </p:cNvPr>
            <p:cNvSpPr/>
            <p:nvPr/>
          </p:nvSpPr>
          <p:spPr bwMode="auto">
            <a:xfrm>
              <a:off x="5414963" y="4140201"/>
              <a:ext cx="436563" cy="635000"/>
            </a:xfrm>
            <a:custGeom>
              <a:avLst/>
              <a:gdLst>
                <a:gd name="T0" fmla="*/ 314 w 316"/>
                <a:gd name="T1" fmla="*/ 457 h 462"/>
                <a:gd name="T2" fmla="*/ 101 w 316"/>
                <a:gd name="T3" fmla="*/ 268 h 462"/>
                <a:gd name="T4" fmla="*/ 2 w 316"/>
                <a:gd name="T5" fmla="*/ 1 h 462"/>
                <a:gd name="T6" fmla="*/ 0 w 316"/>
                <a:gd name="T7" fmla="*/ 1 h 462"/>
                <a:gd name="T8" fmla="*/ 312 w 316"/>
                <a:gd name="T9" fmla="*/ 461 h 462"/>
                <a:gd name="T10" fmla="*/ 314 w 316"/>
                <a:gd name="T11" fmla="*/ 457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6" h="462">
                  <a:moveTo>
                    <a:pt x="314" y="457"/>
                  </a:moveTo>
                  <a:cubicBezTo>
                    <a:pt x="228" y="412"/>
                    <a:pt x="156" y="348"/>
                    <a:pt x="101" y="268"/>
                  </a:cubicBezTo>
                  <a:cubicBezTo>
                    <a:pt x="46" y="188"/>
                    <a:pt x="16" y="97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ubicBezTo>
                    <a:pt x="12" y="193"/>
                    <a:pt x="143" y="376"/>
                    <a:pt x="312" y="461"/>
                  </a:cubicBezTo>
                  <a:cubicBezTo>
                    <a:pt x="315" y="462"/>
                    <a:pt x="316" y="459"/>
                    <a:pt x="314" y="45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îSļiďe">
              <a:extLst>
                <a:ext uri="{FF2B5EF4-FFF2-40B4-BE49-F238E27FC236}">
                  <a16:creationId xmlns:a16="http://schemas.microsoft.com/office/drawing/2014/main" id="{B01502E1-F0AB-45E6-A4CC-AE67ABC049B1}"/>
                </a:ext>
              </a:extLst>
            </p:cNvPr>
            <p:cNvSpPr/>
            <p:nvPr/>
          </p:nvSpPr>
          <p:spPr bwMode="auto">
            <a:xfrm>
              <a:off x="5591176" y="4454526"/>
              <a:ext cx="301625" cy="252413"/>
            </a:xfrm>
            <a:custGeom>
              <a:avLst/>
              <a:gdLst>
                <a:gd name="T0" fmla="*/ 217 w 219"/>
                <a:gd name="T1" fmla="*/ 181 h 184"/>
                <a:gd name="T2" fmla="*/ 2 w 219"/>
                <a:gd name="T3" fmla="*/ 1 h 184"/>
                <a:gd name="T4" fmla="*/ 0 w 219"/>
                <a:gd name="T5" fmla="*/ 2 h 184"/>
                <a:gd name="T6" fmla="*/ 216 w 219"/>
                <a:gd name="T7" fmla="*/ 184 h 184"/>
                <a:gd name="T8" fmla="*/ 217 w 219"/>
                <a:gd name="T9" fmla="*/ 18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184">
                  <a:moveTo>
                    <a:pt x="217" y="181"/>
                  </a:moveTo>
                  <a:cubicBezTo>
                    <a:pt x="127" y="147"/>
                    <a:pt x="51" y="85"/>
                    <a:pt x="2" y="1"/>
                  </a:cubicBezTo>
                  <a:cubicBezTo>
                    <a:pt x="2" y="0"/>
                    <a:pt x="0" y="1"/>
                    <a:pt x="0" y="2"/>
                  </a:cubicBezTo>
                  <a:cubicBezTo>
                    <a:pt x="48" y="86"/>
                    <a:pt x="124" y="151"/>
                    <a:pt x="216" y="184"/>
                  </a:cubicBezTo>
                  <a:cubicBezTo>
                    <a:pt x="218" y="184"/>
                    <a:pt x="219" y="181"/>
                    <a:pt x="217" y="18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íSľiḓê">
              <a:extLst>
                <a:ext uri="{FF2B5EF4-FFF2-40B4-BE49-F238E27FC236}">
                  <a16:creationId xmlns:a16="http://schemas.microsoft.com/office/drawing/2014/main" id="{B72300DF-DE89-493E-9ED2-62B03C5FD319}"/>
                </a:ext>
              </a:extLst>
            </p:cNvPr>
            <p:cNvSpPr/>
            <p:nvPr/>
          </p:nvSpPr>
          <p:spPr bwMode="auto">
            <a:xfrm>
              <a:off x="5618163" y="4518026"/>
              <a:ext cx="239713" cy="212725"/>
            </a:xfrm>
            <a:custGeom>
              <a:avLst/>
              <a:gdLst>
                <a:gd name="T0" fmla="*/ 172 w 174"/>
                <a:gd name="T1" fmla="*/ 152 h 155"/>
                <a:gd name="T2" fmla="*/ 2 w 174"/>
                <a:gd name="T3" fmla="*/ 1 h 155"/>
                <a:gd name="T4" fmla="*/ 1 w 174"/>
                <a:gd name="T5" fmla="*/ 2 h 155"/>
                <a:gd name="T6" fmla="*/ 171 w 174"/>
                <a:gd name="T7" fmla="*/ 154 h 155"/>
                <a:gd name="T8" fmla="*/ 172 w 174"/>
                <a:gd name="T9" fmla="*/ 152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55">
                  <a:moveTo>
                    <a:pt x="172" y="152"/>
                  </a:moveTo>
                  <a:cubicBezTo>
                    <a:pt x="103" y="116"/>
                    <a:pt x="45" y="66"/>
                    <a:pt x="2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43" y="66"/>
                    <a:pt x="102" y="120"/>
                    <a:pt x="171" y="154"/>
                  </a:cubicBezTo>
                  <a:cubicBezTo>
                    <a:pt x="173" y="155"/>
                    <a:pt x="174" y="153"/>
                    <a:pt x="172" y="15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îśľïḍé">
              <a:extLst>
                <a:ext uri="{FF2B5EF4-FFF2-40B4-BE49-F238E27FC236}">
                  <a16:creationId xmlns:a16="http://schemas.microsoft.com/office/drawing/2014/main" id="{3F57A698-95E1-4FE2-8E4B-F0B78EB9CD48}"/>
                </a:ext>
              </a:extLst>
            </p:cNvPr>
            <p:cNvSpPr/>
            <p:nvPr/>
          </p:nvSpPr>
          <p:spPr bwMode="auto">
            <a:xfrm>
              <a:off x="5724526" y="4557714"/>
              <a:ext cx="168275" cy="173038"/>
            </a:xfrm>
            <a:custGeom>
              <a:avLst/>
              <a:gdLst>
                <a:gd name="T0" fmla="*/ 121 w 122"/>
                <a:gd name="T1" fmla="*/ 123 h 126"/>
                <a:gd name="T2" fmla="*/ 3 w 122"/>
                <a:gd name="T3" fmla="*/ 1 h 126"/>
                <a:gd name="T4" fmla="*/ 1 w 122"/>
                <a:gd name="T5" fmla="*/ 2 h 126"/>
                <a:gd name="T6" fmla="*/ 118 w 122"/>
                <a:gd name="T7" fmla="*/ 125 h 126"/>
                <a:gd name="T8" fmla="*/ 121 w 122"/>
                <a:gd name="T9" fmla="*/ 12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26">
                  <a:moveTo>
                    <a:pt x="121" y="123"/>
                  </a:moveTo>
                  <a:cubicBezTo>
                    <a:pt x="82" y="82"/>
                    <a:pt x="42" y="42"/>
                    <a:pt x="3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40" y="43"/>
                    <a:pt x="79" y="85"/>
                    <a:pt x="118" y="125"/>
                  </a:cubicBezTo>
                  <a:cubicBezTo>
                    <a:pt x="120" y="126"/>
                    <a:pt x="122" y="124"/>
                    <a:pt x="121" y="12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îṥļiďe">
              <a:extLst>
                <a:ext uri="{FF2B5EF4-FFF2-40B4-BE49-F238E27FC236}">
                  <a16:creationId xmlns:a16="http://schemas.microsoft.com/office/drawing/2014/main" id="{961EFEED-A1C8-4269-BDC8-AA19BF94697C}"/>
                </a:ext>
              </a:extLst>
            </p:cNvPr>
            <p:cNvSpPr/>
            <p:nvPr/>
          </p:nvSpPr>
          <p:spPr bwMode="auto">
            <a:xfrm>
              <a:off x="5811838" y="4557714"/>
              <a:ext cx="112713" cy="139700"/>
            </a:xfrm>
            <a:custGeom>
              <a:avLst/>
              <a:gdLst>
                <a:gd name="T0" fmla="*/ 81 w 82"/>
                <a:gd name="T1" fmla="*/ 99 h 102"/>
                <a:gd name="T2" fmla="*/ 3 w 82"/>
                <a:gd name="T3" fmla="*/ 1 h 102"/>
                <a:gd name="T4" fmla="*/ 1 w 82"/>
                <a:gd name="T5" fmla="*/ 2 h 102"/>
                <a:gd name="T6" fmla="*/ 79 w 82"/>
                <a:gd name="T7" fmla="*/ 100 h 102"/>
                <a:gd name="T8" fmla="*/ 81 w 82"/>
                <a:gd name="T9" fmla="*/ 9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102">
                  <a:moveTo>
                    <a:pt x="81" y="99"/>
                  </a:moveTo>
                  <a:cubicBezTo>
                    <a:pt x="55" y="66"/>
                    <a:pt x="29" y="34"/>
                    <a:pt x="3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27" y="35"/>
                    <a:pt x="52" y="68"/>
                    <a:pt x="79" y="100"/>
                  </a:cubicBezTo>
                  <a:cubicBezTo>
                    <a:pt x="80" y="102"/>
                    <a:pt x="82" y="100"/>
                    <a:pt x="81" y="9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î$ļîďê">
              <a:extLst>
                <a:ext uri="{FF2B5EF4-FFF2-40B4-BE49-F238E27FC236}">
                  <a16:creationId xmlns:a16="http://schemas.microsoft.com/office/drawing/2014/main" id="{CF6D1EF2-8DD9-4F9E-A59A-5E0C3F3E6E22}"/>
                </a:ext>
              </a:extLst>
            </p:cNvPr>
            <p:cNvSpPr/>
            <p:nvPr/>
          </p:nvSpPr>
          <p:spPr bwMode="auto">
            <a:xfrm>
              <a:off x="5975351" y="4602164"/>
              <a:ext cx="65088" cy="58738"/>
            </a:xfrm>
            <a:custGeom>
              <a:avLst/>
              <a:gdLst>
                <a:gd name="T0" fmla="*/ 46 w 48"/>
                <a:gd name="T1" fmla="*/ 40 h 43"/>
                <a:gd name="T2" fmla="*/ 2 w 48"/>
                <a:gd name="T3" fmla="*/ 1 h 43"/>
                <a:gd name="T4" fmla="*/ 1 w 48"/>
                <a:gd name="T5" fmla="*/ 3 h 43"/>
                <a:gd name="T6" fmla="*/ 45 w 48"/>
                <a:gd name="T7" fmla="*/ 42 h 43"/>
                <a:gd name="T8" fmla="*/ 46 w 48"/>
                <a:gd name="T9" fmla="*/ 4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3">
                  <a:moveTo>
                    <a:pt x="46" y="40"/>
                  </a:moveTo>
                  <a:cubicBezTo>
                    <a:pt x="32" y="27"/>
                    <a:pt x="17" y="14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15" y="16"/>
                    <a:pt x="30" y="29"/>
                    <a:pt x="45" y="42"/>
                  </a:cubicBezTo>
                  <a:cubicBezTo>
                    <a:pt x="46" y="43"/>
                    <a:pt x="48" y="41"/>
                    <a:pt x="46" y="4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iṧ1ïdê">
              <a:extLst>
                <a:ext uri="{FF2B5EF4-FFF2-40B4-BE49-F238E27FC236}">
                  <a16:creationId xmlns:a16="http://schemas.microsoft.com/office/drawing/2014/main" id="{6FA4E663-FF9F-406B-A510-0FBBB576E149}"/>
                </a:ext>
              </a:extLst>
            </p:cNvPr>
            <p:cNvSpPr/>
            <p:nvPr/>
          </p:nvSpPr>
          <p:spPr bwMode="auto">
            <a:xfrm>
              <a:off x="6013451" y="4597401"/>
              <a:ext cx="4763" cy="14288"/>
            </a:xfrm>
            <a:custGeom>
              <a:avLst/>
              <a:gdLst>
                <a:gd name="T0" fmla="*/ 4 w 4"/>
                <a:gd name="T1" fmla="*/ 2 h 10"/>
                <a:gd name="T2" fmla="*/ 0 w 4"/>
                <a:gd name="T3" fmla="*/ 2 h 10"/>
                <a:gd name="T4" fmla="*/ 0 w 4"/>
                <a:gd name="T5" fmla="*/ 7 h 10"/>
                <a:gd name="T6" fmla="*/ 4 w 4"/>
                <a:gd name="T7" fmla="*/ 7 h 10"/>
                <a:gd name="T8" fmla="*/ 4 w 4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2"/>
                  </a:moveTo>
                  <a:cubicBezTo>
                    <a:pt x="4" y="1"/>
                    <a:pt x="1" y="0"/>
                    <a:pt x="0" y="2"/>
                  </a:cubicBezTo>
                  <a:cubicBezTo>
                    <a:pt x="0" y="3"/>
                    <a:pt x="0" y="5"/>
                    <a:pt x="0" y="7"/>
                  </a:cubicBezTo>
                  <a:cubicBezTo>
                    <a:pt x="0" y="9"/>
                    <a:pt x="4" y="10"/>
                    <a:pt x="4" y="7"/>
                  </a:cubicBezTo>
                  <a:cubicBezTo>
                    <a:pt x="4" y="6"/>
                    <a:pt x="4" y="4"/>
                    <a:pt x="4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íSľiḋè">
              <a:extLst>
                <a:ext uri="{FF2B5EF4-FFF2-40B4-BE49-F238E27FC236}">
                  <a16:creationId xmlns:a16="http://schemas.microsoft.com/office/drawing/2014/main" id="{11FAA2B6-0829-4E25-B88C-28A53D4F0FDB}"/>
                </a:ext>
              </a:extLst>
            </p:cNvPr>
            <p:cNvSpPr/>
            <p:nvPr/>
          </p:nvSpPr>
          <p:spPr bwMode="auto">
            <a:xfrm>
              <a:off x="5222876" y="3132139"/>
              <a:ext cx="55563" cy="66675"/>
            </a:xfrm>
            <a:custGeom>
              <a:avLst/>
              <a:gdLst>
                <a:gd name="T0" fmla="*/ 24 w 41"/>
                <a:gd name="T1" fmla="*/ 1 h 49"/>
                <a:gd name="T2" fmla="*/ 22 w 41"/>
                <a:gd name="T3" fmla="*/ 5 h 49"/>
                <a:gd name="T4" fmla="*/ 29 w 41"/>
                <a:gd name="T5" fmla="*/ 15 h 49"/>
                <a:gd name="T6" fmla="*/ 22 w 41"/>
                <a:gd name="T7" fmla="*/ 11 h 49"/>
                <a:gd name="T8" fmla="*/ 8 w 41"/>
                <a:gd name="T9" fmla="*/ 9 h 49"/>
                <a:gd name="T10" fmla="*/ 1 w 41"/>
                <a:gd name="T11" fmla="*/ 20 h 49"/>
                <a:gd name="T12" fmla="*/ 0 w 41"/>
                <a:gd name="T13" fmla="*/ 22 h 49"/>
                <a:gd name="T14" fmla="*/ 2 w 41"/>
                <a:gd name="T15" fmla="*/ 31 h 49"/>
                <a:gd name="T16" fmla="*/ 4 w 41"/>
                <a:gd name="T17" fmla="*/ 33 h 49"/>
                <a:gd name="T18" fmla="*/ 4 w 41"/>
                <a:gd name="T19" fmla="*/ 36 h 49"/>
                <a:gd name="T20" fmla="*/ 3 w 41"/>
                <a:gd name="T21" fmla="*/ 37 h 49"/>
                <a:gd name="T22" fmla="*/ 3 w 41"/>
                <a:gd name="T23" fmla="*/ 41 h 49"/>
                <a:gd name="T24" fmla="*/ 2 w 41"/>
                <a:gd name="T25" fmla="*/ 44 h 49"/>
                <a:gd name="T26" fmla="*/ 7 w 41"/>
                <a:gd name="T27" fmla="*/ 46 h 49"/>
                <a:gd name="T28" fmla="*/ 7 w 41"/>
                <a:gd name="T29" fmla="*/ 46 h 49"/>
                <a:gd name="T30" fmla="*/ 7 w 41"/>
                <a:gd name="T31" fmla="*/ 46 h 49"/>
                <a:gd name="T32" fmla="*/ 7 w 41"/>
                <a:gd name="T33" fmla="*/ 46 h 49"/>
                <a:gd name="T34" fmla="*/ 8 w 41"/>
                <a:gd name="T35" fmla="*/ 45 h 49"/>
                <a:gd name="T36" fmla="*/ 9 w 41"/>
                <a:gd name="T37" fmla="*/ 44 h 49"/>
                <a:gd name="T38" fmla="*/ 12 w 41"/>
                <a:gd name="T39" fmla="*/ 43 h 49"/>
                <a:gd name="T40" fmla="*/ 23 w 41"/>
                <a:gd name="T41" fmla="*/ 39 h 49"/>
                <a:gd name="T42" fmla="*/ 29 w 41"/>
                <a:gd name="T43" fmla="*/ 37 h 49"/>
                <a:gd name="T44" fmla="*/ 32 w 41"/>
                <a:gd name="T45" fmla="*/ 35 h 49"/>
                <a:gd name="T46" fmla="*/ 38 w 41"/>
                <a:gd name="T47" fmla="*/ 24 h 49"/>
                <a:gd name="T48" fmla="*/ 35 w 41"/>
                <a:gd name="T49" fmla="*/ 20 h 49"/>
                <a:gd name="T50" fmla="*/ 35 w 41"/>
                <a:gd name="T51" fmla="*/ 20 h 49"/>
                <a:gd name="T52" fmla="*/ 32 w 41"/>
                <a:gd name="T53" fmla="*/ 10 h 49"/>
                <a:gd name="T54" fmla="*/ 38 w 41"/>
                <a:gd name="T55" fmla="*/ 21 h 49"/>
                <a:gd name="T56" fmla="*/ 40 w 41"/>
                <a:gd name="T57" fmla="*/ 22 h 49"/>
                <a:gd name="T58" fmla="*/ 24 w 41"/>
                <a:gd name="T59" fmla="*/ 1 h 49"/>
                <a:gd name="T60" fmla="*/ 9 w 41"/>
                <a:gd name="T61" fmla="*/ 14 h 49"/>
                <a:gd name="T62" fmla="*/ 15 w 41"/>
                <a:gd name="T63" fmla="*/ 12 h 49"/>
                <a:gd name="T64" fmla="*/ 14 w 41"/>
                <a:gd name="T65" fmla="*/ 12 h 49"/>
                <a:gd name="T66" fmla="*/ 13 w 41"/>
                <a:gd name="T67" fmla="*/ 12 h 49"/>
                <a:gd name="T68" fmla="*/ 8 w 41"/>
                <a:gd name="T69" fmla="*/ 21 h 49"/>
                <a:gd name="T70" fmla="*/ 6 w 41"/>
                <a:gd name="T71" fmla="*/ 22 h 49"/>
                <a:gd name="T72" fmla="*/ 6 w 41"/>
                <a:gd name="T73" fmla="*/ 22 h 49"/>
                <a:gd name="T74" fmla="*/ 6 w 41"/>
                <a:gd name="T75" fmla="*/ 22 h 49"/>
                <a:gd name="T76" fmla="*/ 9 w 41"/>
                <a:gd name="T77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" h="49">
                  <a:moveTo>
                    <a:pt x="24" y="1"/>
                  </a:moveTo>
                  <a:cubicBezTo>
                    <a:pt x="21" y="0"/>
                    <a:pt x="20" y="3"/>
                    <a:pt x="22" y="5"/>
                  </a:cubicBezTo>
                  <a:cubicBezTo>
                    <a:pt x="26" y="8"/>
                    <a:pt x="28" y="11"/>
                    <a:pt x="29" y="15"/>
                  </a:cubicBezTo>
                  <a:cubicBezTo>
                    <a:pt x="27" y="13"/>
                    <a:pt x="25" y="11"/>
                    <a:pt x="22" y="11"/>
                  </a:cubicBezTo>
                  <a:cubicBezTo>
                    <a:pt x="19" y="7"/>
                    <a:pt x="13" y="6"/>
                    <a:pt x="8" y="9"/>
                  </a:cubicBezTo>
                  <a:cubicBezTo>
                    <a:pt x="4" y="11"/>
                    <a:pt x="2" y="15"/>
                    <a:pt x="1" y="20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1" y="25"/>
                    <a:pt x="1" y="28"/>
                    <a:pt x="2" y="31"/>
                  </a:cubicBezTo>
                  <a:cubicBezTo>
                    <a:pt x="2" y="32"/>
                    <a:pt x="3" y="33"/>
                    <a:pt x="4" y="33"/>
                  </a:cubicBezTo>
                  <a:cubicBezTo>
                    <a:pt x="4" y="34"/>
                    <a:pt x="4" y="35"/>
                    <a:pt x="4" y="36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2" y="38"/>
                    <a:pt x="2" y="40"/>
                    <a:pt x="3" y="41"/>
                  </a:cubicBezTo>
                  <a:cubicBezTo>
                    <a:pt x="3" y="42"/>
                    <a:pt x="3" y="43"/>
                    <a:pt x="2" y="44"/>
                  </a:cubicBezTo>
                  <a:cubicBezTo>
                    <a:pt x="2" y="46"/>
                    <a:pt x="5" y="49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5"/>
                    <a:pt x="7" y="45"/>
                    <a:pt x="8" y="45"/>
                  </a:cubicBezTo>
                  <a:cubicBezTo>
                    <a:pt x="8" y="44"/>
                    <a:pt x="9" y="44"/>
                    <a:pt x="9" y="44"/>
                  </a:cubicBezTo>
                  <a:cubicBezTo>
                    <a:pt x="10" y="44"/>
                    <a:pt x="11" y="44"/>
                    <a:pt x="12" y="43"/>
                  </a:cubicBezTo>
                  <a:cubicBezTo>
                    <a:pt x="16" y="42"/>
                    <a:pt x="20" y="40"/>
                    <a:pt x="23" y="39"/>
                  </a:cubicBezTo>
                  <a:cubicBezTo>
                    <a:pt x="25" y="39"/>
                    <a:pt x="27" y="38"/>
                    <a:pt x="29" y="37"/>
                  </a:cubicBezTo>
                  <a:cubicBezTo>
                    <a:pt x="30" y="37"/>
                    <a:pt x="31" y="36"/>
                    <a:pt x="32" y="35"/>
                  </a:cubicBezTo>
                  <a:cubicBezTo>
                    <a:pt x="34" y="32"/>
                    <a:pt x="36" y="28"/>
                    <a:pt x="38" y="24"/>
                  </a:cubicBezTo>
                  <a:cubicBezTo>
                    <a:pt x="38" y="23"/>
                    <a:pt x="37" y="21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17"/>
                    <a:pt x="34" y="13"/>
                    <a:pt x="32" y="10"/>
                  </a:cubicBezTo>
                  <a:cubicBezTo>
                    <a:pt x="35" y="13"/>
                    <a:pt x="37" y="17"/>
                    <a:pt x="38" y="21"/>
                  </a:cubicBezTo>
                  <a:cubicBezTo>
                    <a:pt x="38" y="23"/>
                    <a:pt x="40" y="23"/>
                    <a:pt x="40" y="22"/>
                  </a:cubicBezTo>
                  <a:cubicBezTo>
                    <a:pt x="41" y="11"/>
                    <a:pt x="34" y="3"/>
                    <a:pt x="24" y="1"/>
                  </a:cubicBezTo>
                  <a:close/>
                  <a:moveTo>
                    <a:pt x="9" y="14"/>
                  </a:moveTo>
                  <a:cubicBezTo>
                    <a:pt x="11" y="12"/>
                    <a:pt x="13" y="12"/>
                    <a:pt x="15" y="12"/>
                  </a:cubicBezTo>
                  <a:cubicBezTo>
                    <a:pt x="15" y="12"/>
                    <a:pt x="14" y="12"/>
                    <a:pt x="14" y="12"/>
                  </a:cubicBezTo>
                  <a:cubicBezTo>
                    <a:pt x="14" y="12"/>
                    <a:pt x="13" y="12"/>
                    <a:pt x="13" y="12"/>
                  </a:cubicBezTo>
                  <a:cubicBezTo>
                    <a:pt x="10" y="14"/>
                    <a:pt x="9" y="18"/>
                    <a:pt x="8" y="21"/>
                  </a:cubicBezTo>
                  <a:cubicBezTo>
                    <a:pt x="7" y="21"/>
                    <a:pt x="7" y="21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19"/>
                    <a:pt x="6" y="17"/>
                    <a:pt x="9" y="1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îSḻïḑê">
              <a:extLst>
                <a:ext uri="{FF2B5EF4-FFF2-40B4-BE49-F238E27FC236}">
                  <a16:creationId xmlns:a16="http://schemas.microsoft.com/office/drawing/2014/main" id="{0649D47B-ED10-4A5F-9EA7-23B0FDAA7C84}"/>
                </a:ext>
              </a:extLst>
            </p:cNvPr>
            <p:cNvSpPr/>
            <p:nvPr/>
          </p:nvSpPr>
          <p:spPr bwMode="auto">
            <a:xfrm>
              <a:off x="5237163" y="3506789"/>
              <a:ext cx="790575" cy="1343025"/>
            </a:xfrm>
            <a:custGeom>
              <a:avLst/>
              <a:gdLst>
                <a:gd name="T0" fmla="*/ 568 w 575"/>
                <a:gd name="T1" fmla="*/ 963 h 977"/>
                <a:gd name="T2" fmla="*/ 488 w 575"/>
                <a:gd name="T3" fmla="*/ 933 h 977"/>
                <a:gd name="T4" fmla="*/ 408 w 575"/>
                <a:gd name="T5" fmla="*/ 890 h 977"/>
                <a:gd name="T6" fmla="*/ 279 w 575"/>
                <a:gd name="T7" fmla="*/ 775 h 977"/>
                <a:gd name="T8" fmla="*/ 140 w 575"/>
                <a:gd name="T9" fmla="*/ 437 h 977"/>
                <a:gd name="T10" fmla="*/ 137 w 575"/>
                <a:gd name="T11" fmla="*/ 437 h 977"/>
                <a:gd name="T12" fmla="*/ 139 w 575"/>
                <a:gd name="T13" fmla="*/ 466 h 977"/>
                <a:gd name="T14" fmla="*/ 92 w 575"/>
                <a:gd name="T15" fmla="*/ 356 h 977"/>
                <a:gd name="T16" fmla="*/ 48 w 575"/>
                <a:gd name="T17" fmla="*/ 217 h 977"/>
                <a:gd name="T18" fmla="*/ 7 w 575"/>
                <a:gd name="T19" fmla="*/ 4 h 977"/>
                <a:gd name="T20" fmla="*/ 4 w 575"/>
                <a:gd name="T21" fmla="*/ 1 h 977"/>
                <a:gd name="T22" fmla="*/ 0 w 575"/>
                <a:gd name="T23" fmla="*/ 1 h 977"/>
                <a:gd name="T24" fmla="*/ 0 w 575"/>
                <a:gd name="T25" fmla="*/ 0 h 977"/>
                <a:gd name="T26" fmla="*/ 38 w 575"/>
                <a:gd name="T27" fmla="*/ 224 h 977"/>
                <a:gd name="T28" fmla="*/ 79 w 575"/>
                <a:gd name="T29" fmla="*/ 356 h 977"/>
                <a:gd name="T30" fmla="*/ 134 w 575"/>
                <a:gd name="T31" fmla="*/ 488 h 977"/>
                <a:gd name="T32" fmla="*/ 141 w 575"/>
                <a:gd name="T33" fmla="*/ 490 h 977"/>
                <a:gd name="T34" fmla="*/ 270 w 575"/>
                <a:gd name="T35" fmla="*/ 785 h 977"/>
                <a:gd name="T36" fmla="*/ 405 w 575"/>
                <a:gd name="T37" fmla="*/ 904 h 977"/>
                <a:gd name="T38" fmla="*/ 565 w 575"/>
                <a:gd name="T39" fmla="*/ 976 h 977"/>
                <a:gd name="T40" fmla="*/ 568 w 575"/>
                <a:gd name="T41" fmla="*/ 963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977">
                  <a:moveTo>
                    <a:pt x="568" y="963"/>
                  </a:moveTo>
                  <a:cubicBezTo>
                    <a:pt x="541" y="953"/>
                    <a:pt x="514" y="945"/>
                    <a:pt x="488" y="933"/>
                  </a:cubicBezTo>
                  <a:cubicBezTo>
                    <a:pt x="460" y="921"/>
                    <a:pt x="433" y="906"/>
                    <a:pt x="408" y="890"/>
                  </a:cubicBezTo>
                  <a:cubicBezTo>
                    <a:pt x="360" y="858"/>
                    <a:pt x="316" y="820"/>
                    <a:pt x="279" y="775"/>
                  </a:cubicBezTo>
                  <a:cubicBezTo>
                    <a:pt x="199" y="680"/>
                    <a:pt x="152" y="560"/>
                    <a:pt x="140" y="437"/>
                  </a:cubicBezTo>
                  <a:cubicBezTo>
                    <a:pt x="140" y="435"/>
                    <a:pt x="137" y="435"/>
                    <a:pt x="137" y="437"/>
                  </a:cubicBezTo>
                  <a:cubicBezTo>
                    <a:pt x="137" y="447"/>
                    <a:pt x="138" y="456"/>
                    <a:pt x="139" y="466"/>
                  </a:cubicBezTo>
                  <a:cubicBezTo>
                    <a:pt x="124" y="429"/>
                    <a:pt x="106" y="394"/>
                    <a:pt x="92" y="356"/>
                  </a:cubicBezTo>
                  <a:cubicBezTo>
                    <a:pt x="75" y="311"/>
                    <a:pt x="60" y="264"/>
                    <a:pt x="48" y="217"/>
                  </a:cubicBezTo>
                  <a:cubicBezTo>
                    <a:pt x="29" y="147"/>
                    <a:pt x="17" y="76"/>
                    <a:pt x="7" y="4"/>
                  </a:cubicBezTo>
                  <a:cubicBezTo>
                    <a:pt x="6" y="3"/>
                    <a:pt x="5" y="2"/>
                    <a:pt x="4" y="1"/>
                  </a:cubicBezTo>
                  <a:cubicBezTo>
                    <a:pt x="3" y="2"/>
                    <a:pt x="1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76"/>
                    <a:pt x="20" y="151"/>
                    <a:pt x="38" y="224"/>
                  </a:cubicBezTo>
                  <a:cubicBezTo>
                    <a:pt x="50" y="269"/>
                    <a:pt x="63" y="313"/>
                    <a:pt x="79" y="356"/>
                  </a:cubicBezTo>
                  <a:cubicBezTo>
                    <a:pt x="95" y="400"/>
                    <a:pt x="110" y="447"/>
                    <a:pt x="134" y="488"/>
                  </a:cubicBezTo>
                  <a:cubicBezTo>
                    <a:pt x="136" y="491"/>
                    <a:pt x="139" y="491"/>
                    <a:pt x="141" y="490"/>
                  </a:cubicBezTo>
                  <a:cubicBezTo>
                    <a:pt x="155" y="598"/>
                    <a:pt x="200" y="701"/>
                    <a:pt x="270" y="785"/>
                  </a:cubicBezTo>
                  <a:cubicBezTo>
                    <a:pt x="309" y="831"/>
                    <a:pt x="354" y="871"/>
                    <a:pt x="405" y="904"/>
                  </a:cubicBezTo>
                  <a:cubicBezTo>
                    <a:pt x="452" y="935"/>
                    <a:pt x="509" y="965"/>
                    <a:pt x="565" y="976"/>
                  </a:cubicBezTo>
                  <a:cubicBezTo>
                    <a:pt x="573" y="977"/>
                    <a:pt x="575" y="966"/>
                    <a:pt x="568" y="96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îṧḷïḋè">
              <a:extLst>
                <a:ext uri="{FF2B5EF4-FFF2-40B4-BE49-F238E27FC236}">
                  <a16:creationId xmlns:a16="http://schemas.microsoft.com/office/drawing/2014/main" id="{0D9EDEAB-FA2A-4D38-8122-3C4882C71E56}"/>
                </a:ext>
              </a:extLst>
            </p:cNvPr>
            <p:cNvSpPr/>
            <p:nvPr/>
          </p:nvSpPr>
          <p:spPr bwMode="auto">
            <a:xfrm>
              <a:off x="5461001" y="3059114"/>
              <a:ext cx="287338" cy="314325"/>
            </a:xfrm>
            <a:custGeom>
              <a:avLst/>
              <a:gdLst>
                <a:gd name="T0" fmla="*/ 154 w 209"/>
                <a:gd name="T1" fmla="*/ 154 h 228"/>
                <a:gd name="T2" fmla="*/ 205 w 209"/>
                <a:gd name="T3" fmla="*/ 222 h 228"/>
                <a:gd name="T4" fmla="*/ 204 w 209"/>
                <a:gd name="T5" fmla="*/ 226 h 228"/>
                <a:gd name="T6" fmla="*/ 206 w 209"/>
                <a:gd name="T7" fmla="*/ 228 h 228"/>
                <a:gd name="T8" fmla="*/ 207 w 209"/>
                <a:gd name="T9" fmla="*/ 221 h 228"/>
                <a:gd name="T10" fmla="*/ 5 w 209"/>
                <a:gd name="T11" fmla="*/ 2 h 228"/>
                <a:gd name="T12" fmla="*/ 3 w 209"/>
                <a:gd name="T13" fmla="*/ 7 h 228"/>
                <a:gd name="T14" fmla="*/ 154 w 209"/>
                <a:gd name="T15" fmla="*/ 15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9" h="228">
                  <a:moveTo>
                    <a:pt x="154" y="154"/>
                  </a:moveTo>
                  <a:cubicBezTo>
                    <a:pt x="172" y="176"/>
                    <a:pt x="189" y="198"/>
                    <a:pt x="205" y="222"/>
                  </a:cubicBezTo>
                  <a:cubicBezTo>
                    <a:pt x="206" y="223"/>
                    <a:pt x="205" y="225"/>
                    <a:pt x="204" y="226"/>
                  </a:cubicBezTo>
                  <a:cubicBezTo>
                    <a:pt x="205" y="226"/>
                    <a:pt x="205" y="227"/>
                    <a:pt x="206" y="228"/>
                  </a:cubicBezTo>
                  <a:cubicBezTo>
                    <a:pt x="208" y="227"/>
                    <a:pt x="209" y="224"/>
                    <a:pt x="207" y="221"/>
                  </a:cubicBezTo>
                  <a:cubicBezTo>
                    <a:pt x="166" y="128"/>
                    <a:pt x="93" y="51"/>
                    <a:pt x="5" y="2"/>
                  </a:cubicBezTo>
                  <a:cubicBezTo>
                    <a:pt x="1" y="0"/>
                    <a:pt x="0" y="5"/>
                    <a:pt x="3" y="7"/>
                  </a:cubicBezTo>
                  <a:cubicBezTo>
                    <a:pt x="64" y="46"/>
                    <a:pt x="115" y="96"/>
                    <a:pt x="154" y="15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îṡ1íḑê">
              <a:extLst>
                <a:ext uri="{FF2B5EF4-FFF2-40B4-BE49-F238E27FC236}">
                  <a16:creationId xmlns:a16="http://schemas.microsoft.com/office/drawing/2014/main" id="{2A860A0E-6AF8-4591-BF44-83C9DD19A37F}"/>
                </a:ext>
              </a:extLst>
            </p:cNvPr>
            <p:cNvSpPr/>
            <p:nvPr/>
          </p:nvSpPr>
          <p:spPr bwMode="auto">
            <a:xfrm>
              <a:off x="5721351" y="3351214"/>
              <a:ext cx="14288" cy="22225"/>
            </a:xfrm>
            <a:custGeom>
              <a:avLst/>
              <a:gdLst>
                <a:gd name="T0" fmla="*/ 0 w 10"/>
                <a:gd name="T1" fmla="*/ 0 h 17"/>
                <a:gd name="T2" fmla="*/ 6 w 10"/>
                <a:gd name="T3" fmla="*/ 13 h 17"/>
                <a:gd name="T4" fmla="*/ 10 w 10"/>
                <a:gd name="T5" fmla="*/ 17 h 17"/>
                <a:gd name="T6" fmla="*/ 0 w 10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7">
                  <a:moveTo>
                    <a:pt x="0" y="0"/>
                  </a:moveTo>
                  <a:cubicBezTo>
                    <a:pt x="2" y="5"/>
                    <a:pt x="4" y="9"/>
                    <a:pt x="6" y="13"/>
                  </a:cubicBezTo>
                  <a:cubicBezTo>
                    <a:pt x="7" y="15"/>
                    <a:pt x="8" y="16"/>
                    <a:pt x="10" y="17"/>
                  </a:cubicBezTo>
                  <a:cubicBezTo>
                    <a:pt x="6" y="11"/>
                    <a:pt x="3" y="6"/>
                    <a:pt x="0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îŝ1îďê">
              <a:extLst>
                <a:ext uri="{FF2B5EF4-FFF2-40B4-BE49-F238E27FC236}">
                  <a16:creationId xmlns:a16="http://schemas.microsoft.com/office/drawing/2014/main" id="{87FCCDC2-0296-4731-BCC9-27D0CEA38587}"/>
                </a:ext>
              </a:extLst>
            </p:cNvPr>
            <p:cNvSpPr/>
            <p:nvPr/>
          </p:nvSpPr>
          <p:spPr bwMode="auto">
            <a:xfrm>
              <a:off x="5716588" y="3295651"/>
              <a:ext cx="212725" cy="73025"/>
            </a:xfrm>
            <a:custGeom>
              <a:avLst/>
              <a:gdLst>
                <a:gd name="T0" fmla="*/ 143 w 154"/>
                <a:gd name="T1" fmla="*/ 34 h 53"/>
                <a:gd name="T2" fmla="*/ 26 w 154"/>
                <a:gd name="T3" fmla="*/ 21 h 53"/>
                <a:gd name="T4" fmla="*/ 24 w 154"/>
                <a:gd name="T5" fmla="*/ 21 h 53"/>
                <a:gd name="T6" fmla="*/ 5 w 154"/>
                <a:gd name="T7" fmla="*/ 2 h 53"/>
                <a:gd name="T8" fmla="*/ 1 w 154"/>
                <a:gd name="T9" fmla="*/ 4 h 53"/>
                <a:gd name="T10" fmla="*/ 62 w 154"/>
                <a:gd name="T11" fmla="*/ 52 h 53"/>
                <a:gd name="T12" fmla="*/ 68 w 154"/>
                <a:gd name="T13" fmla="*/ 46 h 53"/>
                <a:gd name="T14" fmla="*/ 148 w 154"/>
                <a:gd name="T15" fmla="*/ 44 h 53"/>
                <a:gd name="T16" fmla="*/ 143 w 154"/>
                <a:gd name="T17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4" h="53">
                  <a:moveTo>
                    <a:pt x="143" y="34"/>
                  </a:moveTo>
                  <a:cubicBezTo>
                    <a:pt x="102" y="45"/>
                    <a:pt x="64" y="40"/>
                    <a:pt x="26" y="21"/>
                  </a:cubicBezTo>
                  <a:cubicBezTo>
                    <a:pt x="25" y="20"/>
                    <a:pt x="24" y="21"/>
                    <a:pt x="24" y="21"/>
                  </a:cubicBezTo>
                  <a:cubicBezTo>
                    <a:pt x="17" y="16"/>
                    <a:pt x="10" y="9"/>
                    <a:pt x="5" y="2"/>
                  </a:cubicBezTo>
                  <a:cubicBezTo>
                    <a:pt x="4" y="0"/>
                    <a:pt x="0" y="1"/>
                    <a:pt x="1" y="4"/>
                  </a:cubicBezTo>
                  <a:cubicBezTo>
                    <a:pt x="13" y="25"/>
                    <a:pt x="36" y="49"/>
                    <a:pt x="62" y="52"/>
                  </a:cubicBezTo>
                  <a:cubicBezTo>
                    <a:pt x="66" y="52"/>
                    <a:pt x="69" y="49"/>
                    <a:pt x="68" y="46"/>
                  </a:cubicBezTo>
                  <a:cubicBezTo>
                    <a:pt x="94" y="53"/>
                    <a:pt x="122" y="53"/>
                    <a:pt x="148" y="44"/>
                  </a:cubicBezTo>
                  <a:cubicBezTo>
                    <a:pt x="154" y="42"/>
                    <a:pt x="149" y="32"/>
                    <a:pt x="143" y="3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ŝ1îḓè">
              <a:extLst>
                <a:ext uri="{FF2B5EF4-FFF2-40B4-BE49-F238E27FC236}">
                  <a16:creationId xmlns:a16="http://schemas.microsoft.com/office/drawing/2014/main" id="{B7AFB870-3F05-445D-A0D0-CB2A14CF7EBC}"/>
                </a:ext>
              </a:extLst>
            </p:cNvPr>
            <p:cNvSpPr/>
            <p:nvPr/>
          </p:nvSpPr>
          <p:spPr bwMode="auto">
            <a:xfrm>
              <a:off x="5649913" y="3171826"/>
              <a:ext cx="71438" cy="150813"/>
            </a:xfrm>
            <a:custGeom>
              <a:avLst/>
              <a:gdLst>
                <a:gd name="T0" fmla="*/ 37 w 52"/>
                <a:gd name="T1" fmla="*/ 98 h 109"/>
                <a:gd name="T2" fmla="*/ 46 w 52"/>
                <a:gd name="T3" fmla="*/ 109 h 109"/>
                <a:gd name="T4" fmla="*/ 51 w 52"/>
                <a:gd name="T5" fmla="*/ 103 h 109"/>
                <a:gd name="T6" fmla="*/ 8 w 52"/>
                <a:gd name="T7" fmla="*/ 4 h 109"/>
                <a:gd name="T8" fmla="*/ 2 w 52"/>
                <a:gd name="T9" fmla="*/ 6 h 109"/>
                <a:gd name="T10" fmla="*/ 37 w 52"/>
                <a:gd name="T11" fmla="*/ 9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109">
                  <a:moveTo>
                    <a:pt x="37" y="98"/>
                  </a:moveTo>
                  <a:cubicBezTo>
                    <a:pt x="40" y="101"/>
                    <a:pt x="43" y="105"/>
                    <a:pt x="46" y="109"/>
                  </a:cubicBezTo>
                  <a:cubicBezTo>
                    <a:pt x="49" y="109"/>
                    <a:pt x="52" y="107"/>
                    <a:pt x="51" y="103"/>
                  </a:cubicBezTo>
                  <a:cubicBezTo>
                    <a:pt x="40" y="69"/>
                    <a:pt x="22" y="36"/>
                    <a:pt x="8" y="4"/>
                  </a:cubicBezTo>
                  <a:cubicBezTo>
                    <a:pt x="6" y="0"/>
                    <a:pt x="0" y="1"/>
                    <a:pt x="2" y="6"/>
                  </a:cubicBezTo>
                  <a:cubicBezTo>
                    <a:pt x="13" y="36"/>
                    <a:pt x="23" y="68"/>
                    <a:pt x="37" y="9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iṩľiḍê">
              <a:extLst>
                <a:ext uri="{FF2B5EF4-FFF2-40B4-BE49-F238E27FC236}">
                  <a16:creationId xmlns:a16="http://schemas.microsoft.com/office/drawing/2014/main" id="{0EA465EF-AEB0-4E5A-A2C2-3860D6118083}"/>
                </a:ext>
              </a:extLst>
            </p:cNvPr>
            <p:cNvSpPr/>
            <p:nvPr/>
          </p:nvSpPr>
          <p:spPr bwMode="auto">
            <a:xfrm>
              <a:off x="6108701" y="3625851"/>
              <a:ext cx="161925" cy="68263"/>
            </a:xfrm>
            <a:custGeom>
              <a:avLst/>
              <a:gdLst>
                <a:gd name="T0" fmla="*/ 114 w 118"/>
                <a:gd name="T1" fmla="*/ 42 h 50"/>
                <a:gd name="T2" fmla="*/ 3 w 118"/>
                <a:gd name="T3" fmla="*/ 1 h 50"/>
                <a:gd name="T4" fmla="*/ 2 w 118"/>
                <a:gd name="T5" fmla="*/ 3 h 50"/>
                <a:gd name="T6" fmla="*/ 115 w 118"/>
                <a:gd name="T7" fmla="*/ 46 h 50"/>
                <a:gd name="T8" fmla="*/ 114 w 118"/>
                <a:gd name="T9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50">
                  <a:moveTo>
                    <a:pt x="114" y="42"/>
                  </a:moveTo>
                  <a:cubicBezTo>
                    <a:pt x="72" y="43"/>
                    <a:pt x="34" y="30"/>
                    <a:pt x="3" y="1"/>
                  </a:cubicBezTo>
                  <a:cubicBezTo>
                    <a:pt x="2" y="0"/>
                    <a:pt x="0" y="2"/>
                    <a:pt x="2" y="3"/>
                  </a:cubicBezTo>
                  <a:cubicBezTo>
                    <a:pt x="32" y="33"/>
                    <a:pt x="72" y="50"/>
                    <a:pt x="115" y="46"/>
                  </a:cubicBezTo>
                  <a:cubicBezTo>
                    <a:pt x="118" y="46"/>
                    <a:pt x="117" y="42"/>
                    <a:pt x="114" y="4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íṥļîďe">
              <a:extLst>
                <a:ext uri="{FF2B5EF4-FFF2-40B4-BE49-F238E27FC236}">
                  <a16:creationId xmlns:a16="http://schemas.microsoft.com/office/drawing/2014/main" id="{FC5C737C-9B7A-4F6D-9554-FA4FBC900200}"/>
                </a:ext>
              </a:extLst>
            </p:cNvPr>
            <p:cNvSpPr/>
            <p:nvPr/>
          </p:nvSpPr>
          <p:spPr bwMode="auto">
            <a:xfrm>
              <a:off x="6173788" y="3570289"/>
              <a:ext cx="101600" cy="80963"/>
            </a:xfrm>
            <a:custGeom>
              <a:avLst/>
              <a:gdLst>
                <a:gd name="T0" fmla="*/ 71 w 73"/>
                <a:gd name="T1" fmla="*/ 53 h 59"/>
                <a:gd name="T2" fmla="*/ 3 w 73"/>
                <a:gd name="T3" fmla="*/ 1 h 59"/>
                <a:gd name="T4" fmla="*/ 2 w 73"/>
                <a:gd name="T5" fmla="*/ 3 h 59"/>
                <a:gd name="T6" fmla="*/ 68 w 73"/>
                <a:gd name="T7" fmla="*/ 57 h 59"/>
                <a:gd name="T8" fmla="*/ 71 w 73"/>
                <a:gd name="T9" fmla="*/ 5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59">
                  <a:moveTo>
                    <a:pt x="71" y="53"/>
                  </a:moveTo>
                  <a:cubicBezTo>
                    <a:pt x="49" y="35"/>
                    <a:pt x="26" y="18"/>
                    <a:pt x="3" y="1"/>
                  </a:cubicBezTo>
                  <a:cubicBezTo>
                    <a:pt x="2" y="0"/>
                    <a:pt x="0" y="2"/>
                    <a:pt x="2" y="3"/>
                  </a:cubicBezTo>
                  <a:cubicBezTo>
                    <a:pt x="24" y="21"/>
                    <a:pt x="45" y="40"/>
                    <a:pt x="68" y="57"/>
                  </a:cubicBezTo>
                  <a:cubicBezTo>
                    <a:pt x="71" y="59"/>
                    <a:pt x="73" y="56"/>
                    <a:pt x="71" y="5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isľïḋê">
              <a:extLst>
                <a:ext uri="{FF2B5EF4-FFF2-40B4-BE49-F238E27FC236}">
                  <a16:creationId xmlns:a16="http://schemas.microsoft.com/office/drawing/2014/main" id="{272B6EE4-F646-47D2-AF32-A53E54352ACA}"/>
                </a:ext>
              </a:extLst>
            </p:cNvPr>
            <p:cNvSpPr/>
            <p:nvPr/>
          </p:nvSpPr>
          <p:spPr bwMode="auto">
            <a:xfrm>
              <a:off x="6234113" y="3586164"/>
              <a:ext cx="152400" cy="66675"/>
            </a:xfrm>
            <a:custGeom>
              <a:avLst/>
              <a:gdLst>
                <a:gd name="T0" fmla="*/ 106 w 111"/>
                <a:gd name="T1" fmla="*/ 34 h 49"/>
                <a:gd name="T2" fmla="*/ 3 w 111"/>
                <a:gd name="T3" fmla="*/ 2 h 49"/>
                <a:gd name="T4" fmla="*/ 1 w 111"/>
                <a:gd name="T5" fmla="*/ 4 h 49"/>
                <a:gd name="T6" fmla="*/ 108 w 111"/>
                <a:gd name="T7" fmla="*/ 40 h 49"/>
                <a:gd name="T8" fmla="*/ 106 w 111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49">
                  <a:moveTo>
                    <a:pt x="106" y="34"/>
                  </a:moveTo>
                  <a:cubicBezTo>
                    <a:pt x="67" y="34"/>
                    <a:pt x="34" y="28"/>
                    <a:pt x="3" y="2"/>
                  </a:cubicBezTo>
                  <a:cubicBezTo>
                    <a:pt x="2" y="0"/>
                    <a:pt x="0" y="2"/>
                    <a:pt x="1" y="4"/>
                  </a:cubicBezTo>
                  <a:cubicBezTo>
                    <a:pt x="28" y="30"/>
                    <a:pt x="69" y="49"/>
                    <a:pt x="108" y="40"/>
                  </a:cubicBezTo>
                  <a:cubicBezTo>
                    <a:pt x="111" y="39"/>
                    <a:pt x="109" y="34"/>
                    <a:pt x="106" y="3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îşļîḍé">
              <a:extLst>
                <a:ext uri="{FF2B5EF4-FFF2-40B4-BE49-F238E27FC236}">
                  <a16:creationId xmlns:a16="http://schemas.microsoft.com/office/drawing/2014/main" id="{D4EC77CE-BF06-458C-AC8F-0BBD0122EFC9}"/>
                </a:ext>
              </a:extLst>
            </p:cNvPr>
            <p:cNvSpPr/>
            <p:nvPr/>
          </p:nvSpPr>
          <p:spPr bwMode="auto">
            <a:xfrm>
              <a:off x="6330951" y="3524251"/>
              <a:ext cx="82550" cy="98425"/>
            </a:xfrm>
            <a:custGeom>
              <a:avLst/>
              <a:gdLst>
                <a:gd name="T0" fmla="*/ 3 w 60"/>
                <a:gd name="T1" fmla="*/ 0 h 72"/>
                <a:gd name="T2" fmla="*/ 2 w 60"/>
                <a:gd name="T3" fmla="*/ 3 h 72"/>
                <a:gd name="T4" fmla="*/ 53 w 60"/>
                <a:gd name="T5" fmla="*/ 69 h 72"/>
                <a:gd name="T6" fmla="*/ 59 w 60"/>
                <a:gd name="T7" fmla="*/ 68 h 72"/>
                <a:gd name="T8" fmla="*/ 3 w 60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3" y="0"/>
                  </a:moveTo>
                  <a:cubicBezTo>
                    <a:pt x="1" y="0"/>
                    <a:pt x="0" y="2"/>
                    <a:pt x="2" y="3"/>
                  </a:cubicBezTo>
                  <a:cubicBezTo>
                    <a:pt x="28" y="19"/>
                    <a:pt x="43" y="40"/>
                    <a:pt x="53" y="69"/>
                  </a:cubicBezTo>
                  <a:cubicBezTo>
                    <a:pt x="54" y="72"/>
                    <a:pt x="60" y="72"/>
                    <a:pt x="59" y="68"/>
                  </a:cubicBezTo>
                  <a:cubicBezTo>
                    <a:pt x="54" y="38"/>
                    <a:pt x="30" y="12"/>
                    <a:pt x="3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ís1ïḋê">
              <a:extLst>
                <a:ext uri="{FF2B5EF4-FFF2-40B4-BE49-F238E27FC236}">
                  <a16:creationId xmlns:a16="http://schemas.microsoft.com/office/drawing/2014/main" id="{3C61A22D-455D-4D29-AB9C-A9C5D50F59DD}"/>
                </a:ext>
              </a:extLst>
            </p:cNvPr>
            <p:cNvSpPr/>
            <p:nvPr/>
          </p:nvSpPr>
          <p:spPr bwMode="auto">
            <a:xfrm>
              <a:off x="6119813" y="3854451"/>
              <a:ext cx="180975" cy="61913"/>
            </a:xfrm>
            <a:custGeom>
              <a:avLst/>
              <a:gdLst>
                <a:gd name="T0" fmla="*/ 126 w 132"/>
                <a:gd name="T1" fmla="*/ 24 h 45"/>
                <a:gd name="T2" fmla="*/ 4 w 132"/>
                <a:gd name="T3" fmla="*/ 1 h 45"/>
                <a:gd name="T4" fmla="*/ 2 w 132"/>
                <a:gd name="T5" fmla="*/ 3 h 45"/>
                <a:gd name="T6" fmla="*/ 128 w 132"/>
                <a:gd name="T7" fmla="*/ 30 h 45"/>
                <a:gd name="T8" fmla="*/ 126 w 132"/>
                <a:gd name="T9" fmla="*/ 2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45">
                  <a:moveTo>
                    <a:pt x="126" y="24"/>
                  </a:moveTo>
                  <a:cubicBezTo>
                    <a:pt x="82" y="32"/>
                    <a:pt x="40" y="28"/>
                    <a:pt x="4" y="1"/>
                  </a:cubicBezTo>
                  <a:cubicBezTo>
                    <a:pt x="2" y="0"/>
                    <a:pt x="0" y="2"/>
                    <a:pt x="2" y="3"/>
                  </a:cubicBezTo>
                  <a:cubicBezTo>
                    <a:pt x="37" y="30"/>
                    <a:pt x="85" y="45"/>
                    <a:pt x="128" y="30"/>
                  </a:cubicBezTo>
                  <a:cubicBezTo>
                    <a:pt x="132" y="28"/>
                    <a:pt x="129" y="24"/>
                    <a:pt x="126" y="2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ï$1íḓê">
              <a:extLst>
                <a:ext uri="{FF2B5EF4-FFF2-40B4-BE49-F238E27FC236}">
                  <a16:creationId xmlns:a16="http://schemas.microsoft.com/office/drawing/2014/main" id="{F360263B-F420-4DF2-B869-0DA5F3691DE1}"/>
                </a:ext>
              </a:extLst>
            </p:cNvPr>
            <p:cNvSpPr/>
            <p:nvPr/>
          </p:nvSpPr>
          <p:spPr bwMode="auto">
            <a:xfrm>
              <a:off x="6224588" y="3803651"/>
              <a:ext cx="76200" cy="52388"/>
            </a:xfrm>
            <a:custGeom>
              <a:avLst/>
              <a:gdLst>
                <a:gd name="T0" fmla="*/ 52 w 55"/>
                <a:gd name="T1" fmla="*/ 30 h 37"/>
                <a:gd name="T2" fmla="*/ 3 w 55"/>
                <a:gd name="T3" fmla="*/ 1 h 37"/>
                <a:gd name="T4" fmla="*/ 1 w 55"/>
                <a:gd name="T5" fmla="*/ 3 h 37"/>
                <a:gd name="T6" fmla="*/ 50 w 55"/>
                <a:gd name="T7" fmla="*/ 35 h 37"/>
                <a:gd name="T8" fmla="*/ 52 w 55"/>
                <a:gd name="T9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37">
                  <a:moveTo>
                    <a:pt x="52" y="30"/>
                  </a:moveTo>
                  <a:cubicBezTo>
                    <a:pt x="36" y="20"/>
                    <a:pt x="19" y="10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17" y="14"/>
                    <a:pt x="33" y="25"/>
                    <a:pt x="50" y="35"/>
                  </a:cubicBezTo>
                  <a:cubicBezTo>
                    <a:pt x="53" y="37"/>
                    <a:pt x="55" y="32"/>
                    <a:pt x="52" y="3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ïṩḻidê">
              <a:extLst>
                <a:ext uri="{FF2B5EF4-FFF2-40B4-BE49-F238E27FC236}">
                  <a16:creationId xmlns:a16="http://schemas.microsoft.com/office/drawing/2014/main" id="{B93B01EC-51AA-489B-B4A4-C4DB233CF905}"/>
                </a:ext>
              </a:extLst>
            </p:cNvPr>
            <p:cNvSpPr/>
            <p:nvPr/>
          </p:nvSpPr>
          <p:spPr bwMode="auto">
            <a:xfrm>
              <a:off x="6246813" y="3792539"/>
              <a:ext cx="103188" cy="44450"/>
            </a:xfrm>
            <a:custGeom>
              <a:avLst/>
              <a:gdLst>
                <a:gd name="T0" fmla="*/ 72 w 74"/>
                <a:gd name="T1" fmla="*/ 29 h 33"/>
                <a:gd name="T2" fmla="*/ 1 w 74"/>
                <a:gd name="T3" fmla="*/ 0 h 33"/>
                <a:gd name="T4" fmla="*/ 1 w 74"/>
                <a:gd name="T5" fmla="*/ 2 h 33"/>
                <a:gd name="T6" fmla="*/ 71 w 74"/>
                <a:gd name="T7" fmla="*/ 32 h 33"/>
                <a:gd name="T8" fmla="*/ 72 w 74"/>
                <a:gd name="T9" fmla="*/ 2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33">
                  <a:moveTo>
                    <a:pt x="72" y="29"/>
                  </a:moveTo>
                  <a:cubicBezTo>
                    <a:pt x="49" y="19"/>
                    <a:pt x="25" y="1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ubicBezTo>
                    <a:pt x="24" y="12"/>
                    <a:pt x="47" y="22"/>
                    <a:pt x="71" y="32"/>
                  </a:cubicBezTo>
                  <a:cubicBezTo>
                    <a:pt x="73" y="33"/>
                    <a:pt x="74" y="30"/>
                    <a:pt x="72" y="2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isḻïḍê">
              <a:extLst>
                <a:ext uri="{FF2B5EF4-FFF2-40B4-BE49-F238E27FC236}">
                  <a16:creationId xmlns:a16="http://schemas.microsoft.com/office/drawing/2014/main" id="{41324C9F-777E-4D45-9832-83779319B89A}"/>
                </a:ext>
              </a:extLst>
            </p:cNvPr>
            <p:cNvSpPr/>
            <p:nvPr/>
          </p:nvSpPr>
          <p:spPr bwMode="auto">
            <a:xfrm>
              <a:off x="6229351" y="3844926"/>
              <a:ext cx="79375" cy="20638"/>
            </a:xfrm>
            <a:custGeom>
              <a:avLst/>
              <a:gdLst>
                <a:gd name="T0" fmla="*/ 55 w 58"/>
                <a:gd name="T1" fmla="*/ 12 h 16"/>
                <a:gd name="T2" fmla="*/ 1 w 58"/>
                <a:gd name="T3" fmla="*/ 1 h 16"/>
                <a:gd name="T4" fmla="*/ 1 w 58"/>
                <a:gd name="T5" fmla="*/ 3 h 16"/>
                <a:gd name="T6" fmla="*/ 55 w 58"/>
                <a:gd name="T7" fmla="*/ 16 h 16"/>
                <a:gd name="T8" fmla="*/ 55 w 58"/>
                <a:gd name="T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6">
                  <a:moveTo>
                    <a:pt x="55" y="12"/>
                  </a:moveTo>
                  <a:cubicBezTo>
                    <a:pt x="38" y="7"/>
                    <a:pt x="19" y="4"/>
                    <a:pt x="1" y="1"/>
                  </a:cubicBezTo>
                  <a:cubicBezTo>
                    <a:pt x="0" y="0"/>
                    <a:pt x="0" y="2"/>
                    <a:pt x="1" y="3"/>
                  </a:cubicBezTo>
                  <a:cubicBezTo>
                    <a:pt x="19" y="7"/>
                    <a:pt x="37" y="13"/>
                    <a:pt x="55" y="16"/>
                  </a:cubicBezTo>
                  <a:cubicBezTo>
                    <a:pt x="58" y="16"/>
                    <a:pt x="58" y="13"/>
                    <a:pt x="55" y="1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íšľíḓé">
              <a:extLst>
                <a:ext uri="{FF2B5EF4-FFF2-40B4-BE49-F238E27FC236}">
                  <a16:creationId xmlns:a16="http://schemas.microsoft.com/office/drawing/2014/main" id="{556BA1D1-DA8B-4E05-9052-583BFEE397BB}"/>
                </a:ext>
              </a:extLst>
            </p:cNvPr>
            <p:cNvSpPr/>
            <p:nvPr/>
          </p:nvSpPr>
          <p:spPr bwMode="auto">
            <a:xfrm>
              <a:off x="6264276" y="3876676"/>
              <a:ext cx="44450" cy="11113"/>
            </a:xfrm>
            <a:custGeom>
              <a:avLst/>
              <a:gdLst>
                <a:gd name="T0" fmla="*/ 31 w 33"/>
                <a:gd name="T1" fmla="*/ 4 h 8"/>
                <a:gd name="T2" fmla="*/ 2 w 33"/>
                <a:gd name="T3" fmla="*/ 1 h 8"/>
                <a:gd name="T4" fmla="*/ 1 w 33"/>
                <a:gd name="T5" fmla="*/ 3 h 8"/>
                <a:gd name="T6" fmla="*/ 30 w 33"/>
                <a:gd name="T7" fmla="*/ 7 h 8"/>
                <a:gd name="T8" fmla="*/ 31 w 33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8">
                  <a:moveTo>
                    <a:pt x="31" y="4"/>
                  </a:moveTo>
                  <a:cubicBezTo>
                    <a:pt x="21" y="3"/>
                    <a:pt x="11" y="2"/>
                    <a:pt x="2" y="1"/>
                  </a:cubicBezTo>
                  <a:cubicBezTo>
                    <a:pt x="0" y="0"/>
                    <a:pt x="0" y="2"/>
                    <a:pt x="1" y="3"/>
                  </a:cubicBezTo>
                  <a:cubicBezTo>
                    <a:pt x="11" y="4"/>
                    <a:pt x="21" y="6"/>
                    <a:pt x="30" y="7"/>
                  </a:cubicBezTo>
                  <a:cubicBezTo>
                    <a:pt x="32" y="8"/>
                    <a:pt x="33" y="5"/>
                    <a:pt x="31" y="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ïṩ1ïďè">
              <a:extLst>
                <a:ext uri="{FF2B5EF4-FFF2-40B4-BE49-F238E27FC236}">
                  <a16:creationId xmlns:a16="http://schemas.microsoft.com/office/drawing/2014/main" id="{4DCCD477-E04A-445F-AE4E-B31202FE25C7}"/>
                </a:ext>
              </a:extLst>
            </p:cNvPr>
            <p:cNvSpPr/>
            <p:nvPr/>
          </p:nvSpPr>
          <p:spPr bwMode="auto">
            <a:xfrm>
              <a:off x="6275388" y="3729039"/>
              <a:ext cx="127000" cy="42863"/>
            </a:xfrm>
            <a:custGeom>
              <a:avLst/>
              <a:gdLst>
                <a:gd name="T0" fmla="*/ 89 w 92"/>
                <a:gd name="T1" fmla="*/ 23 h 31"/>
                <a:gd name="T2" fmla="*/ 3 w 92"/>
                <a:gd name="T3" fmla="*/ 1 h 31"/>
                <a:gd name="T4" fmla="*/ 1 w 92"/>
                <a:gd name="T5" fmla="*/ 2 h 31"/>
                <a:gd name="T6" fmla="*/ 89 w 92"/>
                <a:gd name="T7" fmla="*/ 27 h 31"/>
                <a:gd name="T8" fmla="*/ 89 w 92"/>
                <a:gd name="T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31">
                  <a:moveTo>
                    <a:pt x="89" y="23"/>
                  </a:moveTo>
                  <a:cubicBezTo>
                    <a:pt x="58" y="24"/>
                    <a:pt x="29" y="19"/>
                    <a:pt x="3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27" y="21"/>
                    <a:pt x="58" y="31"/>
                    <a:pt x="89" y="27"/>
                  </a:cubicBezTo>
                  <a:cubicBezTo>
                    <a:pt x="92" y="27"/>
                    <a:pt x="91" y="23"/>
                    <a:pt x="89" y="2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ïślîḓé">
              <a:extLst>
                <a:ext uri="{FF2B5EF4-FFF2-40B4-BE49-F238E27FC236}">
                  <a16:creationId xmlns:a16="http://schemas.microsoft.com/office/drawing/2014/main" id="{1F803F52-31DC-4718-813D-D41900CC5ED5}"/>
                </a:ext>
              </a:extLst>
            </p:cNvPr>
            <p:cNvSpPr/>
            <p:nvPr/>
          </p:nvSpPr>
          <p:spPr bwMode="auto">
            <a:xfrm>
              <a:off x="6321426" y="3676651"/>
              <a:ext cx="103188" cy="66675"/>
            </a:xfrm>
            <a:custGeom>
              <a:avLst/>
              <a:gdLst>
                <a:gd name="T0" fmla="*/ 71 w 75"/>
                <a:gd name="T1" fmla="*/ 39 h 48"/>
                <a:gd name="T2" fmla="*/ 3 w 75"/>
                <a:gd name="T3" fmla="*/ 2 h 48"/>
                <a:gd name="T4" fmla="*/ 0 w 75"/>
                <a:gd name="T5" fmla="*/ 3 h 48"/>
                <a:gd name="T6" fmla="*/ 72 w 75"/>
                <a:gd name="T7" fmla="*/ 43 h 48"/>
                <a:gd name="T8" fmla="*/ 71 w 75"/>
                <a:gd name="T9" fmla="*/ 3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48">
                  <a:moveTo>
                    <a:pt x="71" y="39"/>
                  </a:moveTo>
                  <a:cubicBezTo>
                    <a:pt x="43" y="44"/>
                    <a:pt x="15" y="29"/>
                    <a:pt x="3" y="2"/>
                  </a:cubicBezTo>
                  <a:cubicBezTo>
                    <a:pt x="3" y="0"/>
                    <a:pt x="0" y="1"/>
                    <a:pt x="0" y="3"/>
                  </a:cubicBezTo>
                  <a:cubicBezTo>
                    <a:pt x="12" y="32"/>
                    <a:pt x="42" y="48"/>
                    <a:pt x="72" y="43"/>
                  </a:cubicBezTo>
                  <a:cubicBezTo>
                    <a:pt x="75" y="43"/>
                    <a:pt x="73" y="39"/>
                    <a:pt x="71" y="3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ṣlîďê">
              <a:extLst>
                <a:ext uri="{FF2B5EF4-FFF2-40B4-BE49-F238E27FC236}">
                  <a16:creationId xmlns:a16="http://schemas.microsoft.com/office/drawing/2014/main" id="{84E8B9A9-5A5A-4101-95A2-6D767945843D}"/>
                </a:ext>
              </a:extLst>
            </p:cNvPr>
            <p:cNvSpPr/>
            <p:nvPr/>
          </p:nvSpPr>
          <p:spPr bwMode="auto">
            <a:xfrm>
              <a:off x="6348413" y="3411539"/>
              <a:ext cx="247650" cy="106363"/>
            </a:xfrm>
            <a:custGeom>
              <a:avLst/>
              <a:gdLst>
                <a:gd name="T0" fmla="*/ 177 w 180"/>
                <a:gd name="T1" fmla="*/ 64 h 78"/>
                <a:gd name="T2" fmla="*/ 2 w 180"/>
                <a:gd name="T3" fmla="*/ 1 h 78"/>
                <a:gd name="T4" fmla="*/ 1 w 180"/>
                <a:gd name="T5" fmla="*/ 3 h 78"/>
                <a:gd name="T6" fmla="*/ 177 w 180"/>
                <a:gd name="T7" fmla="*/ 69 h 78"/>
                <a:gd name="T8" fmla="*/ 177 w 180"/>
                <a:gd name="T9" fmla="*/ 6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78">
                  <a:moveTo>
                    <a:pt x="177" y="64"/>
                  </a:moveTo>
                  <a:cubicBezTo>
                    <a:pt x="112" y="69"/>
                    <a:pt x="48" y="49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46" y="50"/>
                    <a:pt x="111" y="78"/>
                    <a:pt x="177" y="69"/>
                  </a:cubicBezTo>
                  <a:cubicBezTo>
                    <a:pt x="180" y="68"/>
                    <a:pt x="179" y="64"/>
                    <a:pt x="177" y="6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ïṥḻîḍè">
              <a:extLst>
                <a:ext uri="{FF2B5EF4-FFF2-40B4-BE49-F238E27FC236}">
                  <a16:creationId xmlns:a16="http://schemas.microsoft.com/office/drawing/2014/main" id="{9E1F69AF-D119-40E3-883F-A11BB3C28320}"/>
                </a:ext>
              </a:extLst>
            </p:cNvPr>
            <p:cNvSpPr/>
            <p:nvPr/>
          </p:nvSpPr>
          <p:spPr bwMode="auto">
            <a:xfrm>
              <a:off x="6429376" y="3335339"/>
              <a:ext cx="171450" cy="144463"/>
            </a:xfrm>
            <a:custGeom>
              <a:avLst/>
              <a:gdLst>
                <a:gd name="T0" fmla="*/ 124 w 125"/>
                <a:gd name="T1" fmla="*/ 100 h 105"/>
                <a:gd name="T2" fmla="*/ 2 w 125"/>
                <a:gd name="T3" fmla="*/ 1 h 105"/>
                <a:gd name="T4" fmla="*/ 1 w 125"/>
                <a:gd name="T5" fmla="*/ 3 h 105"/>
                <a:gd name="T6" fmla="*/ 120 w 125"/>
                <a:gd name="T7" fmla="*/ 103 h 105"/>
                <a:gd name="T8" fmla="*/ 124 w 125"/>
                <a:gd name="T9" fmla="*/ 10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05">
                  <a:moveTo>
                    <a:pt x="124" y="100"/>
                  </a:moveTo>
                  <a:cubicBezTo>
                    <a:pt x="96" y="56"/>
                    <a:pt x="51" y="19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51" y="27"/>
                    <a:pt x="88" y="58"/>
                    <a:pt x="120" y="103"/>
                  </a:cubicBezTo>
                  <a:cubicBezTo>
                    <a:pt x="122" y="105"/>
                    <a:pt x="125" y="103"/>
                    <a:pt x="124" y="10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ṩļiḍè">
              <a:extLst>
                <a:ext uri="{FF2B5EF4-FFF2-40B4-BE49-F238E27FC236}">
                  <a16:creationId xmlns:a16="http://schemas.microsoft.com/office/drawing/2014/main" id="{D8E5E679-9C61-44F9-87B1-ED89FD888FA6}"/>
                </a:ext>
              </a:extLst>
            </p:cNvPr>
            <p:cNvSpPr/>
            <p:nvPr/>
          </p:nvSpPr>
          <p:spPr bwMode="auto">
            <a:xfrm>
              <a:off x="6469063" y="3403601"/>
              <a:ext cx="74613" cy="41275"/>
            </a:xfrm>
            <a:custGeom>
              <a:avLst/>
              <a:gdLst>
                <a:gd name="T0" fmla="*/ 52 w 54"/>
                <a:gd name="T1" fmla="*/ 25 h 29"/>
                <a:gd name="T2" fmla="*/ 2 w 54"/>
                <a:gd name="T3" fmla="*/ 1 h 29"/>
                <a:gd name="T4" fmla="*/ 1 w 54"/>
                <a:gd name="T5" fmla="*/ 3 h 29"/>
                <a:gd name="T6" fmla="*/ 51 w 54"/>
                <a:gd name="T7" fmla="*/ 28 h 29"/>
                <a:gd name="T8" fmla="*/ 52 w 54"/>
                <a:gd name="T9" fmla="*/ 2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9">
                  <a:moveTo>
                    <a:pt x="52" y="25"/>
                  </a:moveTo>
                  <a:cubicBezTo>
                    <a:pt x="36" y="16"/>
                    <a:pt x="19" y="9"/>
                    <a:pt x="2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18" y="11"/>
                    <a:pt x="34" y="20"/>
                    <a:pt x="51" y="28"/>
                  </a:cubicBezTo>
                  <a:cubicBezTo>
                    <a:pt x="53" y="29"/>
                    <a:pt x="54" y="26"/>
                    <a:pt x="52" y="2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íṥľíḓè">
              <a:extLst>
                <a:ext uri="{FF2B5EF4-FFF2-40B4-BE49-F238E27FC236}">
                  <a16:creationId xmlns:a16="http://schemas.microsoft.com/office/drawing/2014/main" id="{17C78E2C-69D4-4F77-81EB-E6CE4B48FB91}"/>
                </a:ext>
              </a:extLst>
            </p:cNvPr>
            <p:cNvSpPr/>
            <p:nvPr/>
          </p:nvSpPr>
          <p:spPr bwMode="auto">
            <a:xfrm>
              <a:off x="6457951" y="3240089"/>
              <a:ext cx="209550" cy="92075"/>
            </a:xfrm>
            <a:custGeom>
              <a:avLst/>
              <a:gdLst>
                <a:gd name="T0" fmla="*/ 147 w 152"/>
                <a:gd name="T1" fmla="*/ 46 h 67"/>
                <a:gd name="T2" fmla="*/ 3 w 152"/>
                <a:gd name="T3" fmla="*/ 1 h 67"/>
                <a:gd name="T4" fmla="*/ 1 w 152"/>
                <a:gd name="T5" fmla="*/ 2 h 67"/>
                <a:gd name="T6" fmla="*/ 149 w 152"/>
                <a:gd name="T7" fmla="*/ 51 h 67"/>
                <a:gd name="T8" fmla="*/ 147 w 152"/>
                <a:gd name="T9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67">
                  <a:moveTo>
                    <a:pt x="147" y="46"/>
                  </a:moveTo>
                  <a:cubicBezTo>
                    <a:pt x="93" y="56"/>
                    <a:pt x="40" y="42"/>
                    <a:pt x="3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36" y="44"/>
                    <a:pt x="95" y="67"/>
                    <a:pt x="149" y="51"/>
                  </a:cubicBezTo>
                  <a:cubicBezTo>
                    <a:pt x="152" y="50"/>
                    <a:pt x="150" y="46"/>
                    <a:pt x="147" y="4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îsļíḋê">
              <a:extLst>
                <a:ext uri="{FF2B5EF4-FFF2-40B4-BE49-F238E27FC236}">
                  <a16:creationId xmlns:a16="http://schemas.microsoft.com/office/drawing/2014/main" id="{9A0F2038-3EC3-48F5-8C11-7907E211A1CD}"/>
                </a:ext>
              </a:extLst>
            </p:cNvPr>
            <p:cNvSpPr/>
            <p:nvPr/>
          </p:nvSpPr>
          <p:spPr bwMode="auto">
            <a:xfrm>
              <a:off x="6473826" y="3160714"/>
              <a:ext cx="157163" cy="120650"/>
            </a:xfrm>
            <a:custGeom>
              <a:avLst/>
              <a:gdLst>
                <a:gd name="T0" fmla="*/ 112 w 114"/>
                <a:gd name="T1" fmla="*/ 82 h 87"/>
                <a:gd name="T2" fmla="*/ 2 w 114"/>
                <a:gd name="T3" fmla="*/ 0 h 87"/>
                <a:gd name="T4" fmla="*/ 2 w 114"/>
                <a:gd name="T5" fmla="*/ 2 h 87"/>
                <a:gd name="T6" fmla="*/ 108 w 114"/>
                <a:gd name="T7" fmla="*/ 84 h 87"/>
                <a:gd name="T8" fmla="*/ 112 w 114"/>
                <a:gd name="T9" fmla="*/ 8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87">
                  <a:moveTo>
                    <a:pt x="112" y="82"/>
                  </a:moveTo>
                  <a:cubicBezTo>
                    <a:pt x="87" y="41"/>
                    <a:pt x="47" y="14"/>
                    <a:pt x="2" y="0"/>
                  </a:cubicBezTo>
                  <a:cubicBezTo>
                    <a:pt x="0" y="0"/>
                    <a:pt x="0" y="2"/>
                    <a:pt x="2" y="2"/>
                  </a:cubicBezTo>
                  <a:cubicBezTo>
                    <a:pt x="46" y="17"/>
                    <a:pt x="82" y="46"/>
                    <a:pt x="108" y="84"/>
                  </a:cubicBezTo>
                  <a:cubicBezTo>
                    <a:pt x="110" y="87"/>
                    <a:pt x="114" y="85"/>
                    <a:pt x="112" y="8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îṣľiḓê">
              <a:extLst>
                <a:ext uri="{FF2B5EF4-FFF2-40B4-BE49-F238E27FC236}">
                  <a16:creationId xmlns:a16="http://schemas.microsoft.com/office/drawing/2014/main" id="{1D39D4E5-237F-4B4B-8288-65305F6A8B07}"/>
                </a:ext>
              </a:extLst>
            </p:cNvPr>
            <p:cNvSpPr/>
            <p:nvPr/>
          </p:nvSpPr>
          <p:spPr bwMode="auto">
            <a:xfrm>
              <a:off x="6507163" y="3224214"/>
              <a:ext cx="111125" cy="61913"/>
            </a:xfrm>
            <a:custGeom>
              <a:avLst/>
              <a:gdLst>
                <a:gd name="T0" fmla="*/ 78 w 80"/>
                <a:gd name="T1" fmla="*/ 41 h 45"/>
                <a:gd name="T2" fmla="*/ 2 w 80"/>
                <a:gd name="T3" fmla="*/ 0 h 45"/>
                <a:gd name="T4" fmla="*/ 2 w 80"/>
                <a:gd name="T5" fmla="*/ 2 h 45"/>
                <a:gd name="T6" fmla="*/ 76 w 80"/>
                <a:gd name="T7" fmla="*/ 44 h 45"/>
                <a:gd name="T8" fmla="*/ 78 w 80"/>
                <a:gd name="T9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45">
                  <a:moveTo>
                    <a:pt x="78" y="41"/>
                  </a:moveTo>
                  <a:cubicBezTo>
                    <a:pt x="53" y="26"/>
                    <a:pt x="27" y="14"/>
                    <a:pt x="2" y="0"/>
                  </a:cubicBezTo>
                  <a:cubicBezTo>
                    <a:pt x="1" y="0"/>
                    <a:pt x="0" y="1"/>
                    <a:pt x="2" y="2"/>
                  </a:cubicBezTo>
                  <a:cubicBezTo>
                    <a:pt x="26" y="16"/>
                    <a:pt x="51" y="31"/>
                    <a:pt x="76" y="44"/>
                  </a:cubicBezTo>
                  <a:cubicBezTo>
                    <a:pt x="79" y="45"/>
                    <a:pt x="80" y="42"/>
                    <a:pt x="78" y="4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îṧḻîḍe">
              <a:extLst>
                <a:ext uri="{FF2B5EF4-FFF2-40B4-BE49-F238E27FC236}">
                  <a16:creationId xmlns:a16="http://schemas.microsoft.com/office/drawing/2014/main" id="{403FC470-B431-4676-AEBC-3280FEDD0A5E}"/>
                </a:ext>
              </a:extLst>
            </p:cNvPr>
            <p:cNvSpPr/>
            <p:nvPr/>
          </p:nvSpPr>
          <p:spPr bwMode="auto">
            <a:xfrm>
              <a:off x="6621463" y="3444876"/>
              <a:ext cx="80963" cy="4763"/>
            </a:xfrm>
            <a:custGeom>
              <a:avLst/>
              <a:gdLst>
                <a:gd name="T0" fmla="*/ 56 w 59"/>
                <a:gd name="T1" fmla="*/ 0 h 3"/>
                <a:gd name="T2" fmla="*/ 2 w 59"/>
                <a:gd name="T3" fmla="*/ 1 h 3"/>
                <a:gd name="T4" fmla="*/ 3 w 59"/>
                <a:gd name="T5" fmla="*/ 3 h 3"/>
                <a:gd name="T6" fmla="*/ 57 w 59"/>
                <a:gd name="T7" fmla="*/ 3 h 3"/>
                <a:gd name="T8" fmla="*/ 56 w 59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3">
                  <a:moveTo>
                    <a:pt x="56" y="0"/>
                  </a:moveTo>
                  <a:cubicBezTo>
                    <a:pt x="38" y="0"/>
                    <a:pt x="20" y="1"/>
                    <a:pt x="2" y="1"/>
                  </a:cubicBezTo>
                  <a:cubicBezTo>
                    <a:pt x="0" y="1"/>
                    <a:pt x="1" y="3"/>
                    <a:pt x="3" y="3"/>
                  </a:cubicBezTo>
                  <a:cubicBezTo>
                    <a:pt x="21" y="3"/>
                    <a:pt x="39" y="3"/>
                    <a:pt x="57" y="3"/>
                  </a:cubicBezTo>
                  <a:cubicBezTo>
                    <a:pt x="59" y="3"/>
                    <a:pt x="58" y="0"/>
                    <a:pt x="56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ï$ḻîḋè">
              <a:extLst>
                <a:ext uri="{FF2B5EF4-FFF2-40B4-BE49-F238E27FC236}">
                  <a16:creationId xmlns:a16="http://schemas.microsoft.com/office/drawing/2014/main" id="{D4041127-0477-44A1-9BDF-37B3F6C8410A}"/>
                </a:ext>
              </a:extLst>
            </p:cNvPr>
            <p:cNvSpPr/>
            <p:nvPr/>
          </p:nvSpPr>
          <p:spPr bwMode="auto">
            <a:xfrm>
              <a:off x="6550026" y="3152776"/>
              <a:ext cx="179388" cy="31750"/>
            </a:xfrm>
            <a:custGeom>
              <a:avLst/>
              <a:gdLst>
                <a:gd name="T0" fmla="*/ 127 w 130"/>
                <a:gd name="T1" fmla="*/ 1 h 23"/>
                <a:gd name="T2" fmla="*/ 3 w 130"/>
                <a:gd name="T3" fmla="*/ 19 h 23"/>
                <a:gd name="T4" fmla="*/ 3 w 130"/>
                <a:gd name="T5" fmla="*/ 23 h 23"/>
                <a:gd name="T6" fmla="*/ 128 w 130"/>
                <a:gd name="T7" fmla="*/ 4 h 23"/>
                <a:gd name="T8" fmla="*/ 127 w 130"/>
                <a:gd name="T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23">
                  <a:moveTo>
                    <a:pt x="127" y="1"/>
                  </a:moveTo>
                  <a:cubicBezTo>
                    <a:pt x="86" y="6"/>
                    <a:pt x="44" y="13"/>
                    <a:pt x="3" y="19"/>
                  </a:cubicBezTo>
                  <a:cubicBezTo>
                    <a:pt x="0" y="20"/>
                    <a:pt x="1" y="23"/>
                    <a:pt x="3" y="23"/>
                  </a:cubicBezTo>
                  <a:cubicBezTo>
                    <a:pt x="45" y="17"/>
                    <a:pt x="87" y="11"/>
                    <a:pt x="128" y="4"/>
                  </a:cubicBezTo>
                  <a:cubicBezTo>
                    <a:pt x="130" y="4"/>
                    <a:pt x="129" y="0"/>
                    <a:pt x="127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ïŝḻïḋe">
              <a:extLst>
                <a:ext uri="{FF2B5EF4-FFF2-40B4-BE49-F238E27FC236}">
                  <a16:creationId xmlns:a16="http://schemas.microsoft.com/office/drawing/2014/main" id="{8BDF1AB4-BB56-46A3-8D12-AA2E8EC58E6D}"/>
                </a:ext>
              </a:extLst>
            </p:cNvPr>
            <p:cNvSpPr/>
            <p:nvPr/>
          </p:nvSpPr>
          <p:spPr bwMode="auto">
            <a:xfrm>
              <a:off x="6543676" y="3084514"/>
              <a:ext cx="150813" cy="49213"/>
            </a:xfrm>
            <a:custGeom>
              <a:avLst/>
              <a:gdLst>
                <a:gd name="T0" fmla="*/ 108 w 110"/>
                <a:gd name="T1" fmla="*/ 31 h 36"/>
                <a:gd name="T2" fmla="*/ 1 w 110"/>
                <a:gd name="T3" fmla="*/ 12 h 36"/>
                <a:gd name="T4" fmla="*/ 2 w 110"/>
                <a:gd name="T5" fmla="*/ 14 h 36"/>
                <a:gd name="T6" fmla="*/ 106 w 110"/>
                <a:gd name="T7" fmla="*/ 34 h 36"/>
                <a:gd name="T8" fmla="*/ 108 w 110"/>
                <a:gd name="T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36">
                  <a:moveTo>
                    <a:pt x="108" y="31"/>
                  </a:moveTo>
                  <a:cubicBezTo>
                    <a:pt x="78" y="7"/>
                    <a:pt x="37" y="0"/>
                    <a:pt x="1" y="12"/>
                  </a:cubicBezTo>
                  <a:cubicBezTo>
                    <a:pt x="0" y="13"/>
                    <a:pt x="1" y="15"/>
                    <a:pt x="2" y="14"/>
                  </a:cubicBezTo>
                  <a:cubicBezTo>
                    <a:pt x="40" y="5"/>
                    <a:pt x="74" y="12"/>
                    <a:pt x="106" y="34"/>
                  </a:cubicBezTo>
                  <a:cubicBezTo>
                    <a:pt x="108" y="36"/>
                    <a:pt x="110" y="33"/>
                    <a:pt x="108" y="3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íŝḻïďé">
              <a:extLst>
                <a:ext uri="{FF2B5EF4-FFF2-40B4-BE49-F238E27FC236}">
                  <a16:creationId xmlns:a16="http://schemas.microsoft.com/office/drawing/2014/main" id="{6FB341B9-7B64-4280-ADF5-DDA366DF0238}"/>
                </a:ext>
              </a:extLst>
            </p:cNvPr>
            <p:cNvSpPr/>
            <p:nvPr/>
          </p:nvSpPr>
          <p:spPr bwMode="auto">
            <a:xfrm>
              <a:off x="6588126" y="3036889"/>
              <a:ext cx="115888" cy="31750"/>
            </a:xfrm>
            <a:custGeom>
              <a:avLst/>
              <a:gdLst>
                <a:gd name="T0" fmla="*/ 82 w 85"/>
                <a:gd name="T1" fmla="*/ 19 h 23"/>
                <a:gd name="T2" fmla="*/ 2 w 85"/>
                <a:gd name="T3" fmla="*/ 0 h 23"/>
                <a:gd name="T4" fmla="*/ 1 w 85"/>
                <a:gd name="T5" fmla="*/ 2 h 23"/>
                <a:gd name="T6" fmla="*/ 82 w 85"/>
                <a:gd name="T7" fmla="*/ 22 h 23"/>
                <a:gd name="T8" fmla="*/ 82 w 85"/>
                <a:gd name="T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23">
                  <a:moveTo>
                    <a:pt x="82" y="19"/>
                  </a:moveTo>
                  <a:cubicBezTo>
                    <a:pt x="56" y="12"/>
                    <a:pt x="29" y="6"/>
                    <a:pt x="2" y="0"/>
                  </a:cubicBezTo>
                  <a:cubicBezTo>
                    <a:pt x="0" y="0"/>
                    <a:pt x="0" y="2"/>
                    <a:pt x="1" y="2"/>
                  </a:cubicBezTo>
                  <a:cubicBezTo>
                    <a:pt x="28" y="10"/>
                    <a:pt x="55" y="17"/>
                    <a:pt x="82" y="22"/>
                  </a:cubicBezTo>
                  <a:cubicBezTo>
                    <a:pt x="85" y="23"/>
                    <a:pt x="85" y="19"/>
                    <a:pt x="82" y="1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iṡliďê">
              <a:extLst>
                <a:ext uri="{FF2B5EF4-FFF2-40B4-BE49-F238E27FC236}">
                  <a16:creationId xmlns:a16="http://schemas.microsoft.com/office/drawing/2014/main" id="{FE0A8276-6351-4BF7-A400-12076EF107B2}"/>
                </a:ext>
              </a:extLst>
            </p:cNvPr>
            <p:cNvSpPr/>
            <p:nvPr/>
          </p:nvSpPr>
          <p:spPr bwMode="auto">
            <a:xfrm>
              <a:off x="6619876" y="2970214"/>
              <a:ext cx="101600" cy="6350"/>
            </a:xfrm>
            <a:custGeom>
              <a:avLst/>
              <a:gdLst>
                <a:gd name="T0" fmla="*/ 70 w 73"/>
                <a:gd name="T1" fmla="*/ 1 h 5"/>
                <a:gd name="T2" fmla="*/ 1 w 73"/>
                <a:gd name="T3" fmla="*/ 1 h 5"/>
                <a:gd name="T4" fmla="*/ 2 w 73"/>
                <a:gd name="T5" fmla="*/ 4 h 5"/>
                <a:gd name="T6" fmla="*/ 70 w 73"/>
                <a:gd name="T7" fmla="*/ 5 h 5"/>
                <a:gd name="T8" fmla="*/ 70 w 73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5">
                  <a:moveTo>
                    <a:pt x="70" y="1"/>
                  </a:moveTo>
                  <a:cubicBezTo>
                    <a:pt x="47" y="0"/>
                    <a:pt x="24" y="0"/>
                    <a:pt x="1" y="1"/>
                  </a:cubicBezTo>
                  <a:cubicBezTo>
                    <a:pt x="0" y="1"/>
                    <a:pt x="0" y="4"/>
                    <a:pt x="2" y="4"/>
                  </a:cubicBezTo>
                  <a:cubicBezTo>
                    <a:pt x="25" y="5"/>
                    <a:pt x="48" y="5"/>
                    <a:pt x="70" y="5"/>
                  </a:cubicBezTo>
                  <a:cubicBezTo>
                    <a:pt x="73" y="5"/>
                    <a:pt x="72" y="1"/>
                    <a:pt x="70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ïṩļïḓé">
              <a:extLst>
                <a:ext uri="{FF2B5EF4-FFF2-40B4-BE49-F238E27FC236}">
                  <a16:creationId xmlns:a16="http://schemas.microsoft.com/office/drawing/2014/main" id="{77D4191D-1F98-4B45-879F-80A61248C9F4}"/>
                </a:ext>
              </a:extLst>
            </p:cNvPr>
            <p:cNvSpPr/>
            <p:nvPr/>
          </p:nvSpPr>
          <p:spPr bwMode="auto">
            <a:xfrm>
              <a:off x="6602413" y="2851151"/>
              <a:ext cx="84138" cy="23813"/>
            </a:xfrm>
            <a:custGeom>
              <a:avLst/>
              <a:gdLst>
                <a:gd name="T0" fmla="*/ 58 w 61"/>
                <a:gd name="T1" fmla="*/ 13 h 17"/>
                <a:gd name="T2" fmla="*/ 2 w 61"/>
                <a:gd name="T3" fmla="*/ 1 h 17"/>
                <a:gd name="T4" fmla="*/ 2 w 61"/>
                <a:gd name="T5" fmla="*/ 4 h 17"/>
                <a:gd name="T6" fmla="*/ 58 w 61"/>
                <a:gd name="T7" fmla="*/ 17 h 17"/>
                <a:gd name="T8" fmla="*/ 58 w 61"/>
                <a:gd name="T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58" y="13"/>
                  </a:moveTo>
                  <a:cubicBezTo>
                    <a:pt x="40" y="8"/>
                    <a:pt x="21" y="5"/>
                    <a:pt x="2" y="1"/>
                  </a:cubicBezTo>
                  <a:cubicBezTo>
                    <a:pt x="0" y="0"/>
                    <a:pt x="0" y="4"/>
                    <a:pt x="2" y="4"/>
                  </a:cubicBezTo>
                  <a:cubicBezTo>
                    <a:pt x="21" y="8"/>
                    <a:pt x="39" y="13"/>
                    <a:pt x="58" y="17"/>
                  </a:cubicBezTo>
                  <a:cubicBezTo>
                    <a:pt x="61" y="17"/>
                    <a:pt x="61" y="13"/>
                    <a:pt x="58" y="1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íŝ1iḑè">
              <a:extLst>
                <a:ext uri="{FF2B5EF4-FFF2-40B4-BE49-F238E27FC236}">
                  <a16:creationId xmlns:a16="http://schemas.microsoft.com/office/drawing/2014/main" id="{A9164C20-C57E-431C-BDDD-5FEE8D513772}"/>
                </a:ext>
              </a:extLst>
            </p:cNvPr>
            <p:cNvSpPr/>
            <p:nvPr/>
          </p:nvSpPr>
          <p:spPr bwMode="auto">
            <a:xfrm>
              <a:off x="6472238" y="1514476"/>
              <a:ext cx="354013" cy="1192213"/>
            </a:xfrm>
            <a:custGeom>
              <a:avLst/>
              <a:gdLst>
                <a:gd name="T0" fmla="*/ 251 w 257"/>
                <a:gd name="T1" fmla="*/ 115 h 868"/>
                <a:gd name="T2" fmla="*/ 241 w 257"/>
                <a:gd name="T3" fmla="*/ 140 h 868"/>
                <a:gd name="T4" fmla="*/ 238 w 257"/>
                <a:gd name="T5" fmla="*/ 84 h 868"/>
                <a:gd name="T6" fmla="*/ 245 w 257"/>
                <a:gd name="T7" fmla="*/ 101 h 868"/>
                <a:gd name="T8" fmla="*/ 250 w 257"/>
                <a:gd name="T9" fmla="*/ 100 h 868"/>
                <a:gd name="T10" fmla="*/ 232 w 257"/>
                <a:gd name="T11" fmla="*/ 63 h 868"/>
                <a:gd name="T12" fmla="*/ 232 w 257"/>
                <a:gd name="T13" fmla="*/ 63 h 868"/>
                <a:gd name="T14" fmla="*/ 232 w 257"/>
                <a:gd name="T15" fmla="*/ 62 h 868"/>
                <a:gd name="T16" fmla="*/ 173 w 257"/>
                <a:gd name="T17" fmla="*/ 10 h 868"/>
                <a:gd name="T18" fmla="*/ 173 w 257"/>
                <a:gd name="T19" fmla="*/ 5 h 868"/>
                <a:gd name="T20" fmla="*/ 166 w 257"/>
                <a:gd name="T21" fmla="*/ 5 h 868"/>
                <a:gd name="T22" fmla="*/ 167 w 257"/>
                <a:gd name="T23" fmla="*/ 7 h 868"/>
                <a:gd name="T24" fmla="*/ 163 w 257"/>
                <a:gd name="T25" fmla="*/ 6 h 868"/>
                <a:gd name="T26" fmla="*/ 162 w 257"/>
                <a:gd name="T27" fmla="*/ 7 h 868"/>
                <a:gd name="T28" fmla="*/ 167 w 257"/>
                <a:gd name="T29" fmla="*/ 10 h 868"/>
                <a:gd name="T30" fmla="*/ 1 w 257"/>
                <a:gd name="T31" fmla="*/ 866 h 868"/>
                <a:gd name="T32" fmla="*/ 3 w 257"/>
                <a:gd name="T33" fmla="*/ 867 h 868"/>
                <a:gd name="T34" fmla="*/ 174 w 257"/>
                <a:gd name="T35" fmla="*/ 14 h 868"/>
                <a:gd name="T36" fmla="*/ 234 w 257"/>
                <a:gd name="T37" fmla="*/ 76 h 868"/>
                <a:gd name="T38" fmla="*/ 230 w 257"/>
                <a:gd name="T39" fmla="*/ 173 h 868"/>
                <a:gd name="T40" fmla="*/ 223 w 257"/>
                <a:gd name="T41" fmla="*/ 192 h 868"/>
                <a:gd name="T42" fmla="*/ 228 w 257"/>
                <a:gd name="T43" fmla="*/ 195 h 868"/>
                <a:gd name="T44" fmla="*/ 232 w 257"/>
                <a:gd name="T45" fmla="*/ 183 h 868"/>
                <a:gd name="T46" fmla="*/ 256 w 257"/>
                <a:gd name="T47" fmla="*/ 117 h 868"/>
                <a:gd name="T48" fmla="*/ 251 w 257"/>
                <a:gd name="T49" fmla="*/ 115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7" h="868">
                  <a:moveTo>
                    <a:pt x="251" y="115"/>
                  </a:moveTo>
                  <a:cubicBezTo>
                    <a:pt x="248" y="123"/>
                    <a:pt x="245" y="132"/>
                    <a:pt x="241" y="140"/>
                  </a:cubicBezTo>
                  <a:cubicBezTo>
                    <a:pt x="243" y="122"/>
                    <a:pt x="242" y="103"/>
                    <a:pt x="238" y="84"/>
                  </a:cubicBezTo>
                  <a:cubicBezTo>
                    <a:pt x="241" y="90"/>
                    <a:pt x="243" y="95"/>
                    <a:pt x="245" y="101"/>
                  </a:cubicBezTo>
                  <a:cubicBezTo>
                    <a:pt x="247" y="104"/>
                    <a:pt x="251" y="103"/>
                    <a:pt x="250" y="100"/>
                  </a:cubicBezTo>
                  <a:cubicBezTo>
                    <a:pt x="246" y="87"/>
                    <a:pt x="240" y="75"/>
                    <a:pt x="232" y="63"/>
                  </a:cubicBezTo>
                  <a:cubicBezTo>
                    <a:pt x="232" y="63"/>
                    <a:pt x="232" y="63"/>
                    <a:pt x="232" y="63"/>
                  </a:cubicBezTo>
                  <a:cubicBezTo>
                    <a:pt x="232" y="63"/>
                    <a:pt x="232" y="62"/>
                    <a:pt x="232" y="62"/>
                  </a:cubicBezTo>
                  <a:cubicBezTo>
                    <a:pt x="217" y="40"/>
                    <a:pt x="197" y="21"/>
                    <a:pt x="173" y="10"/>
                  </a:cubicBezTo>
                  <a:cubicBezTo>
                    <a:pt x="173" y="8"/>
                    <a:pt x="173" y="6"/>
                    <a:pt x="173" y="5"/>
                  </a:cubicBezTo>
                  <a:cubicBezTo>
                    <a:pt x="172" y="1"/>
                    <a:pt x="166" y="0"/>
                    <a:pt x="166" y="5"/>
                  </a:cubicBezTo>
                  <a:cubicBezTo>
                    <a:pt x="166" y="6"/>
                    <a:pt x="166" y="6"/>
                    <a:pt x="167" y="7"/>
                  </a:cubicBezTo>
                  <a:cubicBezTo>
                    <a:pt x="165" y="7"/>
                    <a:pt x="164" y="6"/>
                    <a:pt x="163" y="6"/>
                  </a:cubicBezTo>
                  <a:cubicBezTo>
                    <a:pt x="161" y="5"/>
                    <a:pt x="161" y="7"/>
                    <a:pt x="162" y="7"/>
                  </a:cubicBezTo>
                  <a:cubicBezTo>
                    <a:pt x="164" y="8"/>
                    <a:pt x="165" y="9"/>
                    <a:pt x="167" y="10"/>
                  </a:cubicBezTo>
                  <a:cubicBezTo>
                    <a:pt x="198" y="304"/>
                    <a:pt x="137" y="603"/>
                    <a:pt x="1" y="866"/>
                  </a:cubicBezTo>
                  <a:cubicBezTo>
                    <a:pt x="0" y="867"/>
                    <a:pt x="2" y="868"/>
                    <a:pt x="3" y="867"/>
                  </a:cubicBezTo>
                  <a:cubicBezTo>
                    <a:pt x="144" y="607"/>
                    <a:pt x="200" y="308"/>
                    <a:pt x="174" y="14"/>
                  </a:cubicBezTo>
                  <a:cubicBezTo>
                    <a:pt x="199" y="30"/>
                    <a:pt x="219" y="50"/>
                    <a:pt x="234" y="76"/>
                  </a:cubicBezTo>
                  <a:cubicBezTo>
                    <a:pt x="241" y="108"/>
                    <a:pt x="239" y="141"/>
                    <a:pt x="230" y="173"/>
                  </a:cubicBezTo>
                  <a:cubicBezTo>
                    <a:pt x="227" y="179"/>
                    <a:pt x="225" y="186"/>
                    <a:pt x="223" y="192"/>
                  </a:cubicBezTo>
                  <a:cubicBezTo>
                    <a:pt x="221" y="195"/>
                    <a:pt x="226" y="198"/>
                    <a:pt x="228" y="195"/>
                  </a:cubicBezTo>
                  <a:cubicBezTo>
                    <a:pt x="229" y="191"/>
                    <a:pt x="231" y="187"/>
                    <a:pt x="232" y="183"/>
                  </a:cubicBezTo>
                  <a:cubicBezTo>
                    <a:pt x="240" y="161"/>
                    <a:pt x="249" y="139"/>
                    <a:pt x="256" y="117"/>
                  </a:cubicBezTo>
                  <a:cubicBezTo>
                    <a:pt x="257" y="114"/>
                    <a:pt x="253" y="112"/>
                    <a:pt x="251" y="11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íSḻiḓé">
              <a:extLst>
                <a:ext uri="{FF2B5EF4-FFF2-40B4-BE49-F238E27FC236}">
                  <a16:creationId xmlns:a16="http://schemas.microsoft.com/office/drawing/2014/main" id="{F7E77F3F-7D47-4205-BFB2-E6017E41706B}"/>
                </a:ext>
              </a:extLst>
            </p:cNvPr>
            <p:cNvSpPr/>
            <p:nvPr/>
          </p:nvSpPr>
          <p:spPr bwMode="auto">
            <a:xfrm>
              <a:off x="6577013" y="2733676"/>
              <a:ext cx="134938" cy="74613"/>
            </a:xfrm>
            <a:custGeom>
              <a:avLst/>
              <a:gdLst>
                <a:gd name="T0" fmla="*/ 95 w 98"/>
                <a:gd name="T1" fmla="*/ 34 h 54"/>
                <a:gd name="T2" fmla="*/ 33 w 98"/>
                <a:gd name="T3" fmla="*/ 1 h 54"/>
                <a:gd name="T4" fmla="*/ 33 w 98"/>
                <a:gd name="T5" fmla="*/ 3 h 54"/>
                <a:gd name="T6" fmla="*/ 85 w 98"/>
                <a:gd name="T7" fmla="*/ 33 h 54"/>
                <a:gd name="T8" fmla="*/ 2 w 98"/>
                <a:gd name="T9" fmla="*/ 51 h 54"/>
                <a:gd name="T10" fmla="*/ 3 w 98"/>
                <a:gd name="T11" fmla="*/ 54 h 54"/>
                <a:gd name="T12" fmla="*/ 86 w 98"/>
                <a:gd name="T13" fmla="*/ 37 h 54"/>
                <a:gd name="T14" fmla="*/ 87 w 98"/>
                <a:gd name="T15" fmla="*/ 35 h 54"/>
                <a:gd name="T16" fmla="*/ 94 w 98"/>
                <a:gd name="T17" fmla="*/ 38 h 54"/>
                <a:gd name="T18" fmla="*/ 95 w 98"/>
                <a:gd name="T19" fmla="*/ 3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" h="54">
                  <a:moveTo>
                    <a:pt x="95" y="34"/>
                  </a:moveTo>
                  <a:cubicBezTo>
                    <a:pt x="75" y="22"/>
                    <a:pt x="54" y="12"/>
                    <a:pt x="33" y="1"/>
                  </a:cubicBezTo>
                  <a:cubicBezTo>
                    <a:pt x="32" y="0"/>
                    <a:pt x="31" y="2"/>
                    <a:pt x="33" y="3"/>
                  </a:cubicBezTo>
                  <a:cubicBezTo>
                    <a:pt x="50" y="14"/>
                    <a:pt x="67" y="24"/>
                    <a:pt x="85" y="33"/>
                  </a:cubicBezTo>
                  <a:cubicBezTo>
                    <a:pt x="57" y="38"/>
                    <a:pt x="29" y="44"/>
                    <a:pt x="2" y="51"/>
                  </a:cubicBezTo>
                  <a:cubicBezTo>
                    <a:pt x="0" y="51"/>
                    <a:pt x="1" y="54"/>
                    <a:pt x="3" y="54"/>
                  </a:cubicBezTo>
                  <a:cubicBezTo>
                    <a:pt x="31" y="49"/>
                    <a:pt x="59" y="44"/>
                    <a:pt x="86" y="37"/>
                  </a:cubicBezTo>
                  <a:cubicBezTo>
                    <a:pt x="88" y="37"/>
                    <a:pt x="88" y="36"/>
                    <a:pt x="87" y="35"/>
                  </a:cubicBezTo>
                  <a:cubicBezTo>
                    <a:pt x="90" y="36"/>
                    <a:pt x="92" y="37"/>
                    <a:pt x="94" y="38"/>
                  </a:cubicBezTo>
                  <a:cubicBezTo>
                    <a:pt x="96" y="40"/>
                    <a:pt x="98" y="36"/>
                    <a:pt x="95" y="3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ïṧľiďe">
              <a:extLst>
                <a:ext uri="{FF2B5EF4-FFF2-40B4-BE49-F238E27FC236}">
                  <a16:creationId xmlns:a16="http://schemas.microsoft.com/office/drawing/2014/main" id="{34DC84A4-BEBB-4D1A-87B1-1F01B7598447}"/>
                </a:ext>
              </a:extLst>
            </p:cNvPr>
            <p:cNvSpPr/>
            <p:nvPr/>
          </p:nvSpPr>
          <p:spPr bwMode="auto">
            <a:xfrm>
              <a:off x="6662738" y="2833689"/>
              <a:ext cx="98425" cy="9525"/>
            </a:xfrm>
            <a:custGeom>
              <a:avLst/>
              <a:gdLst>
                <a:gd name="T0" fmla="*/ 68 w 71"/>
                <a:gd name="T1" fmla="*/ 1 h 7"/>
                <a:gd name="T2" fmla="*/ 1 w 71"/>
                <a:gd name="T3" fmla="*/ 3 h 7"/>
                <a:gd name="T4" fmla="*/ 2 w 71"/>
                <a:gd name="T5" fmla="*/ 5 h 7"/>
                <a:gd name="T6" fmla="*/ 68 w 71"/>
                <a:gd name="T7" fmla="*/ 5 h 7"/>
                <a:gd name="T8" fmla="*/ 68 w 71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7">
                  <a:moveTo>
                    <a:pt x="68" y="1"/>
                  </a:moveTo>
                  <a:cubicBezTo>
                    <a:pt x="46" y="0"/>
                    <a:pt x="23" y="1"/>
                    <a:pt x="1" y="3"/>
                  </a:cubicBezTo>
                  <a:cubicBezTo>
                    <a:pt x="0" y="3"/>
                    <a:pt x="0" y="5"/>
                    <a:pt x="2" y="5"/>
                  </a:cubicBezTo>
                  <a:cubicBezTo>
                    <a:pt x="24" y="6"/>
                    <a:pt x="46" y="7"/>
                    <a:pt x="68" y="5"/>
                  </a:cubicBezTo>
                  <a:cubicBezTo>
                    <a:pt x="71" y="5"/>
                    <a:pt x="70" y="1"/>
                    <a:pt x="68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ïṣḻíḑe">
              <a:extLst>
                <a:ext uri="{FF2B5EF4-FFF2-40B4-BE49-F238E27FC236}">
                  <a16:creationId xmlns:a16="http://schemas.microsoft.com/office/drawing/2014/main" id="{05BDE5DC-CDD4-420E-A08A-407587F893E3}"/>
                </a:ext>
              </a:extLst>
            </p:cNvPr>
            <p:cNvSpPr/>
            <p:nvPr/>
          </p:nvSpPr>
          <p:spPr bwMode="auto">
            <a:xfrm>
              <a:off x="6713538" y="2792414"/>
              <a:ext cx="65088" cy="30163"/>
            </a:xfrm>
            <a:custGeom>
              <a:avLst/>
              <a:gdLst>
                <a:gd name="T0" fmla="*/ 44 w 47"/>
                <a:gd name="T1" fmla="*/ 17 h 22"/>
                <a:gd name="T2" fmla="*/ 3 w 47"/>
                <a:gd name="T3" fmla="*/ 1 h 22"/>
                <a:gd name="T4" fmla="*/ 2 w 47"/>
                <a:gd name="T5" fmla="*/ 3 h 22"/>
                <a:gd name="T6" fmla="*/ 43 w 47"/>
                <a:gd name="T7" fmla="*/ 21 h 22"/>
                <a:gd name="T8" fmla="*/ 44 w 47"/>
                <a:gd name="T9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2">
                  <a:moveTo>
                    <a:pt x="44" y="17"/>
                  </a:moveTo>
                  <a:cubicBezTo>
                    <a:pt x="31" y="11"/>
                    <a:pt x="17" y="6"/>
                    <a:pt x="3" y="1"/>
                  </a:cubicBezTo>
                  <a:cubicBezTo>
                    <a:pt x="1" y="0"/>
                    <a:pt x="0" y="2"/>
                    <a:pt x="2" y="3"/>
                  </a:cubicBezTo>
                  <a:cubicBezTo>
                    <a:pt x="15" y="10"/>
                    <a:pt x="29" y="16"/>
                    <a:pt x="43" y="21"/>
                  </a:cubicBezTo>
                  <a:cubicBezTo>
                    <a:pt x="46" y="22"/>
                    <a:pt x="47" y="18"/>
                    <a:pt x="44" y="1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ïṣliḓê">
              <a:extLst>
                <a:ext uri="{FF2B5EF4-FFF2-40B4-BE49-F238E27FC236}">
                  <a16:creationId xmlns:a16="http://schemas.microsoft.com/office/drawing/2014/main" id="{6C4F32C2-4B42-43CE-9EE5-62D85231A344}"/>
                </a:ext>
              </a:extLst>
            </p:cNvPr>
            <p:cNvSpPr/>
            <p:nvPr/>
          </p:nvSpPr>
          <p:spPr bwMode="auto">
            <a:xfrm>
              <a:off x="6737351" y="2952751"/>
              <a:ext cx="131763" cy="73025"/>
            </a:xfrm>
            <a:custGeom>
              <a:avLst/>
              <a:gdLst>
                <a:gd name="T0" fmla="*/ 91 w 96"/>
                <a:gd name="T1" fmla="*/ 34 h 54"/>
                <a:gd name="T2" fmla="*/ 86 w 96"/>
                <a:gd name="T3" fmla="*/ 37 h 54"/>
                <a:gd name="T4" fmla="*/ 86 w 96"/>
                <a:gd name="T5" fmla="*/ 36 h 54"/>
                <a:gd name="T6" fmla="*/ 22 w 96"/>
                <a:gd name="T7" fmla="*/ 2 h 54"/>
                <a:gd name="T8" fmla="*/ 22 w 96"/>
                <a:gd name="T9" fmla="*/ 4 h 54"/>
                <a:gd name="T10" fmla="*/ 83 w 96"/>
                <a:gd name="T11" fmla="*/ 37 h 54"/>
                <a:gd name="T12" fmla="*/ 83 w 96"/>
                <a:gd name="T13" fmla="*/ 38 h 54"/>
                <a:gd name="T14" fmla="*/ 2 w 96"/>
                <a:gd name="T15" fmla="*/ 36 h 54"/>
                <a:gd name="T16" fmla="*/ 1 w 96"/>
                <a:gd name="T17" fmla="*/ 38 h 54"/>
                <a:gd name="T18" fmla="*/ 94 w 96"/>
                <a:gd name="T19" fmla="*/ 38 h 54"/>
                <a:gd name="T20" fmla="*/ 91 w 96"/>
                <a:gd name="T21" fmla="*/ 3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54">
                  <a:moveTo>
                    <a:pt x="91" y="34"/>
                  </a:moveTo>
                  <a:cubicBezTo>
                    <a:pt x="89" y="35"/>
                    <a:pt x="88" y="36"/>
                    <a:pt x="86" y="37"/>
                  </a:cubicBezTo>
                  <a:cubicBezTo>
                    <a:pt x="86" y="37"/>
                    <a:pt x="86" y="36"/>
                    <a:pt x="86" y="36"/>
                  </a:cubicBezTo>
                  <a:cubicBezTo>
                    <a:pt x="73" y="13"/>
                    <a:pt x="48" y="0"/>
                    <a:pt x="22" y="2"/>
                  </a:cubicBezTo>
                  <a:cubicBezTo>
                    <a:pt x="20" y="2"/>
                    <a:pt x="21" y="4"/>
                    <a:pt x="22" y="4"/>
                  </a:cubicBezTo>
                  <a:cubicBezTo>
                    <a:pt x="47" y="3"/>
                    <a:pt x="70" y="16"/>
                    <a:pt x="83" y="37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56" y="48"/>
                    <a:pt x="28" y="48"/>
                    <a:pt x="2" y="36"/>
                  </a:cubicBezTo>
                  <a:cubicBezTo>
                    <a:pt x="0" y="35"/>
                    <a:pt x="0" y="37"/>
                    <a:pt x="1" y="38"/>
                  </a:cubicBezTo>
                  <a:cubicBezTo>
                    <a:pt x="30" y="53"/>
                    <a:pt x="64" y="54"/>
                    <a:pt x="94" y="38"/>
                  </a:cubicBezTo>
                  <a:cubicBezTo>
                    <a:pt x="96" y="37"/>
                    <a:pt x="93" y="33"/>
                    <a:pt x="91" y="3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ïS1iḍè">
              <a:extLst>
                <a:ext uri="{FF2B5EF4-FFF2-40B4-BE49-F238E27FC236}">
                  <a16:creationId xmlns:a16="http://schemas.microsoft.com/office/drawing/2014/main" id="{171431E4-2CF9-4442-BEBE-84D7A1AEE387}"/>
                </a:ext>
              </a:extLst>
            </p:cNvPr>
            <p:cNvSpPr/>
            <p:nvPr/>
          </p:nvSpPr>
          <p:spPr bwMode="auto">
            <a:xfrm>
              <a:off x="6757988" y="3041651"/>
              <a:ext cx="71438" cy="17463"/>
            </a:xfrm>
            <a:custGeom>
              <a:avLst/>
              <a:gdLst>
                <a:gd name="T0" fmla="*/ 49 w 52"/>
                <a:gd name="T1" fmla="*/ 1 h 13"/>
                <a:gd name="T2" fmla="*/ 3 w 52"/>
                <a:gd name="T3" fmla="*/ 9 h 13"/>
                <a:gd name="T4" fmla="*/ 4 w 52"/>
                <a:gd name="T5" fmla="*/ 13 h 13"/>
                <a:gd name="T6" fmla="*/ 50 w 52"/>
                <a:gd name="T7" fmla="*/ 4 h 13"/>
                <a:gd name="T8" fmla="*/ 49 w 52"/>
                <a:gd name="T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3">
                  <a:moveTo>
                    <a:pt x="49" y="1"/>
                  </a:moveTo>
                  <a:cubicBezTo>
                    <a:pt x="33" y="3"/>
                    <a:pt x="18" y="6"/>
                    <a:pt x="3" y="9"/>
                  </a:cubicBezTo>
                  <a:cubicBezTo>
                    <a:pt x="0" y="10"/>
                    <a:pt x="2" y="13"/>
                    <a:pt x="4" y="13"/>
                  </a:cubicBezTo>
                  <a:cubicBezTo>
                    <a:pt x="19" y="10"/>
                    <a:pt x="35" y="8"/>
                    <a:pt x="50" y="4"/>
                  </a:cubicBezTo>
                  <a:cubicBezTo>
                    <a:pt x="52" y="4"/>
                    <a:pt x="51" y="0"/>
                    <a:pt x="49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i$1íḑê">
              <a:extLst>
                <a:ext uri="{FF2B5EF4-FFF2-40B4-BE49-F238E27FC236}">
                  <a16:creationId xmlns:a16="http://schemas.microsoft.com/office/drawing/2014/main" id="{AEABA03F-AD5C-4D45-BC93-CB45BC98525A}"/>
                </a:ext>
              </a:extLst>
            </p:cNvPr>
            <p:cNvSpPr/>
            <p:nvPr/>
          </p:nvSpPr>
          <p:spPr bwMode="auto">
            <a:xfrm>
              <a:off x="6735763" y="3113089"/>
              <a:ext cx="92075" cy="28575"/>
            </a:xfrm>
            <a:custGeom>
              <a:avLst/>
              <a:gdLst>
                <a:gd name="T0" fmla="*/ 63 w 67"/>
                <a:gd name="T1" fmla="*/ 0 h 21"/>
                <a:gd name="T2" fmla="*/ 20 w 67"/>
                <a:gd name="T3" fmla="*/ 8 h 21"/>
                <a:gd name="T4" fmla="*/ 7 w 67"/>
                <a:gd name="T5" fmla="*/ 1 h 21"/>
                <a:gd name="T6" fmla="*/ 6 w 67"/>
                <a:gd name="T7" fmla="*/ 3 h 21"/>
                <a:gd name="T8" fmla="*/ 11 w 67"/>
                <a:gd name="T9" fmla="*/ 6 h 21"/>
                <a:gd name="T10" fmla="*/ 2 w 67"/>
                <a:gd name="T11" fmla="*/ 3 h 21"/>
                <a:gd name="T12" fmla="*/ 1 w 67"/>
                <a:gd name="T13" fmla="*/ 5 h 21"/>
                <a:gd name="T14" fmla="*/ 19 w 67"/>
                <a:gd name="T15" fmla="*/ 11 h 21"/>
                <a:gd name="T16" fmla="*/ 35 w 67"/>
                <a:gd name="T17" fmla="*/ 20 h 21"/>
                <a:gd name="T18" fmla="*/ 36 w 67"/>
                <a:gd name="T19" fmla="*/ 18 h 21"/>
                <a:gd name="T20" fmla="*/ 26 w 67"/>
                <a:gd name="T21" fmla="*/ 12 h 21"/>
                <a:gd name="T22" fmla="*/ 65 w 67"/>
                <a:gd name="T23" fmla="*/ 3 h 21"/>
                <a:gd name="T24" fmla="*/ 63 w 67"/>
                <a:gd name="T2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21">
                  <a:moveTo>
                    <a:pt x="63" y="0"/>
                  </a:moveTo>
                  <a:cubicBezTo>
                    <a:pt x="49" y="8"/>
                    <a:pt x="35" y="11"/>
                    <a:pt x="20" y="8"/>
                  </a:cubicBezTo>
                  <a:cubicBezTo>
                    <a:pt x="16" y="6"/>
                    <a:pt x="11" y="4"/>
                    <a:pt x="7" y="1"/>
                  </a:cubicBezTo>
                  <a:cubicBezTo>
                    <a:pt x="6" y="1"/>
                    <a:pt x="5" y="3"/>
                    <a:pt x="6" y="3"/>
                  </a:cubicBezTo>
                  <a:cubicBezTo>
                    <a:pt x="8" y="4"/>
                    <a:pt x="10" y="5"/>
                    <a:pt x="11" y="6"/>
                  </a:cubicBezTo>
                  <a:cubicBezTo>
                    <a:pt x="8" y="5"/>
                    <a:pt x="5" y="4"/>
                    <a:pt x="2" y="3"/>
                  </a:cubicBezTo>
                  <a:cubicBezTo>
                    <a:pt x="1" y="2"/>
                    <a:pt x="0" y="4"/>
                    <a:pt x="1" y="5"/>
                  </a:cubicBezTo>
                  <a:cubicBezTo>
                    <a:pt x="7" y="7"/>
                    <a:pt x="13" y="9"/>
                    <a:pt x="19" y="11"/>
                  </a:cubicBezTo>
                  <a:cubicBezTo>
                    <a:pt x="24" y="14"/>
                    <a:pt x="29" y="17"/>
                    <a:pt x="35" y="20"/>
                  </a:cubicBezTo>
                  <a:cubicBezTo>
                    <a:pt x="37" y="21"/>
                    <a:pt x="38" y="19"/>
                    <a:pt x="36" y="18"/>
                  </a:cubicBezTo>
                  <a:cubicBezTo>
                    <a:pt x="33" y="16"/>
                    <a:pt x="30" y="14"/>
                    <a:pt x="26" y="12"/>
                  </a:cubicBezTo>
                  <a:cubicBezTo>
                    <a:pt x="40" y="14"/>
                    <a:pt x="53" y="11"/>
                    <a:pt x="65" y="3"/>
                  </a:cubicBezTo>
                  <a:cubicBezTo>
                    <a:pt x="67" y="2"/>
                    <a:pt x="65" y="0"/>
                    <a:pt x="63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ïsļîḋe">
              <a:extLst>
                <a:ext uri="{FF2B5EF4-FFF2-40B4-BE49-F238E27FC236}">
                  <a16:creationId xmlns:a16="http://schemas.microsoft.com/office/drawing/2014/main" id="{23CFEC4A-5F84-4200-9410-3073A282ED54}"/>
                </a:ext>
              </a:extLst>
            </p:cNvPr>
            <p:cNvSpPr/>
            <p:nvPr/>
          </p:nvSpPr>
          <p:spPr bwMode="auto">
            <a:xfrm>
              <a:off x="6726238" y="3198814"/>
              <a:ext cx="84138" cy="65088"/>
            </a:xfrm>
            <a:custGeom>
              <a:avLst/>
              <a:gdLst>
                <a:gd name="T0" fmla="*/ 59 w 61"/>
                <a:gd name="T1" fmla="*/ 43 h 48"/>
                <a:gd name="T2" fmla="*/ 3 w 61"/>
                <a:gd name="T3" fmla="*/ 0 h 48"/>
                <a:gd name="T4" fmla="*/ 1 w 61"/>
                <a:gd name="T5" fmla="*/ 2 h 48"/>
                <a:gd name="T6" fmla="*/ 56 w 61"/>
                <a:gd name="T7" fmla="*/ 46 h 48"/>
                <a:gd name="T8" fmla="*/ 59 w 61"/>
                <a:gd name="T9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8">
                  <a:moveTo>
                    <a:pt x="59" y="43"/>
                  </a:moveTo>
                  <a:cubicBezTo>
                    <a:pt x="41" y="28"/>
                    <a:pt x="22" y="14"/>
                    <a:pt x="3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19" y="17"/>
                    <a:pt x="37" y="33"/>
                    <a:pt x="56" y="46"/>
                  </a:cubicBezTo>
                  <a:cubicBezTo>
                    <a:pt x="59" y="48"/>
                    <a:pt x="61" y="45"/>
                    <a:pt x="59" y="4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íŝļîḓe">
              <a:extLst>
                <a:ext uri="{FF2B5EF4-FFF2-40B4-BE49-F238E27FC236}">
                  <a16:creationId xmlns:a16="http://schemas.microsoft.com/office/drawing/2014/main" id="{C10E2960-3530-4634-A7C9-CE74DDDB3C42}"/>
                </a:ext>
              </a:extLst>
            </p:cNvPr>
            <p:cNvSpPr/>
            <p:nvPr/>
          </p:nvSpPr>
          <p:spPr bwMode="auto">
            <a:xfrm>
              <a:off x="6713538" y="3290889"/>
              <a:ext cx="57150" cy="23813"/>
            </a:xfrm>
            <a:custGeom>
              <a:avLst/>
              <a:gdLst>
                <a:gd name="T0" fmla="*/ 39 w 41"/>
                <a:gd name="T1" fmla="*/ 12 h 17"/>
                <a:gd name="T2" fmla="*/ 2 w 41"/>
                <a:gd name="T3" fmla="*/ 1 h 17"/>
                <a:gd name="T4" fmla="*/ 1 w 41"/>
                <a:gd name="T5" fmla="*/ 3 h 17"/>
                <a:gd name="T6" fmla="*/ 39 w 41"/>
                <a:gd name="T7" fmla="*/ 16 h 17"/>
                <a:gd name="T8" fmla="*/ 39 w 41"/>
                <a:gd name="T9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7">
                  <a:moveTo>
                    <a:pt x="39" y="12"/>
                  </a:moveTo>
                  <a:cubicBezTo>
                    <a:pt x="27" y="8"/>
                    <a:pt x="14" y="4"/>
                    <a:pt x="2" y="1"/>
                  </a:cubicBezTo>
                  <a:cubicBezTo>
                    <a:pt x="0" y="0"/>
                    <a:pt x="0" y="3"/>
                    <a:pt x="1" y="3"/>
                  </a:cubicBezTo>
                  <a:cubicBezTo>
                    <a:pt x="13" y="8"/>
                    <a:pt x="26" y="12"/>
                    <a:pt x="39" y="16"/>
                  </a:cubicBezTo>
                  <a:cubicBezTo>
                    <a:pt x="41" y="17"/>
                    <a:pt x="41" y="13"/>
                    <a:pt x="39" y="1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îs1ïḋê">
              <a:extLst>
                <a:ext uri="{FF2B5EF4-FFF2-40B4-BE49-F238E27FC236}">
                  <a16:creationId xmlns:a16="http://schemas.microsoft.com/office/drawing/2014/main" id="{C674FD35-FBCF-4A88-BFC8-3BC3B3278A5C}"/>
                </a:ext>
              </a:extLst>
            </p:cNvPr>
            <p:cNvSpPr/>
            <p:nvPr/>
          </p:nvSpPr>
          <p:spPr bwMode="auto">
            <a:xfrm>
              <a:off x="6684963" y="3359151"/>
              <a:ext cx="142875" cy="46038"/>
            </a:xfrm>
            <a:custGeom>
              <a:avLst/>
              <a:gdLst>
                <a:gd name="T0" fmla="*/ 101 w 103"/>
                <a:gd name="T1" fmla="*/ 29 h 34"/>
                <a:gd name="T2" fmla="*/ 1 w 103"/>
                <a:gd name="T3" fmla="*/ 1 h 34"/>
                <a:gd name="T4" fmla="*/ 1 w 103"/>
                <a:gd name="T5" fmla="*/ 3 h 34"/>
                <a:gd name="T6" fmla="*/ 100 w 103"/>
                <a:gd name="T7" fmla="*/ 33 h 34"/>
                <a:gd name="T8" fmla="*/ 101 w 103"/>
                <a:gd name="T9" fmla="*/ 2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34">
                  <a:moveTo>
                    <a:pt x="101" y="29"/>
                  </a:moveTo>
                  <a:cubicBezTo>
                    <a:pt x="68" y="18"/>
                    <a:pt x="34" y="9"/>
                    <a:pt x="1" y="1"/>
                  </a:cubicBezTo>
                  <a:cubicBezTo>
                    <a:pt x="0" y="0"/>
                    <a:pt x="0" y="2"/>
                    <a:pt x="1" y="3"/>
                  </a:cubicBezTo>
                  <a:cubicBezTo>
                    <a:pt x="34" y="13"/>
                    <a:pt x="67" y="24"/>
                    <a:pt x="100" y="33"/>
                  </a:cubicBezTo>
                  <a:cubicBezTo>
                    <a:pt x="103" y="34"/>
                    <a:pt x="103" y="29"/>
                    <a:pt x="101" y="2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iśliḋé">
              <a:extLst>
                <a:ext uri="{FF2B5EF4-FFF2-40B4-BE49-F238E27FC236}">
                  <a16:creationId xmlns:a16="http://schemas.microsoft.com/office/drawing/2014/main" id="{C2D63867-A87A-4523-BE5A-E3CAB1ABEF38}"/>
                </a:ext>
              </a:extLst>
            </p:cNvPr>
            <p:cNvSpPr/>
            <p:nvPr/>
          </p:nvSpPr>
          <p:spPr bwMode="auto">
            <a:xfrm>
              <a:off x="6680201" y="3451226"/>
              <a:ext cx="109538" cy="6350"/>
            </a:xfrm>
            <a:custGeom>
              <a:avLst/>
              <a:gdLst>
                <a:gd name="T0" fmla="*/ 76 w 80"/>
                <a:gd name="T1" fmla="*/ 0 h 5"/>
                <a:gd name="T2" fmla="*/ 2 w 80"/>
                <a:gd name="T3" fmla="*/ 3 h 5"/>
                <a:gd name="T4" fmla="*/ 2 w 80"/>
                <a:gd name="T5" fmla="*/ 5 h 5"/>
                <a:gd name="T6" fmla="*/ 77 w 80"/>
                <a:gd name="T7" fmla="*/ 4 h 5"/>
                <a:gd name="T8" fmla="*/ 76 w 80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5">
                  <a:moveTo>
                    <a:pt x="76" y="0"/>
                  </a:moveTo>
                  <a:cubicBezTo>
                    <a:pt x="52" y="0"/>
                    <a:pt x="27" y="1"/>
                    <a:pt x="2" y="3"/>
                  </a:cubicBezTo>
                  <a:cubicBezTo>
                    <a:pt x="0" y="3"/>
                    <a:pt x="1" y="5"/>
                    <a:pt x="2" y="5"/>
                  </a:cubicBezTo>
                  <a:cubicBezTo>
                    <a:pt x="27" y="5"/>
                    <a:pt x="52" y="5"/>
                    <a:pt x="77" y="4"/>
                  </a:cubicBezTo>
                  <a:cubicBezTo>
                    <a:pt x="80" y="3"/>
                    <a:pt x="79" y="0"/>
                    <a:pt x="76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ṣlïdé">
              <a:extLst>
                <a:ext uri="{FF2B5EF4-FFF2-40B4-BE49-F238E27FC236}">
                  <a16:creationId xmlns:a16="http://schemas.microsoft.com/office/drawing/2014/main" id="{74994906-98D3-477C-B269-4484E7227C25}"/>
                </a:ext>
              </a:extLst>
            </p:cNvPr>
            <p:cNvSpPr/>
            <p:nvPr/>
          </p:nvSpPr>
          <p:spPr bwMode="auto">
            <a:xfrm>
              <a:off x="6729413" y="3367089"/>
              <a:ext cx="74613" cy="80963"/>
            </a:xfrm>
            <a:custGeom>
              <a:avLst/>
              <a:gdLst>
                <a:gd name="T0" fmla="*/ 52 w 54"/>
                <a:gd name="T1" fmla="*/ 55 h 59"/>
                <a:gd name="T2" fmla="*/ 2 w 54"/>
                <a:gd name="T3" fmla="*/ 1 h 59"/>
                <a:gd name="T4" fmla="*/ 0 w 54"/>
                <a:gd name="T5" fmla="*/ 2 h 59"/>
                <a:gd name="T6" fmla="*/ 49 w 54"/>
                <a:gd name="T7" fmla="*/ 57 h 59"/>
                <a:gd name="T8" fmla="*/ 52 w 54"/>
                <a:gd name="T9" fmla="*/ 5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9">
                  <a:moveTo>
                    <a:pt x="52" y="55"/>
                  </a:moveTo>
                  <a:cubicBezTo>
                    <a:pt x="36" y="37"/>
                    <a:pt x="19" y="19"/>
                    <a:pt x="2" y="1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6" y="21"/>
                    <a:pt x="32" y="40"/>
                    <a:pt x="49" y="57"/>
                  </a:cubicBezTo>
                  <a:cubicBezTo>
                    <a:pt x="51" y="59"/>
                    <a:pt x="54" y="57"/>
                    <a:pt x="52" y="5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iṥ1iḍè">
              <a:extLst>
                <a:ext uri="{FF2B5EF4-FFF2-40B4-BE49-F238E27FC236}">
                  <a16:creationId xmlns:a16="http://schemas.microsoft.com/office/drawing/2014/main" id="{AC5B48D1-902E-4262-BD3B-832FB3F015B1}"/>
                </a:ext>
              </a:extLst>
            </p:cNvPr>
            <p:cNvSpPr/>
            <p:nvPr/>
          </p:nvSpPr>
          <p:spPr bwMode="auto">
            <a:xfrm>
              <a:off x="6697663" y="3495676"/>
              <a:ext cx="80963" cy="20638"/>
            </a:xfrm>
            <a:custGeom>
              <a:avLst/>
              <a:gdLst>
                <a:gd name="T0" fmla="*/ 55 w 59"/>
                <a:gd name="T1" fmla="*/ 1 h 15"/>
                <a:gd name="T2" fmla="*/ 2 w 59"/>
                <a:gd name="T3" fmla="*/ 1 h 15"/>
                <a:gd name="T4" fmla="*/ 1 w 59"/>
                <a:gd name="T5" fmla="*/ 2 h 15"/>
                <a:gd name="T6" fmla="*/ 57 w 59"/>
                <a:gd name="T7" fmla="*/ 4 h 15"/>
                <a:gd name="T8" fmla="*/ 55 w 59"/>
                <a:gd name="T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5">
                  <a:moveTo>
                    <a:pt x="55" y="1"/>
                  </a:moveTo>
                  <a:cubicBezTo>
                    <a:pt x="37" y="11"/>
                    <a:pt x="19" y="11"/>
                    <a:pt x="2" y="1"/>
                  </a:cubicBezTo>
                  <a:cubicBezTo>
                    <a:pt x="1" y="0"/>
                    <a:pt x="0" y="2"/>
                    <a:pt x="1" y="2"/>
                  </a:cubicBezTo>
                  <a:cubicBezTo>
                    <a:pt x="17" y="14"/>
                    <a:pt x="40" y="15"/>
                    <a:pt x="57" y="4"/>
                  </a:cubicBezTo>
                  <a:cubicBezTo>
                    <a:pt x="59" y="3"/>
                    <a:pt x="56" y="0"/>
                    <a:pt x="55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í$ľiḓe">
              <a:extLst>
                <a:ext uri="{FF2B5EF4-FFF2-40B4-BE49-F238E27FC236}">
                  <a16:creationId xmlns:a16="http://schemas.microsoft.com/office/drawing/2014/main" id="{08485AD1-4CC1-426F-B7AE-A9D487DFF56A}"/>
                </a:ext>
              </a:extLst>
            </p:cNvPr>
            <p:cNvSpPr/>
            <p:nvPr/>
          </p:nvSpPr>
          <p:spPr bwMode="auto">
            <a:xfrm>
              <a:off x="6588126" y="3519489"/>
              <a:ext cx="144463" cy="57150"/>
            </a:xfrm>
            <a:custGeom>
              <a:avLst/>
              <a:gdLst>
                <a:gd name="T0" fmla="*/ 101 w 105"/>
                <a:gd name="T1" fmla="*/ 24 h 41"/>
                <a:gd name="T2" fmla="*/ 2 w 105"/>
                <a:gd name="T3" fmla="*/ 1 h 41"/>
                <a:gd name="T4" fmla="*/ 1 w 105"/>
                <a:gd name="T5" fmla="*/ 2 h 41"/>
                <a:gd name="T6" fmla="*/ 103 w 105"/>
                <a:gd name="T7" fmla="*/ 27 h 41"/>
                <a:gd name="T8" fmla="*/ 101 w 105"/>
                <a:gd name="T9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41">
                  <a:moveTo>
                    <a:pt x="101" y="24"/>
                  </a:moveTo>
                  <a:cubicBezTo>
                    <a:pt x="65" y="35"/>
                    <a:pt x="29" y="28"/>
                    <a:pt x="2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27" y="29"/>
                    <a:pt x="67" y="41"/>
                    <a:pt x="103" y="27"/>
                  </a:cubicBezTo>
                  <a:cubicBezTo>
                    <a:pt x="105" y="26"/>
                    <a:pt x="103" y="23"/>
                    <a:pt x="101" y="2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iṡlïḑè">
              <a:extLst>
                <a:ext uri="{FF2B5EF4-FFF2-40B4-BE49-F238E27FC236}">
                  <a16:creationId xmlns:a16="http://schemas.microsoft.com/office/drawing/2014/main" id="{2DB0A938-A9BE-4EA2-8FE1-2238E85DD7B3}"/>
                </a:ext>
              </a:extLst>
            </p:cNvPr>
            <p:cNvSpPr/>
            <p:nvPr/>
          </p:nvSpPr>
          <p:spPr bwMode="auto">
            <a:xfrm>
              <a:off x="6640513" y="3465514"/>
              <a:ext cx="88900" cy="60325"/>
            </a:xfrm>
            <a:custGeom>
              <a:avLst/>
              <a:gdLst>
                <a:gd name="T0" fmla="*/ 62 w 64"/>
                <a:gd name="T1" fmla="*/ 40 h 44"/>
                <a:gd name="T2" fmla="*/ 3 w 64"/>
                <a:gd name="T3" fmla="*/ 0 h 44"/>
                <a:gd name="T4" fmla="*/ 2 w 64"/>
                <a:gd name="T5" fmla="*/ 2 h 44"/>
                <a:gd name="T6" fmla="*/ 60 w 64"/>
                <a:gd name="T7" fmla="*/ 43 h 44"/>
                <a:gd name="T8" fmla="*/ 62 w 64"/>
                <a:gd name="T9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4">
                  <a:moveTo>
                    <a:pt x="62" y="40"/>
                  </a:moveTo>
                  <a:cubicBezTo>
                    <a:pt x="43" y="26"/>
                    <a:pt x="23" y="14"/>
                    <a:pt x="3" y="0"/>
                  </a:cubicBezTo>
                  <a:cubicBezTo>
                    <a:pt x="2" y="0"/>
                    <a:pt x="0" y="1"/>
                    <a:pt x="2" y="2"/>
                  </a:cubicBezTo>
                  <a:cubicBezTo>
                    <a:pt x="21" y="16"/>
                    <a:pt x="40" y="30"/>
                    <a:pt x="60" y="43"/>
                  </a:cubicBezTo>
                  <a:cubicBezTo>
                    <a:pt x="62" y="44"/>
                    <a:pt x="64" y="42"/>
                    <a:pt x="62" y="4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í$1iḋe">
              <a:extLst>
                <a:ext uri="{FF2B5EF4-FFF2-40B4-BE49-F238E27FC236}">
                  <a16:creationId xmlns:a16="http://schemas.microsoft.com/office/drawing/2014/main" id="{57142BFD-3DDC-4426-904D-94EBEF0A28FC}"/>
                </a:ext>
              </a:extLst>
            </p:cNvPr>
            <p:cNvSpPr/>
            <p:nvPr/>
          </p:nvSpPr>
          <p:spPr bwMode="auto">
            <a:xfrm>
              <a:off x="6546851" y="3636964"/>
              <a:ext cx="120650" cy="52388"/>
            </a:xfrm>
            <a:custGeom>
              <a:avLst/>
              <a:gdLst>
                <a:gd name="T0" fmla="*/ 86 w 88"/>
                <a:gd name="T1" fmla="*/ 33 h 38"/>
                <a:gd name="T2" fmla="*/ 3 w 88"/>
                <a:gd name="T3" fmla="*/ 1 h 38"/>
                <a:gd name="T4" fmla="*/ 2 w 88"/>
                <a:gd name="T5" fmla="*/ 3 h 38"/>
                <a:gd name="T6" fmla="*/ 84 w 88"/>
                <a:gd name="T7" fmla="*/ 37 h 38"/>
                <a:gd name="T8" fmla="*/ 86 w 88"/>
                <a:gd name="T9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38">
                  <a:moveTo>
                    <a:pt x="86" y="33"/>
                  </a:moveTo>
                  <a:cubicBezTo>
                    <a:pt x="59" y="22"/>
                    <a:pt x="31" y="11"/>
                    <a:pt x="3" y="1"/>
                  </a:cubicBezTo>
                  <a:cubicBezTo>
                    <a:pt x="1" y="0"/>
                    <a:pt x="0" y="2"/>
                    <a:pt x="2" y="3"/>
                  </a:cubicBezTo>
                  <a:cubicBezTo>
                    <a:pt x="29" y="15"/>
                    <a:pt x="57" y="26"/>
                    <a:pt x="84" y="37"/>
                  </a:cubicBezTo>
                  <a:cubicBezTo>
                    <a:pt x="87" y="38"/>
                    <a:pt x="88" y="34"/>
                    <a:pt x="86" y="3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îṣḻïdé">
              <a:extLst>
                <a:ext uri="{FF2B5EF4-FFF2-40B4-BE49-F238E27FC236}">
                  <a16:creationId xmlns:a16="http://schemas.microsoft.com/office/drawing/2014/main" id="{A044F660-9C96-4F94-A9C4-F104D34780DB}"/>
                </a:ext>
              </a:extLst>
            </p:cNvPr>
            <p:cNvSpPr/>
            <p:nvPr/>
          </p:nvSpPr>
          <p:spPr bwMode="auto">
            <a:xfrm>
              <a:off x="6577013" y="3598864"/>
              <a:ext cx="80963" cy="28575"/>
            </a:xfrm>
            <a:custGeom>
              <a:avLst/>
              <a:gdLst>
                <a:gd name="T0" fmla="*/ 56 w 59"/>
                <a:gd name="T1" fmla="*/ 16 h 21"/>
                <a:gd name="T2" fmla="*/ 3 w 59"/>
                <a:gd name="T3" fmla="*/ 0 h 21"/>
                <a:gd name="T4" fmla="*/ 2 w 59"/>
                <a:gd name="T5" fmla="*/ 3 h 21"/>
                <a:gd name="T6" fmla="*/ 56 w 59"/>
                <a:gd name="T7" fmla="*/ 20 h 21"/>
                <a:gd name="T8" fmla="*/ 56 w 59"/>
                <a:gd name="T9" fmla="*/ 1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1">
                  <a:moveTo>
                    <a:pt x="56" y="16"/>
                  </a:moveTo>
                  <a:cubicBezTo>
                    <a:pt x="39" y="10"/>
                    <a:pt x="21" y="5"/>
                    <a:pt x="3" y="0"/>
                  </a:cubicBezTo>
                  <a:cubicBezTo>
                    <a:pt x="1" y="0"/>
                    <a:pt x="0" y="2"/>
                    <a:pt x="2" y="3"/>
                  </a:cubicBezTo>
                  <a:cubicBezTo>
                    <a:pt x="20" y="9"/>
                    <a:pt x="38" y="15"/>
                    <a:pt x="56" y="20"/>
                  </a:cubicBezTo>
                  <a:cubicBezTo>
                    <a:pt x="59" y="21"/>
                    <a:pt x="59" y="17"/>
                    <a:pt x="56" y="1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ïṩļïḍè">
              <a:extLst>
                <a:ext uri="{FF2B5EF4-FFF2-40B4-BE49-F238E27FC236}">
                  <a16:creationId xmlns:a16="http://schemas.microsoft.com/office/drawing/2014/main" id="{FAE146BF-EEF1-4377-8C09-6C56E21141C6}"/>
                </a:ext>
              </a:extLst>
            </p:cNvPr>
            <p:cNvSpPr/>
            <p:nvPr/>
          </p:nvSpPr>
          <p:spPr bwMode="auto">
            <a:xfrm>
              <a:off x="6497638" y="3763964"/>
              <a:ext cx="393700" cy="322263"/>
            </a:xfrm>
            <a:custGeom>
              <a:avLst/>
              <a:gdLst>
                <a:gd name="T0" fmla="*/ 284 w 286"/>
                <a:gd name="T1" fmla="*/ 229 h 235"/>
                <a:gd name="T2" fmla="*/ 3 w 286"/>
                <a:gd name="T3" fmla="*/ 1 h 235"/>
                <a:gd name="T4" fmla="*/ 1 w 286"/>
                <a:gd name="T5" fmla="*/ 2 h 235"/>
                <a:gd name="T6" fmla="*/ 281 w 286"/>
                <a:gd name="T7" fmla="*/ 233 h 235"/>
                <a:gd name="T8" fmla="*/ 284 w 286"/>
                <a:gd name="T9" fmla="*/ 22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6" h="235">
                  <a:moveTo>
                    <a:pt x="284" y="229"/>
                  </a:moveTo>
                  <a:cubicBezTo>
                    <a:pt x="183" y="162"/>
                    <a:pt x="87" y="89"/>
                    <a:pt x="3" y="1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85" y="89"/>
                    <a:pt x="177" y="171"/>
                    <a:pt x="281" y="233"/>
                  </a:cubicBezTo>
                  <a:cubicBezTo>
                    <a:pt x="284" y="235"/>
                    <a:pt x="286" y="231"/>
                    <a:pt x="284" y="22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ïŝḷîḍê">
              <a:extLst>
                <a:ext uri="{FF2B5EF4-FFF2-40B4-BE49-F238E27FC236}">
                  <a16:creationId xmlns:a16="http://schemas.microsoft.com/office/drawing/2014/main" id="{8FB7E8D8-2CB3-4085-B757-0B68A41223AB}"/>
                </a:ext>
              </a:extLst>
            </p:cNvPr>
            <p:cNvSpPr/>
            <p:nvPr/>
          </p:nvSpPr>
          <p:spPr bwMode="auto">
            <a:xfrm>
              <a:off x="6510338" y="3916364"/>
              <a:ext cx="317500" cy="269875"/>
            </a:xfrm>
            <a:custGeom>
              <a:avLst/>
              <a:gdLst>
                <a:gd name="T0" fmla="*/ 227 w 230"/>
                <a:gd name="T1" fmla="*/ 190 h 197"/>
                <a:gd name="T2" fmla="*/ 3 w 230"/>
                <a:gd name="T3" fmla="*/ 1 h 197"/>
                <a:gd name="T4" fmla="*/ 1 w 230"/>
                <a:gd name="T5" fmla="*/ 3 h 197"/>
                <a:gd name="T6" fmla="*/ 224 w 230"/>
                <a:gd name="T7" fmla="*/ 194 h 197"/>
                <a:gd name="T8" fmla="*/ 227 w 230"/>
                <a:gd name="T9" fmla="*/ 19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197">
                  <a:moveTo>
                    <a:pt x="227" y="190"/>
                  </a:moveTo>
                  <a:cubicBezTo>
                    <a:pt x="154" y="126"/>
                    <a:pt x="78" y="64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75" y="67"/>
                    <a:pt x="148" y="132"/>
                    <a:pt x="224" y="194"/>
                  </a:cubicBezTo>
                  <a:cubicBezTo>
                    <a:pt x="227" y="197"/>
                    <a:pt x="230" y="193"/>
                    <a:pt x="227" y="19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îşļiďê">
              <a:extLst>
                <a:ext uri="{FF2B5EF4-FFF2-40B4-BE49-F238E27FC236}">
                  <a16:creationId xmlns:a16="http://schemas.microsoft.com/office/drawing/2014/main" id="{7B3E6A6A-0BD1-48D7-BE14-862EC68F3FE2}"/>
                </a:ext>
              </a:extLst>
            </p:cNvPr>
            <p:cNvSpPr/>
            <p:nvPr/>
          </p:nvSpPr>
          <p:spPr bwMode="auto">
            <a:xfrm>
              <a:off x="6389688" y="3992564"/>
              <a:ext cx="263525" cy="244475"/>
            </a:xfrm>
            <a:custGeom>
              <a:avLst/>
              <a:gdLst>
                <a:gd name="T0" fmla="*/ 191 w 192"/>
                <a:gd name="T1" fmla="*/ 173 h 178"/>
                <a:gd name="T2" fmla="*/ 1 w 192"/>
                <a:gd name="T3" fmla="*/ 0 h 178"/>
                <a:gd name="T4" fmla="*/ 1 w 192"/>
                <a:gd name="T5" fmla="*/ 2 h 178"/>
                <a:gd name="T6" fmla="*/ 187 w 192"/>
                <a:gd name="T7" fmla="*/ 175 h 178"/>
                <a:gd name="T8" fmla="*/ 191 w 192"/>
                <a:gd name="T9" fmla="*/ 17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78">
                  <a:moveTo>
                    <a:pt x="191" y="173"/>
                  </a:moveTo>
                  <a:cubicBezTo>
                    <a:pt x="143" y="102"/>
                    <a:pt x="74" y="44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ubicBezTo>
                    <a:pt x="74" y="48"/>
                    <a:pt x="133" y="108"/>
                    <a:pt x="187" y="175"/>
                  </a:cubicBezTo>
                  <a:cubicBezTo>
                    <a:pt x="189" y="178"/>
                    <a:pt x="192" y="176"/>
                    <a:pt x="191" y="17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îṣ1iḑê">
              <a:extLst>
                <a:ext uri="{FF2B5EF4-FFF2-40B4-BE49-F238E27FC236}">
                  <a16:creationId xmlns:a16="http://schemas.microsoft.com/office/drawing/2014/main" id="{76F5047D-3088-4085-BBB2-B4576D61E958}"/>
                </a:ext>
              </a:extLst>
            </p:cNvPr>
            <p:cNvSpPr/>
            <p:nvPr/>
          </p:nvSpPr>
          <p:spPr bwMode="auto">
            <a:xfrm>
              <a:off x="6292851" y="4048126"/>
              <a:ext cx="296863" cy="263525"/>
            </a:xfrm>
            <a:custGeom>
              <a:avLst/>
              <a:gdLst>
                <a:gd name="T0" fmla="*/ 212 w 216"/>
                <a:gd name="T1" fmla="*/ 184 h 192"/>
                <a:gd name="T2" fmla="*/ 2 w 216"/>
                <a:gd name="T3" fmla="*/ 1 h 192"/>
                <a:gd name="T4" fmla="*/ 0 w 216"/>
                <a:gd name="T5" fmla="*/ 2 h 192"/>
                <a:gd name="T6" fmla="*/ 210 w 216"/>
                <a:gd name="T7" fmla="*/ 190 h 192"/>
                <a:gd name="T8" fmla="*/ 212 w 216"/>
                <a:gd name="T9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192">
                  <a:moveTo>
                    <a:pt x="212" y="184"/>
                  </a:moveTo>
                  <a:cubicBezTo>
                    <a:pt x="126" y="142"/>
                    <a:pt x="56" y="81"/>
                    <a:pt x="2" y="1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49" y="84"/>
                    <a:pt x="124" y="151"/>
                    <a:pt x="210" y="190"/>
                  </a:cubicBezTo>
                  <a:cubicBezTo>
                    <a:pt x="214" y="192"/>
                    <a:pt x="216" y="186"/>
                    <a:pt x="212" y="18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îşlïḍê">
              <a:extLst>
                <a:ext uri="{FF2B5EF4-FFF2-40B4-BE49-F238E27FC236}">
                  <a16:creationId xmlns:a16="http://schemas.microsoft.com/office/drawing/2014/main" id="{AD749A2D-0CD3-4F50-B8A2-1F3E9DDD9BF1}"/>
                </a:ext>
              </a:extLst>
            </p:cNvPr>
            <p:cNvSpPr/>
            <p:nvPr/>
          </p:nvSpPr>
          <p:spPr bwMode="auto">
            <a:xfrm>
              <a:off x="5022851" y="3444876"/>
              <a:ext cx="204788" cy="103188"/>
            </a:xfrm>
            <a:custGeom>
              <a:avLst/>
              <a:gdLst>
                <a:gd name="T0" fmla="*/ 144 w 148"/>
                <a:gd name="T1" fmla="*/ 34 h 75"/>
                <a:gd name="T2" fmla="*/ 121 w 148"/>
                <a:gd name="T3" fmla="*/ 21 h 75"/>
                <a:gd name="T4" fmla="*/ 119 w 148"/>
                <a:gd name="T5" fmla="*/ 21 h 75"/>
                <a:gd name="T6" fmla="*/ 108 w 148"/>
                <a:gd name="T7" fmla="*/ 10 h 75"/>
                <a:gd name="T8" fmla="*/ 108 w 148"/>
                <a:gd name="T9" fmla="*/ 10 h 75"/>
                <a:gd name="T10" fmla="*/ 107 w 148"/>
                <a:gd name="T11" fmla="*/ 1 h 75"/>
                <a:gd name="T12" fmla="*/ 1 w 148"/>
                <a:gd name="T13" fmla="*/ 72 h 75"/>
                <a:gd name="T14" fmla="*/ 3 w 148"/>
                <a:gd name="T15" fmla="*/ 73 h 75"/>
                <a:gd name="T16" fmla="*/ 101 w 148"/>
                <a:gd name="T17" fmla="*/ 11 h 75"/>
                <a:gd name="T18" fmla="*/ 117 w 148"/>
                <a:gd name="T19" fmla="*/ 28 h 75"/>
                <a:gd name="T20" fmla="*/ 118 w 148"/>
                <a:gd name="T21" fmla="*/ 29 h 75"/>
                <a:gd name="T22" fmla="*/ 119 w 148"/>
                <a:gd name="T23" fmla="*/ 29 h 75"/>
                <a:gd name="T24" fmla="*/ 140 w 148"/>
                <a:gd name="T25" fmla="*/ 42 h 75"/>
                <a:gd name="T26" fmla="*/ 144 w 148"/>
                <a:gd name="T27" fmla="*/ 3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8" h="75">
                  <a:moveTo>
                    <a:pt x="144" y="34"/>
                  </a:moveTo>
                  <a:cubicBezTo>
                    <a:pt x="136" y="29"/>
                    <a:pt x="129" y="25"/>
                    <a:pt x="121" y="21"/>
                  </a:cubicBezTo>
                  <a:cubicBezTo>
                    <a:pt x="120" y="21"/>
                    <a:pt x="120" y="21"/>
                    <a:pt x="119" y="21"/>
                  </a:cubicBezTo>
                  <a:cubicBezTo>
                    <a:pt x="115" y="17"/>
                    <a:pt x="111" y="14"/>
                    <a:pt x="108" y="10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114" y="10"/>
                    <a:pt x="112" y="2"/>
                    <a:pt x="107" y="1"/>
                  </a:cubicBezTo>
                  <a:cubicBezTo>
                    <a:pt x="63" y="0"/>
                    <a:pt x="14" y="30"/>
                    <a:pt x="1" y="72"/>
                  </a:cubicBezTo>
                  <a:cubicBezTo>
                    <a:pt x="0" y="73"/>
                    <a:pt x="2" y="75"/>
                    <a:pt x="3" y="73"/>
                  </a:cubicBezTo>
                  <a:cubicBezTo>
                    <a:pt x="29" y="37"/>
                    <a:pt x="58" y="16"/>
                    <a:pt x="101" y="11"/>
                  </a:cubicBezTo>
                  <a:cubicBezTo>
                    <a:pt x="105" y="17"/>
                    <a:pt x="111" y="23"/>
                    <a:pt x="117" y="28"/>
                  </a:cubicBezTo>
                  <a:cubicBezTo>
                    <a:pt x="117" y="28"/>
                    <a:pt x="117" y="28"/>
                    <a:pt x="118" y="29"/>
                  </a:cubicBezTo>
                  <a:cubicBezTo>
                    <a:pt x="118" y="29"/>
                    <a:pt x="119" y="29"/>
                    <a:pt x="119" y="29"/>
                  </a:cubicBezTo>
                  <a:cubicBezTo>
                    <a:pt x="126" y="34"/>
                    <a:pt x="133" y="38"/>
                    <a:pt x="140" y="42"/>
                  </a:cubicBezTo>
                  <a:cubicBezTo>
                    <a:pt x="146" y="44"/>
                    <a:pt x="148" y="37"/>
                    <a:pt x="144" y="3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îṥ1ïḍe">
              <a:extLst>
                <a:ext uri="{FF2B5EF4-FFF2-40B4-BE49-F238E27FC236}">
                  <a16:creationId xmlns:a16="http://schemas.microsoft.com/office/drawing/2014/main" id="{FC67FE4F-A6CB-469E-B370-BD95CD126F6B}"/>
                </a:ext>
              </a:extLst>
            </p:cNvPr>
            <p:cNvSpPr/>
            <p:nvPr/>
          </p:nvSpPr>
          <p:spPr bwMode="auto">
            <a:xfrm>
              <a:off x="5068888" y="3262314"/>
              <a:ext cx="74613" cy="57150"/>
            </a:xfrm>
            <a:custGeom>
              <a:avLst/>
              <a:gdLst>
                <a:gd name="T0" fmla="*/ 35 w 54"/>
                <a:gd name="T1" fmla="*/ 6 h 41"/>
                <a:gd name="T2" fmla="*/ 6 w 54"/>
                <a:gd name="T3" fmla="*/ 38 h 41"/>
                <a:gd name="T4" fmla="*/ 9 w 54"/>
                <a:gd name="T5" fmla="*/ 38 h 41"/>
                <a:gd name="T6" fmla="*/ 28 w 54"/>
                <a:gd name="T7" fmla="*/ 10 h 41"/>
                <a:gd name="T8" fmla="*/ 43 w 54"/>
                <a:gd name="T9" fmla="*/ 20 h 41"/>
                <a:gd name="T10" fmla="*/ 35 w 54"/>
                <a:gd name="T11" fmla="*/ 35 h 41"/>
                <a:gd name="T12" fmla="*/ 37 w 54"/>
                <a:gd name="T13" fmla="*/ 40 h 41"/>
                <a:gd name="T14" fmla="*/ 35 w 54"/>
                <a:gd name="T15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41">
                  <a:moveTo>
                    <a:pt x="35" y="6"/>
                  </a:moveTo>
                  <a:cubicBezTo>
                    <a:pt x="16" y="0"/>
                    <a:pt x="0" y="20"/>
                    <a:pt x="6" y="38"/>
                  </a:cubicBezTo>
                  <a:cubicBezTo>
                    <a:pt x="7" y="39"/>
                    <a:pt x="9" y="39"/>
                    <a:pt x="9" y="38"/>
                  </a:cubicBezTo>
                  <a:cubicBezTo>
                    <a:pt x="9" y="25"/>
                    <a:pt x="13" y="11"/>
                    <a:pt x="28" y="10"/>
                  </a:cubicBezTo>
                  <a:cubicBezTo>
                    <a:pt x="35" y="9"/>
                    <a:pt x="42" y="13"/>
                    <a:pt x="43" y="20"/>
                  </a:cubicBezTo>
                  <a:cubicBezTo>
                    <a:pt x="44" y="26"/>
                    <a:pt x="41" y="33"/>
                    <a:pt x="35" y="35"/>
                  </a:cubicBezTo>
                  <a:cubicBezTo>
                    <a:pt x="32" y="36"/>
                    <a:pt x="34" y="41"/>
                    <a:pt x="37" y="40"/>
                  </a:cubicBezTo>
                  <a:cubicBezTo>
                    <a:pt x="54" y="35"/>
                    <a:pt x="51" y="10"/>
                    <a:pt x="35" y="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íśḻïďê">
              <a:extLst>
                <a:ext uri="{FF2B5EF4-FFF2-40B4-BE49-F238E27FC236}">
                  <a16:creationId xmlns:a16="http://schemas.microsoft.com/office/drawing/2014/main" id="{64AD2317-9D8B-49FF-8FAB-82FE3D822BEE}"/>
                </a:ext>
              </a:extLst>
            </p:cNvPr>
            <p:cNvSpPr/>
            <p:nvPr/>
          </p:nvSpPr>
          <p:spPr bwMode="auto">
            <a:xfrm>
              <a:off x="5016501" y="3289301"/>
              <a:ext cx="33338" cy="73025"/>
            </a:xfrm>
            <a:custGeom>
              <a:avLst/>
              <a:gdLst>
                <a:gd name="T0" fmla="*/ 16 w 25"/>
                <a:gd name="T1" fmla="*/ 2 h 53"/>
                <a:gd name="T2" fmla="*/ 18 w 25"/>
                <a:gd name="T3" fmla="*/ 51 h 53"/>
                <a:gd name="T4" fmla="*/ 20 w 25"/>
                <a:gd name="T5" fmla="*/ 49 h 53"/>
                <a:gd name="T6" fmla="*/ 22 w 25"/>
                <a:gd name="T7" fmla="*/ 9 h 53"/>
                <a:gd name="T8" fmla="*/ 16 w 25"/>
                <a:gd name="T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3">
                  <a:moveTo>
                    <a:pt x="16" y="2"/>
                  </a:moveTo>
                  <a:cubicBezTo>
                    <a:pt x="0" y="15"/>
                    <a:pt x="1" y="40"/>
                    <a:pt x="18" y="51"/>
                  </a:cubicBezTo>
                  <a:cubicBezTo>
                    <a:pt x="20" y="53"/>
                    <a:pt x="21" y="51"/>
                    <a:pt x="20" y="49"/>
                  </a:cubicBezTo>
                  <a:cubicBezTo>
                    <a:pt x="9" y="38"/>
                    <a:pt x="10" y="19"/>
                    <a:pt x="22" y="9"/>
                  </a:cubicBezTo>
                  <a:cubicBezTo>
                    <a:pt x="25" y="6"/>
                    <a:pt x="19" y="0"/>
                    <a:pt x="16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îŝḷiḍè">
              <a:extLst>
                <a:ext uri="{FF2B5EF4-FFF2-40B4-BE49-F238E27FC236}">
                  <a16:creationId xmlns:a16="http://schemas.microsoft.com/office/drawing/2014/main" id="{AD589256-92A4-44D5-A2E7-CD0EC23FED15}"/>
                </a:ext>
              </a:extLst>
            </p:cNvPr>
            <p:cNvSpPr/>
            <p:nvPr/>
          </p:nvSpPr>
          <p:spPr bwMode="auto">
            <a:xfrm>
              <a:off x="5626101" y="2651126"/>
              <a:ext cx="152400" cy="684213"/>
            </a:xfrm>
            <a:custGeom>
              <a:avLst/>
              <a:gdLst>
                <a:gd name="T0" fmla="*/ 3 w 111"/>
                <a:gd name="T1" fmla="*/ 1 h 498"/>
                <a:gd name="T2" fmla="*/ 1 w 111"/>
                <a:gd name="T3" fmla="*/ 2 h 498"/>
                <a:gd name="T4" fmla="*/ 73 w 111"/>
                <a:gd name="T5" fmla="*/ 249 h 498"/>
                <a:gd name="T6" fmla="*/ 107 w 111"/>
                <a:gd name="T7" fmla="*/ 496 h 498"/>
                <a:gd name="T8" fmla="*/ 111 w 111"/>
                <a:gd name="T9" fmla="*/ 496 h 498"/>
                <a:gd name="T10" fmla="*/ 3 w 111"/>
                <a:gd name="T11" fmla="*/ 1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498">
                  <a:moveTo>
                    <a:pt x="3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30" y="83"/>
                    <a:pt x="55" y="165"/>
                    <a:pt x="73" y="249"/>
                  </a:cubicBezTo>
                  <a:cubicBezTo>
                    <a:pt x="91" y="330"/>
                    <a:pt x="100" y="413"/>
                    <a:pt x="107" y="496"/>
                  </a:cubicBezTo>
                  <a:cubicBezTo>
                    <a:pt x="108" y="498"/>
                    <a:pt x="111" y="498"/>
                    <a:pt x="111" y="496"/>
                  </a:cubicBezTo>
                  <a:cubicBezTo>
                    <a:pt x="102" y="328"/>
                    <a:pt x="63" y="158"/>
                    <a:pt x="3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îṩḷïḍè">
              <a:extLst>
                <a:ext uri="{FF2B5EF4-FFF2-40B4-BE49-F238E27FC236}">
                  <a16:creationId xmlns:a16="http://schemas.microsoft.com/office/drawing/2014/main" id="{144465AD-D832-48A5-BFBD-C5E708F6B5FC}"/>
                </a:ext>
              </a:extLst>
            </p:cNvPr>
            <p:cNvSpPr/>
            <p:nvPr/>
          </p:nvSpPr>
          <p:spPr bwMode="auto">
            <a:xfrm>
              <a:off x="7005638" y="3662364"/>
              <a:ext cx="127000" cy="69850"/>
            </a:xfrm>
            <a:custGeom>
              <a:avLst/>
              <a:gdLst>
                <a:gd name="T0" fmla="*/ 88 w 92"/>
                <a:gd name="T1" fmla="*/ 11 h 50"/>
                <a:gd name="T2" fmla="*/ 35 w 92"/>
                <a:gd name="T3" fmla="*/ 1 h 50"/>
                <a:gd name="T4" fmla="*/ 34 w 92"/>
                <a:gd name="T5" fmla="*/ 8 h 50"/>
                <a:gd name="T6" fmla="*/ 74 w 92"/>
                <a:gd name="T7" fmla="*/ 15 h 50"/>
                <a:gd name="T8" fmla="*/ 1 w 92"/>
                <a:gd name="T9" fmla="*/ 46 h 50"/>
                <a:gd name="T10" fmla="*/ 3 w 92"/>
                <a:gd name="T11" fmla="*/ 49 h 50"/>
                <a:gd name="T12" fmla="*/ 89 w 92"/>
                <a:gd name="T13" fmla="*/ 18 h 50"/>
                <a:gd name="T14" fmla="*/ 88 w 92"/>
                <a:gd name="T15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50">
                  <a:moveTo>
                    <a:pt x="88" y="11"/>
                  </a:moveTo>
                  <a:cubicBezTo>
                    <a:pt x="70" y="7"/>
                    <a:pt x="52" y="4"/>
                    <a:pt x="35" y="1"/>
                  </a:cubicBezTo>
                  <a:cubicBezTo>
                    <a:pt x="30" y="0"/>
                    <a:pt x="30" y="7"/>
                    <a:pt x="34" y="8"/>
                  </a:cubicBezTo>
                  <a:cubicBezTo>
                    <a:pt x="47" y="11"/>
                    <a:pt x="61" y="13"/>
                    <a:pt x="74" y="15"/>
                  </a:cubicBezTo>
                  <a:cubicBezTo>
                    <a:pt x="50" y="25"/>
                    <a:pt x="25" y="35"/>
                    <a:pt x="1" y="46"/>
                  </a:cubicBezTo>
                  <a:cubicBezTo>
                    <a:pt x="0" y="47"/>
                    <a:pt x="1" y="50"/>
                    <a:pt x="3" y="49"/>
                  </a:cubicBezTo>
                  <a:cubicBezTo>
                    <a:pt x="32" y="40"/>
                    <a:pt x="60" y="28"/>
                    <a:pt x="89" y="18"/>
                  </a:cubicBezTo>
                  <a:cubicBezTo>
                    <a:pt x="92" y="16"/>
                    <a:pt x="91" y="11"/>
                    <a:pt x="88" y="1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íṧḻïḋè">
              <a:extLst>
                <a:ext uri="{FF2B5EF4-FFF2-40B4-BE49-F238E27FC236}">
                  <a16:creationId xmlns:a16="http://schemas.microsoft.com/office/drawing/2014/main" id="{1380120E-E8AF-4833-9004-EA45BF7C7E25}"/>
                </a:ext>
              </a:extLst>
            </p:cNvPr>
            <p:cNvSpPr/>
            <p:nvPr/>
          </p:nvSpPr>
          <p:spPr bwMode="auto">
            <a:xfrm>
              <a:off x="6683376" y="3694114"/>
              <a:ext cx="396875" cy="106363"/>
            </a:xfrm>
            <a:custGeom>
              <a:avLst/>
              <a:gdLst>
                <a:gd name="T0" fmla="*/ 285 w 288"/>
                <a:gd name="T1" fmla="*/ 72 h 77"/>
                <a:gd name="T2" fmla="*/ 2 w 288"/>
                <a:gd name="T3" fmla="*/ 1 h 77"/>
                <a:gd name="T4" fmla="*/ 1 w 288"/>
                <a:gd name="T5" fmla="*/ 3 h 77"/>
                <a:gd name="T6" fmla="*/ 285 w 288"/>
                <a:gd name="T7" fmla="*/ 77 h 77"/>
                <a:gd name="T8" fmla="*/ 285 w 288"/>
                <a:gd name="T9" fmla="*/ 7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77">
                  <a:moveTo>
                    <a:pt x="285" y="72"/>
                  </a:moveTo>
                  <a:cubicBezTo>
                    <a:pt x="186" y="63"/>
                    <a:pt x="93" y="43"/>
                    <a:pt x="2" y="1"/>
                  </a:cubicBezTo>
                  <a:cubicBezTo>
                    <a:pt x="0" y="0"/>
                    <a:pt x="0" y="2"/>
                    <a:pt x="1" y="3"/>
                  </a:cubicBezTo>
                  <a:cubicBezTo>
                    <a:pt x="88" y="45"/>
                    <a:pt x="188" y="75"/>
                    <a:pt x="285" y="77"/>
                  </a:cubicBezTo>
                  <a:cubicBezTo>
                    <a:pt x="288" y="77"/>
                    <a:pt x="288" y="72"/>
                    <a:pt x="285" y="7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isľïdê">
              <a:extLst>
                <a:ext uri="{FF2B5EF4-FFF2-40B4-BE49-F238E27FC236}">
                  <a16:creationId xmlns:a16="http://schemas.microsoft.com/office/drawing/2014/main" id="{A2782E45-644F-4E3E-8466-521C0002DA23}"/>
                </a:ext>
              </a:extLst>
            </p:cNvPr>
            <p:cNvSpPr/>
            <p:nvPr/>
          </p:nvSpPr>
          <p:spPr bwMode="auto">
            <a:xfrm>
              <a:off x="6775451" y="3814764"/>
              <a:ext cx="255588" cy="112713"/>
            </a:xfrm>
            <a:custGeom>
              <a:avLst/>
              <a:gdLst>
                <a:gd name="T0" fmla="*/ 181 w 185"/>
                <a:gd name="T1" fmla="*/ 76 h 82"/>
                <a:gd name="T2" fmla="*/ 2 w 185"/>
                <a:gd name="T3" fmla="*/ 1 h 82"/>
                <a:gd name="T4" fmla="*/ 1 w 185"/>
                <a:gd name="T5" fmla="*/ 2 h 82"/>
                <a:gd name="T6" fmla="*/ 181 w 185"/>
                <a:gd name="T7" fmla="*/ 81 h 82"/>
                <a:gd name="T8" fmla="*/ 181 w 185"/>
                <a:gd name="T9" fmla="*/ 7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82">
                  <a:moveTo>
                    <a:pt x="181" y="76"/>
                  </a:moveTo>
                  <a:cubicBezTo>
                    <a:pt x="116" y="60"/>
                    <a:pt x="60" y="36"/>
                    <a:pt x="2" y="1"/>
                  </a:cubicBezTo>
                  <a:cubicBezTo>
                    <a:pt x="1" y="0"/>
                    <a:pt x="0" y="2"/>
                    <a:pt x="1" y="2"/>
                  </a:cubicBezTo>
                  <a:cubicBezTo>
                    <a:pt x="52" y="42"/>
                    <a:pt x="117" y="70"/>
                    <a:pt x="181" y="81"/>
                  </a:cubicBezTo>
                  <a:cubicBezTo>
                    <a:pt x="185" y="82"/>
                    <a:pt x="185" y="77"/>
                    <a:pt x="181" y="7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ïšļíḓé">
              <a:extLst>
                <a:ext uri="{FF2B5EF4-FFF2-40B4-BE49-F238E27FC236}">
                  <a16:creationId xmlns:a16="http://schemas.microsoft.com/office/drawing/2014/main" id="{E54715C4-6DCB-45D9-B1FD-7E00F72D421A}"/>
                </a:ext>
              </a:extLst>
            </p:cNvPr>
            <p:cNvSpPr/>
            <p:nvPr/>
          </p:nvSpPr>
          <p:spPr bwMode="auto">
            <a:xfrm>
              <a:off x="6813551" y="3910014"/>
              <a:ext cx="158750" cy="109538"/>
            </a:xfrm>
            <a:custGeom>
              <a:avLst/>
              <a:gdLst>
                <a:gd name="T0" fmla="*/ 112 w 115"/>
                <a:gd name="T1" fmla="*/ 71 h 79"/>
                <a:gd name="T2" fmla="*/ 3 w 115"/>
                <a:gd name="T3" fmla="*/ 1 h 79"/>
                <a:gd name="T4" fmla="*/ 1 w 115"/>
                <a:gd name="T5" fmla="*/ 3 h 79"/>
                <a:gd name="T6" fmla="*/ 100 w 115"/>
                <a:gd name="T7" fmla="*/ 70 h 79"/>
                <a:gd name="T8" fmla="*/ 37 w 115"/>
                <a:gd name="T9" fmla="*/ 72 h 79"/>
                <a:gd name="T10" fmla="*/ 38 w 115"/>
                <a:gd name="T11" fmla="*/ 79 h 79"/>
                <a:gd name="T12" fmla="*/ 111 w 115"/>
                <a:gd name="T13" fmla="*/ 77 h 79"/>
                <a:gd name="T14" fmla="*/ 112 w 115"/>
                <a:gd name="T15" fmla="*/ 7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79">
                  <a:moveTo>
                    <a:pt x="112" y="71"/>
                  </a:moveTo>
                  <a:cubicBezTo>
                    <a:pt x="75" y="48"/>
                    <a:pt x="39" y="24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34" y="26"/>
                    <a:pt x="67" y="48"/>
                    <a:pt x="100" y="70"/>
                  </a:cubicBezTo>
                  <a:cubicBezTo>
                    <a:pt x="79" y="71"/>
                    <a:pt x="58" y="71"/>
                    <a:pt x="37" y="72"/>
                  </a:cubicBezTo>
                  <a:cubicBezTo>
                    <a:pt x="32" y="72"/>
                    <a:pt x="34" y="79"/>
                    <a:pt x="38" y="79"/>
                  </a:cubicBezTo>
                  <a:cubicBezTo>
                    <a:pt x="62" y="79"/>
                    <a:pt x="87" y="78"/>
                    <a:pt x="111" y="77"/>
                  </a:cubicBezTo>
                  <a:cubicBezTo>
                    <a:pt x="115" y="77"/>
                    <a:pt x="114" y="72"/>
                    <a:pt x="112" y="7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iṣḷíḍê">
              <a:extLst>
                <a:ext uri="{FF2B5EF4-FFF2-40B4-BE49-F238E27FC236}">
                  <a16:creationId xmlns:a16="http://schemas.microsoft.com/office/drawing/2014/main" id="{23368A8F-D3B8-4BA9-B1D5-1BD69DCE1D29}"/>
                </a:ext>
              </a:extLst>
            </p:cNvPr>
            <p:cNvSpPr/>
            <p:nvPr/>
          </p:nvSpPr>
          <p:spPr bwMode="auto">
            <a:xfrm>
              <a:off x="6470651" y="1444626"/>
              <a:ext cx="798513" cy="1236663"/>
            </a:xfrm>
            <a:custGeom>
              <a:avLst/>
              <a:gdLst>
                <a:gd name="T0" fmla="*/ 562 w 580"/>
                <a:gd name="T1" fmla="*/ 391 h 900"/>
                <a:gd name="T2" fmla="*/ 488 w 580"/>
                <a:gd name="T3" fmla="*/ 200 h 900"/>
                <a:gd name="T4" fmla="*/ 457 w 580"/>
                <a:gd name="T5" fmla="*/ 260 h 900"/>
                <a:gd name="T6" fmla="*/ 453 w 580"/>
                <a:gd name="T7" fmla="*/ 327 h 900"/>
                <a:gd name="T8" fmla="*/ 370 w 580"/>
                <a:gd name="T9" fmla="*/ 141 h 900"/>
                <a:gd name="T10" fmla="*/ 365 w 580"/>
                <a:gd name="T11" fmla="*/ 239 h 900"/>
                <a:gd name="T12" fmla="*/ 274 w 580"/>
                <a:gd name="T13" fmla="*/ 4 h 900"/>
                <a:gd name="T14" fmla="*/ 249 w 580"/>
                <a:gd name="T15" fmla="*/ 138 h 900"/>
                <a:gd name="T16" fmla="*/ 152 w 580"/>
                <a:gd name="T17" fmla="*/ 50 h 900"/>
                <a:gd name="T18" fmla="*/ 129 w 580"/>
                <a:gd name="T19" fmla="*/ 70 h 900"/>
                <a:gd name="T20" fmla="*/ 124 w 580"/>
                <a:gd name="T21" fmla="*/ 495 h 900"/>
                <a:gd name="T22" fmla="*/ 1 w 580"/>
                <a:gd name="T23" fmla="*/ 895 h 900"/>
                <a:gd name="T24" fmla="*/ 137 w 580"/>
                <a:gd name="T25" fmla="*/ 498 h 900"/>
                <a:gd name="T26" fmla="*/ 150 w 580"/>
                <a:gd name="T27" fmla="*/ 97 h 900"/>
                <a:gd name="T28" fmla="*/ 160 w 580"/>
                <a:gd name="T29" fmla="*/ 94 h 900"/>
                <a:gd name="T30" fmla="*/ 233 w 580"/>
                <a:gd name="T31" fmla="*/ 213 h 900"/>
                <a:gd name="T32" fmla="*/ 242 w 580"/>
                <a:gd name="T33" fmla="*/ 236 h 900"/>
                <a:gd name="T34" fmla="*/ 279 w 580"/>
                <a:gd name="T35" fmla="*/ 122 h 900"/>
                <a:gd name="T36" fmla="*/ 265 w 580"/>
                <a:gd name="T37" fmla="*/ 118 h 900"/>
                <a:gd name="T38" fmla="*/ 347 w 580"/>
                <a:gd name="T39" fmla="*/ 236 h 900"/>
                <a:gd name="T40" fmla="*/ 338 w 580"/>
                <a:gd name="T41" fmla="*/ 279 h 900"/>
                <a:gd name="T42" fmla="*/ 373 w 580"/>
                <a:gd name="T43" fmla="*/ 320 h 900"/>
                <a:gd name="T44" fmla="*/ 385 w 580"/>
                <a:gd name="T45" fmla="*/ 166 h 900"/>
                <a:gd name="T46" fmla="*/ 409 w 580"/>
                <a:gd name="T47" fmla="*/ 477 h 900"/>
                <a:gd name="T48" fmla="*/ 442 w 580"/>
                <a:gd name="T49" fmla="*/ 424 h 900"/>
                <a:gd name="T50" fmla="*/ 450 w 580"/>
                <a:gd name="T51" fmla="*/ 400 h 900"/>
                <a:gd name="T52" fmla="*/ 470 w 580"/>
                <a:gd name="T53" fmla="*/ 235 h 900"/>
                <a:gd name="T54" fmla="*/ 503 w 580"/>
                <a:gd name="T55" fmla="*/ 225 h 900"/>
                <a:gd name="T56" fmla="*/ 549 w 580"/>
                <a:gd name="T57" fmla="*/ 301 h 900"/>
                <a:gd name="T58" fmla="*/ 534 w 580"/>
                <a:gd name="T59" fmla="*/ 423 h 900"/>
                <a:gd name="T60" fmla="*/ 542 w 580"/>
                <a:gd name="T61" fmla="*/ 423 h 900"/>
                <a:gd name="T62" fmla="*/ 556 w 580"/>
                <a:gd name="T63" fmla="*/ 411 h 900"/>
                <a:gd name="T64" fmla="*/ 553 w 580"/>
                <a:gd name="T65" fmla="*/ 500 h 900"/>
                <a:gd name="T66" fmla="*/ 571 w 580"/>
                <a:gd name="T67" fmla="*/ 39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0" h="900">
                  <a:moveTo>
                    <a:pt x="571" y="394"/>
                  </a:moveTo>
                  <a:cubicBezTo>
                    <a:pt x="570" y="390"/>
                    <a:pt x="565" y="387"/>
                    <a:pt x="562" y="391"/>
                  </a:cubicBezTo>
                  <a:cubicBezTo>
                    <a:pt x="569" y="359"/>
                    <a:pt x="567" y="325"/>
                    <a:pt x="559" y="295"/>
                  </a:cubicBezTo>
                  <a:cubicBezTo>
                    <a:pt x="550" y="262"/>
                    <a:pt x="525" y="207"/>
                    <a:pt x="488" y="200"/>
                  </a:cubicBezTo>
                  <a:cubicBezTo>
                    <a:pt x="471" y="196"/>
                    <a:pt x="459" y="205"/>
                    <a:pt x="456" y="221"/>
                  </a:cubicBezTo>
                  <a:cubicBezTo>
                    <a:pt x="454" y="234"/>
                    <a:pt x="457" y="248"/>
                    <a:pt x="457" y="260"/>
                  </a:cubicBezTo>
                  <a:cubicBezTo>
                    <a:pt x="457" y="274"/>
                    <a:pt x="457" y="289"/>
                    <a:pt x="455" y="303"/>
                  </a:cubicBezTo>
                  <a:cubicBezTo>
                    <a:pt x="455" y="311"/>
                    <a:pt x="454" y="319"/>
                    <a:pt x="453" y="327"/>
                  </a:cubicBezTo>
                  <a:cubicBezTo>
                    <a:pt x="448" y="260"/>
                    <a:pt x="422" y="193"/>
                    <a:pt x="383" y="139"/>
                  </a:cubicBezTo>
                  <a:cubicBezTo>
                    <a:pt x="380" y="135"/>
                    <a:pt x="370" y="134"/>
                    <a:pt x="370" y="141"/>
                  </a:cubicBezTo>
                  <a:cubicBezTo>
                    <a:pt x="371" y="184"/>
                    <a:pt x="372" y="226"/>
                    <a:pt x="372" y="269"/>
                  </a:cubicBezTo>
                  <a:cubicBezTo>
                    <a:pt x="370" y="259"/>
                    <a:pt x="368" y="249"/>
                    <a:pt x="365" y="239"/>
                  </a:cubicBezTo>
                  <a:cubicBezTo>
                    <a:pt x="365" y="237"/>
                    <a:pt x="362" y="235"/>
                    <a:pt x="360" y="235"/>
                  </a:cubicBezTo>
                  <a:cubicBezTo>
                    <a:pt x="374" y="151"/>
                    <a:pt x="337" y="59"/>
                    <a:pt x="274" y="4"/>
                  </a:cubicBezTo>
                  <a:cubicBezTo>
                    <a:pt x="269" y="0"/>
                    <a:pt x="261" y="2"/>
                    <a:pt x="261" y="8"/>
                  </a:cubicBezTo>
                  <a:cubicBezTo>
                    <a:pt x="256" y="51"/>
                    <a:pt x="252" y="95"/>
                    <a:pt x="249" y="138"/>
                  </a:cubicBezTo>
                  <a:cubicBezTo>
                    <a:pt x="236" y="95"/>
                    <a:pt x="204" y="59"/>
                    <a:pt x="159" y="44"/>
                  </a:cubicBezTo>
                  <a:cubicBezTo>
                    <a:pt x="154" y="42"/>
                    <a:pt x="151" y="47"/>
                    <a:pt x="152" y="50"/>
                  </a:cubicBezTo>
                  <a:cubicBezTo>
                    <a:pt x="152" y="61"/>
                    <a:pt x="151" y="72"/>
                    <a:pt x="153" y="83"/>
                  </a:cubicBezTo>
                  <a:cubicBezTo>
                    <a:pt x="145" y="78"/>
                    <a:pt x="137" y="74"/>
                    <a:pt x="129" y="70"/>
                  </a:cubicBezTo>
                  <a:cubicBezTo>
                    <a:pt x="124" y="67"/>
                    <a:pt x="118" y="71"/>
                    <a:pt x="119" y="76"/>
                  </a:cubicBezTo>
                  <a:cubicBezTo>
                    <a:pt x="142" y="215"/>
                    <a:pt x="144" y="356"/>
                    <a:pt x="124" y="495"/>
                  </a:cubicBezTo>
                  <a:cubicBezTo>
                    <a:pt x="114" y="564"/>
                    <a:pt x="99" y="632"/>
                    <a:pt x="78" y="699"/>
                  </a:cubicBezTo>
                  <a:cubicBezTo>
                    <a:pt x="57" y="767"/>
                    <a:pt x="30" y="831"/>
                    <a:pt x="1" y="895"/>
                  </a:cubicBezTo>
                  <a:cubicBezTo>
                    <a:pt x="0" y="898"/>
                    <a:pt x="4" y="900"/>
                    <a:pt x="5" y="897"/>
                  </a:cubicBezTo>
                  <a:cubicBezTo>
                    <a:pt x="73" y="776"/>
                    <a:pt x="115" y="635"/>
                    <a:pt x="137" y="498"/>
                  </a:cubicBezTo>
                  <a:cubicBezTo>
                    <a:pt x="158" y="363"/>
                    <a:pt x="158" y="225"/>
                    <a:pt x="136" y="90"/>
                  </a:cubicBezTo>
                  <a:cubicBezTo>
                    <a:pt x="141" y="92"/>
                    <a:pt x="145" y="94"/>
                    <a:pt x="150" y="97"/>
                  </a:cubicBezTo>
                  <a:cubicBezTo>
                    <a:pt x="154" y="99"/>
                    <a:pt x="157" y="98"/>
                    <a:pt x="159" y="95"/>
                  </a:cubicBezTo>
                  <a:cubicBezTo>
                    <a:pt x="159" y="95"/>
                    <a:pt x="160" y="95"/>
                    <a:pt x="160" y="94"/>
                  </a:cubicBezTo>
                  <a:cubicBezTo>
                    <a:pt x="165" y="84"/>
                    <a:pt x="165" y="72"/>
                    <a:pt x="165" y="60"/>
                  </a:cubicBezTo>
                  <a:cubicBezTo>
                    <a:pt x="223" y="89"/>
                    <a:pt x="250" y="151"/>
                    <a:pt x="233" y="213"/>
                  </a:cubicBezTo>
                  <a:cubicBezTo>
                    <a:pt x="231" y="218"/>
                    <a:pt x="229" y="223"/>
                    <a:pt x="227" y="229"/>
                  </a:cubicBezTo>
                  <a:cubicBezTo>
                    <a:pt x="224" y="237"/>
                    <a:pt x="237" y="244"/>
                    <a:pt x="242" y="236"/>
                  </a:cubicBezTo>
                  <a:cubicBezTo>
                    <a:pt x="247" y="225"/>
                    <a:pt x="250" y="214"/>
                    <a:pt x="252" y="203"/>
                  </a:cubicBezTo>
                  <a:cubicBezTo>
                    <a:pt x="261" y="176"/>
                    <a:pt x="270" y="149"/>
                    <a:pt x="279" y="122"/>
                  </a:cubicBezTo>
                  <a:cubicBezTo>
                    <a:pt x="281" y="114"/>
                    <a:pt x="269" y="107"/>
                    <a:pt x="266" y="116"/>
                  </a:cubicBezTo>
                  <a:cubicBezTo>
                    <a:pt x="265" y="116"/>
                    <a:pt x="265" y="117"/>
                    <a:pt x="265" y="118"/>
                  </a:cubicBezTo>
                  <a:cubicBezTo>
                    <a:pt x="269" y="87"/>
                    <a:pt x="272" y="57"/>
                    <a:pt x="276" y="27"/>
                  </a:cubicBezTo>
                  <a:cubicBezTo>
                    <a:pt x="332" y="82"/>
                    <a:pt x="356" y="157"/>
                    <a:pt x="347" y="236"/>
                  </a:cubicBezTo>
                  <a:cubicBezTo>
                    <a:pt x="341" y="248"/>
                    <a:pt x="336" y="261"/>
                    <a:pt x="330" y="274"/>
                  </a:cubicBezTo>
                  <a:cubicBezTo>
                    <a:pt x="328" y="278"/>
                    <a:pt x="335" y="283"/>
                    <a:pt x="338" y="279"/>
                  </a:cubicBezTo>
                  <a:cubicBezTo>
                    <a:pt x="345" y="270"/>
                    <a:pt x="351" y="261"/>
                    <a:pt x="358" y="252"/>
                  </a:cubicBezTo>
                  <a:cubicBezTo>
                    <a:pt x="363" y="275"/>
                    <a:pt x="368" y="297"/>
                    <a:pt x="373" y="320"/>
                  </a:cubicBezTo>
                  <a:cubicBezTo>
                    <a:pt x="375" y="326"/>
                    <a:pt x="385" y="329"/>
                    <a:pt x="385" y="321"/>
                  </a:cubicBezTo>
                  <a:cubicBezTo>
                    <a:pt x="385" y="270"/>
                    <a:pt x="385" y="218"/>
                    <a:pt x="385" y="166"/>
                  </a:cubicBezTo>
                  <a:cubicBezTo>
                    <a:pt x="431" y="242"/>
                    <a:pt x="444" y="327"/>
                    <a:pt x="433" y="416"/>
                  </a:cubicBezTo>
                  <a:cubicBezTo>
                    <a:pt x="426" y="436"/>
                    <a:pt x="418" y="457"/>
                    <a:pt x="409" y="477"/>
                  </a:cubicBezTo>
                  <a:cubicBezTo>
                    <a:pt x="408" y="480"/>
                    <a:pt x="413" y="482"/>
                    <a:pt x="414" y="479"/>
                  </a:cubicBezTo>
                  <a:cubicBezTo>
                    <a:pt x="425" y="461"/>
                    <a:pt x="434" y="443"/>
                    <a:pt x="442" y="424"/>
                  </a:cubicBezTo>
                  <a:cubicBezTo>
                    <a:pt x="444" y="423"/>
                    <a:pt x="446" y="422"/>
                    <a:pt x="447" y="419"/>
                  </a:cubicBezTo>
                  <a:cubicBezTo>
                    <a:pt x="448" y="412"/>
                    <a:pt x="449" y="406"/>
                    <a:pt x="450" y="400"/>
                  </a:cubicBezTo>
                  <a:cubicBezTo>
                    <a:pt x="454" y="388"/>
                    <a:pt x="458" y="376"/>
                    <a:pt x="460" y="364"/>
                  </a:cubicBezTo>
                  <a:cubicBezTo>
                    <a:pt x="470" y="320"/>
                    <a:pt x="469" y="279"/>
                    <a:pt x="470" y="235"/>
                  </a:cubicBezTo>
                  <a:cubicBezTo>
                    <a:pt x="471" y="224"/>
                    <a:pt x="470" y="222"/>
                    <a:pt x="481" y="218"/>
                  </a:cubicBezTo>
                  <a:cubicBezTo>
                    <a:pt x="492" y="215"/>
                    <a:pt x="495" y="218"/>
                    <a:pt x="503" y="225"/>
                  </a:cubicBezTo>
                  <a:cubicBezTo>
                    <a:pt x="511" y="232"/>
                    <a:pt x="517" y="240"/>
                    <a:pt x="523" y="248"/>
                  </a:cubicBezTo>
                  <a:cubicBezTo>
                    <a:pt x="535" y="264"/>
                    <a:pt x="543" y="282"/>
                    <a:pt x="549" y="301"/>
                  </a:cubicBezTo>
                  <a:cubicBezTo>
                    <a:pt x="560" y="338"/>
                    <a:pt x="557" y="375"/>
                    <a:pt x="545" y="410"/>
                  </a:cubicBezTo>
                  <a:cubicBezTo>
                    <a:pt x="541" y="414"/>
                    <a:pt x="538" y="419"/>
                    <a:pt x="534" y="423"/>
                  </a:cubicBezTo>
                  <a:cubicBezTo>
                    <a:pt x="532" y="425"/>
                    <a:pt x="536" y="428"/>
                    <a:pt x="538" y="427"/>
                  </a:cubicBezTo>
                  <a:cubicBezTo>
                    <a:pt x="539" y="426"/>
                    <a:pt x="540" y="424"/>
                    <a:pt x="542" y="423"/>
                  </a:cubicBezTo>
                  <a:cubicBezTo>
                    <a:pt x="543" y="426"/>
                    <a:pt x="548" y="428"/>
                    <a:pt x="550" y="424"/>
                  </a:cubicBezTo>
                  <a:cubicBezTo>
                    <a:pt x="552" y="420"/>
                    <a:pt x="554" y="415"/>
                    <a:pt x="556" y="411"/>
                  </a:cubicBezTo>
                  <a:cubicBezTo>
                    <a:pt x="558" y="409"/>
                    <a:pt x="560" y="407"/>
                    <a:pt x="562" y="405"/>
                  </a:cubicBezTo>
                  <a:cubicBezTo>
                    <a:pt x="566" y="438"/>
                    <a:pt x="563" y="468"/>
                    <a:pt x="553" y="500"/>
                  </a:cubicBezTo>
                  <a:cubicBezTo>
                    <a:pt x="551" y="507"/>
                    <a:pt x="561" y="513"/>
                    <a:pt x="564" y="506"/>
                  </a:cubicBezTo>
                  <a:cubicBezTo>
                    <a:pt x="578" y="471"/>
                    <a:pt x="580" y="431"/>
                    <a:pt x="571" y="39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iṣļïḋê">
              <a:extLst>
                <a:ext uri="{FF2B5EF4-FFF2-40B4-BE49-F238E27FC236}">
                  <a16:creationId xmlns:a16="http://schemas.microsoft.com/office/drawing/2014/main" id="{181AD5A1-BE4B-4AB4-A4D9-0656B1D6609A}"/>
                </a:ext>
              </a:extLst>
            </p:cNvPr>
            <p:cNvSpPr/>
            <p:nvPr/>
          </p:nvSpPr>
          <p:spPr bwMode="auto">
            <a:xfrm>
              <a:off x="6904038" y="2173289"/>
              <a:ext cx="476250" cy="904875"/>
            </a:xfrm>
            <a:custGeom>
              <a:avLst/>
              <a:gdLst>
                <a:gd name="T0" fmla="*/ 339 w 346"/>
                <a:gd name="T1" fmla="*/ 134 h 658"/>
                <a:gd name="T2" fmla="*/ 303 w 346"/>
                <a:gd name="T3" fmla="*/ 69 h 658"/>
                <a:gd name="T4" fmla="*/ 308 w 346"/>
                <a:gd name="T5" fmla="*/ 11 h 658"/>
                <a:gd name="T6" fmla="*/ 260 w 346"/>
                <a:gd name="T7" fmla="*/ 23 h 658"/>
                <a:gd name="T8" fmla="*/ 289 w 346"/>
                <a:gd name="T9" fmla="*/ 22 h 658"/>
                <a:gd name="T10" fmla="*/ 203 w 346"/>
                <a:gd name="T11" fmla="*/ 204 h 658"/>
                <a:gd name="T12" fmla="*/ 319 w 346"/>
                <a:gd name="T13" fmla="*/ 119 h 658"/>
                <a:gd name="T14" fmla="*/ 316 w 346"/>
                <a:gd name="T15" fmla="*/ 169 h 658"/>
                <a:gd name="T16" fmla="*/ 261 w 346"/>
                <a:gd name="T17" fmla="*/ 244 h 658"/>
                <a:gd name="T18" fmla="*/ 200 w 346"/>
                <a:gd name="T19" fmla="*/ 337 h 658"/>
                <a:gd name="T20" fmla="*/ 169 w 346"/>
                <a:gd name="T21" fmla="*/ 353 h 658"/>
                <a:gd name="T22" fmla="*/ 81 w 346"/>
                <a:gd name="T23" fmla="*/ 423 h 658"/>
                <a:gd name="T24" fmla="*/ 6 w 346"/>
                <a:gd name="T25" fmla="*/ 466 h 658"/>
                <a:gd name="T26" fmla="*/ 158 w 346"/>
                <a:gd name="T27" fmla="*/ 389 h 658"/>
                <a:gd name="T28" fmla="*/ 290 w 346"/>
                <a:gd name="T29" fmla="*/ 291 h 658"/>
                <a:gd name="T30" fmla="*/ 162 w 346"/>
                <a:gd name="T31" fmla="*/ 527 h 658"/>
                <a:gd name="T32" fmla="*/ 93 w 346"/>
                <a:gd name="T33" fmla="*/ 563 h 658"/>
                <a:gd name="T34" fmla="*/ 156 w 346"/>
                <a:gd name="T35" fmla="*/ 542 h 658"/>
                <a:gd name="T36" fmla="*/ 157 w 346"/>
                <a:gd name="T37" fmla="*/ 547 h 658"/>
                <a:gd name="T38" fmla="*/ 304 w 346"/>
                <a:gd name="T39" fmla="*/ 539 h 658"/>
                <a:gd name="T40" fmla="*/ 234 w 346"/>
                <a:gd name="T41" fmla="*/ 593 h 658"/>
                <a:gd name="T42" fmla="*/ 239 w 346"/>
                <a:gd name="T43" fmla="*/ 604 h 658"/>
                <a:gd name="T44" fmla="*/ 218 w 346"/>
                <a:gd name="T45" fmla="*/ 624 h 658"/>
                <a:gd name="T46" fmla="*/ 156 w 346"/>
                <a:gd name="T47" fmla="*/ 645 h 658"/>
                <a:gd name="T48" fmla="*/ 223 w 346"/>
                <a:gd name="T49" fmla="*/ 636 h 658"/>
                <a:gd name="T50" fmla="*/ 255 w 346"/>
                <a:gd name="T51" fmla="*/ 603 h 658"/>
                <a:gd name="T52" fmla="*/ 310 w 346"/>
                <a:gd name="T53" fmla="*/ 455 h 658"/>
                <a:gd name="T54" fmla="*/ 288 w 346"/>
                <a:gd name="T55" fmla="*/ 422 h 658"/>
                <a:gd name="T56" fmla="*/ 286 w 346"/>
                <a:gd name="T57" fmla="*/ 277 h 658"/>
                <a:gd name="T58" fmla="*/ 315 w 346"/>
                <a:gd name="T59" fmla="*/ 232 h 658"/>
                <a:gd name="T60" fmla="*/ 299 w 346"/>
                <a:gd name="T61" fmla="*/ 224 h 658"/>
                <a:gd name="T62" fmla="*/ 334 w 346"/>
                <a:gd name="T63" fmla="*/ 16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6" h="658">
                  <a:moveTo>
                    <a:pt x="334" y="166"/>
                  </a:moveTo>
                  <a:cubicBezTo>
                    <a:pt x="344" y="151"/>
                    <a:pt x="346" y="150"/>
                    <a:pt x="339" y="134"/>
                  </a:cubicBezTo>
                  <a:cubicBezTo>
                    <a:pt x="330" y="113"/>
                    <a:pt x="321" y="92"/>
                    <a:pt x="313" y="71"/>
                  </a:cubicBezTo>
                  <a:cubicBezTo>
                    <a:pt x="311" y="67"/>
                    <a:pt x="306" y="65"/>
                    <a:pt x="303" y="69"/>
                  </a:cubicBezTo>
                  <a:cubicBezTo>
                    <a:pt x="286" y="89"/>
                    <a:pt x="269" y="109"/>
                    <a:pt x="252" y="129"/>
                  </a:cubicBezTo>
                  <a:cubicBezTo>
                    <a:pt x="273" y="91"/>
                    <a:pt x="292" y="52"/>
                    <a:pt x="308" y="11"/>
                  </a:cubicBezTo>
                  <a:cubicBezTo>
                    <a:pt x="310" y="5"/>
                    <a:pt x="303" y="0"/>
                    <a:pt x="298" y="2"/>
                  </a:cubicBezTo>
                  <a:cubicBezTo>
                    <a:pt x="285" y="9"/>
                    <a:pt x="272" y="16"/>
                    <a:pt x="260" y="23"/>
                  </a:cubicBezTo>
                  <a:cubicBezTo>
                    <a:pt x="253" y="27"/>
                    <a:pt x="261" y="37"/>
                    <a:pt x="267" y="34"/>
                  </a:cubicBezTo>
                  <a:cubicBezTo>
                    <a:pt x="275" y="30"/>
                    <a:pt x="282" y="26"/>
                    <a:pt x="289" y="22"/>
                  </a:cubicBezTo>
                  <a:cubicBezTo>
                    <a:pt x="265" y="84"/>
                    <a:pt x="233" y="143"/>
                    <a:pt x="194" y="197"/>
                  </a:cubicBezTo>
                  <a:cubicBezTo>
                    <a:pt x="190" y="202"/>
                    <a:pt x="199" y="210"/>
                    <a:pt x="203" y="204"/>
                  </a:cubicBezTo>
                  <a:cubicBezTo>
                    <a:pt x="238" y="164"/>
                    <a:pt x="272" y="124"/>
                    <a:pt x="306" y="84"/>
                  </a:cubicBezTo>
                  <a:cubicBezTo>
                    <a:pt x="310" y="95"/>
                    <a:pt x="315" y="107"/>
                    <a:pt x="319" y="119"/>
                  </a:cubicBezTo>
                  <a:cubicBezTo>
                    <a:pt x="322" y="126"/>
                    <a:pt x="327" y="134"/>
                    <a:pt x="328" y="142"/>
                  </a:cubicBezTo>
                  <a:cubicBezTo>
                    <a:pt x="330" y="152"/>
                    <a:pt x="322" y="161"/>
                    <a:pt x="316" y="169"/>
                  </a:cubicBezTo>
                  <a:cubicBezTo>
                    <a:pt x="299" y="194"/>
                    <a:pt x="279" y="216"/>
                    <a:pt x="256" y="236"/>
                  </a:cubicBezTo>
                  <a:cubicBezTo>
                    <a:pt x="252" y="239"/>
                    <a:pt x="256" y="246"/>
                    <a:pt x="261" y="244"/>
                  </a:cubicBezTo>
                  <a:cubicBezTo>
                    <a:pt x="271" y="241"/>
                    <a:pt x="281" y="237"/>
                    <a:pt x="291" y="234"/>
                  </a:cubicBezTo>
                  <a:cubicBezTo>
                    <a:pt x="263" y="270"/>
                    <a:pt x="234" y="305"/>
                    <a:pt x="200" y="337"/>
                  </a:cubicBezTo>
                  <a:cubicBezTo>
                    <a:pt x="192" y="343"/>
                    <a:pt x="185" y="350"/>
                    <a:pt x="177" y="356"/>
                  </a:cubicBezTo>
                  <a:cubicBezTo>
                    <a:pt x="176" y="353"/>
                    <a:pt x="172" y="350"/>
                    <a:pt x="169" y="353"/>
                  </a:cubicBezTo>
                  <a:cubicBezTo>
                    <a:pt x="149" y="373"/>
                    <a:pt x="129" y="391"/>
                    <a:pt x="106" y="406"/>
                  </a:cubicBezTo>
                  <a:cubicBezTo>
                    <a:pt x="98" y="412"/>
                    <a:pt x="89" y="417"/>
                    <a:pt x="81" y="423"/>
                  </a:cubicBezTo>
                  <a:cubicBezTo>
                    <a:pt x="56" y="437"/>
                    <a:pt x="31" y="450"/>
                    <a:pt x="4" y="461"/>
                  </a:cubicBezTo>
                  <a:cubicBezTo>
                    <a:pt x="0" y="462"/>
                    <a:pt x="3" y="467"/>
                    <a:pt x="6" y="466"/>
                  </a:cubicBezTo>
                  <a:cubicBezTo>
                    <a:pt x="36" y="458"/>
                    <a:pt x="65" y="444"/>
                    <a:pt x="92" y="428"/>
                  </a:cubicBezTo>
                  <a:cubicBezTo>
                    <a:pt x="115" y="417"/>
                    <a:pt x="137" y="404"/>
                    <a:pt x="158" y="389"/>
                  </a:cubicBezTo>
                  <a:cubicBezTo>
                    <a:pt x="159" y="389"/>
                    <a:pt x="159" y="389"/>
                    <a:pt x="159" y="389"/>
                  </a:cubicBezTo>
                  <a:cubicBezTo>
                    <a:pt x="203" y="356"/>
                    <a:pt x="246" y="323"/>
                    <a:pt x="290" y="291"/>
                  </a:cubicBezTo>
                  <a:cubicBezTo>
                    <a:pt x="326" y="336"/>
                    <a:pt x="296" y="396"/>
                    <a:pt x="266" y="438"/>
                  </a:cubicBezTo>
                  <a:cubicBezTo>
                    <a:pt x="238" y="476"/>
                    <a:pt x="203" y="504"/>
                    <a:pt x="162" y="527"/>
                  </a:cubicBezTo>
                  <a:cubicBezTo>
                    <a:pt x="139" y="539"/>
                    <a:pt x="115" y="548"/>
                    <a:pt x="91" y="559"/>
                  </a:cubicBezTo>
                  <a:cubicBezTo>
                    <a:pt x="88" y="560"/>
                    <a:pt x="90" y="563"/>
                    <a:pt x="93" y="563"/>
                  </a:cubicBezTo>
                  <a:cubicBezTo>
                    <a:pt x="114" y="559"/>
                    <a:pt x="135" y="551"/>
                    <a:pt x="155" y="541"/>
                  </a:cubicBezTo>
                  <a:cubicBezTo>
                    <a:pt x="156" y="541"/>
                    <a:pt x="156" y="542"/>
                    <a:pt x="156" y="542"/>
                  </a:cubicBezTo>
                  <a:cubicBezTo>
                    <a:pt x="156" y="542"/>
                    <a:pt x="155" y="543"/>
                    <a:pt x="155" y="543"/>
                  </a:cubicBezTo>
                  <a:cubicBezTo>
                    <a:pt x="153" y="544"/>
                    <a:pt x="155" y="548"/>
                    <a:pt x="157" y="547"/>
                  </a:cubicBezTo>
                  <a:cubicBezTo>
                    <a:pt x="209" y="524"/>
                    <a:pt x="259" y="495"/>
                    <a:pt x="310" y="469"/>
                  </a:cubicBezTo>
                  <a:cubicBezTo>
                    <a:pt x="315" y="492"/>
                    <a:pt x="313" y="516"/>
                    <a:pt x="304" y="539"/>
                  </a:cubicBezTo>
                  <a:cubicBezTo>
                    <a:pt x="294" y="563"/>
                    <a:pt x="272" y="591"/>
                    <a:pt x="244" y="593"/>
                  </a:cubicBezTo>
                  <a:cubicBezTo>
                    <a:pt x="241" y="592"/>
                    <a:pt x="238" y="592"/>
                    <a:pt x="234" y="593"/>
                  </a:cubicBezTo>
                  <a:cubicBezTo>
                    <a:pt x="228" y="594"/>
                    <a:pt x="231" y="603"/>
                    <a:pt x="236" y="604"/>
                  </a:cubicBezTo>
                  <a:cubicBezTo>
                    <a:pt x="237" y="604"/>
                    <a:pt x="238" y="604"/>
                    <a:pt x="239" y="604"/>
                  </a:cubicBezTo>
                  <a:cubicBezTo>
                    <a:pt x="239" y="614"/>
                    <a:pt x="236" y="620"/>
                    <a:pt x="229" y="621"/>
                  </a:cubicBezTo>
                  <a:cubicBezTo>
                    <a:pt x="225" y="622"/>
                    <a:pt x="222" y="623"/>
                    <a:pt x="218" y="624"/>
                  </a:cubicBezTo>
                  <a:cubicBezTo>
                    <a:pt x="212" y="626"/>
                    <a:pt x="205" y="629"/>
                    <a:pt x="199" y="631"/>
                  </a:cubicBezTo>
                  <a:cubicBezTo>
                    <a:pt x="184" y="635"/>
                    <a:pt x="170" y="639"/>
                    <a:pt x="156" y="645"/>
                  </a:cubicBezTo>
                  <a:cubicBezTo>
                    <a:pt x="149" y="648"/>
                    <a:pt x="154" y="658"/>
                    <a:pt x="161" y="656"/>
                  </a:cubicBezTo>
                  <a:cubicBezTo>
                    <a:pt x="182" y="651"/>
                    <a:pt x="203" y="643"/>
                    <a:pt x="223" y="636"/>
                  </a:cubicBezTo>
                  <a:cubicBezTo>
                    <a:pt x="233" y="632"/>
                    <a:pt x="247" y="629"/>
                    <a:pt x="253" y="618"/>
                  </a:cubicBezTo>
                  <a:cubicBezTo>
                    <a:pt x="256" y="613"/>
                    <a:pt x="256" y="608"/>
                    <a:pt x="255" y="603"/>
                  </a:cubicBezTo>
                  <a:cubicBezTo>
                    <a:pt x="311" y="593"/>
                    <a:pt x="332" y="508"/>
                    <a:pt x="320" y="460"/>
                  </a:cubicBezTo>
                  <a:cubicBezTo>
                    <a:pt x="319" y="456"/>
                    <a:pt x="314" y="453"/>
                    <a:pt x="310" y="455"/>
                  </a:cubicBezTo>
                  <a:cubicBezTo>
                    <a:pt x="281" y="472"/>
                    <a:pt x="251" y="487"/>
                    <a:pt x="221" y="504"/>
                  </a:cubicBezTo>
                  <a:cubicBezTo>
                    <a:pt x="247" y="480"/>
                    <a:pt x="271" y="452"/>
                    <a:pt x="288" y="422"/>
                  </a:cubicBezTo>
                  <a:cubicBezTo>
                    <a:pt x="313" y="380"/>
                    <a:pt x="340" y="316"/>
                    <a:pt x="294" y="277"/>
                  </a:cubicBezTo>
                  <a:cubicBezTo>
                    <a:pt x="292" y="276"/>
                    <a:pt x="288" y="275"/>
                    <a:pt x="286" y="277"/>
                  </a:cubicBezTo>
                  <a:cubicBezTo>
                    <a:pt x="281" y="281"/>
                    <a:pt x="277" y="285"/>
                    <a:pt x="272" y="289"/>
                  </a:cubicBezTo>
                  <a:cubicBezTo>
                    <a:pt x="288" y="271"/>
                    <a:pt x="303" y="252"/>
                    <a:pt x="315" y="232"/>
                  </a:cubicBezTo>
                  <a:cubicBezTo>
                    <a:pt x="320" y="223"/>
                    <a:pt x="308" y="212"/>
                    <a:pt x="302" y="221"/>
                  </a:cubicBezTo>
                  <a:cubicBezTo>
                    <a:pt x="301" y="222"/>
                    <a:pt x="300" y="223"/>
                    <a:pt x="299" y="224"/>
                  </a:cubicBezTo>
                  <a:cubicBezTo>
                    <a:pt x="292" y="225"/>
                    <a:pt x="286" y="227"/>
                    <a:pt x="279" y="229"/>
                  </a:cubicBezTo>
                  <a:cubicBezTo>
                    <a:pt x="300" y="210"/>
                    <a:pt x="318" y="189"/>
                    <a:pt x="334" y="16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iṣ1îḋé">
              <a:extLst>
                <a:ext uri="{FF2B5EF4-FFF2-40B4-BE49-F238E27FC236}">
                  <a16:creationId xmlns:a16="http://schemas.microsoft.com/office/drawing/2014/main" id="{A652FD4A-AFF3-4B22-9117-9A49A4F850F6}"/>
                </a:ext>
              </a:extLst>
            </p:cNvPr>
            <p:cNvSpPr/>
            <p:nvPr/>
          </p:nvSpPr>
          <p:spPr bwMode="auto">
            <a:xfrm>
              <a:off x="5278438" y="2085976"/>
              <a:ext cx="428625" cy="1182688"/>
            </a:xfrm>
            <a:custGeom>
              <a:avLst/>
              <a:gdLst>
                <a:gd name="T0" fmla="*/ 310 w 311"/>
                <a:gd name="T1" fmla="*/ 856 h 860"/>
                <a:gd name="T2" fmla="*/ 257 w 311"/>
                <a:gd name="T3" fmla="*/ 715 h 860"/>
                <a:gd name="T4" fmla="*/ 194 w 311"/>
                <a:gd name="T5" fmla="*/ 570 h 860"/>
                <a:gd name="T6" fmla="*/ 56 w 311"/>
                <a:gd name="T7" fmla="*/ 296 h 860"/>
                <a:gd name="T8" fmla="*/ 122 w 311"/>
                <a:gd name="T9" fmla="*/ 358 h 860"/>
                <a:gd name="T10" fmla="*/ 179 w 311"/>
                <a:gd name="T11" fmla="*/ 426 h 860"/>
                <a:gd name="T12" fmla="*/ 180 w 311"/>
                <a:gd name="T13" fmla="*/ 428 h 860"/>
                <a:gd name="T14" fmla="*/ 181 w 311"/>
                <a:gd name="T15" fmla="*/ 429 h 860"/>
                <a:gd name="T16" fmla="*/ 186 w 311"/>
                <a:gd name="T17" fmla="*/ 424 h 860"/>
                <a:gd name="T18" fmla="*/ 173 w 311"/>
                <a:gd name="T19" fmla="*/ 407 h 860"/>
                <a:gd name="T20" fmla="*/ 81 w 311"/>
                <a:gd name="T21" fmla="*/ 243 h 860"/>
                <a:gd name="T22" fmla="*/ 151 w 311"/>
                <a:gd name="T23" fmla="*/ 317 h 860"/>
                <a:gd name="T24" fmla="*/ 158 w 311"/>
                <a:gd name="T25" fmla="*/ 315 h 860"/>
                <a:gd name="T26" fmla="*/ 159 w 311"/>
                <a:gd name="T27" fmla="*/ 313 h 860"/>
                <a:gd name="T28" fmla="*/ 17 w 311"/>
                <a:gd name="T29" fmla="*/ 14 h 860"/>
                <a:gd name="T30" fmla="*/ 73 w 311"/>
                <a:gd name="T31" fmla="*/ 50 h 860"/>
                <a:gd name="T32" fmla="*/ 81 w 311"/>
                <a:gd name="T33" fmla="*/ 45 h 860"/>
                <a:gd name="T34" fmla="*/ 8 w 311"/>
                <a:gd name="T35" fmla="*/ 1 h 860"/>
                <a:gd name="T36" fmla="*/ 2 w 311"/>
                <a:gd name="T37" fmla="*/ 8 h 860"/>
                <a:gd name="T38" fmla="*/ 150 w 311"/>
                <a:gd name="T39" fmla="*/ 303 h 860"/>
                <a:gd name="T40" fmla="*/ 60 w 311"/>
                <a:gd name="T41" fmla="*/ 207 h 860"/>
                <a:gd name="T42" fmla="*/ 52 w 311"/>
                <a:gd name="T43" fmla="*/ 211 h 860"/>
                <a:gd name="T44" fmla="*/ 151 w 311"/>
                <a:gd name="T45" fmla="*/ 379 h 860"/>
                <a:gd name="T46" fmla="*/ 108 w 311"/>
                <a:gd name="T47" fmla="*/ 328 h 860"/>
                <a:gd name="T48" fmla="*/ 49 w 311"/>
                <a:gd name="T49" fmla="*/ 291 h 860"/>
                <a:gd name="T50" fmla="*/ 47 w 311"/>
                <a:gd name="T51" fmla="*/ 293 h 860"/>
                <a:gd name="T52" fmla="*/ 46 w 311"/>
                <a:gd name="T53" fmla="*/ 297 h 860"/>
                <a:gd name="T54" fmla="*/ 180 w 311"/>
                <a:gd name="T55" fmla="*/ 574 h 860"/>
                <a:gd name="T56" fmla="*/ 240 w 311"/>
                <a:gd name="T57" fmla="*/ 712 h 860"/>
                <a:gd name="T58" fmla="*/ 303 w 311"/>
                <a:gd name="T59" fmla="*/ 857 h 860"/>
                <a:gd name="T60" fmla="*/ 310 w 311"/>
                <a:gd name="T61" fmla="*/ 856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1" h="860">
                  <a:moveTo>
                    <a:pt x="310" y="856"/>
                  </a:moveTo>
                  <a:cubicBezTo>
                    <a:pt x="296" y="808"/>
                    <a:pt x="276" y="761"/>
                    <a:pt x="257" y="715"/>
                  </a:cubicBezTo>
                  <a:cubicBezTo>
                    <a:pt x="237" y="666"/>
                    <a:pt x="216" y="618"/>
                    <a:pt x="194" y="570"/>
                  </a:cubicBezTo>
                  <a:cubicBezTo>
                    <a:pt x="151" y="477"/>
                    <a:pt x="108" y="384"/>
                    <a:pt x="56" y="296"/>
                  </a:cubicBezTo>
                  <a:cubicBezTo>
                    <a:pt x="85" y="302"/>
                    <a:pt x="105" y="337"/>
                    <a:pt x="122" y="358"/>
                  </a:cubicBezTo>
                  <a:cubicBezTo>
                    <a:pt x="141" y="381"/>
                    <a:pt x="159" y="405"/>
                    <a:pt x="179" y="426"/>
                  </a:cubicBezTo>
                  <a:cubicBezTo>
                    <a:pt x="179" y="427"/>
                    <a:pt x="179" y="427"/>
                    <a:pt x="180" y="428"/>
                  </a:cubicBezTo>
                  <a:cubicBezTo>
                    <a:pt x="180" y="429"/>
                    <a:pt x="181" y="429"/>
                    <a:pt x="181" y="429"/>
                  </a:cubicBezTo>
                  <a:cubicBezTo>
                    <a:pt x="184" y="431"/>
                    <a:pt x="189" y="428"/>
                    <a:pt x="186" y="424"/>
                  </a:cubicBezTo>
                  <a:cubicBezTo>
                    <a:pt x="182" y="419"/>
                    <a:pt x="177" y="413"/>
                    <a:pt x="173" y="407"/>
                  </a:cubicBezTo>
                  <a:cubicBezTo>
                    <a:pt x="143" y="352"/>
                    <a:pt x="112" y="297"/>
                    <a:pt x="81" y="243"/>
                  </a:cubicBezTo>
                  <a:cubicBezTo>
                    <a:pt x="103" y="268"/>
                    <a:pt x="126" y="294"/>
                    <a:pt x="151" y="317"/>
                  </a:cubicBezTo>
                  <a:cubicBezTo>
                    <a:pt x="154" y="319"/>
                    <a:pt x="157" y="317"/>
                    <a:pt x="158" y="315"/>
                  </a:cubicBezTo>
                  <a:cubicBezTo>
                    <a:pt x="159" y="315"/>
                    <a:pt x="160" y="314"/>
                    <a:pt x="159" y="313"/>
                  </a:cubicBezTo>
                  <a:cubicBezTo>
                    <a:pt x="115" y="212"/>
                    <a:pt x="66" y="113"/>
                    <a:pt x="17" y="14"/>
                  </a:cubicBezTo>
                  <a:cubicBezTo>
                    <a:pt x="39" y="21"/>
                    <a:pt x="57" y="33"/>
                    <a:pt x="73" y="50"/>
                  </a:cubicBezTo>
                  <a:cubicBezTo>
                    <a:pt x="77" y="55"/>
                    <a:pt x="85" y="50"/>
                    <a:pt x="81" y="45"/>
                  </a:cubicBezTo>
                  <a:cubicBezTo>
                    <a:pt x="63" y="21"/>
                    <a:pt x="36" y="7"/>
                    <a:pt x="8" y="1"/>
                  </a:cubicBezTo>
                  <a:cubicBezTo>
                    <a:pt x="3" y="0"/>
                    <a:pt x="0" y="4"/>
                    <a:pt x="2" y="8"/>
                  </a:cubicBezTo>
                  <a:cubicBezTo>
                    <a:pt x="50" y="107"/>
                    <a:pt x="98" y="206"/>
                    <a:pt x="150" y="303"/>
                  </a:cubicBezTo>
                  <a:cubicBezTo>
                    <a:pt x="122" y="270"/>
                    <a:pt x="90" y="239"/>
                    <a:pt x="60" y="207"/>
                  </a:cubicBezTo>
                  <a:cubicBezTo>
                    <a:pt x="57" y="204"/>
                    <a:pt x="49" y="206"/>
                    <a:pt x="52" y="211"/>
                  </a:cubicBezTo>
                  <a:cubicBezTo>
                    <a:pt x="85" y="268"/>
                    <a:pt x="117" y="324"/>
                    <a:pt x="151" y="379"/>
                  </a:cubicBezTo>
                  <a:cubicBezTo>
                    <a:pt x="136" y="362"/>
                    <a:pt x="122" y="345"/>
                    <a:pt x="108" y="328"/>
                  </a:cubicBezTo>
                  <a:cubicBezTo>
                    <a:pt x="92" y="310"/>
                    <a:pt x="75" y="288"/>
                    <a:pt x="49" y="291"/>
                  </a:cubicBezTo>
                  <a:cubicBezTo>
                    <a:pt x="47" y="291"/>
                    <a:pt x="47" y="292"/>
                    <a:pt x="47" y="293"/>
                  </a:cubicBezTo>
                  <a:cubicBezTo>
                    <a:pt x="46" y="294"/>
                    <a:pt x="46" y="295"/>
                    <a:pt x="46" y="297"/>
                  </a:cubicBezTo>
                  <a:cubicBezTo>
                    <a:pt x="90" y="390"/>
                    <a:pt x="137" y="481"/>
                    <a:pt x="180" y="574"/>
                  </a:cubicBezTo>
                  <a:cubicBezTo>
                    <a:pt x="200" y="620"/>
                    <a:pt x="220" y="666"/>
                    <a:pt x="240" y="712"/>
                  </a:cubicBezTo>
                  <a:cubicBezTo>
                    <a:pt x="261" y="760"/>
                    <a:pt x="279" y="810"/>
                    <a:pt x="303" y="857"/>
                  </a:cubicBezTo>
                  <a:cubicBezTo>
                    <a:pt x="304" y="860"/>
                    <a:pt x="311" y="860"/>
                    <a:pt x="310" y="85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íṥ1íḓê">
              <a:extLst>
                <a:ext uri="{FF2B5EF4-FFF2-40B4-BE49-F238E27FC236}">
                  <a16:creationId xmlns:a16="http://schemas.microsoft.com/office/drawing/2014/main" id="{E2C2F2B7-D762-4AC9-B968-356BB9CF34E3}"/>
                </a:ext>
              </a:extLst>
            </p:cNvPr>
            <p:cNvSpPr/>
            <p:nvPr/>
          </p:nvSpPr>
          <p:spPr bwMode="auto">
            <a:xfrm>
              <a:off x="5386388" y="2101851"/>
              <a:ext cx="438150" cy="688975"/>
            </a:xfrm>
            <a:custGeom>
              <a:avLst/>
              <a:gdLst>
                <a:gd name="T0" fmla="*/ 262 w 318"/>
                <a:gd name="T1" fmla="*/ 295 h 502"/>
                <a:gd name="T2" fmla="*/ 253 w 318"/>
                <a:gd name="T3" fmla="*/ 295 h 502"/>
                <a:gd name="T4" fmla="*/ 252 w 318"/>
                <a:gd name="T5" fmla="*/ 309 h 502"/>
                <a:gd name="T6" fmla="*/ 221 w 318"/>
                <a:gd name="T7" fmla="*/ 240 h 502"/>
                <a:gd name="T8" fmla="*/ 220 w 318"/>
                <a:gd name="T9" fmla="*/ 240 h 502"/>
                <a:gd name="T10" fmla="*/ 216 w 318"/>
                <a:gd name="T11" fmla="*/ 222 h 502"/>
                <a:gd name="T12" fmla="*/ 211 w 318"/>
                <a:gd name="T13" fmla="*/ 222 h 502"/>
                <a:gd name="T14" fmla="*/ 217 w 318"/>
                <a:gd name="T15" fmla="*/ 266 h 502"/>
                <a:gd name="T16" fmla="*/ 188 w 318"/>
                <a:gd name="T17" fmla="*/ 208 h 502"/>
                <a:gd name="T18" fmla="*/ 178 w 318"/>
                <a:gd name="T19" fmla="*/ 208 h 502"/>
                <a:gd name="T20" fmla="*/ 176 w 318"/>
                <a:gd name="T21" fmla="*/ 237 h 502"/>
                <a:gd name="T22" fmla="*/ 7 w 318"/>
                <a:gd name="T23" fmla="*/ 2 h 502"/>
                <a:gd name="T24" fmla="*/ 1 w 318"/>
                <a:gd name="T25" fmla="*/ 5 h 502"/>
                <a:gd name="T26" fmla="*/ 11 w 318"/>
                <a:gd name="T27" fmla="*/ 40 h 502"/>
                <a:gd name="T28" fmla="*/ 16 w 318"/>
                <a:gd name="T29" fmla="*/ 40 h 502"/>
                <a:gd name="T30" fmla="*/ 12 w 318"/>
                <a:gd name="T31" fmla="*/ 18 h 502"/>
                <a:gd name="T32" fmla="*/ 174 w 318"/>
                <a:gd name="T33" fmla="*/ 254 h 502"/>
                <a:gd name="T34" fmla="*/ 175 w 318"/>
                <a:gd name="T35" fmla="*/ 256 h 502"/>
                <a:gd name="T36" fmla="*/ 181 w 318"/>
                <a:gd name="T37" fmla="*/ 257 h 502"/>
                <a:gd name="T38" fmla="*/ 181 w 318"/>
                <a:gd name="T39" fmla="*/ 257 h 502"/>
                <a:gd name="T40" fmla="*/ 183 w 318"/>
                <a:gd name="T41" fmla="*/ 251 h 502"/>
                <a:gd name="T42" fmla="*/ 183 w 318"/>
                <a:gd name="T43" fmla="*/ 250 h 502"/>
                <a:gd name="T44" fmla="*/ 186 w 318"/>
                <a:gd name="T45" fmla="*/ 229 h 502"/>
                <a:gd name="T46" fmla="*/ 206 w 318"/>
                <a:gd name="T47" fmla="*/ 271 h 502"/>
                <a:gd name="T48" fmla="*/ 218 w 318"/>
                <a:gd name="T49" fmla="*/ 272 h 502"/>
                <a:gd name="T50" fmla="*/ 239 w 318"/>
                <a:gd name="T51" fmla="*/ 379 h 502"/>
                <a:gd name="T52" fmla="*/ 247 w 318"/>
                <a:gd name="T53" fmla="*/ 378 h 502"/>
                <a:gd name="T54" fmla="*/ 229 w 318"/>
                <a:gd name="T55" fmla="*/ 275 h 502"/>
                <a:gd name="T56" fmla="*/ 252 w 318"/>
                <a:gd name="T57" fmla="*/ 334 h 502"/>
                <a:gd name="T58" fmla="*/ 262 w 318"/>
                <a:gd name="T59" fmla="*/ 334 h 502"/>
                <a:gd name="T60" fmla="*/ 262 w 318"/>
                <a:gd name="T61" fmla="*/ 318 h 502"/>
                <a:gd name="T62" fmla="*/ 289 w 318"/>
                <a:gd name="T63" fmla="*/ 397 h 502"/>
                <a:gd name="T64" fmla="*/ 308 w 318"/>
                <a:gd name="T65" fmla="*/ 495 h 502"/>
                <a:gd name="T66" fmla="*/ 318 w 318"/>
                <a:gd name="T67" fmla="*/ 496 h 502"/>
                <a:gd name="T68" fmla="*/ 262 w 318"/>
                <a:gd name="T69" fmla="*/ 29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8" h="502">
                  <a:moveTo>
                    <a:pt x="262" y="295"/>
                  </a:moveTo>
                  <a:cubicBezTo>
                    <a:pt x="261" y="291"/>
                    <a:pt x="253" y="290"/>
                    <a:pt x="253" y="295"/>
                  </a:cubicBezTo>
                  <a:cubicBezTo>
                    <a:pt x="253" y="300"/>
                    <a:pt x="252" y="305"/>
                    <a:pt x="252" y="309"/>
                  </a:cubicBezTo>
                  <a:cubicBezTo>
                    <a:pt x="242" y="286"/>
                    <a:pt x="233" y="262"/>
                    <a:pt x="221" y="240"/>
                  </a:cubicBezTo>
                  <a:cubicBezTo>
                    <a:pt x="221" y="240"/>
                    <a:pt x="221" y="240"/>
                    <a:pt x="220" y="240"/>
                  </a:cubicBezTo>
                  <a:cubicBezTo>
                    <a:pt x="219" y="234"/>
                    <a:pt x="218" y="228"/>
                    <a:pt x="216" y="222"/>
                  </a:cubicBezTo>
                  <a:cubicBezTo>
                    <a:pt x="216" y="219"/>
                    <a:pt x="210" y="219"/>
                    <a:pt x="211" y="222"/>
                  </a:cubicBezTo>
                  <a:cubicBezTo>
                    <a:pt x="213" y="237"/>
                    <a:pt x="215" y="251"/>
                    <a:pt x="217" y="266"/>
                  </a:cubicBezTo>
                  <a:cubicBezTo>
                    <a:pt x="207" y="247"/>
                    <a:pt x="198" y="227"/>
                    <a:pt x="188" y="208"/>
                  </a:cubicBezTo>
                  <a:cubicBezTo>
                    <a:pt x="186" y="204"/>
                    <a:pt x="178" y="202"/>
                    <a:pt x="178" y="208"/>
                  </a:cubicBezTo>
                  <a:cubicBezTo>
                    <a:pt x="177" y="218"/>
                    <a:pt x="176" y="227"/>
                    <a:pt x="176" y="237"/>
                  </a:cubicBezTo>
                  <a:cubicBezTo>
                    <a:pt x="130" y="152"/>
                    <a:pt x="74" y="71"/>
                    <a:pt x="7" y="2"/>
                  </a:cubicBezTo>
                  <a:cubicBezTo>
                    <a:pt x="5" y="0"/>
                    <a:pt x="0" y="2"/>
                    <a:pt x="1" y="5"/>
                  </a:cubicBezTo>
                  <a:cubicBezTo>
                    <a:pt x="4" y="17"/>
                    <a:pt x="8" y="29"/>
                    <a:pt x="11" y="40"/>
                  </a:cubicBezTo>
                  <a:cubicBezTo>
                    <a:pt x="12" y="43"/>
                    <a:pt x="17" y="44"/>
                    <a:pt x="16" y="40"/>
                  </a:cubicBezTo>
                  <a:cubicBezTo>
                    <a:pt x="15" y="33"/>
                    <a:pt x="13" y="25"/>
                    <a:pt x="12" y="18"/>
                  </a:cubicBezTo>
                  <a:cubicBezTo>
                    <a:pt x="74" y="91"/>
                    <a:pt x="129" y="168"/>
                    <a:pt x="174" y="254"/>
                  </a:cubicBezTo>
                  <a:cubicBezTo>
                    <a:pt x="174" y="255"/>
                    <a:pt x="175" y="255"/>
                    <a:pt x="175" y="256"/>
                  </a:cubicBezTo>
                  <a:cubicBezTo>
                    <a:pt x="176" y="258"/>
                    <a:pt x="180" y="260"/>
                    <a:pt x="181" y="257"/>
                  </a:cubicBezTo>
                  <a:cubicBezTo>
                    <a:pt x="181" y="257"/>
                    <a:pt x="181" y="257"/>
                    <a:pt x="181" y="257"/>
                  </a:cubicBezTo>
                  <a:cubicBezTo>
                    <a:pt x="183" y="256"/>
                    <a:pt x="185" y="254"/>
                    <a:pt x="183" y="251"/>
                  </a:cubicBezTo>
                  <a:cubicBezTo>
                    <a:pt x="183" y="251"/>
                    <a:pt x="183" y="251"/>
                    <a:pt x="183" y="250"/>
                  </a:cubicBezTo>
                  <a:cubicBezTo>
                    <a:pt x="184" y="243"/>
                    <a:pt x="185" y="236"/>
                    <a:pt x="186" y="229"/>
                  </a:cubicBezTo>
                  <a:cubicBezTo>
                    <a:pt x="193" y="243"/>
                    <a:pt x="199" y="257"/>
                    <a:pt x="206" y="271"/>
                  </a:cubicBezTo>
                  <a:cubicBezTo>
                    <a:pt x="209" y="276"/>
                    <a:pt x="216" y="276"/>
                    <a:pt x="218" y="272"/>
                  </a:cubicBezTo>
                  <a:cubicBezTo>
                    <a:pt x="223" y="308"/>
                    <a:pt x="229" y="344"/>
                    <a:pt x="239" y="379"/>
                  </a:cubicBezTo>
                  <a:cubicBezTo>
                    <a:pt x="240" y="383"/>
                    <a:pt x="247" y="384"/>
                    <a:pt x="247" y="378"/>
                  </a:cubicBezTo>
                  <a:cubicBezTo>
                    <a:pt x="243" y="344"/>
                    <a:pt x="236" y="309"/>
                    <a:pt x="229" y="275"/>
                  </a:cubicBezTo>
                  <a:cubicBezTo>
                    <a:pt x="236" y="295"/>
                    <a:pt x="244" y="314"/>
                    <a:pt x="252" y="334"/>
                  </a:cubicBezTo>
                  <a:cubicBezTo>
                    <a:pt x="253" y="339"/>
                    <a:pt x="261" y="340"/>
                    <a:pt x="262" y="334"/>
                  </a:cubicBezTo>
                  <a:cubicBezTo>
                    <a:pt x="262" y="329"/>
                    <a:pt x="262" y="323"/>
                    <a:pt x="262" y="318"/>
                  </a:cubicBezTo>
                  <a:cubicBezTo>
                    <a:pt x="273" y="344"/>
                    <a:pt x="282" y="370"/>
                    <a:pt x="289" y="397"/>
                  </a:cubicBezTo>
                  <a:cubicBezTo>
                    <a:pt x="297" y="430"/>
                    <a:pt x="301" y="463"/>
                    <a:pt x="308" y="495"/>
                  </a:cubicBezTo>
                  <a:cubicBezTo>
                    <a:pt x="309" y="500"/>
                    <a:pt x="318" y="502"/>
                    <a:pt x="318" y="496"/>
                  </a:cubicBezTo>
                  <a:cubicBezTo>
                    <a:pt x="316" y="427"/>
                    <a:pt x="289" y="357"/>
                    <a:pt x="262" y="29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íṣļïḋé">
              <a:extLst>
                <a:ext uri="{FF2B5EF4-FFF2-40B4-BE49-F238E27FC236}">
                  <a16:creationId xmlns:a16="http://schemas.microsoft.com/office/drawing/2014/main" id="{74665CFE-6CD7-4245-AB67-9C0FAD57047C}"/>
                </a:ext>
              </a:extLst>
            </p:cNvPr>
            <p:cNvSpPr/>
            <p:nvPr/>
          </p:nvSpPr>
          <p:spPr bwMode="auto">
            <a:xfrm>
              <a:off x="5818188" y="2655889"/>
              <a:ext cx="25400" cy="120650"/>
            </a:xfrm>
            <a:custGeom>
              <a:avLst/>
              <a:gdLst>
                <a:gd name="T0" fmla="*/ 5 w 19"/>
                <a:gd name="T1" fmla="*/ 3 h 87"/>
                <a:gd name="T2" fmla="*/ 0 w 19"/>
                <a:gd name="T3" fmla="*/ 3 h 87"/>
                <a:gd name="T4" fmla="*/ 10 w 19"/>
                <a:gd name="T5" fmla="*/ 81 h 87"/>
                <a:gd name="T6" fmla="*/ 18 w 19"/>
                <a:gd name="T7" fmla="*/ 81 h 87"/>
                <a:gd name="T8" fmla="*/ 5 w 19"/>
                <a:gd name="T9" fmla="*/ 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7">
                  <a:moveTo>
                    <a:pt x="5" y="3"/>
                  </a:moveTo>
                  <a:cubicBezTo>
                    <a:pt x="4" y="0"/>
                    <a:pt x="0" y="0"/>
                    <a:pt x="0" y="3"/>
                  </a:cubicBezTo>
                  <a:cubicBezTo>
                    <a:pt x="2" y="29"/>
                    <a:pt x="5" y="55"/>
                    <a:pt x="10" y="81"/>
                  </a:cubicBezTo>
                  <a:cubicBezTo>
                    <a:pt x="11" y="86"/>
                    <a:pt x="19" y="87"/>
                    <a:pt x="18" y="81"/>
                  </a:cubicBezTo>
                  <a:cubicBezTo>
                    <a:pt x="15" y="55"/>
                    <a:pt x="10" y="29"/>
                    <a:pt x="5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ïśḷiďê">
              <a:extLst>
                <a:ext uri="{FF2B5EF4-FFF2-40B4-BE49-F238E27FC236}">
                  <a16:creationId xmlns:a16="http://schemas.microsoft.com/office/drawing/2014/main" id="{5B66CA22-952A-4590-A629-A82511425F65}"/>
                </a:ext>
              </a:extLst>
            </p:cNvPr>
            <p:cNvSpPr/>
            <p:nvPr/>
          </p:nvSpPr>
          <p:spPr bwMode="auto">
            <a:xfrm>
              <a:off x="5840413" y="2697164"/>
              <a:ext cx="30163" cy="112713"/>
            </a:xfrm>
            <a:custGeom>
              <a:avLst/>
              <a:gdLst>
                <a:gd name="T0" fmla="*/ 7 w 21"/>
                <a:gd name="T1" fmla="*/ 4 h 82"/>
                <a:gd name="T2" fmla="*/ 1 w 21"/>
                <a:gd name="T3" fmla="*/ 4 h 82"/>
                <a:gd name="T4" fmla="*/ 12 w 21"/>
                <a:gd name="T5" fmla="*/ 77 h 82"/>
                <a:gd name="T6" fmla="*/ 20 w 21"/>
                <a:gd name="T7" fmla="*/ 77 h 82"/>
                <a:gd name="T8" fmla="*/ 7 w 21"/>
                <a:gd name="T9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82">
                  <a:moveTo>
                    <a:pt x="7" y="4"/>
                  </a:moveTo>
                  <a:cubicBezTo>
                    <a:pt x="6" y="0"/>
                    <a:pt x="0" y="0"/>
                    <a:pt x="1" y="4"/>
                  </a:cubicBezTo>
                  <a:cubicBezTo>
                    <a:pt x="4" y="28"/>
                    <a:pt x="7" y="53"/>
                    <a:pt x="12" y="77"/>
                  </a:cubicBezTo>
                  <a:cubicBezTo>
                    <a:pt x="13" y="82"/>
                    <a:pt x="21" y="82"/>
                    <a:pt x="20" y="77"/>
                  </a:cubicBezTo>
                  <a:cubicBezTo>
                    <a:pt x="17" y="52"/>
                    <a:pt x="12" y="28"/>
                    <a:pt x="7" y="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îsľïḓé">
              <a:extLst>
                <a:ext uri="{FF2B5EF4-FFF2-40B4-BE49-F238E27FC236}">
                  <a16:creationId xmlns:a16="http://schemas.microsoft.com/office/drawing/2014/main" id="{34E2C9DA-17FE-4CBC-8C0A-713CD4C045F6}"/>
                </a:ext>
              </a:extLst>
            </p:cNvPr>
            <p:cNvSpPr/>
            <p:nvPr/>
          </p:nvSpPr>
          <p:spPr bwMode="auto">
            <a:xfrm>
              <a:off x="5372101" y="1549401"/>
              <a:ext cx="1331913" cy="1892300"/>
            </a:xfrm>
            <a:custGeom>
              <a:avLst/>
              <a:gdLst>
                <a:gd name="T0" fmla="*/ 803 w 967"/>
                <a:gd name="T1" fmla="*/ 780 h 1376"/>
                <a:gd name="T2" fmla="*/ 780 w 967"/>
                <a:gd name="T3" fmla="*/ 694 h 1376"/>
                <a:gd name="T4" fmla="*/ 753 w 967"/>
                <a:gd name="T5" fmla="*/ 829 h 1376"/>
                <a:gd name="T6" fmla="*/ 704 w 967"/>
                <a:gd name="T7" fmla="*/ 839 h 1376"/>
                <a:gd name="T8" fmla="*/ 479 w 967"/>
                <a:gd name="T9" fmla="*/ 1194 h 1376"/>
                <a:gd name="T10" fmla="*/ 362 w 967"/>
                <a:gd name="T11" fmla="*/ 881 h 1376"/>
                <a:gd name="T12" fmla="*/ 430 w 967"/>
                <a:gd name="T13" fmla="*/ 1103 h 1376"/>
                <a:gd name="T14" fmla="*/ 433 w 967"/>
                <a:gd name="T15" fmla="*/ 1120 h 1376"/>
                <a:gd name="T16" fmla="*/ 432 w 967"/>
                <a:gd name="T17" fmla="*/ 1124 h 1376"/>
                <a:gd name="T18" fmla="*/ 435 w 967"/>
                <a:gd name="T19" fmla="*/ 1131 h 1376"/>
                <a:gd name="T20" fmla="*/ 415 w 967"/>
                <a:gd name="T21" fmla="*/ 1255 h 1376"/>
                <a:gd name="T22" fmla="*/ 411 w 967"/>
                <a:gd name="T23" fmla="*/ 1259 h 1376"/>
                <a:gd name="T24" fmla="*/ 338 w 967"/>
                <a:gd name="T25" fmla="*/ 894 h 1376"/>
                <a:gd name="T26" fmla="*/ 289 w 967"/>
                <a:gd name="T27" fmla="*/ 899 h 1376"/>
                <a:gd name="T28" fmla="*/ 324 w 967"/>
                <a:gd name="T29" fmla="*/ 1293 h 1376"/>
                <a:gd name="T30" fmla="*/ 321 w 967"/>
                <a:gd name="T31" fmla="*/ 1293 h 1376"/>
                <a:gd name="T32" fmla="*/ 208 w 967"/>
                <a:gd name="T33" fmla="*/ 1203 h 1376"/>
                <a:gd name="T34" fmla="*/ 250 w 967"/>
                <a:gd name="T35" fmla="*/ 1257 h 1376"/>
                <a:gd name="T36" fmla="*/ 291 w 967"/>
                <a:gd name="T37" fmla="*/ 1369 h 1376"/>
                <a:gd name="T38" fmla="*/ 290 w 967"/>
                <a:gd name="T39" fmla="*/ 1376 h 1376"/>
                <a:gd name="T40" fmla="*/ 352 w 967"/>
                <a:gd name="T41" fmla="*/ 1348 h 1376"/>
                <a:gd name="T42" fmla="*/ 390 w 967"/>
                <a:gd name="T43" fmla="*/ 1331 h 1376"/>
                <a:gd name="T44" fmla="*/ 370 w 967"/>
                <a:gd name="T45" fmla="*/ 1318 h 1376"/>
                <a:gd name="T46" fmla="*/ 417 w 967"/>
                <a:gd name="T47" fmla="*/ 1292 h 1376"/>
                <a:gd name="T48" fmla="*/ 440 w 967"/>
                <a:gd name="T49" fmla="*/ 1276 h 1376"/>
                <a:gd name="T50" fmla="*/ 464 w 967"/>
                <a:gd name="T51" fmla="*/ 1252 h 1376"/>
                <a:gd name="T52" fmla="*/ 468 w 967"/>
                <a:gd name="T53" fmla="*/ 1248 h 1376"/>
                <a:gd name="T54" fmla="*/ 488 w 967"/>
                <a:gd name="T55" fmla="*/ 1234 h 1376"/>
                <a:gd name="T56" fmla="*/ 508 w 967"/>
                <a:gd name="T57" fmla="*/ 1207 h 1376"/>
                <a:gd name="T58" fmla="*/ 709 w 967"/>
                <a:gd name="T59" fmla="*/ 902 h 1376"/>
                <a:gd name="T60" fmla="*/ 775 w 967"/>
                <a:gd name="T61" fmla="*/ 837 h 1376"/>
                <a:gd name="T62" fmla="*/ 798 w 967"/>
                <a:gd name="T63" fmla="*/ 820 h 1376"/>
                <a:gd name="T64" fmla="*/ 795 w 967"/>
                <a:gd name="T65" fmla="*/ 805 h 1376"/>
                <a:gd name="T66" fmla="*/ 350 w 967"/>
                <a:gd name="T67" fmla="*/ 1312 h 1376"/>
                <a:gd name="T68" fmla="*/ 350 w 967"/>
                <a:gd name="T69" fmla="*/ 1312 h 1376"/>
                <a:gd name="T70" fmla="*/ 353 w 967"/>
                <a:gd name="T71" fmla="*/ 1322 h 1376"/>
                <a:gd name="T72" fmla="*/ 354 w 967"/>
                <a:gd name="T73" fmla="*/ 1313 h 1376"/>
                <a:gd name="T74" fmla="*/ 413 w 967"/>
                <a:gd name="T75" fmla="*/ 1287 h 1376"/>
                <a:gd name="T76" fmla="*/ 416 w 967"/>
                <a:gd name="T77" fmla="*/ 1285 h 1376"/>
                <a:gd name="T78" fmla="*/ 444 w 967"/>
                <a:gd name="T79" fmla="*/ 1255 h 1376"/>
                <a:gd name="T80" fmla="*/ 436 w 967"/>
                <a:gd name="T81" fmla="*/ 1114 h 1376"/>
                <a:gd name="T82" fmla="*/ 436 w 967"/>
                <a:gd name="T83" fmla="*/ 1126 h 1376"/>
                <a:gd name="T84" fmla="*/ 451 w 967"/>
                <a:gd name="T85" fmla="*/ 1249 h 1376"/>
                <a:gd name="T86" fmla="*/ 469 w 967"/>
                <a:gd name="T87" fmla="*/ 1241 h 1376"/>
                <a:gd name="T88" fmla="*/ 473 w 967"/>
                <a:gd name="T89" fmla="*/ 1231 h 1376"/>
                <a:gd name="T90" fmla="*/ 511 w 967"/>
                <a:gd name="T91" fmla="*/ 1196 h 1376"/>
                <a:gd name="T92" fmla="*/ 542 w 967"/>
                <a:gd name="T93" fmla="*/ 1154 h 1376"/>
                <a:gd name="T94" fmla="*/ 667 w 967"/>
                <a:gd name="T95" fmla="*/ 950 h 1376"/>
                <a:gd name="T96" fmla="*/ 704 w 967"/>
                <a:gd name="T97" fmla="*/ 899 h 1376"/>
                <a:gd name="T98" fmla="*/ 763 w 967"/>
                <a:gd name="T99" fmla="*/ 840 h 1376"/>
                <a:gd name="T100" fmla="*/ 777 w 967"/>
                <a:gd name="T101" fmla="*/ 738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67" h="1376">
                  <a:moveTo>
                    <a:pt x="927" y="12"/>
                  </a:moveTo>
                  <a:cubicBezTo>
                    <a:pt x="926" y="1"/>
                    <a:pt x="907" y="0"/>
                    <a:pt x="908" y="13"/>
                  </a:cubicBezTo>
                  <a:cubicBezTo>
                    <a:pt x="947" y="272"/>
                    <a:pt x="910" y="541"/>
                    <a:pt x="803" y="780"/>
                  </a:cubicBezTo>
                  <a:cubicBezTo>
                    <a:pt x="802" y="775"/>
                    <a:pt x="800" y="769"/>
                    <a:pt x="798" y="763"/>
                  </a:cubicBezTo>
                  <a:cubicBezTo>
                    <a:pt x="797" y="744"/>
                    <a:pt x="792" y="726"/>
                    <a:pt x="784" y="709"/>
                  </a:cubicBezTo>
                  <a:cubicBezTo>
                    <a:pt x="782" y="704"/>
                    <a:pt x="781" y="699"/>
                    <a:pt x="780" y="694"/>
                  </a:cubicBezTo>
                  <a:cubicBezTo>
                    <a:pt x="778" y="688"/>
                    <a:pt x="767" y="684"/>
                    <a:pt x="766" y="692"/>
                  </a:cubicBezTo>
                  <a:cubicBezTo>
                    <a:pt x="762" y="736"/>
                    <a:pt x="758" y="779"/>
                    <a:pt x="756" y="822"/>
                  </a:cubicBezTo>
                  <a:cubicBezTo>
                    <a:pt x="755" y="824"/>
                    <a:pt x="754" y="827"/>
                    <a:pt x="753" y="829"/>
                  </a:cubicBezTo>
                  <a:cubicBezTo>
                    <a:pt x="752" y="829"/>
                    <a:pt x="750" y="830"/>
                    <a:pt x="749" y="831"/>
                  </a:cubicBezTo>
                  <a:cubicBezTo>
                    <a:pt x="736" y="845"/>
                    <a:pt x="725" y="860"/>
                    <a:pt x="713" y="875"/>
                  </a:cubicBezTo>
                  <a:cubicBezTo>
                    <a:pt x="710" y="863"/>
                    <a:pt x="707" y="851"/>
                    <a:pt x="704" y="839"/>
                  </a:cubicBezTo>
                  <a:cubicBezTo>
                    <a:pt x="702" y="832"/>
                    <a:pt x="689" y="825"/>
                    <a:pt x="685" y="835"/>
                  </a:cubicBezTo>
                  <a:cubicBezTo>
                    <a:pt x="655" y="935"/>
                    <a:pt x="611" y="1028"/>
                    <a:pt x="549" y="1112"/>
                  </a:cubicBezTo>
                  <a:cubicBezTo>
                    <a:pt x="527" y="1141"/>
                    <a:pt x="504" y="1168"/>
                    <a:pt x="479" y="1194"/>
                  </a:cubicBezTo>
                  <a:cubicBezTo>
                    <a:pt x="466" y="1149"/>
                    <a:pt x="451" y="1104"/>
                    <a:pt x="437" y="1060"/>
                  </a:cubicBezTo>
                  <a:cubicBezTo>
                    <a:pt x="435" y="1054"/>
                    <a:pt x="428" y="1052"/>
                    <a:pt x="424" y="1055"/>
                  </a:cubicBezTo>
                  <a:cubicBezTo>
                    <a:pt x="413" y="994"/>
                    <a:pt x="393" y="934"/>
                    <a:pt x="362" y="881"/>
                  </a:cubicBezTo>
                  <a:cubicBezTo>
                    <a:pt x="360" y="878"/>
                    <a:pt x="354" y="880"/>
                    <a:pt x="356" y="884"/>
                  </a:cubicBezTo>
                  <a:cubicBezTo>
                    <a:pt x="388" y="954"/>
                    <a:pt x="408" y="1024"/>
                    <a:pt x="412" y="1101"/>
                  </a:cubicBezTo>
                  <a:cubicBezTo>
                    <a:pt x="413" y="1111"/>
                    <a:pt x="428" y="1113"/>
                    <a:pt x="430" y="1103"/>
                  </a:cubicBezTo>
                  <a:cubicBezTo>
                    <a:pt x="430" y="1101"/>
                    <a:pt x="431" y="1099"/>
                    <a:pt x="431" y="1097"/>
                  </a:cubicBezTo>
                  <a:cubicBezTo>
                    <a:pt x="432" y="1101"/>
                    <a:pt x="433" y="1104"/>
                    <a:pt x="434" y="1107"/>
                  </a:cubicBezTo>
                  <a:cubicBezTo>
                    <a:pt x="434" y="1111"/>
                    <a:pt x="433" y="1115"/>
                    <a:pt x="433" y="1120"/>
                  </a:cubicBezTo>
                  <a:cubicBezTo>
                    <a:pt x="433" y="1119"/>
                    <a:pt x="432" y="1119"/>
                    <a:pt x="432" y="1118"/>
                  </a:cubicBezTo>
                  <a:cubicBezTo>
                    <a:pt x="432" y="1117"/>
                    <a:pt x="430" y="1117"/>
                    <a:pt x="430" y="1119"/>
                  </a:cubicBezTo>
                  <a:cubicBezTo>
                    <a:pt x="431" y="1120"/>
                    <a:pt x="432" y="1122"/>
                    <a:pt x="432" y="1124"/>
                  </a:cubicBezTo>
                  <a:cubicBezTo>
                    <a:pt x="429" y="1160"/>
                    <a:pt x="425" y="1196"/>
                    <a:pt x="424" y="1232"/>
                  </a:cubicBezTo>
                  <a:cubicBezTo>
                    <a:pt x="424" y="1235"/>
                    <a:pt x="428" y="1236"/>
                    <a:pt x="428" y="1233"/>
                  </a:cubicBezTo>
                  <a:cubicBezTo>
                    <a:pt x="432" y="1199"/>
                    <a:pt x="433" y="1165"/>
                    <a:pt x="435" y="1131"/>
                  </a:cubicBezTo>
                  <a:cubicBezTo>
                    <a:pt x="447" y="1162"/>
                    <a:pt x="450" y="1193"/>
                    <a:pt x="448" y="1225"/>
                  </a:cubicBezTo>
                  <a:cubicBezTo>
                    <a:pt x="448" y="1226"/>
                    <a:pt x="447" y="1226"/>
                    <a:pt x="447" y="1226"/>
                  </a:cubicBezTo>
                  <a:cubicBezTo>
                    <a:pt x="438" y="1235"/>
                    <a:pt x="427" y="1245"/>
                    <a:pt x="415" y="1255"/>
                  </a:cubicBezTo>
                  <a:cubicBezTo>
                    <a:pt x="412" y="1184"/>
                    <a:pt x="405" y="1113"/>
                    <a:pt x="400" y="1042"/>
                  </a:cubicBezTo>
                  <a:cubicBezTo>
                    <a:pt x="400" y="1041"/>
                    <a:pt x="398" y="1040"/>
                    <a:pt x="398" y="1042"/>
                  </a:cubicBezTo>
                  <a:cubicBezTo>
                    <a:pt x="403" y="1114"/>
                    <a:pt x="404" y="1187"/>
                    <a:pt x="411" y="1259"/>
                  </a:cubicBezTo>
                  <a:cubicBezTo>
                    <a:pt x="402" y="1266"/>
                    <a:pt x="393" y="1273"/>
                    <a:pt x="384" y="1279"/>
                  </a:cubicBezTo>
                  <a:cubicBezTo>
                    <a:pt x="407" y="1150"/>
                    <a:pt x="389" y="1014"/>
                    <a:pt x="341" y="894"/>
                  </a:cubicBezTo>
                  <a:cubicBezTo>
                    <a:pt x="340" y="893"/>
                    <a:pt x="338" y="893"/>
                    <a:pt x="338" y="894"/>
                  </a:cubicBezTo>
                  <a:cubicBezTo>
                    <a:pt x="387" y="1019"/>
                    <a:pt x="399" y="1150"/>
                    <a:pt x="381" y="1281"/>
                  </a:cubicBezTo>
                  <a:cubicBezTo>
                    <a:pt x="372" y="1286"/>
                    <a:pt x="363" y="1290"/>
                    <a:pt x="354" y="1292"/>
                  </a:cubicBezTo>
                  <a:cubicBezTo>
                    <a:pt x="357" y="1158"/>
                    <a:pt x="335" y="1025"/>
                    <a:pt x="289" y="899"/>
                  </a:cubicBezTo>
                  <a:cubicBezTo>
                    <a:pt x="288" y="898"/>
                    <a:pt x="286" y="899"/>
                    <a:pt x="287" y="900"/>
                  </a:cubicBezTo>
                  <a:cubicBezTo>
                    <a:pt x="333" y="1026"/>
                    <a:pt x="355" y="1159"/>
                    <a:pt x="351" y="1293"/>
                  </a:cubicBezTo>
                  <a:cubicBezTo>
                    <a:pt x="342" y="1295"/>
                    <a:pt x="333" y="1295"/>
                    <a:pt x="324" y="1293"/>
                  </a:cubicBezTo>
                  <a:cubicBezTo>
                    <a:pt x="319" y="1161"/>
                    <a:pt x="295" y="1030"/>
                    <a:pt x="254" y="904"/>
                  </a:cubicBezTo>
                  <a:cubicBezTo>
                    <a:pt x="254" y="903"/>
                    <a:pt x="252" y="903"/>
                    <a:pt x="252" y="905"/>
                  </a:cubicBezTo>
                  <a:cubicBezTo>
                    <a:pt x="293" y="1030"/>
                    <a:pt x="315" y="1161"/>
                    <a:pt x="321" y="1293"/>
                  </a:cubicBezTo>
                  <a:cubicBezTo>
                    <a:pt x="314" y="1291"/>
                    <a:pt x="307" y="1287"/>
                    <a:pt x="300" y="1282"/>
                  </a:cubicBezTo>
                  <a:cubicBezTo>
                    <a:pt x="299" y="1281"/>
                    <a:pt x="297" y="1281"/>
                    <a:pt x="296" y="1282"/>
                  </a:cubicBezTo>
                  <a:cubicBezTo>
                    <a:pt x="263" y="1259"/>
                    <a:pt x="233" y="1230"/>
                    <a:pt x="208" y="1203"/>
                  </a:cubicBezTo>
                  <a:cubicBezTo>
                    <a:pt x="151" y="1143"/>
                    <a:pt x="89" y="1072"/>
                    <a:pt x="1" y="1064"/>
                  </a:cubicBezTo>
                  <a:cubicBezTo>
                    <a:pt x="0" y="1064"/>
                    <a:pt x="0" y="1066"/>
                    <a:pt x="1" y="1066"/>
                  </a:cubicBezTo>
                  <a:cubicBezTo>
                    <a:pt x="113" y="1086"/>
                    <a:pt x="173" y="1184"/>
                    <a:pt x="250" y="1257"/>
                  </a:cubicBezTo>
                  <a:cubicBezTo>
                    <a:pt x="278" y="1283"/>
                    <a:pt x="312" y="1307"/>
                    <a:pt x="350" y="1321"/>
                  </a:cubicBezTo>
                  <a:cubicBezTo>
                    <a:pt x="349" y="1326"/>
                    <a:pt x="349" y="1331"/>
                    <a:pt x="349" y="1337"/>
                  </a:cubicBezTo>
                  <a:cubicBezTo>
                    <a:pt x="327" y="1344"/>
                    <a:pt x="308" y="1354"/>
                    <a:pt x="291" y="1369"/>
                  </a:cubicBezTo>
                  <a:cubicBezTo>
                    <a:pt x="291" y="1371"/>
                    <a:pt x="290" y="1372"/>
                    <a:pt x="288" y="1372"/>
                  </a:cubicBezTo>
                  <a:cubicBezTo>
                    <a:pt x="289" y="1373"/>
                    <a:pt x="289" y="1373"/>
                    <a:pt x="289" y="1374"/>
                  </a:cubicBezTo>
                  <a:cubicBezTo>
                    <a:pt x="289" y="1375"/>
                    <a:pt x="290" y="1375"/>
                    <a:pt x="290" y="1376"/>
                  </a:cubicBezTo>
                  <a:cubicBezTo>
                    <a:pt x="307" y="1361"/>
                    <a:pt x="327" y="1349"/>
                    <a:pt x="348" y="1342"/>
                  </a:cubicBezTo>
                  <a:cubicBezTo>
                    <a:pt x="348" y="1344"/>
                    <a:pt x="348" y="1346"/>
                    <a:pt x="348" y="1347"/>
                  </a:cubicBezTo>
                  <a:cubicBezTo>
                    <a:pt x="348" y="1350"/>
                    <a:pt x="351" y="1351"/>
                    <a:pt x="352" y="1348"/>
                  </a:cubicBezTo>
                  <a:cubicBezTo>
                    <a:pt x="352" y="1346"/>
                    <a:pt x="352" y="1343"/>
                    <a:pt x="352" y="1341"/>
                  </a:cubicBezTo>
                  <a:cubicBezTo>
                    <a:pt x="363" y="1337"/>
                    <a:pt x="376" y="1334"/>
                    <a:pt x="388" y="1333"/>
                  </a:cubicBezTo>
                  <a:cubicBezTo>
                    <a:pt x="389" y="1333"/>
                    <a:pt x="390" y="1332"/>
                    <a:pt x="390" y="1331"/>
                  </a:cubicBezTo>
                  <a:cubicBezTo>
                    <a:pt x="422" y="1336"/>
                    <a:pt x="456" y="1331"/>
                    <a:pt x="487" y="1312"/>
                  </a:cubicBezTo>
                  <a:cubicBezTo>
                    <a:pt x="491" y="1310"/>
                    <a:pt x="486" y="1303"/>
                    <a:pt x="481" y="1305"/>
                  </a:cubicBezTo>
                  <a:cubicBezTo>
                    <a:pt x="443" y="1326"/>
                    <a:pt x="406" y="1328"/>
                    <a:pt x="370" y="1318"/>
                  </a:cubicBezTo>
                  <a:cubicBezTo>
                    <a:pt x="385" y="1310"/>
                    <a:pt x="400" y="1301"/>
                    <a:pt x="414" y="1291"/>
                  </a:cubicBezTo>
                  <a:cubicBezTo>
                    <a:pt x="414" y="1291"/>
                    <a:pt x="414" y="1291"/>
                    <a:pt x="414" y="1291"/>
                  </a:cubicBezTo>
                  <a:cubicBezTo>
                    <a:pt x="414" y="1293"/>
                    <a:pt x="417" y="1293"/>
                    <a:pt x="417" y="1292"/>
                  </a:cubicBezTo>
                  <a:cubicBezTo>
                    <a:pt x="417" y="1291"/>
                    <a:pt x="417" y="1290"/>
                    <a:pt x="417" y="1289"/>
                  </a:cubicBezTo>
                  <a:cubicBezTo>
                    <a:pt x="425" y="1284"/>
                    <a:pt x="433" y="1278"/>
                    <a:pt x="441" y="1272"/>
                  </a:cubicBezTo>
                  <a:cubicBezTo>
                    <a:pt x="440" y="1273"/>
                    <a:pt x="440" y="1274"/>
                    <a:pt x="440" y="1276"/>
                  </a:cubicBezTo>
                  <a:cubicBezTo>
                    <a:pt x="439" y="1278"/>
                    <a:pt x="442" y="1279"/>
                    <a:pt x="443" y="1277"/>
                  </a:cubicBezTo>
                  <a:cubicBezTo>
                    <a:pt x="444" y="1274"/>
                    <a:pt x="445" y="1270"/>
                    <a:pt x="446" y="1267"/>
                  </a:cubicBezTo>
                  <a:cubicBezTo>
                    <a:pt x="452" y="1262"/>
                    <a:pt x="458" y="1257"/>
                    <a:pt x="464" y="1252"/>
                  </a:cubicBezTo>
                  <a:cubicBezTo>
                    <a:pt x="464" y="1253"/>
                    <a:pt x="463" y="1255"/>
                    <a:pt x="463" y="1256"/>
                  </a:cubicBezTo>
                  <a:cubicBezTo>
                    <a:pt x="463" y="1258"/>
                    <a:pt x="466" y="1259"/>
                    <a:pt x="467" y="1257"/>
                  </a:cubicBezTo>
                  <a:cubicBezTo>
                    <a:pt x="467" y="1254"/>
                    <a:pt x="468" y="1251"/>
                    <a:pt x="468" y="1248"/>
                  </a:cubicBezTo>
                  <a:cubicBezTo>
                    <a:pt x="472" y="1244"/>
                    <a:pt x="476" y="1240"/>
                    <a:pt x="480" y="1237"/>
                  </a:cubicBezTo>
                  <a:cubicBezTo>
                    <a:pt x="481" y="1237"/>
                    <a:pt x="481" y="1237"/>
                    <a:pt x="482" y="1237"/>
                  </a:cubicBezTo>
                  <a:cubicBezTo>
                    <a:pt x="484" y="1239"/>
                    <a:pt x="489" y="1238"/>
                    <a:pt x="488" y="1234"/>
                  </a:cubicBezTo>
                  <a:cubicBezTo>
                    <a:pt x="488" y="1234"/>
                    <a:pt x="488" y="1234"/>
                    <a:pt x="488" y="1234"/>
                  </a:cubicBezTo>
                  <a:cubicBezTo>
                    <a:pt x="489" y="1232"/>
                    <a:pt x="490" y="1230"/>
                    <a:pt x="489" y="1227"/>
                  </a:cubicBezTo>
                  <a:cubicBezTo>
                    <a:pt x="496" y="1221"/>
                    <a:pt x="502" y="1214"/>
                    <a:pt x="508" y="1207"/>
                  </a:cubicBezTo>
                  <a:cubicBezTo>
                    <a:pt x="535" y="1176"/>
                    <a:pt x="557" y="1141"/>
                    <a:pt x="579" y="1106"/>
                  </a:cubicBezTo>
                  <a:cubicBezTo>
                    <a:pt x="606" y="1067"/>
                    <a:pt x="631" y="1026"/>
                    <a:pt x="652" y="983"/>
                  </a:cubicBezTo>
                  <a:cubicBezTo>
                    <a:pt x="669" y="955"/>
                    <a:pt x="688" y="927"/>
                    <a:pt x="709" y="902"/>
                  </a:cubicBezTo>
                  <a:cubicBezTo>
                    <a:pt x="712" y="902"/>
                    <a:pt x="715" y="902"/>
                    <a:pt x="717" y="899"/>
                  </a:cubicBezTo>
                  <a:cubicBezTo>
                    <a:pt x="728" y="886"/>
                    <a:pt x="739" y="873"/>
                    <a:pt x="749" y="859"/>
                  </a:cubicBezTo>
                  <a:cubicBezTo>
                    <a:pt x="757" y="852"/>
                    <a:pt x="766" y="844"/>
                    <a:pt x="775" y="837"/>
                  </a:cubicBezTo>
                  <a:cubicBezTo>
                    <a:pt x="775" y="840"/>
                    <a:pt x="779" y="843"/>
                    <a:pt x="781" y="840"/>
                  </a:cubicBezTo>
                  <a:cubicBezTo>
                    <a:pt x="783" y="836"/>
                    <a:pt x="785" y="832"/>
                    <a:pt x="787" y="828"/>
                  </a:cubicBezTo>
                  <a:cubicBezTo>
                    <a:pt x="791" y="825"/>
                    <a:pt x="794" y="823"/>
                    <a:pt x="798" y="820"/>
                  </a:cubicBezTo>
                  <a:cubicBezTo>
                    <a:pt x="800" y="819"/>
                    <a:pt x="797" y="815"/>
                    <a:pt x="795" y="817"/>
                  </a:cubicBezTo>
                  <a:cubicBezTo>
                    <a:pt x="794" y="818"/>
                    <a:pt x="792" y="819"/>
                    <a:pt x="791" y="820"/>
                  </a:cubicBezTo>
                  <a:cubicBezTo>
                    <a:pt x="793" y="815"/>
                    <a:pt x="794" y="810"/>
                    <a:pt x="795" y="805"/>
                  </a:cubicBezTo>
                  <a:cubicBezTo>
                    <a:pt x="798" y="810"/>
                    <a:pt x="806" y="812"/>
                    <a:pt x="809" y="806"/>
                  </a:cubicBezTo>
                  <a:cubicBezTo>
                    <a:pt x="926" y="559"/>
                    <a:pt x="967" y="282"/>
                    <a:pt x="927" y="12"/>
                  </a:cubicBezTo>
                  <a:close/>
                  <a:moveTo>
                    <a:pt x="350" y="1312"/>
                  </a:moveTo>
                  <a:cubicBezTo>
                    <a:pt x="346" y="1310"/>
                    <a:pt x="343" y="1309"/>
                    <a:pt x="339" y="1307"/>
                  </a:cubicBezTo>
                  <a:cubicBezTo>
                    <a:pt x="343" y="1307"/>
                    <a:pt x="346" y="1307"/>
                    <a:pt x="350" y="1307"/>
                  </a:cubicBezTo>
                  <a:cubicBezTo>
                    <a:pt x="350" y="1308"/>
                    <a:pt x="350" y="1310"/>
                    <a:pt x="350" y="1312"/>
                  </a:cubicBezTo>
                  <a:close/>
                  <a:moveTo>
                    <a:pt x="381" y="1330"/>
                  </a:moveTo>
                  <a:cubicBezTo>
                    <a:pt x="371" y="1331"/>
                    <a:pt x="362" y="1333"/>
                    <a:pt x="352" y="1336"/>
                  </a:cubicBezTo>
                  <a:cubicBezTo>
                    <a:pt x="353" y="1331"/>
                    <a:pt x="353" y="1327"/>
                    <a:pt x="353" y="1322"/>
                  </a:cubicBezTo>
                  <a:cubicBezTo>
                    <a:pt x="362" y="1325"/>
                    <a:pt x="371" y="1328"/>
                    <a:pt x="381" y="1330"/>
                  </a:cubicBezTo>
                  <a:close/>
                  <a:moveTo>
                    <a:pt x="367" y="1318"/>
                  </a:moveTo>
                  <a:cubicBezTo>
                    <a:pt x="362" y="1316"/>
                    <a:pt x="358" y="1315"/>
                    <a:pt x="354" y="1313"/>
                  </a:cubicBezTo>
                  <a:cubicBezTo>
                    <a:pt x="354" y="1311"/>
                    <a:pt x="354" y="1309"/>
                    <a:pt x="354" y="1306"/>
                  </a:cubicBezTo>
                  <a:cubicBezTo>
                    <a:pt x="374" y="1303"/>
                    <a:pt x="395" y="1292"/>
                    <a:pt x="413" y="1280"/>
                  </a:cubicBezTo>
                  <a:cubicBezTo>
                    <a:pt x="413" y="1283"/>
                    <a:pt x="413" y="1285"/>
                    <a:pt x="413" y="1287"/>
                  </a:cubicBezTo>
                  <a:cubicBezTo>
                    <a:pt x="398" y="1298"/>
                    <a:pt x="383" y="1308"/>
                    <a:pt x="367" y="1318"/>
                  </a:cubicBezTo>
                  <a:close/>
                  <a:moveTo>
                    <a:pt x="442" y="1266"/>
                  </a:moveTo>
                  <a:cubicBezTo>
                    <a:pt x="434" y="1272"/>
                    <a:pt x="425" y="1279"/>
                    <a:pt x="416" y="1285"/>
                  </a:cubicBezTo>
                  <a:cubicBezTo>
                    <a:pt x="416" y="1283"/>
                    <a:pt x="416" y="1280"/>
                    <a:pt x="416" y="1277"/>
                  </a:cubicBezTo>
                  <a:cubicBezTo>
                    <a:pt x="417" y="1277"/>
                    <a:pt x="418" y="1276"/>
                    <a:pt x="420" y="1275"/>
                  </a:cubicBezTo>
                  <a:cubicBezTo>
                    <a:pt x="428" y="1268"/>
                    <a:pt x="436" y="1262"/>
                    <a:pt x="444" y="1255"/>
                  </a:cubicBezTo>
                  <a:cubicBezTo>
                    <a:pt x="443" y="1258"/>
                    <a:pt x="443" y="1262"/>
                    <a:pt x="442" y="1266"/>
                  </a:cubicBezTo>
                  <a:close/>
                  <a:moveTo>
                    <a:pt x="436" y="1126"/>
                  </a:moveTo>
                  <a:cubicBezTo>
                    <a:pt x="436" y="1122"/>
                    <a:pt x="436" y="1118"/>
                    <a:pt x="436" y="1114"/>
                  </a:cubicBezTo>
                  <a:cubicBezTo>
                    <a:pt x="446" y="1146"/>
                    <a:pt x="456" y="1177"/>
                    <a:pt x="466" y="1208"/>
                  </a:cubicBezTo>
                  <a:cubicBezTo>
                    <a:pt x="462" y="1212"/>
                    <a:pt x="458" y="1216"/>
                    <a:pt x="454" y="1219"/>
                  </a:cubicBezTo>
                  <a:cubicBezTo>
                    <a:pt x="455" y="1187"/>
                    <a:pt x="448" y="1155"/>
                    <a:pt x="436" y="1126"/>
                  </a:cubicBezTo>
                  <a:close/>
                  <a:moveTo>
                    <a:pt x="465" y="1245"/>
                  </a:moveTo>
                  <a:cubicBezTo>
                    <a:pt x="459" y="1250"/>
                    <a:pt x="454" y="1255"/>
                    <a:pt x="448" y="1260"/>
                  </a:cubicBezTo>
                  <a:cubicBezTo>
                    <a:pt x="449" y="1256"/>
                    <a:pt x="450" y="1253"/>
                    <a:pt x="451" y="1249"/>
                  </a:cubicBezTo>
                  <a:cubicBezTo>
                    <a:pt x="456" y="1244"/>
                    <a:pt x="461" y="1240"/>
                    <a:pt x="466" y="1235"/>
                  </a:cubicBezTo>
                  <a:cubicBezTo>
                    <a:pt x="466" y="1238"/>
                    <a:pt x="465" y="1242"/>
                    <a:pt x="465" y="1245"/>
                  </a:cubicBezTo>
                  <a:close/>
                  <a:moveTo>
                    <a:pt x="469" y="1241"/>
                  </a:moveTo>
                  <a:cubicBezTo>
                    <a:pt x="470" y="1238"/>
                    <a:pt x="470" y="1234"/>
                    <a:pt x="471" y="1231"/>
                  </a:cubicBezTo>
                  <a:cubicBezTo>
                    <a:pt x="471" y="1230"/>
                    <a:pt x="472" y="1230"/>
                    <a:pt x="473" y="1229"/>
                  </a:cubicBezTo>
                  <a:cubicBezTo>
                    <a:pt x="473" y="1230"/>
                    <a:pt x="473" y="1230"/>
                    <a:pt x="473" y="1231"/>
                  </a:cubicBezTo>
                  <a:cubicBezTo>
                    <a:pt x="474" y="1233"/>
                    <a:pt x="475" y="1234"/>
                    <a:pt x="476" y="1235"/>
                  </a:cubicBezTo>
                  <a:cubicBezTo>
                    <a:pt x="474" y="1237"/>
                    <a:pt x="471" y="1239"/>
                    <a:pt x="469" y="1241"/>
                  </a:cubicBezTo>
                  <a:close/>
                  <a:moveTo>
                    <a:pt x="511" y="1196"/>
                  </a:moveTo>
                  <a:cubicBezTo>
                    <a:pt x="504" y="1205"/>
                    <a:pt x="496" y="1214"/>
                    <a:pt x="488" y="1222"/>
                  </a:cubicBezTo>
                  <a:cubicBezTo>
                    <a:pt x="487" y="1220"/>
                    <a:pt x="487" y="1218"/>
                    <a:pt x="486" y="1216"/>
                  </a:cubicBezTo>
                  <a:cubicBezTo>
                    <a:pt x="506" y="1196"/>
                    <a:pt x="525" y="1176"/>
                    <a:pt x="542" y="1154"/>
                  </a:cubicBezTo>
                  <a:cubicBezTo>
                    <a:pt x="543" y="1154"/>
                    <a:pt x="543" y="1153"/>
                    <a:pt x="544" y="1152"/>
                  </a:cubicBezTo>
                  <a:cubicBezTo>
                    <a:pt x="533" y="1167"/>
                    <a:pt x="523" y="1182"/>
                    <a:pt x="511" y="1196"/>
                  </a:cubicBezTo>
                  <a:close/>
                  <a:moveTo>
                    <a:pt x="667" y="950"/>
                  </a:moveTo>
                  <a:cubicBezTo>
                    <a:pt x="677" y="925"/>
                    <a:pt x="687" y="899"/>
                    <a:pt x="695" y="873"/>
                  </a:cubicBezTo>
                  <a:cubicBezTo>
                    <a:pt x="697" y="880"/>
                    <a:pt x="700" y="888"/>
                    <a:pt x="702" y="896"/>
                  </a:cubicBezTo>
                  <a:cubicBezTo>
                    <a:pt x="702" y="897"/>
                    <a:pt x="703" y="898"/>
                    <a:pt x="704" y="899"/>
                  </a:cubicBezTo>
                  <a:cubicBezTo>
                    <a:pt x="691" y="916"/>
                    <a:pt x="678" y="933"/>
                    <a:pt x="667" y="950"/>
                  </a:cubicBezTo>
                  <a:close/>
                  <a:moveTo>
                    <a:pt x="779" y="828"/>
                  </a:moveTo>
                  <a:cubicBezTo>
                    <a:pt x="773" y="832"/>
                    <a:pt x="768" y="836"/>
                    <a:pt x="763" y="840"/>
                  </a:cubicBezTo>
                  <a:cubicBezTo>
                    <a:pt x="763" y="838"/>
                    <a:pt x="763" y="836"/>
                    <a:pt x="762" y="834"/>
                  </a:cubicBezTo>
                  <a:cubicBezTo>
                    <a:pt x="763" y="829"/>
                    <a:pt x="764" y="825"/>
                    <a:pt x="764" y="820"/>
                  </a:cubicBezTo>
                  <a:cubicBezTo>
                    <a:pt x="773" y="793"/>
                    <a:pt x="777" y="766"/>
                    <a:pt x="777" y="738"/>
                  </a:cubicBezTo>
                  <a:cubicBezTo>
                    <a:pt x="782" y="754"/>
                    <a:pt x="786" y="770"/>
                    <a:pt x="790" y="785"/>
                  </a:cubicBezTo>
                  <a:cubicBezTo>
                    <a:pt x="788" y="800"/>
                    <a:pt x="784" y="814"/>
                    <a:pt x="779" y="82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ïśḻíďè">
              <a:extLst>
                <a:ext uri="{FF2B5EF4-FFF2-40B4-BE49-F238E27FC236}">
                  <a16:creationId xmlns:a16="http://schemas.microsoft.com/office/drawing/2014/main" id="{8A4FBED2-5145-49EE-8DCA-9C8E03B220C6}"/>
                </a:ext>
              </a:extLst>
            </p:cNvPr>
            <p:cNvSpPr/>
            <p:nvPr/>
          </p:nvSpPr>
          <p:spPr bwMode="auto">
            <a:xfrm>
              <a:off x="6386513" y="4318001"/>
              <a:ext cx="412750" cy="201613"/>
            </a:xfrm>
            <a:custGeom>
              <a:avLst/>
              <a:gdLst>
                <a:gd name="T0" fmla="*/ 292 w 300"/>
                <a:gd name="T1" fmla="*/ 115 h 146"/>
                <a:gd name="T2" fmla="*/ 117 w 300"/>
                <a:gd name="T3" fmla="*/ 105 h 146"/>
                <a:gd name="T4" fmla="*/ 6 w 300"/>
                <a:gd name="T5" fmla="*/ 3 h 146"/>
                <a:gd name="T6" fmla="*/ 1 w 300"/>
                <a:gd name="T7" fmla="*/ 5 h 146"/>
                <a:gd name="T8" fmla="*/ 117 w 300"/>
                <a:gd name="T9" fmla="*/ 116 h 146"/>
                <a:gd name="T10" fmla="*/ 295 w 300"/>
                <a:gd name="T11" fmla="*/ 123 h 146"/>
                <a:gd name="T12" fmla="*/ 292 w 300"/>
                <a:gd name="T13" fmla="*/ 11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0" h="146">
                  <a:moveTo>
                    <a:pt x="292" y="115"/>
                  </a:moveTo>
                  <a:cubicBezTo>
                    <a:pt x="232" y="129"/>
                    <a:pt x="174" y="131"/>
                    <a:pt x="117" y="105"/>
                  </a:cubicBezTo>
                  <a:cubicBezTo>
                    <a:pt x="67" y="83"/>
                    <a:pt x="37" y="45"/>
                    <a:pt x="6" y="3"/>
                  </a:cubicBezTo>
                  <a:cubicBezTo>
                    <a:pt x="4" y="0"/>
                    <a:pt x="0" y="2"/>
                    <a:pt x="1" y="5"/>
                  </a:cubicBezTo>
                  <a:cubicBezTo>
                    <a:pt x="20" y="54"/>
                    <a:pt x="70" y="95"/>
                    <a:pt x="117" y="116"/>
                  </a:cubicBezTo>
                  <a:cubicBezTo>
                    <a:pt x="171" y="140"/>
                    <a:pt x="240" y="146"/>
                    <a:pt x="295" y="123"/>
                  </a:cubicBezTo>
                  <a:cubicBezTo>
                    <a:pt x="300" y="121"/>
                    <a:pt x="296" y="113"/>
                    <a:pt x="292" y="11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ï$ļïde">
              <a:extLst>
                <a:ext uri="{FF2B5EF4-FFF2-40B4-BE49-F238E27FC236}">
                  <a16:creationId xmlns:a16="http://schemas.microsoft.com/office/drawing/2014/main" id="{1E3CF785-C859-4A40-9FF3-2F46A9AC712C}"/>
                </a:ext>
              </a:extLst>
            </p:cNvPr>
            <p:cNvSpPr/>
            <p:nvPr/>
          </p:nvSpPr>
          <p:spPr bwMode="auto">
            <a:xfrm>
              <a:off x="6557963" y="4491039"/>
              <a:ext cx="230188" cy="146050"/>
            </a:xfrm>
            <a:custGeom>
              <a:avLst/>
              <a:gdLst>
                <a:gd name="T0" fmla="*/ 155 w 167"/>
                <a:gd name="T1" fmla="*/ 3 h 106"/>
                <a:gd name="T2" fmla="*/ 85 w 167"/>
                <a:gd name="T3" fmla="*/ 36 h 106"/>
                <a:gd name="T4" fmla="*/ 3 w 167"/>
                <a:gd name="T5" fmla="*/ 41 h 106"/>
                <a:gd name="T6" fmla="*/ 2 w 167"/>
                <a:gd name="T7" fmla="*/ 45 h 106"/>
                <a:gd name="T8" fmla="*/ 43 w 167"/>
                <a:gd name="T9" fmla="*/ 49 h 106"/>
                <a:gd name="T10" fmla="*/ 44 w 167"/>
                <a:gd name="T11" fmla="*/ 53 h 106"/>
                <a:gd name="T12" fmla="*/ 107 w 167"/>
                <a:gd name="T13" fmla="*/ 70 h 106"/>
                <a:gd name="T14" fmla="*/ 69 w 167"/>
                <a:gd name="T15" fmla="*/ 86 h 106"/>
                <a:gd name="T16" fmla="*/ 71 w 167"/>
                <a:gd name="T17" fmla="*/ 98 h 106"/>
                <a:gd name="T18" fmla="*/ 114 w 167"/>
                <a:gd name="T19" fmla="*/ 104 h 106"/>
                <a:gd name="T20" fmla="*/ 115 w 167"/>
                <a:gd name="T21" fmla="*/ 92 h 106"/>
                <a:gd name="T22" fmla="*/ 94 w 167"/>
                <a:gd name="T23" fmla="*/ 89 h 106"/>
                <a:gd name="T24" fmla="*/ 126 w 167"/>
                <a:gd name="T25" fmla="*/ 74 h 106"/>
                <a:gd name="T26" fmla="*/ 123 w 167"/>
                <a:gd name="T27" fmla="*/ 65 h 106"/>
                <a:gd name="T28" fmla="*/ 47 w 167"/>
                <a:gd name="T29" fmla="*/ 49 h 106"/>
                <a:gd name="T30" fmla="*/ 162 w 167"/>
                <a:gd name="T31" fmla="*/ 11 h 106"/>
                <a:gd name="T32" fmla="*/ 155 w 167"/>
                <a:gd name="T33" fmla="*/ 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7" h="106">
                  <a:moveTo>
                    <a:pt x="155" y="3"/>
                  </a:moveTo>
                  <a:cubicBezTo>
                    <a:pt x="132" y="16"/>
                    <a:pt x="111" y="29"/>
                    <a:pt x="85" y="36"/>
                  </a:cubicBezTo>
                  <a:cubicBezTo>
                    <a:pt x="58" y="43"/>
                    <a:pt x="30" y="44"/>
                    <a:pt x="3" y="41"/>
                  </a:cubicBezTo>
                  <a:cubicBezTo>
                    <a:pt x="0" y="40"/>
                    <a:pt x="0" y="44"/>
                    <a:pt x="2" y="45"/>
                  </a:cubicBezTo>
                  <a:cubicBezTo>
                    <a:pt x="15" y="47"/>
                    <a:pt x="29" y="49"/>
                    <a:pt x="43" y="49"/>
                  </a:cubicBezTo>
                  <a:cubicBezTo>
                    <a:pt x="42" y="51"/>
                    <a:pt x="42" y="53"/>
                    <a:pt x="44" y="53"/>
                  </a:cubicBezTo>
                  <a:cubicBezTo>
                    <a:pt x="65" y="59"/>
                    <a:pt x="86" y="64"/>
                    <a:pt x="107" y="70"/>
                  </a:cubicBezTo>
                  <a:cubicBezTo>
                    <a:pt x="94" y="76"/>
                    <a:pt x="82" y="81"/>
                    <a:pt x="69" y="86"/>
                  </a:cubicBezTo>
                  <a:cubicBezTo>
                    <a:pt x="63" y="88"/>
                    <a:pt x="65" y="97"/>
                    <a:pt x="71" y="98"/>
                  </a:cubicBezTo>
                  <a:cubicBezTo>
                    <a:pt x="85" y="100"/>
                    <a:pt x="100" y="102"/>
                    <a:pt x="114" y="104"/>
                  </a:cubicBezTo>
                  <a:cubicBezTo>
                    <a:pt x="122" y="106"/>
                    <a:pt x="123" y="94"/>
                    <a:pt x="115" y="92"/>
                  </a:cubicBezTo>
                  <a:cubicBezTo>
                    <a:pt x="108" y="91"/>
                    <a:pt x="101" y="90"/>
                    <a:pt x="94" y="89"/>
                  </a:cubicBezTo>
                  <a:cubicBezTo>
                    <a:pt x="104" y="84"/>
                    <a:pt x="115" y="79"/>
                    <a:pt x="126" y="74"/>
                  </a:cubicBezTo>
                  <a:cubicBezTo>
                    <a:pt x="131" y="72"/>
                    <a:pt x="127" y="65"/>
                    <a:pt x="123" y="65"/>
                  </a:cubicBezTo>
                  <a:cubicBezTo>
                    <a:pt x="98" y="61"/>
                    <a:pt x="73" y="55"/>
                    <a:pt x="47" y="49"/>
                  </a:cubicBezTo>
                  <a:cubicBezTo>
                    <a:pt x="89" y="50"/>
                    <a:pt x="132" y="38"/>
                    <a:pt x="162" y="11"/>
                  </a:cubicBezTo>
                  <a:cubicBezTo>
                    <a:pt x="167" y="7"/>
                    <a:pt x="159" y="0"/>
                    <a:pt x="155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îṣḷïďê">
              <a:extLst>
                <a:ext uri="{FF2B5EF4-FFF2-40B4-BE49-F238E27FC236}">
                  <a16:creationId xmlns:a16="http://schemas.microsoft.com/office/drawing/2014/main" id="{F3DA800A-33C8-4B38-B466-9F4F31066AC4}"/>
                </a:ext>
              </a:extLst>
            </p:cNvPr>
            <p:cNvSpPr/>
            <p:nvPr/>
          </p:nvSpPr>
          <p:spPr bwMode="auto">
            <a:xfrm>
              <a:off x="6446838" y="4183064"/>
              <a:ext cx="384175" cy="247650"/>
            </a:xfrm>
            <a:custGeom>
              <a:avLst/>
              <a:gdLst>
                <a:gd name="T0" fmla="*/ 265 w 279"/>
                <a:gd name="T1" fmla="*/ 0 h 179"/>
                <a:gd name="T2" fmla="*/ 187 w 279"/>
                <a:gd name="T3" fmla="*/ 1 h 179"/>
                <a:gd name="T4" fmla="*/ 184 w 279"/>
                <a:gd name="T5" fmla="*/ 15 h 179"/>
                <a:gd name="T6" fmla="*/ 234 w 279"/>
                <a:gd name="T7" fmla="*/ 52 h 179"/>
                <a:gd name="T8" fmla="*/ 119 w 279"/>
                <a:gd name="T9" fmla="*/ 38 h 179"/>
                <a:gd name="T10" fmla="*/ 115 w 279"/>
                <a:gd name="T11" fmla="*/ 41 h 179"/>
                <a:gd name="T12" fmla="*/ 136 w 279"/>
                <a:gd name="T13" fmla="*/ 60 h 179"/>
                <a:gd name="T14" fmla="*/ 135 w 279"/>
                <a:gd name="T15" fmla="*/ 67 h 179"/>
                <a:gd name="T16" fmla="*/ 142 w 279"/>
                <a:gd name="T17" fmla="*/ 79 h 179"/>
                <a:gd name="T18" fmla="*/ 47 w 279"/>
                <a:gd name="T19" fmla="*/ 44 h 179"/>
                <a:gd name="T20" fmla="*/ 38 w 279"/>
                <a:gd name="T21" fmla="*/ 55 h 179"/>
                <a:gd name="T22" fmla="*/ 72 w 279"/>
                <a:gd name="T23" fmla="*/ 105 h 179"/>
                <a:gd name="T24" fmla="*/ 21 w 279"/>
                <a:gd name="T25" fmla="*/ 71 h 179"/>
                <a:gd name="T26" fmla="*/ 12 w 279"/>
                <a:gd name="T27" fmla="*/ 82 h 179"/>
                <a:gd name="T28" fmla="*/ 96 w 279"/>
                <a:gd name="T29" fmla="*/ 156 h 179"/>
                <a:gd name="T30" fmla="*/ 4 w 279"/>
                <a:gd name="T31" fmla="*/ 128 h 179"/>
                <a:gd name="T32" fmla="*/ 3 w 279"/>
                <a:gd name="T33" fmla="*/ 133 h 179"/>
                <a:gd name="T34" fmla="*/ 119 w 279"/>
                <a:gd name="T35" fmla="*/ 176 h 179"/>
                <a:gd name="T36" fmla="*/ 125 w 279"/>
                <a:gd name="T37" fmla="*/ 165 h 179"/>
                <a:gd name="T38" fmla="*/ 96 w 279"/>
                <a:gd name="T39" fmla="*/ 138 h 179"/>
                <a:gd name="T40" fmla="*/ 105 w 279"/>
                <a:gd name="T41" fmla="*/ 128 h 179"/>
                <a:gd name="T42" fmla="*/ 64 w 279"/>
                <a:gd name="T43" fmla="*/ 67 h 179"/>
                <a:gd name="T44" fmla="*/ 161 w 279"/>
                <a:gd name="T45" fmla="*/ 104 h 179"/>
                <a:gd name="T46" fmla="*/ 171 w 279"/>
                <a:gd name="T47" fmla="*/ 92 h 179"/>
                <a:gd name="T48" fmla="*/ 156 w 279"/>
                <a:gd name="T49" fmla="*/ 71 h 179"/>
                <a:gd name="T50" fmla="*/ 254 w 279"/>
                <a:gd name="T51" fmla="*/ 60 h 179"/>
                <a:gd name="T52" fmla="*/ 253 w 279"/>
                <a:gd name="T53" fmla="*/ 48 h 179"/>
                <a:gd name="T54" fmla="*/ 211 w 279"/>
                <a:gd name="T55" fmla="*/ 17 h 179"/>
                <a:gd name="T56" fmla="*/ 268 w 279"/>
                <a:gd name="T57" fmla="*/ 15 h 179"/>
                <a:gd name="T58" fmla="*/ 265 w 279"/>
                <a:gd name="T5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9" h="179">
                  <a:moveTo>
                    <a:pt x="265" y="0"/>
                  </a:moveTo>
                  <a:cubicBezTo>
                    <a:pt x="239" y="0"/>
                    <a:pt x="213" y="1"/>
                    <a:pt x="187" y="1"/>
                  </a:cubicBezTo>
                  <a:cubicBezTo>
                    <a:pt x="180" y="1"/>
                    <a:pt x="178" y="11"/>
                    <a:pt x="184" y="15"/>
                  </a:cubicBezTo>
                  <a:cubicBezTo>
                    <a:pt x="201" y="27"/>
                    <a:pt x="217" y="40"/>
                    <a:pt x="234" y="52"/>
                  </a:cubicBezTo>
                  <a:cubicBezTo>
                    <a:pt x="196" y="71"/>
                    <a:pt x="153" y="63"/>
                    <a:pt x="119" y="38"/>
                  </a:cubicBezTo>
                  <a:cubicBezTo>
                    <a:pt x="117" y="36"/>
                    <a:pt x="114" y="38"/>
                    <a:pt x="115" y="41"/>
                  </a:cubicBezTo>
                  <a:cubicBezTo>
                    <a:pt x="121" y="48"/>
                    <a:pt x="128" y="55"/>
                    <a:pt x="136" y="60"/>
                  </a:cubicBezTo>
                  <a:cubicBezTo>
                    <a:pt x="135" y="62"/>
                    <a:pt x="134" y="64"/>
                    <a:pt x="135" y="67"/>
                  </a:cubicBezTo>
                  <a:cubicBezTo>
                    <a:pt x="137" y="71"/>
                    <a:pt x="140" y="75"/>
                    <a:pt x="142" y="79"/>
                  </a:cubicBezTo>
                  <a:cubicBezTo>
                    <a:pt x="111" y="67"/>
                    <a:pt x="79" y="56"/>
                    <a:pt x="47" y="44"/>
                  </a:cubicBezTo>
                  <a:cubicBezTo>
                    <a:pt x="40" y="42"/>
                    <a:pt x="34" y="48"/>
                    <a:pt x="38" y="55"/>
                  </a:cubicBezTo>
                  <a:cubicBezTo>
                    <a:pt x="50" y="72"/>
                    <a:pt x="61" y="88"/>
                    <a:pt x="72" y="105"/>
                  </a:cubicBezTo>
                  <a:cubicBezTo>
                    <a:pt x="55" y="93"/>
                    <a:pt x="38" y="82"/>
                    <a:pt x="21" y="71"/>
                  </a:cubicBezTo>
                  <a:cubicBezTo>
                    <a:pt x="13" y="66"/>
                    <a:pt x="5" y="75"/>
                    <a:pt x="12" y="82"/>
                  </a:cubicBezTo>
                  <a:cubicBezTo>
                    <a:pt x="40" y="107"/>
                    <a:pt x="68" y="132"/>
                    <a:pt x="96" y="156"/>
                  </a:cubicBezTo>
                  <a:cubicBezTo>
                    <a:pt x="65" y="147"/>
                    <a:pt x="35" y="137"/>
                    <a:pt x="4" y="128"/>
                  </a:cubicBezTo>
                  <a:cubicBezTo>
                    <a:pt x="1" y="127"/>
                    <a:pt x="0" y="132"/>
                    <a:pt x="3" y="133"/>
                  </a:cubicBezTo>
                  <a:cubicBezTo>
                    <a:pt x="41" y="148"/>
                    <a:pt x="81" y="161"/>
                    <a:pt x="119" y="176"/>
                  </a:cubicBezTo>
                  <a:cubicBezTo>
                    <a:pt x="126" y="179"/>
                    <a:pt x="131" y="171"/>
                    <a:pt x="125" y="165"/>
                  </a:cubicBezTo>
                  <a:cubicBezTo>
                    <a:pt x="115" y="156"/>
                    <a:pt x="106" y="147"/>
                    <a:pt x="96" y="138"/>
                  </a:cubicBezTo>
                  <a:cubicBezTo>
                    <a:pt x="103" y="141"/>
                    <a:pt x="110" y="135"/>
                    <a:pt x="105" y="128"/>
                  </a:cubicBezTo>
                  <a:cubicBezTo>
                    <a:pt x="91" y="107"/>
                    <a:pt x="78" y="87"/>
                    <a:pt x="64" y="67"/>
                  </a:cubicBezTo>
                  <a:cubicBezTo>
                    <a:pt x="96" y="79"/>
                    <a:pt x="129" y="91"/>
                    <a:pt x="161" y="104"/>
                  </a:cubicBezTo>
                  <a:cubicBezTo>
                    <a:pt x="170" y="107"/>
                    <a:pt x="177" y="99"/>
                    <a:pt x="171" y="92"/>
                  </a:cubicBezTo>
                  <a:cubicBezTo>
                    <a:pt x="166" y="85"/>
                    <a:pt x="162" y="77"/>
                    <a:pt x="156" y="71"/>
                  </a:cubicBezTo>
                  <a:cubicBezTo>
                    <a:pt x="188" y="82"/>
                    <a:pt x="225" y="78"/>
                    <a:pt x="254" y="60"/>
                  </a:cubicBezTo>
                  <a:cubicBezTo>
                    <a:pt x="258" y="58"/>
                    <a:pt x="257" y="51"/>
                    <a:pt x="253" y="48"/>
                  </a:cubicBezTo>
                  <a:cubicBezTo>
                    <a:pt x="239" y="38"/>
                    <a:pt x="225" y="27"/>
                    <a:pt x="211" y="17"/>
                  </a:cubicBezTo>
                  <a:cubicBezTo>
                    <a:pt x="230" y="16"/>
                    <a:pt x="249" y="16"/>
                    <a:pt x="268" y="15"/>
                  </a:cubicBezTo>
                  <a:cubicBezTo>
                    <a:pt x="279" y="15"/>
                    <a:pt x="275" y="0"/>
                    <a:pt x="265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íśľïďê">
              <a:extLst>
                <a:ext uri="{FF2B5EF4-FFF2-40B4-BE49-F238E27FC236}">
                  <a16:creationId xmlns:a16="http://schemas.microsoft.com/office/drawing/2014/main" id="{F9028907-D0B8-4855-8938-87DDB62EB3B0}"/>
                </a:ext>
              </a:extLst>
            </p:cNvPr>
            <p:cNvSpPr/>
            <p:nvPr/>
          </p:nvSpPr>
          <p:spPr bwMode="auto">
            <a:xfrm>
              <a:off x="6777038" y="3911601"/>
              <a:ext cx="333375" cy="279400"/>
            </a:xfrm>
            <a:custGeom>
              <a:avLst/>
              <a:gdLst>
                <a:gd name="T0" fmla="*/ 229 w 242"/>
                <a:gd name="T1" fmla="*/ 5 h 203"/>
                <a:gd name="T2" fmla="*/ 221 w 242"/>
                <a:gd name="T3" fmla="*/ 3 h 203"/>
                <a:gd name="T4" fmla="*/ 202 w 242"/>
                <a:gd name="T5" fmla="*/ 7 h 203"/>
                <a:gd name="T6" fmla="*/ 199 w 242"/>
                <a:gd name="T7" fmla="*/ 12 h 203"/>
                <a:gd name="T8" fmla="*/ 219 w 242"/>
                <a:gd name="T9" fmla="*/ 16 h 203"/>
                <a:gd name="T10" fmla="*/ 153 w 242"/>
                <a:gd name="T11" fmla="*/ 37 h 203"/>
                <a:gd name="T12" fmla="*/ 130 w 242"/>
                <a:gd name="T13" fmla="*/ 24 h 203"/>
                <a:gd name="T14" fmla="*/ 129 w 242"/>
                <a:gd name="T15" fmla="*/ 31 h 203"/>
                <a:gd name="T16" fmla="*/ 154 w 242"/>
                <a:gd name="T17" fmla="*/ 67 h 203"/>
                <a:gd name="T18" fmla="*/ 160 w 242"/>
                <a:gd name="T19" fmla="*/ 73 h 203"/>
                <a:gd name="T20" fmla="*/ 87 w 242"/>
                <a:gd name="T21" fmla="*/ 95 h 203"/>
                <a:gd name="T22" fmla="*/ 77 w 242"/>
                <a:gd name="T23" fmla="*/ 81 h 203"/>
                <a:gd name="T24" fmla="*/ 66 w 242"/>
                <a:gd name="T25" fmla="*/ 86 h 203"/>
                <a:gd name="T26" fmla="*/ 99 w 242"/>
                <a:gd name="T27" fmla="*/ 139 h 203"/>
                <a:gd name="T28" fmla="*/ 14 w 242"/>
                <a:gd name="T29" fmla="*/ 131 h 203"/>
                <a:gd name="T30" fmla="*/ 4 w 242"/>
                <a:gd name="T31" fmla="*/ 138 h 203"/>
                <a:gd name="T32" fmla="*/ 27 w 242"/>
                <a:gd name="T33" fmla="*/ 191 h 203"/>
                <a:gd name="T34" fmla="*/ 25 w 242"/>
                <a:gd name="T35" fmla="*/ 194 h 203"/>
                <a:gd name="T36" fmla="*/ 32 w 242"/>
                <a:gd name="T37" fmla="*/ 201 h 203"/>
                <a:gd name="T38" fmla="*/ 39 w 242"/>
                <a:gd name="T39" fmla="*/ 199 h 203"/>
                <a:gd name="T40" fmla="*/ 22 w 242"/>
                <a:gd name="T41" fmla="*/ 152 h 203"/>
                <a:gd name="T42" fmla="*/ 113 w 242"/>
                <a:gd name="T43" fmla="*/ 149 h 203"/>
                <a:gd name="T44" fmla="*/ 115 w 242"/>
                <a:gd name="T45" fmla="*/ 139 h 203"/>
                <a:gd name="T46" fmla="*/ 93 w 242"/>
                <a:gd name="T47" fmla="*/ 104 h 203"/>
                <a:gd name="T48" fmla="*/ 175 w 242"/>
                <a:gd name="T49" fmla="*/ 75 h 203"/>
                <a:gd name="T50" fmla="*/ 168 w 242"/>
                <a:gd name="T51" fmla="*/ 67 h 203"/>
                <a:gd name="T52" fmla="*/ 165 w 242"/>
                <a:gd name="T53" fmla="*/ 70 h 203"/>
                <a:gd name="T54" fmla="*/ 165 w 242"/>
                <a:gd name="T55" fmla="*/ 69 h 203"/>
                <a:gd name="T56" fmla="*/ 159 w 242"/>
                <a:gd name="T57" fmla="*/ 45 h 203"/>
                <a:gd name="T58" fmla="*/ 238 w 242"/>
                <a:gd name="T59" fmla="*/ 14 h 203"/>
                <a:gd name="T60" fmla="*/ 229 w 242"/>
                <a:gd name="T61" fmla="*/ 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2" h="203">
                  <a:moveTo>
                    <a:pt x="229" y="5"/>
                  </a:moveTo>
                  <a:cubicBezTo>
                    <a:pt x="228" y="2"/>
                    <a:pt x="224" y="0"/>
                    <a:pt x="221" y="3"/>
                  </a:cubicBezTo>
                  <a:cubicBezTo>
                    <a:pt x="217" y="8"/>
                    <a:pt x="209" y="11"/>
                    <a:pt x="202" y="7"/>
                  </a:cubicBezTo>
                  <a:cubicBezTo>
                    <a:pt x="199" y="5"/>
                    <a:pt x="195" y="9"/>
                    <a:pt x="199" y="12"/>
                  </a:cubicBezTo>
                  <a:cubicBezTo>
                    <a:pt x="204" y="16"/>
                    <a:pt x="212" y="18"/>
                    <a:pt x="219" y="16"/>
                  </a:cubicBezTo>
                  <a:cubicBezTo>
                    <a:pt x="201" y="32"/>
                    <a:pt x="178" y="40"/>
                    <a:pt x="153" y="37"/>
                  </a:cubicBezTo>
                  <a:cubicBezTo>
                    <a:pt x="146" y="30"/>
                    <a:pt x="138" y="26"/>
                    <a:pt x="130" y="24"/>
                  </a:cubicBezTo>
                  <a:cubicBezTo>
                    <a:pt x="125" y="24"/>
                    <a:pt x="125" y="29"/>
                    <a:pt x="129" y="31"/>
                  </a:cubicBezTo>
                  <a:cubicBezTo>
                    <a:pt x="146" y="36"/>
                    <a:pt x="154" y="50"/>
                    <a:pt x="154" y="67"/>
                  </a:cubicBezTo>
                  <a:cubicBezTo>
                    <a:pt x="154" y="70"/>
                    <a:pt x="157" y="73"/>
                    <a:pt x="160" y="73"/>
                  </a:cubicBezTo>
                  <a:cubicBezTo>
                    <a:pt x="138" y="89"/>
                    <a:pt x="115" y="95"/>
                    <a:pt x="87" y="95"/>
                  </a:cubicBezTo>
                  <a:cubicBezTo>
                    <a:pt x="84" y="90"/>
                    <a:pt x="81" y="86"/>
                    <a:pt x="77" y="81"/>
                  </a:cubicBezTo>
                  <a:cubicBezTo>
                    <a:pt x="73" y="75"/>
                    <a:pt x="62" y="79"/>
                    <a:pt x="66" y="86"/>
                  </a:cubicBezTo>
                  <a:cubicBezTo>
                    <a:pt x="76" y="105"/>
                    <a:pt x="87" y="122"/>
                    <a:pt x="99" y="139"/>
                  </a:cubicBezTo>
                  <a:cubicBezTo>
                    <a:pt x="71" y="154"/>
                    <a:pt x="39" y="150"/>
                    <a:pt x="14" y="131"/>
                  </a:cubicBezTo>
                  <a:cubicBezTo>
                    <a:pt x="9" y="127"/>
                    <a:pt x="0" y="131"/>
                    <a:pt x="4" y="138"/>
                  </a:cubicBezTo>
                  <a:cubicBezTo>
                    <a:pt x="12" y="155"/>
                    <a:pt x="18" y="174"/>
                    <a:pt x="27" y="191"/>
                  </a:cubicBezTo>
                  <a:cubicBezTo>
                    <a:pt x="25" y="190"/>
                    <a:pt x="22" y="192"/>
                    <a:pt x="25" y="194"/>
                  </a:cubicBezTo>
                  <a:cubicBezTo>
                    <a:pt x="27" y="197"/>
                    <a:pt x="30" y="199"/>
                    <a:pt x="32" y="201"/>
                  </a:cubicBezTo>
                  <a:cubicBezTo>
                    <a:pt x="34" y="203"/>
                    <a:pt x="40" y="203"/>
                    <a:pt x="39" y="199"/>
                  </a:cubicBezTo>
                  <a:cubicBezTo>
                    <a:pt x="34" y="183"/>
                    <a:pt x="28" y="167"/>
                    <a:pt x="22" y="152"/>
                  </a:cubicBezTo>
                  <a:cubicBezTo>
                    <a:pt x="50" y="167"/>
                    <a:pt x="85" y="166"/>
                    <a:pt x="113" y="149"/>
                  </a:cubicBezTo>
                  <a:cubicBezTo>
                    <a:pt x="117" y="146"/>
                    <a:pt x="116" y="142"/>
                    <a:pt x="115" y="139"/>
                  </a:cubicBezTo>
                  <a:cubicBezTo>
                    <a:pt x="107" y="127"/>
                    <a:pt x="100" y="115"/>
                    <a:pt x="93" y="104"/>
                  </a:cubicBezTo>
                  <a:cubicBezTo>
                    <a:pt x="122" y="110"/>
                    <a:pt x="156" y="98"/>
                    <a:pt x="175" y="75"/>
                  </a:cubicBezTo>
                  <a:cubicBezTo>
                    <a:pt x="179" y="71"/>
                    <a:pt x="172" y="63"/>
                    <a:pt x="168" y="67"/>
                  </a:cubicBezTo>
                  <a:cubicBezTo>
                    <a:pt x="167" y="68"/>
                    <a:pt x="166" y="69"/>
                    <a:pt x="165" y="70"/>
                  </a:cubicBezTo>
                  <a:cubicBezTo>
                    <a:pt x="165" y="69"/>
                    <a:pt x="165" y="69"/>
                    <a:pt x="165" y="69"/>
                  </a:cubicBezTo>
                  <a:cubicBezTo>
                    <a:pt x="166" y="61"/>
                    <a:pt x="164" y="52"/>
                    <a:pt x="159" y="45"/>
                  </a:cubicBezTo>
                  <a:cubicBezTo>
                    <a:pt x="189" y="51"/>
                    <a:pt x="221" y="39"/>
                    <a:pt x="238" y="14"/>
                  </a:cubicBezTo>
                  <a:cubicBezTo>
                    <a:pt x="242" y="8"/>
                    <a:pt x="234" y="0"/>
                    <a:pt x="229" y="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iSḷíďe">
              <a:extLst>
                <a:ext uri="{FF2B5EF4-FFF2-40B4-BE49-F238E27FC236}">
                  <a16:creationId xmlns:a16="http://schemas.microsoft.com/office/drawing/2014/main" id="{B8C2FF4E-3287-402A-8237-14039BA97125}"/>
                </a:ext>
              </a:extLst>
            </p:cNvPr>
            <p:cNvSpPr/>
            <p:nvPr/>
          </p:nvSpPr>
          <p:spPr bwMode="auto">
            <a:xfrm>
              <a:off x="6973888" y="3662364"/>
              <a:ext cx="165100" cy="254000"/>
            </a:xfrm>
            <a:custGeom>
              <a:avLst/>
              <a:gdLst>
                <a:gd name="T0" fmla="*/ 115 w 121"/>
                <a:gd name="T1" fmla="*/ 125 h 185"/>
                <a:gd name="T2" fmla="*/ 90 w 121"/>
                <a:gd name="T3" fmla="*/ 109 h 185"/>
                <a:gd name="T4" fmla="*/ 115 w 121"/>
                <a:gd name="T5" fmla="*/ 72 h 185"/>
                <a:gd name="T6" fmla="*/ 111 w 121"/>
                <a:gd name="T7" fmla="*/ 64 h 185"/>
                <a:gd name="T8" fmla="*/ 88 w 121"/>
                <a:gd name="T9" fmla="*/ 51 h 185"/>
                <a:gd name="T10" fmla="*/ 110 w 121"/>
                <a:gd name="T11" fmla="*/ 14 h 185"/>
                <a:gd name="T12" fmla="*/ 97 w 121"/>
                <a:gd name="T13" fmla="*/ 6 h 185"/>
                <a:gd name="T14" fmla="*/ 70 w 121"/>
                <a:gd name="T15" fmla="*/ 48 h 185"/>
                <a:gd name="T16" fmla="*/ 74 w 121"/>
                <a:gd name="T17" fmla="*/ 59 h 185"/>
                <a:gd name="T18" fmla="*/ 100 w 121"/>
                <a:gd name="T19" fmla="*/ 73 h 185"/>
                <a:gd name="T20" fmla="*/ 74 w 121"/>
                <a:gd name="T21" fmla="*/ 101 h 185"/>
                <a:gd name="T22" fmla="*/ 75 w 121"/>
                <a:gd name="T23" fmla="*/ 114 h 185"/>
                <a:gd name="T24" fmla="*/ 100 w 121"/>
                <a:gd name="T25" fmla="*/ 130 h 185"/>
                <a:gd name="T26" fmla="*/ 10 w 121"/>
                <a:gd name="T27" fmla="*/ 144 h 185"/>
                <a:gd name="T28" fmla="*/ 7 w 121"/>
                <a:gd name="T29" fmla="*/ 156 h 185"/>
                <a:gd name="T30" fmla="*/ 72 w 121"/>
                <a:gd name="T31" fmla="*/ 184 h 185"/>
                <a:gd name="T32" fmla="*/ 74 w 121"/>
                <a:gd name="T33" fmla="*/ 179 h 185"/>
                <a:gd name="T34" fmla="*/ 41 w 121"/>
                <a:gd name="T35" fmla="*/ 160 h 185"/>
                <a:gd name="T36" fmla="*/ 117 w 121"/>
                <a:gd name="T37" fmla="*/ 136 h 185"/>
                <a:gd name="T38" fmla="*/ 115 w 121"/>
                <a:gd name="T39" fmla="*/ 12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185">
                  <a:moveTo>
                    <a:pt x="115" y="125"/>
                  </a:moveTo>
                  <a:cubicBezTo>
                    <a:pt x="107" y="120"/>
                    <a:pt x="99" y="114"/>
                    <a:pt x="90" y="109"/>
                  </a:cubicBezTo>
                  <a:cubicBezTo>
                    <a:pt x="104" y="101"/>
                    <a:pt x="112" y="88"/>
                    <a:pt x="115" y="72"/>
                  </a:cubicBezTo>
                  <a:cubicBezTo>
                    <a:pt x="116" y="68"/>
                    <a:pt x="113" y="65"/>
                    <a:pt x="111" y="64"/>
                  </a:cubicBezTo>
                  <a:cubicBezTo>
                    <a:pt x="103" y="59"/>
                    <a:pt x="95" y="55"/>
                    <a:pt x="88" y="51"/>
                  </a:cubicBezTo>
                  <a:cubicBezTo>
                    <a:pt x="95" y="39"/>
                    <a:pt x="103" y="27"/>
                    <a:pt x="110" y="14"/>
                  </a:cubicBezTo>
                  <a:cubicBezTo>
                    <a:pt x="114" y="7"/>
                    <a:pt x="102" y="0"/>
                    <a:pt x="97" y="6"/>
                  </a:cubicBezTo>
                  <a:cubicBezTo>
                    <a:pt x="88" y="19"/>
                    <a:pt x="79" y="34"/>
                    <a:pt x="70" y="48"/>
                  </a:cubicBezTo>
                  <a:cubicBezTo>
                    <a:pt x="68" y="52"/>
                    <a:pt x="69" y="57"/>
                    <a:pt x="74" y="59"/>
                  </a:cubicBezTo>
                  <a:cubicBezTo>
                    <a:pt x="82" y="64"/>
                    <a:pt x="91" y="69"/>
                    <a:pt x="100" y="73"/>
                  </a:cubicBezTo>
                  <a:cubicBezTo>
                    <a:pt x="96" y="87"/>
                    <a:pt x="87" y="96"/>
                    <a:pt x="74" y="101"/>
                  </a:cubicBezTo>
                  <a:cubicBezTo>
                    <a:pt x="68" y="104"/>
                    <a:pt x="70" y="111"/>
                    <a:pt x="75" y="114"/>
                  </a:cubicBezTo>
                  <a:cubicBezTo>
                    <a:pt x="83" y="119"/>
                    <a:pt x="92" y="125"/>
                    <a:pt x="100" y="130"/>
                  </a:cubicBezTo>
                  <a:cubicBezTo>
                    <a:pt x="72" y="146"/>
                    <a:pt x="41" y="151"/>
                    <a:pt x="10" y="144"/>
                  </a:cubicBezTo>
                  <a:cubicBezTo>
                    <a:pt x="2" y="142"/>
                    <a:pt x="0" y="153"/>
                    <a:pt x="7" y="156"/>
                  </a:cubicBezTo>
                  <a:cubicBezTo>
                    <a:pt x="28" y="166"/>
                    <a:pt x="50" y="175"/>
                    <a:pt x="72" y="184"/>
                  </a:cubicBezTo>
                  <a:cubicBezTo>
                    <a:pt x="76" y="185"/>
                    <a:pt x="78" y="181"/>
                    <a:pt x="74" y="179"/>
                  </a:cubicBezTo>
                  <a:cubicBezTo>
                    <a:pt x="63" y="173"/>
                    <a:pt x="52" y="166"/>
                    <a:pt x="41" y="160"/>
                  </a:cubicBezTo>
                  <a:cubicBezTo>
                    <a:pt x="68" y="160"/>
                    <a:pt x="94" y="152"/>
                    <a:pt x="117" y="136"/>
                  </a:cubicBezTo>
                  <a:cubicBezTo>
                    <a:pt x="121" y="133"/>
                    <a:pt x="119" y="127"/>
                    <a:pt x="115" y="12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íṡḷíḍé">
              <a:extLst>
                <a:ext uri="{FF2B5EF4-FFF2-40B4-BE49-F238E27FC236}">
                  <a16:creationId xmlns:a16="http://schemas.microsoft.com/office/drawing/2014/main" id="{47BA9268-C017-4743-A2FD-72CB1BF5677E}"/>
                </a:ext>
              </a:extLst>
            </p:cNvPr>
            <p:cNvSpPr/>
            <p:nvPr/>
          </p:nvSpPr>
          <p:spPr bwMode="auto">
            <a:xfrm>
              <a:off x="7092951" y="3478214"/>
              <a:ext cx="138113" cy="195263"/>
            </a:xfrm>
            <a:custGeom>
              <a:avLst/>
              <a:gdLst>
                <a:gd name="T0" fmla="*/ 90 w 100"/>
                <a:gd name="T1" fmla="*/ 3 h 142"/>
                <a:gd name="T2" fmla="*/ 44 w 100"/>
                <a:gd name="T3" fmla="*/ 51 h 142"/>
                <a:gd name="T4" fmla="*/ 50 w 100"/>
                <a:gd name="T5" fmla="*/ 61 h 142"/>
                <a:gd name="T6" fmla="*/ 73 w 100"/>
                <a:gd name="T7" fmla="*/ 60 h 142"/>
                <a:gd name="T8" fmla="*/ 6 w 100"/>
                <a:gd name="T9" fmla="*/ 120 h 142"/>
                <a:gd name="T10" fmla="*/ 11 w 100"/>
                <a:gd name="T11" fmla="*/ 128 h 142"/>
                <a:gd name="T12" fmla="*/ 18 w 100"/>
                <a:gd name="T13" fmla="*/ 127 h 142"/>
                <a:gd name="T14" fmla="*/ 3 w 100"/>
                <a:gd name="T15" fmla="*/ 136 h 142"/>
                <a:gd name="T16" fmla="*/ 6 w 100"/>
                <a:gd name="T17" fmla="*/ 140 h 142"/>
                <a:gd name="T18" fmla="*/ 39 w 100"/>
                <a:gd name="T19" fmla="*/ 123 h 142"/>
                <a:gd name="T20" fmla="*/ 36 w 100"/>
                <a:gd name="T21" fmla="*/ 115 h 142"/>
                <a:gd name="T22" fmla="*/ 25 w 100"/>
                <a:gd name="T23" fmla="*/ 116 h 142"/>
                <a:gd name="T24" fmla="*/ 93 w 100"/>
                <a:gd name="T25" fmla="*/ 58 h 142"/>
                <a:gd name="T26" fmla="*/ 88 w 100"/>
                <a:gd name="T27" fmla="*/ 47 h 142"/>
                <a:gd name="T28" fmla="*/ 63 w 100"/>
                <a:gd name="T29" fmla="*/ 49 h 142"/>
                <a:gd name="T30" fmla="*/ 97 w 100"/>
                <a:gd name="T31" fmla="*/ 10 h 142"/>
                <a:gd name="T32" fmla="*/ 90 w 100"/>
                <a:gd name="T33" fmla="*/ 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42">
                  <a:moveTo>
                    <a:pt x="90" y="3"/>
                  </a:moveTo>
                  <a:cubicBezTo>
                    <a:pt x="74" y="18"/>
                    <a:pt x="59" y="35"/>
                    <a:pt x="44" y="51"/>
                  </a:cubicBezTo>
                  <a:cubicBezTo>
                    <a:pt x="41" y="55"/>
                    <a:pt x="45" y="61"/>
                    <a:pt x="50" y="61"/>
                  </a:cubicBezTo>
                  <a:cubicBezTo>
                    <a:pt x="57" y="60"/>
                    <a:pt x="65" y="60"/>
                    <a:pt x="73" y="60"/>
                  </a:cubicBezTo>
                  <a:cubicBezTo>
                    <a:pt x="50" y="79"/>
                    <a:pt x="28" y="99"/>
                    <a:pt x="6" y="120"/>
                  </a:cubicBezTo>
                  <a:cubicBezTo>
                    <a:pt x="3" y="122"/>
                    <a:pt x="7" y="128"/>
                    <a:pt x="11" y="128"/>
                  </a:cubicBezTo>
                  <a:cubicBezTo>
                    <a:pt x="13" y="127"/>
                    <a:pt x="16" y="127"/>
                    <a:pt x="18" y="127"/>
                  </a:cubicBezTo>
                  <a:cubicBezTo>
                    <a:pt x="13" y="130"/>
                    <a:pt x="8" y="133"/>
                    <a:pt x="3" y="136"/>
                  </a:cubicBezTo>
                  <a:cubicBezTo>
                    <a:pt x="0" y="138"/>
                    <a:pt x="3" y="142"/>
                    <a:pt x="6" y="140"/>
                  </a:cubicBezTo>
                  <a:cubicBezTo>
                    <a:pt x="17" y="135"/>
                    <a:pt x="28" y="129"/>
                    <a:pt x="39" y="123"/>
                  </a:cubicBezTo>
                  <a:cubicBezTo>
                    <a:pt x="43" y="121"/>
                    <a:pt x="39" y="115"/>
                    <a:pt x="36" y="115"/>
                  </a:cubicBezTo>
                  <a:cubicBezTo>
                    <a:pt x="32" y="116"/>
                    <a:pt x="29" y="116"/>
                    <a:pt x="25" y="116"/>
                  </a:cubicBezTo>
                  <a:cubicBezTo>
                    <a:pt x="48" y="97"/>
                    <a:pt x="70" y="77"/>
                    <a:pt x="93" y="58"/>
                  </a:cubicBezTo>
                  <a:cubicBezTo>
                    <a:pt x="97" y="54"/>
                    <a:pt x="94" y="47"/>
                    <a:pt x="88" y="47"/>
                  </a:cubicBezTo>
                  <a:cubicBezTo>
                    <a:pt x="80" y="48"/>
                    <a:pt x="72" y="48"/>
                    <a:pt x="63" y="49"/>
                  </a:cubicBezTo>
                  <a:cubicBezTo>
                    <a:pt x="75" y="36"/>
                    <a:pt x="87" y="24"/>
                    <a:pt x="97" y="10"/>
                  </a:cubicBezTo>
                  <a:cubicBezTo>
                    <a:pt x="100" y="7"/>
                    <a:pt x="94" y="0"/>
                    <a:pt x="90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ïSḷíde">
              <a:extLst>
                <a:ext uri="{FF2B5EF4-FFF2-40B4-BE49-F238E27FC236}">
                  <a16:creationId xmlns:a16="http://schemas.microsoft.com/office/drawing/2014/main" id="{98014C30-2A08-49D8-B12F-C7B23F119F14}"/>
                </a:ext>
              </a:extLst>
            </p:cNvPr>
            <p:cNvSpPr/>
            <p:nvPr/>
          </p:nvSpPr>
          <p:spPr bwMode="auto">
            <a:xfrm>
              <a:off x="7137401" y="3305176"/>
              <a:ext cx="152400" cy="203200"/>
            </a:xfrm>
            <a:custGeom>
              <a:avLst/>
              <a:gdLst>
                <a:gd name="T0" fmla="*/ 107 w 111"/>
                <a:gd name="T1" fmla="*/ 19 h 148"/>
                <a:gd name="T2" fmla="*/ 100 w 111"/>
                <a:gd name="T3" fmla="*/ 7 h 148"/>
                <a:gd name="T4" fmla="*/ 80 w 111"/>
                <a:gd name="T5" fmla="*/ 6 h 148"/>
                <a:gd name="T6" fmla="*/ 82 w 111"/>
                <a:gd name="T7" fmla="*/ 5 h 148"/>
                <a:gd name="T8" fmla="*/ 80 w 111"/>
                <a:gd name="T9" fmla="*/ 0 h 148"/>
                <a:gd name="T10" fmla="*/ 5 w 111"/>
                <a:gd name="T11" fmla="*/ 22 h 148"/>
                <a:gd name="T12" fmla="*/ 8 w 111"/>
                <a:gd name="T13" fmla="*/ 29 h 148"/>
                <a:gd name="T14" fmla="*/ 62 w 111"/>
                <a:gd name="T15" fmla="*/ 13 h 148"/>
                <a:gd name="T16" fmla="*/ 67 w 111"/>
                <a:gd name="T17" fmla="*/ 18 h 148"/>
                <a:gd name="T18" fmla="*/ 86 w 111"/>
                <a:gd name="T19" fmla="*/ 20 h 148"/>
                <a:gd name="T20" fmla="*/ 11 w 111"/>
                <a:gd name="T21" fmla="*/ 104 h 148"/>
                <a:gd name="T22" fmla="*/ 17 w 111"/>
                <a:gd name="T23" fmla="*/ 113 h 148"/>
                <a:gd name="T24" fmla="*/ 53 w 111"/>
                <a:gd name="T25" fmla="*/ 115 h 148"/>
                <a:gd name="T26" fmla="*/ 25 w 111"/>
                <a:gd name="T27" fmla="*/ 143 h 148"/>
                <a:gd name="T28" fmla="*/ 28 w 111"/>
                <a:gd name="T29" fmla="*/ 146 h 148"/>
                <a:gd name="T30" fmla="*/ 64 w 111"/>
                <a:gd name="T31" fmla="*/ 115 h 148"/>
                <a:gd name="T32" fmla="*/ 62 w 111"/>
                <a:gd name="T33" fmla="*/ 109 h 148"/>
                <a:gd name="T34" fmla="*/ 28 w 111"/>
                <a:gd name="T35" fmla="*/ 104 h 148"/>
                <a:gd name="T36" fmla="*/ 107 w 111"/>
                <a:gd name="T37" fmla="*/ 1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" h="148">
                  <a:moveTo>
                    <a:pt x="107" y="19"/>
                  </a:moveTo>
                  <a:cubicBezTo>
                    <a:pt x="111" y="14"/>
                    <a:pt x="105" y="8"/>
                    <a:pt x="100" y="7"/>
                  </a:cubicBezTo>
                  <a:cubicBezTo>
                    <a:pt x="93" y="7"/>
                    <a:pt x="87" y="6"/>
                    <a:pt x="80" y="6"/>
                  </a:cubicBezTo>
                  <a:cubicBezTo>
                    <a:pt x="81" y="6"/>
                    <a:pt x="82" y="5"/>
                    <a:pt x="82" y="5"/>
                  </a:cubicBezTo>
                  <a:cubicBezTo>
                    <a:pt x="85" y="4"/>
                    <a:pt x="83" y="0"/>
                    <a:pt x="80" y="0"/>
                  </a:cubicBezTo>
                  <a:cubicBezTo>
                    <a:pt x="55" y="6"/>
                    <a:pt x="29" y="14"/>
                    <a:pt x="5" y="22"/>
                  </a:cubicBezTo>
                  <a:cubicBezTo>
                    <a:pt x="0" y="24"/>
                    <a:pt x="4" y="30"/>
                    <a:pt x="8" y="29"/>
                  </a:cubicBezTo>
                  <a:cubicBezTo>
                    <a:pt x="26" y="24"/>
                    <a:pt x="44" y="19"/>
                    <a:pt x="62" y="13"/>
                  </a:cubicBezTo>
                  <a:cubicBezTo>
                    <a:pt x="62" y="15"/>
                    <a:pt x="64" y="17"/>
                    <a:pt x="67" y="18"/>
                  </a:cubicBezTo>
                  <a:cubicBezTo>
                    <a:pt x="73" y="18"/>
                    <a:pt x="80" y="19"/>
                    <a:pt x="86" y="20"/>
                  </a:cubicBezTo>
                  <a:cubicBezTo>
                    <a:pt x="61" y="47"/>
                    <a:pt x="33" y="74"/>
                    <a:pt x="11" y="104"/>
                  </a:cubicBezTo>
                  <a:cubicBezTo>
                    <a:pt x="9" y="108"/>
                    <a:pt x="12" y="113"/>
                    <a:pt x="17" y="113"/>
                  </a:cubicBezTo>
                  <a:cubicBezTo>
                    <a:pt x="29" y="113"/>
                    <a:pt x="41" y="114"/>
                    <a:pt x="53" y="115"/>
                  </a:cubicBezTo>
                  <a:cubicBezTo>
                    <a:pt x="44" y="124"/>
                    <a:pt x="34" y="133"/>
                    <a:pt x="25" y="143"/>
                  </a:cubicBezTo>
                  <a:cubicBezTo>
                    <a:pt x="23" y="144"/>
                    <a:pt x="26" y="148"/>
                    <a:pt x="28" y="146"/>
                  </a:cubicBezTo>
                  <a:cubicBezTo>
                    <a:pt x="40" y="136"/>
                    <a:pt x="52" y="125"/>
                    <a:pt x="64" y="115"/>
                  </a:cubicBezTo>
                  <a:cubicBezTo>
                    <a:pt x="66" y="113"/>
                    <a:pt x="65" y="109"/>
                    <a:pt x="62" y="109"/>
                  </a:cubicBezTo>
                  <a:cubicBezTo>
                    <a:pt x="51" y="107"/>
                    <a:pt x="39" y="106"/>
                    <a:pt x="28" y="104"/>
                  </a:cubicBezTo>
                  <a:cubicBezTo>
                    <a:pt x="56" y="78"/>
                    <a:pt x="81" y="47"/>
                    <a:pt x="107" y="1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işlîḍè">
              <a:extLst>
                <a:ext uri="{FF2B5EF4-FFF2-40B4-BE49-F238E27FC236}">
                  <a16:creationId xmlns:a16="http://schemas.microsoft.com/office/drawing/2014/main" id="{A0A3018C-CB39-4697-AB6E-ECA5A018AF6B}"/>
                </a:ext>
              </a:extLst>
            </p:cNvPr>
            <p:cNvSpPr/>
            <p:nvPr/>
          </p:nvSpPr>
          <p:spPr bwMode="auto">
            <a:xfrm>
              <a:off x="7126288" y="3003551"/>
              <a:ext cx="196850" cy="320675"/>
            </a:xfrm>
            <a:custGeom>
              <a:avLst/>
              <a:gdLst>
                <a:gd name="T0" fmla="*/ 132 w 143"/>
                <a:gd name="T1" fmla="*/ 102 h 233"/>
                <a:gd name="T2" fmla="*/ 81 w 143"/>
                <a:gd name="T3" fmla="*/ 108 h 233"/>
                <a:gd name="T4" fmla="*/ 135 w 143"/>
                <a:gd name="T5" fmla="*/ 46 h 233"/>
                <a:gd name="T6" fmla="*/ 128 w 143"/>
                <a:gd name="T7" fmla="*/ 35 h 233"/>
                <a:gd name="T8" fmla="*/ 68 w 143"/>
                <a:gd name="T9" fmla="*/ 21 h 233"/>
                <a:gd name="T10" fmla="*/ 73 w 143"/>
                <a:gd name="T11" fmla="*/ 16 h 233"/>
                <a:gd name="T12" fmla="*/ 62 w 143"/>
                <a:gd name="T13" fmla="*/ 6 h 233"/>
                <a:gd name="T14" fmla="*/ 51 w 143"/>
                <a:gd name="T15" fmla="*/ 18 h 233"/>
                <a:gd name="T16" fmla="*/ 54 w 143"/>
                <a:gd name="T17" fmla="*/ 29 h 233"/>
                <a:gd name="T18" fmla="*/ 114 w 143"/>
                <a:gd name="T19" fmla="*/ 48 h 233"/>
                <a:gd name="T20" fmla="*/ 58 w 143"/>
                <a:gd name="T21" fmla="*/ 112 h 233"/>
                <a:gd name="T22" fmla="*/ 65 w 143"/>
                <a:gd name="T23" fmla="*/ 123 h 233"/>
                <a:gd name="T24" fmla="*/ 102 w 143"/>
                <a:gd name="T25" fmla="*/ 119 h 233"/>
                <a:gd name="T26" fmla="*/ 29 w 143"/>
                <a:gd name="T27" fmla="*/ 163 h 233"/>
                <a:gd name="T28" fmla="*/ 35 w 143"/>
                <a:gd name="T29" fmla="*/ 177 h 233"/>
                <a:gd name="T30" fmla="*/ 75 w 143"/>
                <a:gd name="T31" fmla="*/ 173 h 233"/>
                <a:gd name="T32" fmla="*/ 2 w 143"/>
                <a:gd name="T33" fmla="*/ 228 h 233"/>
                <a:gd name="T34" fmla="*/ 5 w 143"/>
                <a:gd name="T35" fmla="*/ 232 h 233"/>
                <a:gd name="T36" fmla="*/ 105 w 143"/>
                <a:gd name="T37" fmla="*/ 168 h 233"/>
                <a:gd name="T38" fmla="*/ 99 w 143"/>
                <a:gd name="T39" fmla="*/ 156 h 233"/>
                <a:gd name="T40" fmla="*/ 67 w 143"/>
                <a:gd name="T41" fmla="*/ 158 h 233"/>
                <a:gd name="T42" fmla="*/ 137 w 143"/>
                <a:gd name="T43" fmla="*/ 114 h 233"/>
                <a:gd name="T44" fmla="*/ 132 w 143"/>
                <a:gd name="T45" fmla="*/ 102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3" h="233">
                  <a:moveTo>
                    <a:pt x="132" y="102"/>
                  </a:moveTo>
                  <a:cubicBezTo>
                    <a:pt x="115" y="104"/>
                    <a:pt x="98" y="106"/>
                    <a:pt x="81" y="108"/>
                  </a:cubicBezTo>
                  <a:cubicBezTo>
                    <a:pt x="99" y="87"/>
                    <a:pt x="117" y="67"/>
                    <a:pt x="135" y="46"/>
                  </a:cubicBezTo>
                  <a:cubicBezTo>
                    <a:pt x="139" y="41"/>
                    <a:pt x="134" y="34"/>
                    <a:pt x="128" y="35"/>
                  </a:cubicBezTo>
                  <a:cubicBezTo>
                    <a:pt x="107" y="35"/>
                    <a:pt x="87" y="31"/>
                    <a:pt x="68" y="21"/>
                  </a:cubicBezTo>
                  <a:cubicBezTo>
                    <a:pt x="70" y="19"/>
                    <a:pt x="71" y="18"/>
                    <a:pt x="73" y="16"/>
                  </a:cubicBezTo>
                  <a:cubicBezTo>
                    <a:pt x="79" y="9"/>
                    <a:pt x="68" y="0"/>
                    <a:pt x="62" y="6"/>
                  </a:cubicBezTo>
                  <a:cubicBezTo>
                    <a:pt x="58" y="10"/>
                    <a:pt x="54" y="14"/>
                    <a:pt x="51" y="18"/>
                  </a:cubicBezTo>
                  <a:cubicBezTo>
                    <a:pt x="47" y="22"/>
                    <a:pt x="51" y="27"/>
                    <a:pt x="54" y="29"/>
                  </a:cubicBezTo>
                  <a:cubicBezTo>
                    <a:pt x="73" y="40"/>
                    <a:pt x="93" y="46"/>
                    <a:pt x="114" y="48"/>
                  </a:cubicBezTo>
                  <a:cubicBezTo>
                    <a:pt x="95" y="69"/>
                    <a:pt x="77" y="91"/>
                    <a:pt x="58" y="112"/>
                  </a:cubicBezTo>
                  <a:cubicBezTo>
                    <a:pt x="55" y="117"/>
                    <a:pt x="60" y="124"/>
                    <a:pt x="65" y="123"/>
                  </a:cubicBezTo>
                  <a:cubicBezTo>
                    <a:pt x="77" y="122"/>
                    <a:pt x="89" y="120"/>
                    <a:pt x="102" y="119"/>
                  </a:cubicBezTo>
                  <a:cubicBezTo>
                    <a:pt x="77" y="134"/>
                    <a:pt x="53" y="148"/>
                    <a:pt x="29" y="163"/>
                  </a:cubicBezTo>
                  <a:cubicBezTo>
                    <a:pt x="22" y="167"/>
                    <a:pt x="28" y="177"/>
                    <a:pt x="35" y="177"/>
                  </a:cubicBezTo>
                  <a:cubicBezTo>
                    <a:pt x="48" y="175"/>
                    <a:pt x="61" y="174"/>
                    <a:pt x="75" y="173"/>
                  </a:cubicBezTo>
                  <a:cubicBezTo>
                    <a:pt x="50" y="191"/>
                    <a:pt x="26" y="209"/>
                    <a:pt x="2" y="228"/>
                  </a:cubicBezTo>
                  <a:cubicBezTo>
                    <a:pt x="0" y="230"/>
                    <a:pt x="3" y="233"/>
                    <a:pt x="5" y="232"/>
                  </a:cubicBezTo>
                  <a:cubicBezTo>
                    <a:pt x="38" y="211"/>
                    <a:pt x="71" y="189"/>
                    <a:pt x="105" y="168"/>
                  </a:cubicBezTo>
                  <a:cubicBezTo>
                    <a:pt x="111" y="164"/>
                    <a:pt x="105" y="155"/>
                    <a:pt x="99" y="156"/>
                  </a:cubicBezTo>
                  <a:cubicBezTo>
                    <a:pt x="88" y="156"/>
                    <a:pt x="77" y="157"/>
                    <a:pt x="67" y="158"/>
                  </a:cubicBezTo>
                  <a:cubicBezTo>
                    <a:pt x="90" y="143"/>
                    <a:pt x="114" y="129"/>
                    <a:pt x="137" y="114"/>
                  </a:cubicBezTo>
                  <a:cubicBezTo>
                    <a:pt x="143" y="110"/>
                    <a:pt x="138" y="101"/>
                    <a:pt x="132" y="10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iṧlîḓé">
              <a:extLst>
                <a:ext uri="{FF2B5EF4-FFF2-40B4-BE49-F238E27FC236}">
                  <a16:creationId xmlns:a16="http://schemas.microsoft.com/office/drawing/2014/main" id="{BC97BA49-C252-46D1-9EB0-5E8C2BC556BC}"/>
                </a:ext>
              </a:extLst>
            </p:cNvPr>
            <p:cNvSpPr/>
            <p:nvPr/>
          </p:nvSpPr>
          <p:spPr bwMode="auto">
            <a:xfrm>
              <a:off x="5673726" y="4819651"/>
              <a:ext cx="295275" cy="157163"/>
            </a:xfrm>
            <a:custGeom>
              <a:avLst/>
              <a:gdLst>
                <a:gd name="T0" fmla="*/ 197 w 215"/>
                <a:gd name="T1" fmla="*/ 4 h 114"/>
                <a:gd name="T2" fmla="*/ 188 w 215"/>
                <a:gd name="T3" fmla="*/ 8 h 114"/>
                <a:gd name="T4" fmla="*/ 186 w 215"/>
                <a:gd name="T5" fmla="*/ 16 h 114"/>
                <a:gd name="T6" fmla="*/ 3 w 215"/>
                <a:gd name="T7" fmla="*/ 109 h 114"/>
                <a:gd name="T8" fmla="*/ 4 w 215"/>
                <a:gd name="T9" fmla="*/ 114 h 114"/>
                <a:gd name="T10" fmla="*/ 209 w 215"/>
                <a:gd name="T11" fmla="*/ 17 h 114"/>
                <a:gd name="T12" fmla="*/ 197 w 215"/>
                <a:gd name="T13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14">
                  <a:moveTo>
                    <a:pt x="197" y="4"/>
                  </a:moveTo>
                  <a:cubicBezTo>
                    <a:pt x="194" y="5"/>
                    <a:pt x="191" y="7"/>
                    <a:pt x="188" y="8"/>
                  </a:cubicBezTo>
                  <a:cubicBezTo>
                    <a:pt x="185" y="10"/>
                    <a:pt x="184" y="13"/>
                    <a:pt x="186" y="16"/>
                  </a:cubicBezTo>
                  <a:cubicBezTo>
                    <a:pt x="138" y="68"/>
                    <a:pt x="74" y="99"/>
                    <a:pt x="3" y="109"/>
                  </a:cubicBezTo>
                  <a:cubicBezTo>
                    <a:pt x="0" y="109"/>
                    <a:pt x="1" y="114"/>
                    <a:pt x="4" y="114"/>
                  </a:cubicBezTo>
                  <a:cubicBezTo>
                    <a:pt x="83" y="114"/>
                    <a:pt x="158" y="76"/>
                    <a:pt x="209" y="17"/>
                  </a:cubicBezTo>
                  <a:cubicBezTo>
                    <a:pt x="215" y="9"/>
                    <a:pt x="204" y="0"/>
                    <a:pt x="197" y="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íSľiḋê">
              <a:extLst>
                <a:ext uri="{FF2B5EF4-FFF2-40B4-BE49-F238E27FC236}">
                  <a16:creationId xmlns:a16="http://schemas.microsoft.com/office/drawing/2014/main" id="{7E970D7C-DD3B-448B-9077-5027A54FDE5A}"/>
                </a:ext>
              </a:extLst>
            </p:cNvPr>
            <p:cNvSpPr/>
            <p:nvPr/>
          </p:nvSpPr>
          <p:spPr bwMode="auto">
            <a:xfrm>
              <a:off x="5686426" y="4900614"/>
              <a:ext cx="446088" cy="658813"/>
            </a:xfrm>
            <a:custGeom>
              <a:avLst/>
              <a:gdLst>
                <a:gd name="T0" fmla="*/ 311 w 324"/>
                <a:gd name="T1" fmla="*/ 301 h 480"/>
                <a:gd name="T2" fmla="*/ 282 w 324"/>
                <a:gd name="T3" fmla="*/ 241 h 480"/>
                <a:gd name="T4" fmla="*/ 252 w 324"/>
                <a:gd name="T5" fmla="*/ 432 h 480"/>
                <a:gd name="T6" fmla="*/ 159 w 324"/>
                <a:gd name="T7" fmla="*/ 395 h 480"/>
                <a:gd name="T8" fmla="*/ 182 w 324"/>
                <a:gd name="T9" fmla="*/ 324 h 480"/>
                <a:gd name="T10" fmla="*/ 283 w 324"/>
                <a:gd name="T11" fmla="*/ 79 h 480"/>
                <a:gd name="T12" fmla="*/ 235 w 324"/>
                <a:gd name="T13" fmla="*/ 190 h 480"/>
                <a:gd name="T14" fmla="*/ 230 w 324"/>
                <a:gd name="T15" fmla="*/ 153 h 480"/>
                <a:gd name="T16" fmla="*/ 178 w 324"/>
                <a:gd name="T17" fmla="*/ 234 h 480"/>
                <a:gd name="T18" fmla="*/ 86 w 324"/>
                <a:gd name="T19" fmla="*/ 224 h 480"/>
                <a:gd name="T20" fmla="*/ 128 w 324"/>
                <a:gd name="T21" fmla="*/ 143 h 480"/>
                <a:gd name="T22" fmla="*/ 134 w 324"/>
                <a:gd name="T23" fmla="*/ 120 h 480"/>
                <a:gd name="T24" fmla="*/ 106 w 324"/>
                <a:gd name="T25" fmla="*/ 124 h 480"/>
                <a:gd name="T26" fmla="*/ 171 w 324"/>
                <a:gd name="T27" fmla="*/ 54 h 480"/>
                <a:gd name="T28" fmla="*/ 79 w 324"/>
                <a:gd name="T29" fmla="*/ 78 h 480"/>
                <a:gd name="T30" fmla="*/ 175 w 324"/>
                <a:gd name="T31" fmla="*/ 11 h 480"/>
                <a:gd name="T32" fmla="*/ 3 w 324"/>
                <a:gd name="T33" fmla="*/ 56 h 480"/>
                <a:gd name="T34" fmla="*/ 84 w 324"/>
                <a:gd name="T35" fmla="*/ 64 h 480"/>
                <a:gd name="T36" fmla="*/ 13 w 324"/>
                <a:gd name="T37" fmla="*/ 97 h 480"/>
                <a:gd name="T38" fmla="*/ 103 w 324"/>
                <a:gd name="T39" fmla="*/ 99 h 480"/>
                <a:gd name="T40" fmla="*/ 63 w 324"/>
                <a:gd name="T41" fmla="*/ 158 h 480"/>
                <a:gd name="T42" fmla="*/ 81 w 324"/>
                <a:gd name="T43" fmla="*/ 161 h 480"/>
                <a:gd name="T44" fmla="*/ 82 w 324"/>
                <a:gd name="T45" fmla="*/ 182 h 480"/>
                <a:gd name="T46" fmla="*/ 61 w 324"/>
                <a:gd name="T47" fmla="*/ 240 h 480"/>
                <a:gd name="T48" fmla="*/ 87 w 324"/>
                <a:gd name="T49" fmla="*/ 240 h 480"/>
                <a:gd name="T50" fmla="*/ 214 w 324"/>
                <a:gd name="T51" fmla="*/ 212 h 480"/>
                <a:gd name="T52" fmla="*/ 218 w 324"/>
                <a:gd name="T53" fmla="*/ 221 h 480"/>
                <a:gd name="T54" fmla="*/ 151 w 324"/>
                <a:gd name="T55" fmla="*/ 334 h 480"/>
                <a:gd name="T56" fmla="*/ 140 w 324"/>
                <a:gd name="T57" fmla="*/ 400 h 480"/>
                <a:gd name="T58" fmla="*/ 143 w 324"/>
                <a:gd name="T59" fmla="*/ 418 h 480"/>
                <a:gd name="T60" fmla="*/ 264 w 324"/>
                <a:gd name="T61" fmla="*/ 444 h 480"/>
                <a:gd name="T62" fmla="*/ 312 w 324"/>
                <a:gd name="T63" fmla="*/ 297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4" h="480">
                  <a:moveTo>
                    <a:pt x="312" y="297"/>
                  </a:moveTo>
                  <a:cubicBezTo>
                    <a:pt x="311" y="298"/>
                    <a:pt x="311" y="300"/>
                    <a:pt x="311" y="301"/>
                  </a:cubicBezTo>
                  <a:cubicBezTo>
                    <a:pt x="304" y="280"/>
                    <a:pt x="294" y="260"/>
                    <a:pt x="286" y="240"/>
                  </a:cubicBezTo>
                  <a:cubicBezTo>
                    <a:pt x="285" y="237"/>
                    <a:pt x="281" y="238"/>
                    <a:pt x="282" y="241"/>
                  </a:cubicBezTo>
                  <a:cubicBezTo>
                    <a:pt x="290" y="266"/>
                    <a:pt x="296" y="293"/>
                    <a:pt x="307" y="317"/>
                  </a:cubicBezTo>
                  <a:cubicBezTo>
                    <a:pt x="296" y="358"/>
                    <a:pt x="282" y="404"/>
                    <a:pt x="252" y="432"/>
                  </a:cubicBezTo>
                  <a:cubicBezTo>
                    <a:pt x="227" y="455"/>
                    <a:pt x="195" y="445"/>
                    <a:pt x="170" y="428"/>
                  </a:cubicBezTo>
                  <a:cubicBezTo>
                    <a:pt x="155" y="418"/>
                    <a:pt x="156" y="413"/>
                    <a:pt x="159" y="395"/>
                  </a:cubicBezTo>
                  <a:cubicBezTo>
                    <a:pt x="159" y="394"/>
                    <a:pt x="159" y="393"/>
                    <a:pt x="159" y="392"/>
                  </a:cubicBezTo>
                  <a:cubicBezTo>
                    <a:pt x="168" y="370"/>
                    <a:pt x="175" y="347"/>
                    <a:pt x="182" y="324"/>
                  </a:cubicBezTo>
                  <a:cubicBezTo>
                    <a:pt x="184" y="318"/>
                    <a:pt x="179" y="312"/>
                    <a:pt x="174" y="312"/>
                  </a:cubicBezTo>
                  <a:cubicBezTo>
                    <a:pt x="232" y="247"/>
                    <a:pt x="273" y="166"/>
                    <a:pt x="283" y="79"/>
                  </a:cubicBezTo>
                  <a:cubicBezTo>
                    <a:pt x="284" y="73"/>
                    <a:pt x="274" y="68"/>
                    <a:pt x="272" y="75"/>
                  </a:cubicBezTo>
                  <a:cubicBezTo>
                    <a:pt x="260" y="113"/>
                    <a:pt x="246" y="151"/>
                    <a:pt x="235" y="190"/>
                  </a:cubicBezTo>
                  <a:cubicBezTo>
                    <a:pt x="233" y="193"/>
                    <a:pt x="231" y="197"/>
                    <a:pt x="229" y="201"/>
                  </a:cubicBezTo>
                  <a:cubicBezTo>
                    <a:pt x="229" y="185"/>
                    <a:pt x="229" y="169"/>
                    <a:pt x="230" y="153"/>
                  </a:cubicBezTo>
                  <a:cubicBezTo>
                    <a:pt x="230" y="143"/>
                    <a:pt x="216" y="139"/>
                    <a:pt x="213" y="149"/>
                  </a:cubicBezTo>
                  <a:cubicBezTo>
                    <a:pt x="207" y="179"/>
                    <a:pt x="200" y="211"/>
                    <a:pt x="178" y="234"/>
                  </a:cubicBezTo>
                  <a:cubicBezTo>
                    <a:pt x="155" y="256"/>
                    <a:pt x="112" y="264"/>
                    <a:pt x="97" y="228"/>
                  </a:cubicBezTo>
                  <a:cubicBezTo>
                    <a:pt x="95" y="224"/>
                    <a:pt x="90" y="222"/>
                    <a:pt x="86" y="224"/>
                  </a:cubicBezTo>
                  <a:cubicBezTo>
                    <a:pt x="83" y="226"/>
                    <a:pt x="80" y="227"/>
                    <a:pt x="77" y="228"/>
                  </a:cubicBezTo>
                  <a:cubicBezTo>
                    <a:pt x="87" y="196"/>
                    <a:pt x="104" y="168"/>
                    <a:pt x="128" y="143"/>
                  </a:cubicBezTo>
                  <a:cubicBezTo>
                    <a:pt x="131" y="140"/>
                    <a:pt x="128" y="134"/>
                    <a:pt x="124" y="132"/>
                  </a:cubicBezTo>
                  <a:cubicBezTo>
                    <a:pt x="127" y="128"/>
                    <a:pt x="130" y="124"/>
                    <a:pt x="134" y="120"/>
                  </a:cubicBezTo>
                  <a:cubicBezTo>
                    <a:pt x="138" y="114"/>
                    <a:pt x="129" y="105"/>
                    <a:pt x="124" y="109"/>
                  </a:cubicBezTo>
                  <a:cubicBezTo>
                    <a:pt x="118" y="114"/>
                    <a:pt x="112" y="119"/>
                    <a:pt x="106" y="124"/>
                  </a:cubicBezTo>
                  <a:cubicBezTo>
                    <a:pt x="113" y="114"/>
                    <a:pt x="121" y="104"/>
                    <a:pt x="129" y="94"/>
                  </a:cubicBezTo>
                  <a:cubicBezTo>
                    <a:pt x="143" y="81"/>
                    <a:pt x="157" y="68"/>
                    <a:pt x="171" y="54"/>
                  </a:cubicBezTo>
                  <a:cubicBezTo>
                    <a:pt x="177" y="48"/>
                    <a:pt x="166" y="38"/>
                    <a:pt x="160" y="43"/>
                  </a:cubicBezTo>
                  <a:cubicBezTo>
                    <a:pt x="134" y="60"/>
                    <a:pt x="108" y="71"/>
                    <a:pt x="79" y="78"/>
                  </a:cubicBezTo>
                  <a:cubicBezTo>
                    <a:pt x="94" y="71"/>
                    <a:pt x="108" y="63"/>
                    <a:pt x="120" y="52"/>
                  </a:cubicBezTo>
                  <a:cubicBezTo>
                    <a:pt x="141" y="43"/>
                    <a:pt x="160" y="29"/>
                    <a:pt x="175" y="11"/>
                  </a:cubicBezTo>
                  <a:cubicBezTo>
                    <a:pt x="179" y="7"/>
                    <a:pt x="171" y="0"/>
                    <a:pt x="167" y="5"/>
                  </a:cubicBezTo>
                  <a:cubicBezTo>
                    <a:pt x="124" y="47"/>
                    <a:pt x="63" y="67"/>
                    <a:pt x="3" y="56"/>
                  </a:cubicBezTo>
                  <a:cubicBezTo>
                    <a:pt x="0" y="56"/>
                    <a:pt x="0" y="60"/>
                    <a:pt x="3" y="60"/>
                  </a:cubicBezTo>
                  <a:cubicBezTo>
                    <a:pt x="30" y="69"/>
                    <a:pt x="58" y="70"/>
                    <a:pt x="84" y="64"/>
                  </a:cubicBezTo>
                  <a:cubicBezTo>
                    <a:pt x="62" y="76"/>
                    <a:pt x="38" y="83"/>
                    <a:pt x="11" y="86"/>
                  </a:cubicBezTo>
                  <a:cubicBezTo>
                    <a:pt x="3" y="87"/>
                    <a:pt x="6" y="97"/>
                    <a:pt x="13" y="97"/>
                  </a:cubicBezTo>
                  <a:cubicBezTo>
                    <a:pt x="50" y="100"/>
                    <a:pt x="86" y="94"/>
                    <a:pt x="120" y="80"/>
                  </a:cubicBezTo>
                  <a:cubicBezTo>
                    <a:pt x="114" y="86"/>
                    <a:pt x="109" y="93"/>
                    <a:pt x="103" y="99"/>
                  </a:cubicBezTo>
                  <a:cubicBezTo>
                    <a:pt x="100" y="102"/>
                    <a:pt x="103" y="107"/>
                    <a:pt x="107" y="109"/>
                  </a:cubicBezTo>
                  <a:cubicBezTo>
                    <a:pt x="92" y="126"/>
                    <a:pt x="78" y="142"/>
                    <a:pt x="63" y="158"/>
                  </a:cubicBezTo>
                  <a:cubicBezTo>
                    <a:pt x="58" y="163"/>
                    <a:pt x="67" y="171"/>
                    <a:pt x="72" y="168"/>
                  </a:cubicBezTo>
                  <a:cubicBezTo>
                    <a:pt x="75" y="165"/>
                    <a:pt x="78" y="163"/>
                    <a:pt x="81" y="161"/>
                  </a:cubicBezTo>
                  <a:cubicBezTo>
                    <a:pt x="78" y="164"/>
                    <a:pt x="75" y="168"/>
                    <a:pt x="72" y="172"/>
                  </a:cubicBezTo>
                  <a:cubicBezTo>
                    <a:pt x="68" y="177"/>
                    <a:pt x="76" y="187"/>
                    <a:pt x="82" y="182"/>
                  </a:cubicBezTo>
                  <a:cubicBezTo>
                    <a:pt x="82" y="182"/>
                    <a:pt x="82" y="182"/>
                    <a:pt x="82" y="182"/>
                  </a:cubicBezTo>
                  <a:cubicBezTo>
                    <a:pt x="73" y="200"/>
                    <a:pt x="66" y="219"/>
                    <a:pt x="61" y="240"/>
                  </a:cubicBezTo>
                  <a:cubicBezTo>
                    <a:pt x="60" y="244"/>
                    <a:pt x="66" y="248"/>
                    <a:pt x="70" y="247"/>
                  </a:cubicBezTo>
                  <a:cubicBezTo>
                    <a:pt x="76" y="245"/>
                    <a:pt x="81" y="242"/>
                    <a:pt x="87" y="240"/>
                  </a:cubicBezTo>
                  <a:cubicBezTo>
                    <a:pt x="103" y="267"/>
                    <a:pt x="139" y="276"/>
                    <a:pt x="168" y="262"/>
                  </a:cubicBezTo>
                  <a:cubicBezTo>
                    <a:pt x="190" y="252"/>
                    <a:pt x="204" y="233"/>
                    <a:pt x="214" y="212"/>
                  </a:cubicBezTo>
                  <a:cubicBezTo>
                    <a:pt x="214" y="212"/>
                    <a:pt x="214" y="213"/>
                    <a:pt x="214" y="214"/>
                  </a:cubicBezTo>
                  <a:cubicBezTo>
                    <a:pt x="214" y="217"/>
                    <a:pt x="216" y="220"/>
                    <a:pt x="218" y="221"/>
                  </a:cubicBezTo>
                  <a:cubicBezTo>
                    <a:pt x="197" y="258"/>
                    <a:pt x="171" y="291"/>
                    <a:pt x="140" y="321"/>
                  </a:cubicBezTo>
                  <a:cubicBezTo>
                    <a:pt x="134" y="327"/>
                    <a:pt x="144" y="336"/>
                    <a:pt x="151" y="334"/>
                  </a:cubicBezTo>
                  <a:cubicBezTo>
                    <a:pt x="154" y="334"/>
                    <a:pt x="157" y="333"/>
                    <a:pt x="161" y="332"/>
                  </a:cubicBezTo>
                  <a:cubicBezTo>
                    <a:pt x="153" y="354"/>
                    <a:pt x="146" y="377"/>
                    <a:pt x="140" y="400"/>
                  </a:cubicBezTo>
                  <a:cubicBezTo>
                    <a:pt x="139" y="404"/>
                    <a:pt x="142" y="407"/>
                    <a:pt x="146" y="408"/>
                  </a:cubicBezTo>
                  <a:cubicBezTo>
                    <a:pt x="145" y="411"/>
                    <a:pt x="144" y="415"/>
                    <a:pt x="143" y="418"/>
                  </a:cubicBezTo>
                  <a:cubicBezTo>
                    <a:pt x="143" y="421"/>
                    <a:pt x="143" y="423"/>
                    <a:pt x="146" y="425"/>
                  </a:cubicBezTo>
                  <a:cubicBezTo>
                    <a:pt x="178" y="452"/>
                    <a:pt x="227" y="480"/>
                    <a:pt x="264" y="444"/>
                  </a:cubicBezTo>
                  <a:cubicBezTo>
                    <a:pt x="300" y="410"/>
                    <a:pt x="320" y="349"/>
                    <a:pt x="324" y="302"/>
                  </a:cubicBezTo>
                  <a:cubicBezTo>
                    <a:pt x="324" y="295"/>
                    <a:pt x="313" y="290"/>
                    <a:pt x="312" y="29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îṩlíḑé">
              <a:extLst>
                <a:ext uri="{FF2B5EF4-FFF2-40B4-BE49-F238E27FC236}">
                  <a16:creationId xmlns:a16="http://schemas.microsoft.com/office/drawing/2014/main" id="{F88FED60-EACC-4F5B-B9ED-29A87BD1A5FC}"/>
                </a:ext>
              </a:extLst>
            </p:cNvPr>
            <p:cNvSpPr/>
            <p:nvPr/>
          </p:nvSpPr>
          <p:spPr bwMode="auto">
            <a:xfrm>
              <a:off x="6072188" y="5105401"/>
              <a:ext cx="1116013" cy="790575"/>
            </a:xfrm>
            <a:custGeom>
              <a:avLst/>
              <a:gdLst>
                <a:gd name="T0" fmla="*/ 793 w 810"/>
                <a:gd name="T1" fmla="*/ 126 h 575"/>
                <a:gd name="T2" fmla="*/ 398 w 810"/>
                <a:gd name="T3" fmla="*/ 113 h 575"/>
                <a:gd name="T4" fmla="*/ 342 w 810"/>
                <a:gd name="T5" fmla="*/ 50 h 575"/>
                <a:gd name="T6" fmla="*/ 355 w 810"/>
                <a:gd name="T7" fmla="*/ 80 h 575"/>
                <a:gd name="T8" fmla="*/ 401 w 810"/>
                <a:gd name="T9" fmla="*/ 134 h 575"/>
                <a:gd name="T10" fmla="*/ 395 w 810"/>
                <a:gd name="T11" fmla="*/ 160 h 575"/>
                <a:gd name="T12" fmla="*/ 449 w 810"/>
                <a:gd name="T13" fmla="*/ 193 h 575"/>
                <a:gd name="T14" fmla="*/ 612 w 810"/>
                <a:gd name="T15" fmla="*/ 348 h 575"/>
                <a:gd name="T16" fmla="*/ 608 w 810"/>
                <a:gd name="T17" fmla="*/ 362 h 575"/>
                <a:gd name="T18" fmla="*/ 475 w 810"/>
                <a:gd name="T19" fmla="*/ 326 h 575"/>
                <a:gd name="T20" fmla="*/ 424 w 810"/>
                <a:gd name="T21" fmla="*/ 298 h 575"/>
                <a:gd name="T22" fmla="*/ 409 w 810"/>
                <a:gd name="T23" fmla="*/ 292 h 575"/>
                <a:gd name="T24" fmla="*/ 173 w 810"/>
                <a:gd name="T25" fmla="*/ 8 h 575"/>
                <a:gd name="T26" fmla="*/ 339 w 810"/>
                <a:gd name="T27" fmla="*/ 262 h 575"/>
                <a:gd name="T28" fmla="*/ 506 w 810"/>
                <a:gd name="T29" fmla="*/ 454 h 575"/>
                <a:gd name="T30" fmla="*/ 441 w 810"/>
                <a:gd name="T31" fmla="*/ 386 h 575"/>
                <a:gd name="T32" fmla="*/ 443 w 810"/>
                <a:gd name="T33" fmla="*/ 442 h 575"/>
                <a:gd name="T34" fmla="*/ 440 w 810"/>
                <a:gd name="T35" fmla="*/ 448 h 575"/>
                <a:gd name="T36" fmla="*/ 485 w 810"/>
                <a:gd name="T37" fmla="*/ 547 h 575"/>
                <a:gd name="T38" fmla="*/ 265 w 810"/>
                <a:gd name="T39" fmla="*/ 398 h 575"/>
                <a:gd name="T40" fmla="*/ 139 w 810"/>
                <a:gd name="T41" fmla="*/ 209 h 575"/>
                <a:gd name="T42" fmla="*/ 21 w 810"/>
                <a:gd name="T43" fmla="*/ 7 h 575"/>
                <a:gd name="T44" fmla="*/ 61 w 810"/>
                <a:gd name="T45" fmla="*/ 123 h 575"/>
                <a:gd name="T46" fmla="*/ 2 w 810"/>
                <a:gd name="T47" fmla="*/ 82 h 575"/>
                <a:gd name="T48" fmla="*/ 90 w 810"/>
                <a:gd name="T49" fmla="*/ 154 h 575"/>
                <a:gd name="T50" fmla="*/ 255 w 810"/>
                <a:gd name="T51" fmla="*/ 408 h 575"/>
                <a:gd name="T52" fmla="*/ 489 w 810"/>
                <a:gd name="T53" fmla="*/ 565 h 575"/>
                <a:gd name="T54" fmla="*/ 497 w 810"/>
                <a:gd name="T55" fmla="*/ 568 h 575"/>
                <a:gd name="T56" fmla="*/ 457 w 810"/>
                <a:gd name="T57" fmla="*/ 454 h 575"/>
                <a:gd name="T58" fmla="*/ 529 w 810"/>
                <a:gd name="T59" fmla="*/ 461 h 575"/>
                <a:gd name="T60" fmla="*/ 469 w 810"/>
                <a:gd name="T61" fmla="*/ 342 h 575"/>
                <a:gd name="T62" fmla="*/ 617 w 810"/>
                <a:gd name="T63" fmla="*/ 380 h 575"/>
                <a:gd name="T64" fmla="*/ 625 w 810"/>
                <a:gd name="T65" fmla="*/ 368 h 575"/>
                <a:gd name="T66" fmla="*/ 457 w 810"/>
                <a:gd name="T67" fmla="*/ 194 h 575"/>
                <a:gd name="T68" fmla="*/ 476 w 810"/>
                <a:gd name="T69" fmla="*/ 199 h 575"/>
                <a:gd name="T70" fmla="*/ 468 w 810"/>
                <a:gd name="T71" fmla="*/ 17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0" h="575">
                  <a:moveTo>
                    <a:pt x="803" y="139"/>
                  </a:moveTo>
                  <a:cubicBezTo>
                    <a:pt x="810" y="133"/>
                    <a:pt x="801" y="121"/>
                    <a:pt x="793" y="126"/>
                  </a:cubicBezTo>
                  <a:cubicBezTo>
                    <a:pt x="723" y="171"/>
                    <a:pt x="645" y="197"/>
                    <a:pt x="561" y="186"/>
                  </a:cubicBezTo>
                  <a:cubicBezTo>
                    <a:pt x="500" y="178"/>
                    <a:pt x="445" y="152"/>
                    <a:pt x="398" y="113"/>
                  </a:cubicBezTo>
                  <a:cubicBezTo>
                    <a:pt x="379" y="93"/>
                    <a:pt x="363" y="70"/>
                    <a:pt x="346" y="48"/>
                  </a:cubicBezTo>
                  <a:cubicBezTo>
                    <a:pt x="345" y="46"/>
                    <a:pt x="341" y="47"/>
                    <a:pt x="342" y="50"/>
                  </a:cubicBezTo>
                  <a:cubicBezTo>
                    <a:pt x="346" y="59"/>
                    <a:pt x="351" y="68"/>
                    <a:pt x="356" y="76"/>
                  </a:cubicBezTo>
                  <a:cubicBezTo>
                    <a:pt x="355" y="77"/>
                    <a:pt x="354" y="78"/>
                    <a:pt x="355" y="80"/>
                  </a:cubicBezTo>
                  <a:cubicBezTo>
                    <a:pt x="364" y="92"/>
                    <a:pt x="373" y="103"/>
                    <a:pt x="383" y="114"/>
                  </a:cubicBezTo>
                  <a:cubicBezTo>
                    <a:pt x="389" y="121"/>
                    <a:pt x="395" y="128"/>
                    <a:pt x="401" y="134"/>
                  </a:cubicBezTo>
                  <a:cubicBezTo>
                    <a:pt x="415" y="150"/>
                    <a:pt x="431" y="167"/>
                    <a:pt x="448" y="181"/>
                  </a:cubicBezTo>
                  <a:cubicBezTo>
                    <a:pt x="429" y="179"/>
                    <a:pt x="412" y="173"/>
                    <a:pt x="395" y="160"/>
                  </a:cubicBezTo>
                  <a:cubicBezTo>
                    <a:pt x="393" y="158"/>
                    <a:pt x="390" y="160"/>
                    <a:pt x="392" y="162"/>
                  </a:cubicBezTo>
                  <a:cubicBezTo>
                    <a:pt x="406" y="178"/>
                    <a:pt x="427" y="190"/>
                    <a:pt x="449" y="193"/>
                  </a:cubicBezTo>
                  <a:cubicBezTo>
                    <a:pt x="469" y="225"/>
                    <a:pt x="503" y="240"/>
                    <a:pt x="536" y="255"/>
                  </a:cubicBezTo>
                  <a:cubicBezTo>
                    <a:pt x="573" y="273"/>
                    <a:pt x="618" y="302"/>
                    <a:pt x="612" y="348"/>
                  </a:cubicBezTo>
                  <a:cubicBezTo>
                    <a:pt x="609" y="348"/>
                    <a:pt x="606" y="350"/>
                    <a:pt x="607" y="354"/>
                  </a:cubicBezTo>
                  <a:cubicBezTo>
                    <a:pt x="608" y="357"/>
                    <a:pt x="608" y="359"/>
                    <a:pt x="608" y="362"/>
                  </a:cubicBezTo>
                  <a:cubicBezTo>
                    <a:pt x="588" y="357"/>
                    <a:pt x="567" y="355"/>
                    <a:pt x="546" y="350"/>
                  </a:cubicBezTo>
                  <a:cubicBezTo>
                    <a:pt x="522" y="343"/>
                    <a:pt x="498" y="335"/>
                    <a:pt x="475" y="326"/>
                  </a:cubicBezTo>
                  <a:cubicBezTo>
                    <a:pt x="459" y="319"/>
                    <a:pt x="444" y="311"/>
                    <a:pt x="429" y="303"/>
                  </a:cubicBezTo>
                  <a:cubicBezTo>
                    <a:pt x="428" y="301"/>
                    <a:pt x="427" y="299"/>
                    <a:pt x="424" y="298"/>
                  </a:cubicBezTo>
                  <a:cubicBezTo>
                    <a:pt x="419" y="296"/>
                    <a:pt x="415" y="294"/>
                    <a:pt x="411" y="293"/>
                  </a:cubicBezTo>
                  <a:cubicBezTo>
                    <a:pt x="410" y="292"/>
                    <a:pt x="410" y="292"/>
                    <a:pt x="409" y="292"/>
                  </a:cubicBezTo>
                  <a:cubicBezTo>
                    <a:pt x="387" y="279"/>
                    <a:pt x="366" y="265"/>
                    <a:pt x="346" y="249"/>
                  </a:cubicBezTo>
                  <a:cubicBezTo>
                    <a:pt x="267" y="186"/>
                    <a:pt x="207" y="103"/>
                    <a:pt x="173" y="8"/>
                  </a:cubicBezTo>
                  <a:cubicBezTo>
                    <a:pt x="172" y="6"/>
                    <a:pt x="168" y="7"/>
                    <a:pt x="169" y="10"/>
                  </a:cubicBezTo>
                  <a:cubicBezTo>
                    <a:pt x="199" y="109"/>
                    <a:pt x="260" y="196"/>
                    <a:pt x="339" y="262"/>
                  </a:cubicBezTo>
                  <a:cubicBezTo>
                    <a:pt x="360" y="279"/>
                    <a:pt x="382" y="294"/>
                    <a:pt x="405" y="308"/>
                  </a:cubicBezTo>
                  <a:cubicBezTo>
                    <a:pt x="438" y="357"/>
                    <a:pt x="471" y="406"/>
                    <a:pt x="506" y="454"/>
                  </a:cubicBezTo>
                  <a:cubicBezTo>
                    <a:pt x="488" y="450"/>
                    <a:pt x="471" y="446"/>
                    <a:pt x="454" y="443"/>
                  </a:cubicBezTo>
                  <a:cubicBezTo>
                    <a:pt x="449" y="424"/>
                    <a:pt x="444" y="405"/>
                    <a:pt x="441" y="386"/>
                  </a:cubicBezTo>
                  <a:cubicBezTo>
                    <a:pt x="441" y="383"/>
                    <a:pt x="436" y="382"/>
                    <a:pt x="437" y="385"/>
                  </a:cubicBezTo>
                  <a:cubicBezTo>
                    <a:pt x="437" y="404"/>
                    <a:pt x="439" y="423"/>
                    <a:pt x="443" y="442"/>
                  </a:cubicBezTo>
                  <a:cubicBezTo>
                    <a:pt x="443" y="442"/>
                    <a:pt x="442" y="442"/>
                    <a:pt x="442" y="442"/>
                  </a:cubicBezTo>
                  <a:cubicBezTo>
                    <a:pt x="438" y="441"/>
                    <a:pt x="436" y="446"/>
                    <a:pt x="440" y="448"/>
                  </a:cubicBezTo>
                  <a:cubicBezTo>
                    <a:pt x="442" y="448"/>
                    <a:pt x="444" y="449"/>
                    <a:pt x="445" y="450"/>
                  </a:cubicBezTo>
                  <a:cubicBezTo>
                    <a:pt x="453" y="484"/>
                    <a:pt x="467" y="517"/>
                    <a:pt x="485" y="547"/>
                  </a:cubicBezTo>
                  <a:cubicBezTo>
                    <a:pt x="446" y="527"/>
                    <a:pt x="406" y="510"/>
                    <a:pt x="369" y="485"/>
                  </a:cubicBezTo>
                  <a:cubicBezTo>
                    <a:pt x="331" y="460"/>
                    <a:pt x="296" y="430"/>
                    <a:pt x="265" y="398"/>
                  </a:cubicBezTo>
                  <a:cubicBezTo>
                    <a:pt x="212" y="344"/>
                    <a:pt x="171" y="283"/>
                    <a:pt x="138" y="216"/>
                  </a:cubicBezTo>
                  <a:cubicBezTo>
                    <a:pt x="139" y="215"/>
                    <a:pt x="140" y="212"/>
                    <a:pt x="139" y="209"/>
                  </a:cubicBezTo>
                  <a:cubicBezTo>
                    <a:pt x="124" y="175"/>
                    <a:pt x="101" y="143"/>
                    <a:pt x="82" y="110"/>
                  </a:cubicBezTo>
                  <a:cubicBezTo>
                    <a:pt x="61" y="76"/>
                    <a:pt x="41" y="41"/>
                    <a:pt x="21" y="7"/>
                  </a:cubicBezTo>
                  <a:cubicBezTo>
                    <a:pt x="17" y="0"/>
                    <a:pt x="4" y="5"/>
                    <a:pt x="8" y="13"/>
                  </a:cubicBezTo>
                  <a:cubicBezTo>
                    <a:pt x="26" y="49"/>
                    <a:pt x="43" y="87"/>
                    <a:pt x="61" y="123"/>
                  </a:cubicBezTo>
                  <a:cubicBezTo>
                    <a:pt x="43" y="108"/>
                    <a:pt x="25" y="92"/>
                    <a:pt x="6" y="79"/>
                  </a:cubicBezTo>
                  <a:cubicBezTo>
                    <a:pt x="4" y="78"/>
                    <a:pt x="0" y="80"/>
                    <a:pt x="2" y="82"/>
                  </a:cubicBezTo>
                  <a:cubicBezTo>
                    <a:pt x="25" y="109"/>
                    <a:pt x="53" y="132"/>
                    <a:pt x="79" y="156"/>
                  </a:cubicBezTo>
                  <a:cubicBezTo>
                    <a:pt x="82" y="159"/>
                    <a:pt x="88" y="158"/>
                    <a:pt x="90" y="154"/>
                  </a:cubicBezTo>
                  <a:cubicBezTo>
                    <a:pt x="100" y="173"/>
                    <a:pt x="110" y="191"/>
                    <a:pt x="122" y="208"/>
                  </a:cubicBezTo>
                  <a:cubicBezTo>
                    <a:pt x="152" y="282"/>
                    <a:pt x="199" y="351"/>
                    <a:pt x="255" y="408"/>
                  </a:cubicBezTo>
                  <a:cubicBezTo>
                    <a:pt x="288" y="443"/>
                    <a:pt x="325" y="474"/>
                    <a:pt x="364" y="500"/>
                  </a:cubicBezTo>
                  <a:cubicBezTo>
                    <a:pt x="402" y="525"/>
                    <a:pt x="445" y="553"/>
                    <a:pt x="489" y="565"/>
                  </a:cubicBezTo>
                  <a:cubicBezTo>
                    <a:pt x="492" y="566"/>
                    <a:pt x="493" y="565"/>
                    <a:pt x="495" y="564"/>
                  </a:cubicBezTo>
                  <a:cubicBezTo>
                    <a:pt x="496" y="565"/>
                    <a:pt x="496" y="567"/>
                    <a:pt x="497" y="568"/>
                  </a:cubicBezTo>
                  <a:cubicBezTo>
                    <a:pt x="502" y="575"/>
                    <a:pt x="513" y="568"/>
                    <a:pt x="508" y="561"/>
                  </a:cubicBezTo>
                  <a:cubicBezTo>
                    <a:pt x="485" y="527"/>
                    <a:pt x="469" y="491"/>
                    <a:pt x="457" y="454"/>
                  </a:cubicBezTo>
                  <a:cubicBezTo>
                    <a:pt x="479" y="461"/>
                    <a:pt x="501" y="466"/>
                    <a:pt x="522" y="472"/>
                  </a:cubicBezTo>
                  <a:cubicBezTo>
                    <a:pt x="530" y="475"/>
                    <a:pt x="532" y="466"/>
                    <a:pt x="529" y="461"/>
                  </a:cubicBezTo>
                  <a:cubicBezTo>
                    <a:pt x="501" y="415"/>
                    <a:pt x="469" y="371"/>
                    <a:pt x="438" y="327"/>
                  </a:cubicBezTo>
                  <a:cubicBezTo>
                    <a:pt x="448" y="332"/>
                    <a:pt x="458" y="337"/>
                    <a:pt x="469" y="342"/>
                  </a:cubicBezTo>
                  <a:cubicBezTo>
                    <a:pt x="491" y="352"/>
                    <a:pt x="515" y="360"/>
                    <a:pt x="539" y="367"/>
                  </a:cubicBezTo>
                  <a:cubicBezTo>
                    <a:pt x="563" y="373"/>
                    <a:pt x="592" y="382"/>
                    <a:pt x="617" y="380"/>
                  </a:cubicBezTo>
                  <a:cubicBezTo>
                    <a:pt x="624" y="380"/>
                    <a:pt x="625" y="374"/>
                    <a:pt x="623" y="370"/>
                  </a:cubicBezTo>
                  <a:cubicBezTo>
                    <a:pt x="624" y="369"/>
                    <a:pt x="624" y="369"/>
                    <a:pt x="625" y="368"/>
                  </a:cubicBezTo>
                  <a:cubicBezTo>
                    <a:pt x="644" y="330"/>
                    <a:pt x="616" y="287"/>
                    <a:pt x="585" y="266"/>
                  </a:cubicBezTo>
                  <a:cubicBezTo>
                    <a:pt x="544" y="238"/>
                    <a:pt x="491" y="231"/>
                    <a:pt x="457" y="194"/>
                  </a:cubicBezTo>
                  <a:cubicBezTo>
                    <a:pt x="460" y="194"/>
                    <a:pt x="463" y="193"/>
                    <a:pt x="466" y="193"/>
                  </a:cubicBezTo>
                  <a:cubicBezTo>
                    <a:pt x="469" y="195"/>
                    <a:pt x="473" y="197"/>
                    <a:pt x="476" y="199"/>
                  </a:cubicBezTo>
                  <a:cubicBezTo>
                    <a:pt x="484" y="202"/>
                    <a:pt x="488" y="193"/>
                    <a:pt x="483" y="188"/>
                  </a:cubicBezTo>
                  <a:cubicBezTo>
                    <a:pt x="478" y="183"/>
                    <a:pt x="473" y="179"/>
                    <a:pt x="468" y="175"/>
                  </a:cubicBezTo>
                  <a:cubicBezTo>
                    <a:pt x="575" y="226"/>
                    <a:pt x="712" y="219"/>
                    <a:pt x="803" y="13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íślídê">
              <a:extLst>
                <a:ext uri="{FF2B5EF4-FFF2-40B4-BE49-F238E27FC236}">
                  <a16:creationId xmlns:a16="http://schemas.microsoft.com/office/drawing/2014/main" id="{4A377D84-EBAE-4CCB-82FD-3C1AF5C6E621}"/>
                </a:ext>
              </a:extLst>
            </p:cNvPr>
            <p:cNvSpPr/>
            <p:nvPr/>
          </p:nvSpPr>
          <p:spPr bwMode="auto">
            <a:xfrm>
              <a:off x="6715126" y="5102226"/>
              <a:ext cx="511175" cy="161925"/>
            </a:xfrm>
            <a:custGeom>
              <a:avLst/>
              <a:gdLst>
                <a:gd name="T0" fmla="*/ 337 w 371"/>
                <a:gd name="T1" fmla="*/ 3 h 118"/>
                <a:gd name="T2" fmla="*/ 329 w 371"/>
                <a:gd name="T3" fmla="*/ 1 h 118"/>
                <a:gd name="T4" fmla="*/ 252 w 371"/>
                <a:gd name="T5" fmla="*/ 36 h 118"/>
                <a:gd name="T6" fmla="*/ 243 w 371"/>
                <a:gd name="T7" fmla="*/ 32 h 118"/>
                <a:gd name="T8" fmla="*/ 5 w 371"/>
                <a:gd name="T9" fmla="*/ 2 h 118"/>
                <a:gd name="T10" fmla="*/ 2 w 371"/>
                <a:gd name="T11" fmla="*/ 7 h 118"/>
                <a:gd name="T12" fmla="*/ 197 w 371"/>
                <a:gd name="T13" fmla="*/ 60 h 118"/>
                <a:gd name="T14" fmla="*/ 153 w 371"/>
                <a:gd name="T15" fmla="*/ 83 h 118"/>
                <a:gd name="T16" fmla="*/ 161 w 371"/>
                <a:gd name="T17" fmla="*/ 96 h 118"/>
                <a:gd name="T18" fmla="*/ 331 w 371"/>
                <a:gd name="T19" fmla="*/ 18 h 118"/>
                <a:gd name="T20" fmla="*/ 346 w 371"/>
                <a:gd name="T21" fmla="*/ 47 h 118"/>
                <a:gd name="T22" fmla="*/ 330 w 371"/>
                <a:gd name="T23" fmla="*/ 41 h 118"/>
                <a:gd name="T24" fmla="*/ 328 w 371"/>
                <a:gd name="T25" fmla="*/ 47 h 118"/>
                <a:gd name="T26" fmla="*/ 345 w 371"/>
                <a:gd name="T27" fmla="*/ 55 h 118"/>
                <a:gd name="T28" fmla="*/ 347 w 371"/>
                <a:gd name="T29" fmla="*/ 55 h 118"/>
                <a:gd name="T30" fmla="*/ 327 w 371"/>
                <a:gd name="T31" fmla="*/ 103 h 118"/>
                <a:gd name="T32" fmla="*/ 337 w 371"/>
                <a:gd name="T33" fmla="*/ 114 h 118"/>
                <a:gd name="T34" fmla="*/ 337 w 371"/>
                <a:gd name="T35" fmla="*/ 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1" h="118">
                  <a:moveTo>
                    <a:pt x="337" y="3"/>
                  </a:moveTo>
                  <a:cubicBezTo>
                    <a:pt x="335" y="1"/>
                    <a:pt x="331" y="0"/>
                    <a:pt x="329" y="1"/>
                  </a:cubicBezTo>
                  <a:cubicBezTo>
                    <a:pt x="303" y="13"/>
                    <a:pt x="277" y="24"/>
                    <a:pt x="252" y="36"/>
                  </a:cubicBezTo>
                  <a:cubicBezTo>
                    <a:pt x="250" y="33"/>
                    <a:pt x="247" y="31"/>
                    <a:pt x="243" y="32"/>
                  </a:cubicBezTo>
                  <a:cubicBezTo>
                    <a:pt x="159" y="55"/>
                    <a:pt x="80" y="47"/>
                    <a:pt x="5" y="2"/>
                  </a:cubicBezTo>
                  <a:cubicBezTo>
                    <a:pt x="2" y="1"/>
                    <a:pt x="0" y="5"/>
                    <a:pt x="2" y="7"/>
                  </a:cubicBezTo>
                  <a:cubicBezTo>
                    <a:pt x="53" y="50"/>
                    <a:pt x="129" y="70"/>
                    <a:pt x="197" y="60"/>
                  </a:cubicBezTo>
                  <a:cubicBezTo>
                    <a:pt x="182" y="68"/>
                    <a:pt x="168" y="75"/>
                    <a:pt x="153" y="83"/>
                  </a:cubicBezTo>
                  <a:cubicBezTo>
                    <a:pt x="146" y="87"/>
                    <a:pt x="154" y="99"/>
                    <a:pt x="161" y="96"/>
                  </a:cubicBezTo>
                  <a:cubicBezTo>
                    <a:pt x="219" y="72"/>
                    <a:pt x="275" y="45"/>
                    <a:pt x="331" y="18"/>
                  </a:cubicBezTo>
                  <a:cubicBezTo>
                    <a:pt x="339" y="27"/>
                    <a:pt x="344" y="37"/>
                    <a:pt x="346" y="47"/>
                  </a:cubicBezTo>
                  <a:cubicBezTo>
                    <a:pt x="341" y="45"/>
                    <a:pt x="336" y="43"/>
                    <a:pt x="330" y="41"/>
                  </a:cubicBezTo>
                  <a:cubicBezTo>
                    <a:pt x="326" y="39"/>
                    <a:pt x="324" y="46"/>
                    <a:pt x="328" y="47"/>
                  </a:cubicBezTo>
                  <a:cubicBezTo>
                    <a:pt x="334" y="50"/>
                    <a:pt x="339" y="52"/>
                    <a:pt x="345" y="55"/>
                  </a:cubicBezTo>
                  <a:cubicBezTo>
                    <a:pt x="346" y="55"/>
                    <a:pt x="346" y="55"/>
                    <a:pt x="347" y="55"/>
                  </a:cubicBezTo>
                  <a:cubicBezTo>
                    <a:pt x="348" y="72"/>
                    <a:pt x="341" y="90"/>
                    <a:pt x="327" y="103"/>
                  </a:cubicBezTo>
                  <a:cubicBezTo>
                    <a:pt x="322" y="108"/>
                    <a:pt x="332" y="118"/>
                    <a:pt x="337" y="114"/>
                  </a:cubicBezTo>
                  <a:cubicBezTo>
                    <a:pt x="371" y="85"/>
                    <a:pt x="370" y="32"/>
                    <a:pt x="337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ïSlíďê">
              <a:extLst>
                <a:ext uri="{FF2B5EF4-FFF2-40B4-BE49-F238E27FC236}">
                  <a16:creationId xmlns:a16="http://schemas.microsoft.com/office/drawing/2014/main" id="{781C8A12-5868-4C80-9910-CE034EBF836E}"/>
                </a:ext>
              </a:extLst>
            </p:cNvPr>
            <p:cNvSpPr/>
            <p:nvPr/>
          </p:nvSpPr>
          <p:spPr bwMode="auto">
            <a:xfrm>
              <a:off x="6194425" y="4884738"/>
              <a:ext cx="904875" cy="257175"/>
            </a:xfrm>
            <a:custGeom>
              <a:avLst/>
              <a:gdLst>
                <a:gd name="T0" fmla="*/ 639 w 658"/>
                <a:gd name="T1" fmla="*/ 95 h 187"/>
                <a:gd name="T2" fmla="*/ 352 w 658"/>
                <a:gd name="T3" fmla="*/ 147 h 187"/>
                <a:gd name="T4" fmla="*/ 118 w 658"/>
                <a:gd name="T5" fmla="*/ 2 h 187"/>
                <a:gd name="T6" fmla="*/ 115 w 658"/>
                <a:gd name="T7" fmla="*/ 4 h 187"/>
                <a:gd name="T8" fmla="*/ 198 w 658"/>
                <a:gd name="T9" fmla="*/ 93 h 187"/>
                <a:gd name="T10" fmla="*/ 109 w 658"/>
                <a:gd name="T11" fmla="*/ 71 h 187"/>
                <a:gd name="T12" fmla="*/ 5 w 658"/>
                <a:gd name="T13" fmla="*/ 12 h 187"/>
                <a:gd name="T14" fmla="*/ 2 w 658"/>
                <a:gd name="T15" fmla="*/ 15 h 187"/>
                <a:gd name="T16" fmla="*/ 226 w 658"/>
                <a:gd name="T17" fmla="*/ 113 h 187"/>
                <a:gd name="T18" fmla="*/ 350 w 658"/>
                <a:gd name="T19" fmla="*/ 165 h 187"/>
                <a:gd name="T20" fmla="*/ 649 w 658"/>
                <a:gd name="T21" fmla="*/ 109 h 187"/>
                <a:gd name="T22" fmla="*/ 639 w 658"/>
                <a:gd name="T23" fmla="*/ 9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8" h="187">
                  <a:moveTo>
                    <a:pt x="639" y="95"/>
                  </a:moveTo>
                  <a:cubicBezTo>
                    <a:pt x="552" y="146"/>
                    <a:pt x="452" y="168"/>
                    <a:pt x="352" y="147"/>
                  </a:cubicBezTo>
                  <a:cubicBezTo>
                    <a:pt x="261" y="128"/>
                    <a:pt x="176" y="75"/>
                    <a:pt x="118" y="2"/>
                  </a:cubicBezTo>
                  <a:cubicBezTo>
                    <a:pt x="116" y="0"/>
                    <a:pt x="113" y="2"/>
                    <a:pt x="115" y="4"/>
                  </a:cubicBezTo>
                  <a:cubicBezTo>
                    <a:pt x="138" y="38"/>
                    <a:pt x="166" y="68"/>
                    <a:pt x="198" y="93"/>
                  </a:cubicBezTo>
                  <a:cubicBezTo>
                    <a:pt x="168" y="88"/>
                    <a:pt x="139" y="82"/>
                    <a:pt x="109" y="71"/>
                  </a:cubicBezTo>
                  <a:cubicBezTo>
                    <a:pt x="72" y="57"/>
                    <a:pt x="36" y="37"/>
                    <a:pt x="5" y="12"/>
                  </a:cubicBezTo>
                  <a:cubicBezTo>
                    <a:pt x="2" y="10"/>
                    <a:pt x="0" y="13"/>
                    <a:pt x="2" y="15"/>
                  </a:cubicBezTo>
                  <a:cubicBezTo>
                    <a:pt x="61" y="67"/>
                    <a:pt x="145" y="113"/>
                    <a:pt x="226" y="113"/>
                  </a:cubicBezTo>
                  <a:cubicBezTo>
                    <a:pt x="263" y="137"/>
                    <a:pt x="305" y="155"/>
                    <a:pt x="350" y="165"/>
                  </a:cubicBezTo>
                  <a:cubicBezTo>
                    <a:pt x="451" y="187"/>
                    <a:pt x="563" y="168"/>
                    <a:pt x="649" y="109"/>
                  </a:cubicBezTo>
                  <a:cubicBezTo>
                    <a:pt x="658" y="103"/>
                    <a:pt x="647" y="90"/>
                    <a:pt x="639" y="9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îŝļíḋe">
              <a:extLst>
                <a:ext uri="{FF2B5EF4-FFF2-40B4-BE49-F238E27FC236}">
                  <a16:creationId xmlns:a16="http://schemas.microsoft.com/office/drawing/2014/main" id="{EA3B4B45-9858-4B46-968F-D5143175DE80}"/>
                </a:ext>
              </a:extLst>
            </p:cNvPr>
            <p:cNvSpPr/>
            <p:nvPr/>
          </p:nvSpPr>
          <p:spPr bwMode="auto">
            <a:xfrm>
              <a:off x="6764338" y="4924426"/>
              <a:ext cx="344488" cy="61913"/>
            </a:xfrm>
            <a:custGeom>
              <a:avLst/>
              <a:gdLst>
                <a:gd name="T0" fmla="*/ 236 w 251"/>
                <a:gd name="T1" fmla="*/ 2 h 45"/>
                <a:gd name="T2" fmla="*/ 182 w 251"/>
                <a:gd name="T3" fmla="*/ 21 h 45"/>
                <a:gd name="T4" fmla="*/ 121 w 251"/>
                <a:gd name="T5" fmla="*/ 30 h 45"/>
                <a:gd name="T6" fmla="*/ 3 w 251"/>
                <a:gd name="T7" fmla="*/ 16 h 45"/>
                <a:gd name="T8" fmla="*/ 2 w 251"/>
                <a:gd name="T9" fmla="*/ 20 h 45"/>
                <a:gd name="T10" fmla="*/ 123 w 251"/>
                <a:gd name="T11" fmla="*/ 44 h 45"/>
                <a:gd name="T12" fmla="*/ 244 w 251"/>
                <a:gd name="T13" fmla="*/ 16 h 45"/>
                <a:gd name="T14" fmla="*/ 236 w 251"/>
                <a:gd name="T15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1" h="45">
                  <a:moveTo>
                    <a:pt x="236" y="2"/>
                  </a:moveTo>
                  <a:cubicBezTo>
                    <a:pt x="218" y="7"/>
                    <a:pt x="200" y="16"/>
                    <a:pt x="182" y="21"/>
                  </a:cubicBezTo>
                  <a:cubicBezTo>
                    <a:pt x="162" y="26"/>
                    <a:pt x="141" y="29"/>
                    <a:pt x="121" y="30"/>
                  </a:cubicBezTo>
                  <a:cubicBezTo>
                    <a:pt x="81" y="33"/>
                    <a:pt x="41" y="28"/>
                    <a:pt x="3" y="16"/>
                  </a:cubicBezTo>
                  <a:cubicBezTo>
                    <a:pt x="1" y="15"/>
                    <a:pt x="0" y="19"/>
                    <a:pt x="2" y="20"/>
                  </a:cubicBezTo>
                  <a:cubicBezTo>
                    <a:pt x="40" y="37"/>
                    <a:pt x="81" y="45"/>
                    <a:pt x="123" y="44"/>
                  </a:cubicBezTo>
                  <a:cubicBezTo>
                    <a:pt x="161" y="44"/>
                    <a:pt x="212" y="38"/>
                    <a:pt x="244" y="16"/>
                  </a:cubicBezTo>
                  <a:cubicBezTo>
                    <a:pt x="251" y="10"/>
                    <a:pt x="243" y="0"/>
                    <a:pt x="236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ïŝļídè">
              <a:extLst>
                <a:ext uri="{FF2B5EF4-FFF2-40B4-BE49-F238E27FC236}">
                  <a16:creationId xmlns:a16="http://schemas.microsoft.com/office/drawing/2014/main" id="{068F7007-60F8-4C51-9DF4-6AC73A6DB537}"/>
                </a:ext>
              </a:extLst>
            </p:cNvPr>
            <p:cNvSpPr/>
            <p:nvPr/>
          </p:nvSpPr>
          <p:spPr bwMode="auto">
            <a:xfrm>
              <a:off x="6724650" y="4662488"/>
              <a:ext cx="533400" cy="301625"/>
            </a:xfrm>
            <a:custGeom>
              <a:avLst/>
              <a:gdLst>
                <a:gd name="T0" fmla="*/ 375 w 388"/>
                <a:gd name="T1" fmla="*/ 3 h 220"/>
                <a:gd name="T2" fmla="*/ 336 w 388"/>
                <a:gd name="T3" fmla="*/ 29 h 220"/>
                <a:gd name="T4" fmla="*/ 297 w 388"/>
                <a:gd name="T5" fmla="*/ 52 h 220"/>
                <a:gd name="T6" fmla="*/ 204 w 388"/>
                <a:gd name="T7" fmla="*/ 85 h 220"/>
                <a:gd name="T8" fmla="*/ 6 w 388"/>
                <a:gd name="T9" fmla="*/ 86 h 220"/>
                <a:gd name="T10" fmla="*/ 5 w 388"/>
                <a:gd name="T11" fmla="*/ 94 h 220"/>
                <a:gd name="T12" fmla="*/ 71 w 388"/>
                <a:gd name="T13" fmla="*/ 108 h 220"/>
                <a:gd name="T14" fmla="*/ 190 w 388"/>
                <a:gd name="T15" fmla="*/ 161 h 220"/>
                <a:gd name="T16" fmla="*/ 117 w 388"/>
                <a:gd name="T17" fmla="*/ 193 h 220"/>
                <a:gd name="T18" fmla="*/ 22 w 388"/>
                <a:gd name="T19" fmla="*/ 197 h 220"/>
                <a:gd name="T20" fmla="*/ 22 w 388"/>
                <a:gd name="T21" fmla="*/ 203 h 220"/>
                <a:gd name="T22" fmla="*/ 209 w 388"/>
                <a:gd name="T23" fmla="*/ 167 h 220"/>
                <a:gd name="T24" fmla="*/ 210 w 388"/>
                <a:gd name="T25" fmla="*/ 160 h 220"/>
                <a:gd name="T26" fmla="*/ 205 w 388"/>
                <a:gd name="T27" fmla="*/ 147 h 220"/>
                <a:gd name="T28" fmla="*/ 130 w 388"/>
                <a:gd name="T29" fmla="*/ 129 h 220"/>
                <a:gd name="T30" fmla="*/ 88 w 388"/>
                <a:gd name="T31" fmla="*/ 110 h 220"/>
                <a:gd name="T32" fmla="*/ 205 w 388"/>
                <a:gd name="T33" fmla="*/ 102 h 220"/>
                <a:gd name="T34" fmla="*/ 299 w 388"/>
                <a:gd name="T35" fmla="*/ 71 h 220"/>
                <a:gd name="T36" fmla="*/ 384 w 388"/>
                <a:gd name="T37" fmla="*/ 15 h 220"/>
                <a:gd name="T38" fmla="*/ 375 w 388"/>
                <a:gd name="T39" fmla="*/ 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8" h="220">
                  <a:moveTo>
                    <a:pt x="375" y="3"/>
                  </a:moveTo>
                  <a:cubicBezTo>
                    <a:pt x="361" y="9"/>
                    <a:pt x="349" y="20"/>
                    <a:pt x="336" y="29"/>
                  </a:cubicBezTo>
                  <a:cubicBezTo>
                    <a:pt x="323" y="37"/>
                    <a:pt x="310" y="45"/>
                    <a:pt x="297" y="52"/>
                  </a:cubicBezTo>
                  <a:cubicBezTo>
                    <a:pt x="267" y="66"/>
                    <a:pt x="236" y="78"/>
                    <a:pt x="204" y="85"/>
                  </a:cubicBezTo>
                  <a:cubicBezTo>
                    <a:pt x="139" y="101"/>
                    <a:pt x="71" y="100"/>
                    <a:pt x="6" y="86"/>
                  </a:cubicBezTo>
                  <a:cubicBezTo>
                    <a:pt x="0" y="84"/>
                    <a:pt x="0" y="92"/>
                    <a:pt x="5" y="94"/>
                  </a:cubicBezTo>
                  <a:cubicBezTo>
                    <a:pt x="27" y="101"/>
                    <a:pt x="49" y="105"/>
                    <a:pt x="71" y="108"/>
                  </a:cubicBezTo>
                  <a:cubicBezTo>
                    <a:pt x="103" y="136"/>
                    <a:pt x="148" y="155"/>
                    <a:pt x="190" y="161"/>
                  </a:cubicBezTo>
                  <a:cubicBezTo>
                    <a:pt x="166" y="174"/>
                    <a:pt x="144" y="186"/>
                    <a:pt x="117" y="193"/>
                  </a:cubicBezTo>
                  <a:cubicBezTo>
                    <a:pt x="86" y="201"/>
                    <a:pt x="54" y="201"/>
                    <a:pt x="22" y="197"/>
                  </a:cubicBezTo>
                  <a:cubicBezTo>
                    <a:pt x="18" y="197"/>
                    <a:pt x="18" y="202"/>
                    <a:pt x="22" y="203"/>
                  </a:cubicBezTo>
                  <a:cubicBezTo>
                    <a:pt x="82" y="220"/>
                    <a:pt x="161" y="210"/>
                    <a:pt x="209" y="167"/>
                  </a:cubicBezTo>
                  <a:cubicBezTo>
                    <a:pt x="211" y="165"/>
                    <a:pt x="211" y="162"/>
                    <a:pt x="210" y="160"/>
                  </a:cubicBezTo>
                  <a:cubicBezTo>
                    <a:pt x="213" y="157"/>
                    <a:pt x="211" y="148"/>
                    <a:pt x="205" y="147"/>
                  </a:cubicBezTo>
                  <a:cubicBezTo>
                    <a:pt x="179" y="143"/>
                    <a:pt x="154" y="139"/>
                    <a:pt x="130" y="129"/>
                  </a:cubicBezTo>
                  <a:cubicBezTo>
                    <a:pt x="115" y="124"/>
                    <a:pt x="102" y="117"/>
                    <a:pt x="88" y="110"/>
                  </a:cubicBezTo>
                  <a:cubicBezTo>
                    <a:pt x="127" y="113"/>
                    <a:pt x="166" y="110"/>
                    <a:pt x="205" y="102"/>
                  </a:cubicBezTo>
                  <a:cubicBezTo>
                    <a:pt x="237" y="96"/>
                    <a:pt x="269" y="85"/>
                    <a:pt x="299" y="71"/>
                  </a:cubicBezTo>
                  <a:cubicBezTo>
                    <a:pt x="327" y="58"/>
                    <a:pt x="367" y="40"/>
                    <a:pt x="384" y="15"/>
                  </a:cubicBezTo>
                  <a:cubicBezTo>
                    <a:pt x="388" y="9"/>
                    <a:pt x="382" y="0"/>
                    <a:pt x="375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išḷïḑé">
              <a:extLst>
                <a:ext uri="{FF2B5EF4-FFF2-40B4-BE49-F238E27FC236}">
                  <a16:creationId xmlns:a16="http://schemas.microsoft.com/office/drawing/2014/main" id="{4C7F5085-3F73-4640-9311-32B0DF16397C}"/>
                </a:ext>
              </a:extLst>
            </p:cNvPr>
            <p:cNvSpPr/>
            <p:nvPr/>
          </p:nvSpPr>
          <p:spPr bwMode="auto">
            <a:xfrm>
              <a:off x="6683375" y="4592638"/>
              <a:ext cx="558800" cy="111125"/>
            </a:xfrm>
            <a:custGeom>
              <a:avLst/>
              <a:gdLst>
                <a:gd name="T0" fmla="*/ 403 w 405"/>
                <a:gd name="T1" fmla="*/ 51 h 81"/>
                <a:gd name="T2" fmla="*/ 378 w 405"/>
                <a:gd name="T3" fmla="*/ 32 h 81"/>
                <a:gd name="T4" fmla="*/ 312 w 405"/>
                <a:gd name="T5" fmla="*/ 45 h 81"/>
                <a:gd name="T6" fmla="*/ 251 w 405"/>
                <a:gd name="T7" fmla="*/ 60 h 81"/>
                <a:gd name="T8" fmla="*/ 239 w 405"/>
                <a:gd name="T9" fmla="*/ 53 h 81"/>
                <a:gd name="T10" fmla="*/ 105 w 405"/>
                <a:gd name="T11" fmla="*/ 57 h 81"/>
                <a:gd name="T12" fmla="*/ 156 w 405"/>
                <a:gd name="T13" fmla="*/ 9 h 81"/>
                <a:gd name="T14" fmla="*/ 149 w 405"/>
                <a:gd name="T15" fmla="*/ 1 h 81"/>
                <a:gd name="T16" fmla="*/ 3 w 405"/>
                <a:gd name="T17" fmla="*/ 27 h 81"/>
                <a:gd name="T18" fmla="*/ 4 w 405"/>
                <a:gd name="T19" fmla="*/ 32 h 81"/>
                <a:gd name="T20" fmla="*/ 138 w 405"/>
                <a:gd name="T21" fmla="*/ 13 h 81"/>
                <a:gd name="T22" fmla="*/ 83 w 405"/>
                <a:gd name="T23" fmla="*/ 53 h 81"/>
                <a:gd name="T24" fmla="*/ 86 w 405"/>
                <a:gd name="T25" fmla="*/ 67 h 81"/>
                <a:gd name="T26" fmla="*/ 203 w 405"/>
                <a:gd name="T27" fmla="*/ 76 h 81"/>
                <a:gd name="T28" fmla="*/ 209 w 405"/>
                <a:gd name="T29" fmla="*/ 79 h 81"/>
                <a:gd name="T30" fmla="*/ 242 w 405"/>
                <a:gd name="T31" fmla="*/ 72 h 81"/>
                <a:gd name="T32" fmla="*/ 302 w 405"/>
                <a:gd name="T33" fmla="*/ 61 h 81"/>
                <a:gd name="T34" fmla="*/ 337 w 405"/>
                <a:gd name="T35" fmla="*/ 54 h 81"/>
                <a:gd name="T36" fmla="*/ 357 w 405"/>
                <a:gd name="T37" fmla="*/ 50 h 81"/>
                <a:gd name="T38" fmla="*/ 365 w 405"/>
                <a:gd name="T39" fmla="*/ 48 h 81"/>
                <a:gd name="T40" fmla="*/ 384 w 405"/>
                <a:gd name="T41" fmla="*/ 60 h 81"/>
                <a:gd name="T42" fmla="*/ 389 w 405"/>
                <a:gd name="T43" fmla="*/ 72 h 81"/>
                <a:gd name="T44" fmla="*/ 403 w 405"/>
                <a:gd name="T45" fmla="*/ 5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5" h="81">
                  <a:moveTo>
                    <a:pt x="403" y="51"/>
                  </a:moveTo>
                  <a:cubicBezTo>
                    <a:pt x="401" y="39"/>
                    <a:pt x="390" y="33"/>
                    <a:pt x="378" y="32"/>
                  </a:cubicBezTo>
                  <a:cubicBezTo>
                    <a:pt x="357" y="30"/>
                    <a:pt x="332" y="40"/>
                    <a:pt x="312" y="45"/>
                  </a:cubicBezTo>
                  <a:cubicBezTo>
                    <a:pt x="291" y="49"/>
                    <a:pt x="271" y="54"/>
                    <a:pt x="251" y="60"/>
                  </a:cubicBezTo>
                  <a:cubicBezTo>
                    <a:pt x="249" y="56"/>
                    <a:pt x="244" y="52"/>
                    <a:pt x="239" y="53"/>
                  </a:cubicBezTo>
                  <a:cubicBezTo>
                    <a:pt x="194" y="64"/>
                    <a:pt x="150" y="64"/>
                    <a:pt x="105" y="57"/>
                  </a:cubicBezTo>
                  <a:cubicBezTo>
                    <a:pt x="124" y="43"/>
                    <a:pt x="141" y="29"/>
                    <a:pt x="156" y="9"/>
                  </a:cubicBezTo>
                  <a:cubicBezTo>
                    <a:pt x="159" y="5"/>
                    <a:pt x="154" y="0"/>
                    <a:pt x="149" y="1"/>
                  </a:cubicBezTo>
                  <a:cubicBezTo>
                    <a:pt x="100" y="10"/>
                    <a:pt x="52" y="18"/>
                    <a:pt x="3" y="27"/>
                  </a:cubicBezTo>
                  <a:cubicBezTo>
                    <a:pt x="0" y="28"/>
                    <a:pt x="2" y="32"/>
                    <a:pt x="4" y="32"/>
                  </a:cubicBezTo>
                  <a:cubicBezTo>
                    <a:pt x="49" y="26"/>
                    <a:pt x="93" y="19"/>
                    <a:pt x="138" y="13"/>
                  </a:cubicBezTo>
                  <a:cubicBezTo>
                    <a:pt x="122" y="30"/>
                    <a:pt x="105" y="45"/>
                    <a:pt x="83" y="53"/>
                  </a:cubicBezTo>
                  <a:cubicBezTo>
                    <a:pt x="76" y="56"/>
                    <a:pt x="79" y="65"/>
                    <a:pt x="86" y="67"/>
                  </a:cubicBezTo>
                  <a:cubicBezTo>
                    <a:pt x="124" y="78"/>
                    <a:pt x="164" y="80"/>
                    <a:pt x="203" y="76"/>
                  </a:cubicBezTo>
                  <a:cubicBezTo>
                    <a:pt x="205" y="78"/>
                    <a:pt x="206" y="79"/>
                    <a:pt x="209" y="79"/>
                  </a:cubicBezTo>
                  <a:cubicBezTo>
                    <a:pt x="221" y="81"/>
                    <a:pt x="232" y="78"/>
                    <a:pt x="242" y="72"/>
                  </a:cubicBezTo>
                  <a:cubicBezTo>
                    <a:pt x="262" y="69"/>
                    <a:pt x="282" y="65"/>
                    <a:pt x="302" y="61"/>
                  </a:cubicBezTo>
                  <a:cubicBezTo>
                    <a:pt x="314" y="59"/>
                    <a:pt x="326" y="57"/>
                    <a:pt x="337" y="54"/>
                  </a:cubicBezTo>
                  <a:cubicBezTo>
                    <a:pt x="344" y="53"/>
                    <a:pt x="350" y="51"/>
                    <a:pt x="357" y="50"/>
                  </a:cubicBezTo>
                  <a:cubicBezTo>
                    <a:pt x="360" y="49"/>
                    <a:pt x="362" y="49"/>
                    <a:pt x="365" y="48"/>
                  </a:cubicBezTo>
                  <a:cubicBezTo>
                    <a:pt x="375" y="44"/>
                    <a:pt x="381" y="48"/>
                    <a:pt x="384" y="60"/>
                  </a:cubicBezTo>
                  <a:cubicBezTo>
                    <a:pt x="378" y="64"/>
                    <a:pt x="383" y="73"/>
                    <a:pt x="389" y="72"/>
                  </a:cubicBezTo>
                  <a:cubicBezTo>
                    <a:pt x="400" y="71"/>
                    <a:pt x="405" y="62"/>
                    <a:pt x="403" y="5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îṣľîde">
              <a:extLst>
                <a:ext uri="{FF2B5EF4-FFF2-40B4-BE49-F238E27FC236}">
                  <a16:creationId xmlns:a16="http://schemas.microsoft.com/office/drawing/2014/main" id="{4A18C328-693E-4D83-9F63-925D95BD7143}"/>
                </a:ext>
              </a:extLst>
            </p:cNvPr>
            <p:cNvSpPr/>
            <p:nvPr/>
          </p:nvSpPr>
          <p:spPr bwMode="auto">
            <a:xfrm>
              <a:off x="5137150" y="3451226"/>
              <a:ext cx="103188" cy="77788"/>
            </a:xfrm>
            <a:custGeom>
              <a:avLst/>
              <a:gdLst>
                <a:gd name="T0" fmla="*/ 70 w 75"/>
                <a:gd name="T1" fmla="*/ 41 h 57"/>
                <a:gd name="T2" fmla="*/ 37 w 75"/>
                <a:gd name="T3" fmla="*/ 18 h 57"/>
                <a:gd name="T4" fmla="*/ 6 w 75"/>
                <a:gd name="T5" fmla="*/ 1 h 57"/>
                <a:gd name="T6" fmla="*/ 3 w 75"/>
                <a:gd name="T7" fmla="*/ 5 h 57"/>
                <a:gd name="T8" fmla="*/ 31 w 75"/>
                <a:gd name="T9" fmla="*/ 30 h 57"/>
                <a:gd name="T10" fmla="*/ 63 w 75"/>
                <a:gd name="T11" fmla="*/ 53 h 57"/>
                <a:gd name="T12" fmla="*/ 70 w 75"/>
                <a:gd name="T13" fmla="*/ 4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57">
                  <a:moveTo>
                    <a:pt x="70" y="41"/>
                  </a:moveTo>
                  <a:cubicBezTo>
                    <a:pt x="61" y="32"/>
                    <a:pt x="48" y="25"/>
                    <a:pt x="37" y="18"/>
                  </a:cubicBezTo>
                  <a:cubicBezTo>
                    <a:pt x="27" y="12"/>
                    <a:pt x="17" y="5"/>
                    <a:pt x="6" y="1"/>
                  </a:cubicBezTo>
                  <a:cubicBezTo>
                    <a:pt x="3" y="0"/>
                    <a:pt x="0" y="2"/>
                    <a:pt x="3" y="5"/>
                  </a:cubicBezTo>
                  <a:cubicBezTo>
                    <a:pt x="11" y="15"/>
                    <a:pt x="21" y="22"/>
                    <a:pt x="31" y="30"/>
                  </a:cubicBezTo>
                  <a:cubicBezTo>
                    <a:pt x="41" y="38"/>
                    <a:pt x="51" y="47"/>
                    <a:pt x="63" y="53"/>
                  </a:cubicBezTo>
                  <a:cubicBezTo>
                    <a:pt x="71" y="57"/>
                    <a:pt x="75" y="47"/>
                    <a:pt x="70" y="4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iṧḷíḑé">
              <a:extLst>
                <a:ext uri="{FF2B5EF4-FFF2-40B4-BE49-F238E27FC236}">
                  <a16:creationId xmlns:a16="http://schemas.microsoft.com/office/drawing/2014/main" id="{392B8EDC-1802-44B2-9660-DB799314ACB3}"/>
                </a:ext>
              </a:extLst>
            </p:cNvPr>
            <p:cNvSpPr/>
            <p:nvPr/>
          </p:nvSpPr>
          <p:spPr bwMode="auto">
            <a:xfrm>
              <a:off x="5005388" y="2982913"/>
              <a:ext cx="727075" cy="384175"/>
            </a:xfrm>
            <a:custGeom>
              <a:avLst/>
              <a:gdLst>
                <a:gd name="T0" fmla="*/ 522 w 528"/>
                <a:gd name="T1" fmla="*/ 205 h 279"/>
                <a:gd name="T2" fmla="*/ 227 w 528"/>
                <a:gd name="T3" fmla="*/ 3 h 279"/>
                <a:gd name="T4" fmla="*/ 66 w 528"/>
                <a:gd name="T5" fmla="*/ 73 h 279"/>
                <a:gd name="T6" fmla="*/ 19 w 528"/>
                <a:gd name="T7" fmla="*/ 208 h 279"/>
                <a:gd name="T8" fmla="*/ 19 w 528"/>
                <a:gd name="T9" fmla="*/ 208 h 279"/>
                <a:gd name="T10" fmla="*/ 22 w 528"/>
                <a:gd name="T11" fmla="*/ 276 h 279"/>
                <a:gd name="T12" fmla="*/ 27 w 528"/>
                <a:gd name="T13" fmla="*/ 271 h 279"/>
                <a:gd name="T14" fmla="*/ 23 w 528"/>
                <a:gd name="T15" fmla="*/ 228 h 279"/>
                <a:gd name="T16" fmla="*/ 28 w 528"/>
                <a:gd name="T17" fmla="*/ 227 h 279"/>
                <a:gd name="T18" fmla="*/ 28 w 528"/>
                <a:gd name="T19" fmla="*/ 218 h 279"/>
                <a:gd name="T20" fmla="*/ 29 w 528"/>
                <a:gd name="T21" fmla="*/ 216 h 279"/>
                <a:gd name="T22" fmla="*/ 28 w 528"/>
                <a:gd name="T23" fmla="*/ 211 h 279"/>
                <a:gd name="T24" fmla="*/ 236 w 528"/>
                <a:gd name="T25" fmla="*/ 20 h 279"/>
                <a:gd name="T26" fmla="*/ 506 w 528"/>
                <a:gd name="T27" fmla="*/ 210 h 279"/>
                <a:gd name="T28" fmla="*/ 522 w 528"/>
                <a:gd name="T29" fmla="*/ 20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8" h="279">
                  <a:moveTo>
                    <a:pt x="522" y="205"/>
                  </a:moveTo>
                  <a:cubicBezTo>
                    <a:pt x="467" y="93"/>
                    <a:pt x="357" y="0"/>
                    <a:pt x="227" y="3"/>
                  </a:cubicBezTo>
                  <a:cubicBezTo>
                    <a:pt x="166" y="4"/>
                    <a:pt x="107" y="27"/>
                    <a:pt x="66" y="73"/>
                  </a:cubicBezTo>
                  <a:cubicBezTo>
                    <a:pt x="33" y="110"/>
                    <a:pt x="14" y="159"/>
                    <a:pt x="19" y="208"/>
                  </a:cubicBezTo>
                  <a:cubicBezTo>
                    <a:pt x="19" y="208"/>
                    <a:pt x="19" y="208"/>
                    <a:pt x="19" y="208"/>
                  </a:cubicBezTo>
                  <a:cubicBezTo>
                    <a:pt x="0" y="225"/>
                    <a:pt x="2" y="260"/>
                    <a:pt x="22" y="276"/>
                  </a:cubicBezTo>
                  <a:cubicBezTo>
                    <a:pt x="25" y="279"/>
                    <a:pt x="30" y="275"/>
                    <a:pt x="27" y="271"/>
                  </a:cubicBezTo>
                  <a:cubicBezTo>
                    <a:pt x="18" y="256"/>
                    <a:pt x="18" y="242"/>
                    <a:pt x="23" y="228"/>
                  </a:cubicBezTo>
                  <a:cubicBezTo>
                    <a:pt x="24" y="231"/>
                    <a:pt x="28" y="231"/>
                    <a:pt x="28" y="227"/>
                  </a:cubicBezTo>
                  <a:cubicBezTo>
                    <a:pt x="28" y="224"/>
                    <a:pt x="28" y="221"/>
                    <a:pt x="28" y="218"/>
                  </a:cubicBezTo>
                  <a:cubicBezTo>
                    <a:pt x="28" y="217"/>
                    <a:pt x="28" y="217"/>
                    <a:pt x="29" y="216"/>
                  </a:cubicBezTo>
                  <a:cubicBezTo>
                    <a:pt x="30" y="214"/>
                    <a:pt x="29" y="212"/>
                    <a:pt x="28" y="211"/>
                  </a:cubicBezTo>
                  <a:cubicBezTo>
                    <a:pt x="31" y="100"/>
                    <a:pt x="126" y="18"/>
                    <a:pt x="236" y="20"/>
                  </a:cubicBezTo>
                  <a:cubicBezTo>
                    <a:pt x="359" y="22"/>
                    <a:pt x="449" y="109"/>
                    <a:pt x="506" y="210"/>
                  </a:cubicBezTo>
                  <a:cubicBezTo>
                    <a:pt x="511" y="219"/>
                    <a:pt x="528" y="216"/>
                    <a:pt x="522" y="20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íš1íḍé">
              <a:extLst>
                <a:ext uri="{FF2B5EF4-FFF2-40B4-BE49-F238E27FC236}">
                  <a16:creationId xmlns:a16="http://schemas.microsoft.com/office/drawing/2014/main" id="{FF59CD0E-3BF1-4353-AE09-94C31D5E46B8}"/>
                </a:ext>
              </a:extLst>
            </p:cNvPr>
            <p:cNvSpPr/>
            <p:nvPr/>
          </p:nvSpPr>
          <p:spPr bwMode="auto">
            <a:xfrm>
              <a:off x="6500813" y="2624138"/>
              <a:ext cx="17463" cy="14288"/>
            </a:xfrm>
            <a:custGeom>
              <a:avLst/>
              <a:gdLst>
                <a:gd name="T0" fmla="*/ 7 w 13"/>
                <a:gd name="T1" fmla="*/ 1 h 10"/>
                <a:gd name="T2" fmla="*/ 3 w 13"/>
                <a:gd name="T3" fmla="*/ 5 h 10"/>
                <a:gd name="T4" fmla="*/ 5 w 13"/>
                <a:gd name="T5" fmla="*/ 9 h 10"/>
                <a:gd name="T6" fmla="*/ 10 w 13"/>
                <a:gd name="T7" fmla="*/ 5 h 10"/>
                <a:gd name="T8" fmla="*/ 7 w 13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7" y="1"/>
                  </a:moveTo>
                  <a:cubicBezTo>
                    <a:pt x="6" y="3"/>
                    <a:pt x="4" y="4"/>
                    <a:pt x="3" y="5"/>
                  </a:cubicBezTo>
                  <a:cubicBezTo>
                    <a:pt x="0" y="7"/>
                    <a:pt x="3" y="10"/>
                    <a:pt x="5" y="9"/>
                  </a:cubicBezTo>
                  <a:cubicBezTo>
                    <a:pt x="7" y="8"/>
                    <a:pt x="9" y="6"/>
                    <a:pt x="10" y="5"/>
                  </a:cubicBezTo>
                  <a:cubicBezTo>
                    <a:pt x="13" y="4"/>
                    <a:pt x="10" y="0"/>
                    <a:pt x="7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í$liḍê">
              <a:extLst>
                <a:ext uri="{FF2B5EF4-FFF2-40B4-BE49-F238E27FC236}">
                  <a16:creationId xmlns:a16="http://schemas.microsoft.com/office/drawing/2014/main" id="{B5FE6B60-3EBC-4502-A951-11239BFCDD6B}"/>
                </a:ext>
              </a:extLst>
            </p:cNvPr>
            <p:cNvSpPr/>
            <p:nvPr/>
          </p:nvSpPr>
          <p:spPr bwMode="auto">
            <a:xfrm>
              <a:off x="6356350" y="4294188"/>
              <a:ext cx="444500" cy="346075"/>
            </a:xfrm>
            <a:custGeom>
              <a:avLst/>
              <a:gdLst>
                <a:gd name="T0" fmla="*/ 317 w 323"/>
                <a:gd name="T1" fmla="*/ 231 h 252"/>
                <a:gd name="T2" fmla="*/ 284 w 323"/>
                <a:gd name="T3" fmla="*/ 226 h 252"/>
                <a:gd name="T4" fmla="*/ 263 w 323"/>
                <a:gd name="T5" fmla="*/ 233 h 252"/>
                <a:gd name="T6" fmla="*/ 250 w 323"/>
                <a:gd name="T7" fmla="*/ 228 h 252"/>
                <a:gd name="T8" fmla="*/ 263 w 323"/>
                <a:gd name="T9" fmla="*/ 217 h 252"/>
                <a:gd name="T10" fmla="*/ 260 w 323"/>
                <a:gd name="T11" fmla="*/ 200 h 252"/>
                <a:gd name="T12" fmla="*/ 216 w 323"/>
                <a:gd name="T13" fmla="*/ 192 h 252"/>
                <a:gd name="T14" fmla="*/ 215 w 323"/>
                <a:gd name="T15" fmla="*/ 178 h 252"/>
                <a:gd name="T16" fmla="*/ 154 w 323"/>
                <a:gd name="T17" fmla="*/ 155 h 252"/>
                <a:gd name="T18" fmla="*/ 93 w 323"/>
                <a:gd name="T19" fmla="*/ 116 h 252"/>
                <a:gd name="T20" fmla="*/ 6 w 323"/>
                <a:gd name="T21" fmla="*/ 2 h 252"/>
                <a:gd name="T22" fmla="*/ 1 w 323"/>
                <a:gd name="T23" fmla="*/ 3 h 252"/>
                <a:gd name="T24" fmla="*/ 80 w 323"/>
                <a:gd name="T25" fmla="*/ 126 h 252"/>
                <a:gd name="T26" fmla="*/ 142 w 323"/>
                <a:gd name="T27" fmla="*/ 168 h 252"/>
                <a:gd name="T28" fmla="*/ 157 w 323"/>
                <a:gd name="T29" fmla="*/ 176 h 252"/>
                <a:gd name="T30" fmla="*/ 74 w 323"/>
                <a:gd name="T31" fmla="*/ 139 h 252"/>
                <a:gd name="T32" fmla="*/ 72 w 323"/>
                <a:gd name="T33" fmla="*/ 143 h 252"/>
                <a:gd name="T34" fmla="*/ 235 w 323"/>
                <a:gd name="T35" fmla="*/ 213 h 252"/>
                <a:gd name="T36" fmla="*/ 233 w 323"/>
                <a:gd name="T37" fmla="*/ 242 h 252"/>
                <a:gd name="T38" fmla="*/ 257 w 323"/>
                <a:gd name="T39" fmla="*/ 252 h 252"/>
                <a:gd name="T40" fmla="*/ 291 w 323"/>
                <a:gd name="T41" fmla="*/ 243 h 252"/>
                <a:gd name="T42" fmla="*/ 297 w 323"/>
                <a:gd name="T43" fmla="*/ 246 h 252"/>
                <a:gd name="T44" fmla="*/ 313 w 323"/>
                <a:gd name="T45" fmla="*/ 247 h 252"/>
                <a:gd name="T46" fmla="*/ 317 w 323"/>
                <a:gd name="T47" fmla="*/ 231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3" h="252">
                  <a:moveTo>
                    <a:pt x="317" y="231"/>
                  </a:moveTo>
                  <a:cubicBezTo>
                    <a:pt x="307" y="224"/>
                    <a:pt x="296" y="223"/>
                    <a:pt x="284" y="226"/>
                  </a:cubicBezTo>
                  <a:cubicBezTo>
                    <a:pt x="277" y="228"/>
                    <a:pt x="270" y="231"/>
                    <a:pt x="263" y="233"/>
                  </a:cubicBezTo>
                  <a:cubicBezTo>
                    <a:pt x="256" y="235"/>
                    <a:pt x="250" y="237"/>
                    <a:pt x="250" y="228"/>
                  </a:cubicBezTo>
                  <a:cubicBezTo>
                    <a:pt x="251" y="220"/>
                    <a:pt x="256" y="219"/>
                    <a:pt x="263" y="217"/>
                  </a:cubicBezTo>
                  <a:cubicBezTo>
                    <a:pt x="271" y="214"/>
                    <a:pt x="268" y="201"/>
                    <a:pt x="260" y="200"/>
                  </a:cubicBezTo>
                  <a:cubicBezTo>
                    <a:pt x="245" y="198"/>
                    <a:pt x="231" y="195"/>
                    <a:pt x="216" y="192"/>
                  </a:cubicBezTo>
                  <a:cubicBezTo>
                    <a:pt x="222" y="191"/>
                    <a:pt x="221" y="181"/>
                    <a:pt x="215" y="178"/>
                  </a:cubicBezTo>
                  <a:cubicBezTo>
                    <a:pt x="196" y="169"/>
                    <a:pt x="174" y="165"/>
                    <a:pt x="154" y="155"/>
                  </a:cubicBezTo>
                  <a:cubicBezTo>
                    <a:pt x="132" y="145"/>
                    <a:pt x="112" y="131"/>
                    <a:pt x="93" y="116"/>
                  </a:cubicBezTo>
                  <a:cubicBezTo>
                    <a:pt x="56" y="85"/>
                    <a:pt x="27" y="45"/>
                    <a:pt x="6" y="2"/>
                  </a:cubicBezTo>
                  <a:cubicBezTo>
                    <a:pt x="5" y="0"/>
                    <a:pt x="0" y="0"/>
                    <a:pt x="1" y="3"/>
                  </a:cubicBezTo>
                  <a:cubicBezTo>
                    <a:pt x="15" y="51"/>
                    <a:pt x="43" y="93"/>
                    <a:pt x="80" y="126"/>
                  </a:cubicBezTo>
                  <a:cubicBezTo>
                    <a:pt x="99" y="143"/>
                    <a:pt x="120" y="157"/>
                    <a:pt x="142" y="168"/>
                  </a:cubicBezTo>
                  <a:cubicBezTo>
                    <a:pt x="147" y="171"/>
                    <a:pt x="152" y="174"/>
                    <a:pt x="157" y="176"/>
                  </a:cubicBezTo>
                  <a:cubicBezTo>
                    <a:pt x="128" y="167"/>
                    <a:pt x="100" y="154"/>
                    <a:pt x="74" y="139"/>
                  </a:cubicBezTo>
                  <a:cubicBezTo>
                    <a:pt x="71" y="138"/>
                    <a:pt x="70" y="142"/>
                    <a:pt x="72" y="143"/>
                  </a:cubicBezTo>
                  <a:cubicBezTo>
                    <a:pt x="124" y="176"/>
                    <a:pt x="176" y="200"/>
                    <a:pt x="235" y="213"/>
                  </a:cubicBezTo>
                  <a:cubicBezTo>
                    <a:pt x="226" y="220"/>
                    <a:pt x="223" y="231"/>
                    <a:pt x="233" y="242"/>
                  </a:cubicBezTo>
                  <a:cubicBezTo>
                    <a:pt x="239" y="249"/>
                    <a:pt x="248" y="252"/>
                    <a:pt x="257" y="252"/>
                  </a:cubicBezTo>
                  <a:cubicBezTo>
                    <a:pt x="266" y="252"/>
                    <a:pt x="279" y="245"/>
                    <a:pt x="291" y="243"/>
                  </a:cubicBezTo>
                  <a:cubicBezTo>
                    <a:pt x="293" y="244"/>
                    <a:pt x="295" y="245"/>
                    <a:pt x="297" y="246"/>
                  </a:cubicBezTo>
                  <a:cubicBezTo>
                    <a:pt x="302" y="246"/>
                    <a:pt x="308" y="247"/>
                    <a:pt x="313" y="247"/>
                  </a:cubicBezTo>
                  <a:cubicBezTo>
                    <a:pt x="322" y="248"/>
                    <a:pt x="323" y="236"/>
                    <a:pt x="317" y="23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islïde">
              <a:extLst>
                <a:ext uri="{FF2B5EF4-FFF2-40B4-BE49-F238E27FC236}">
                  <a16:creationId xmlns:a16="http://schemas.microsoft.com/office/drawing/2014/main" id="{E2DCE4B0-8A59-4647-980D-697AF6679A0A}"/>
                </a:ext>
              </a:extLst>
            </p:cNvPr>
            <p:cNvSpPr/>
            <p:nvPr/>
          </p:nvSpPr>
          <p:spPr bwMode="auto">
            <a:xfrm>
              <a:off x="6408738" y="4518026"/>
              <a:ext cx="287338" cy="150813"/>
            </a:xfrm>
            <a:custGeom>
              <a:avLst/>
              <a:gdLst>
                <a:gd name="T0" fmla="*/ 201 w 209"/>
                <a:gd name="T1" fmla="*/ 86 h 110"/>
                <a:gd name="T2" fmla="*/ 93 w 209"/>
                <a:gd name="T3" fmla="*/ 70 h 110"/>
                <a:gd name="T4" fmla="*/ 6 w 209"/>
                <a:gd name="T5" fmla="*/ 3 h 110"/>
                <a:gd name="T6" fmla="*/ 2 w 209"/>
                <a:gd name="T7" fmla="*/ 5 h 110"/>
                <a:gd name="T8" fmla="*/ 204 w 209"/>
                <a:gd name="T9" fmla="*/ 95 h 110"/>
                <a:gd name="T10" fmla="*/ 201 w 209"/>
                <a:gd name="T11" fmla="*/ 8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9" h="110">
                  <a:moveTo>
                    <a:pt x="201" y="86"/>
                  </a:moveTo>
                  <a:cubicBezTo>
                    <a:pt x="163" y="88"/>
                    <a:pt x="128" y="85"/>
                    <a:pt x="93" y="70"/>
                  </a:cubicBezTo>
                  <a:cubicBezTo>
                    <a:pt x="58" y="56"/>
                    <a:pt x="29" y="33"/>
                    <a:pt x="6" y="3"/>
                  </a:cubicBezTo>
                  <a:cubicBezTo>
                    <a:pt x="4" y="0"/>
                    <a:pt x="0" y="3"/>
                    <a:pt x="2" y="5"/>
                  </a:cubicBezTo>
                  <a:cubicBezTo>
                    <a:pt x="45" y="66"/>
                    <a:pt x="128" y="110"/>
                    <a:pt x="204" y="95"/>
                  </a:cubicBezTo>
                  <a:cubicBezTo>
                    <a:pt x="209" y="94"/>
                    <a:pt x="205" y="86"/>
                    <a:pt x="201" y="8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iSľîḓè">
              <a:extLst>
                <a:ext uri="{FF2B5EF4-FFF2-40B4-BE49-F238E27FC236}">
                  <a16:creationId xmlns:a16="http://schemas.microsoft.com/office/drawing/2014/main" id="{EF4FB127-C746-475F-B1EB-06CFCB64445A}"/>
                </a:ext>
              </a:extLst>
            </p:cNvPr>
            <p:cNvSpPr/>
            <p:nvPr/>
          </p:nvSpPr>
          <p:spPr bwMode="auto">
            <a:xfrm>
              <a:off x="6375400" y="4581526"/>
              <a:ext cx="385763" cy="252413"/>
            </a:xfrm>
            <a:custGeom>
              <a:avLst/>
              <a:gdLst>
                <a:gd name="T0" fmla="*/ 272 w 280"/>
                <a:gd name="T1" fmla="*/ 140 h 184"/>
                <a:gd name="T2" fmla="*/ 110 w 280"/>
                <a:gd name="T3" fmla="*/ 119 h 184"/>
                <a:gd name="T4" fmla="*/ 6 w 280"/>
                <a:gd name="T5" fmla="*/ 2 h 184"/>
                <a:gd name="T6" fmla="*/ 1 w 280"/>
                <a:gd name="T7" fmla="*/ 4 h 184"/>
                <a:gd name="T8" fmla="*/ 274 w 280"/>
                <a:gd name="T9" fmla="*/ 148 h 184"/>
                <a:gd name="T10" fmla="*/ 272 w 280"/>
                <a:gd name="T11" fmla="*/ 1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" h="184">
                  <a:moveTo>
                    <a:pt x="272" y="140"/>
                  </a:moveTo>
                  <a:cubicBezTo>
                    <a:pt x="215" y="148"/>
                    <a:pt x="162" y="147"/>
                    <a:pt x="110" y="119"/>
                  </a:cubicBezTo>
                  <a:cubicBezTo>
                    <a:pt x="63" y="93"/>
                    <a:pt x="27" y="51"/>
                    <a:pt x="6" y="2"/>
                  </a:cubicBezTo>
                  <a:cubicBezTo>
                    <a:pt x="4" y="0"/>
                    <a:pt x="0" y="1"/>
                    <a:pt x="1" y="4"/>
                  </a:cubicBezTo>
                  <a:cubicBezTo>
                    <a:pt x="39" y="108"/>
                    <a:pt x="164" y="184"/>
                    <a:pt x="274" y="148"/>
                  </a:cubicBezTo>
                  <a:cubicBezTo>
                    <a:pt x="280" y="147"/>
                    <a:pt x="277" y="139"/>
                    <a:pt x="272" y="14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îsļíḍé">
              <a:extLst>
                <a:ext uri="{FF2B5EF4-FFF2-40B4-BE49-F238E27FC236}">
                  <a16:creationId xmlns:a16="http://schemas.microsoft.com/office/drawing/2014/main" id="{7A6D1443-784C-4043-AB5F-46CDE190E0ED}"/>
                </a:ext>
              </a:extLst>
            </p:cNvPr>
            <p:cNvSpPr/>
            <p:nvPr/>
          </p:nvSpPr>
          <p:spPr bwMode="auto">
            <a:xfrm>
              <a:off x="6383338" y="4703763"/>
              <a:ext cx="361950" cy="198438"/>
            </a:xfrm>
            <a:custGeom>
              <a:avLst/>
              <a:gdLst>
                <a:gd name="T0" fmla="*/ 258 w 263"/>
                <a:gd name="T1" fmla="*/ 136 h 145"/>
                <a:gd name="T2" fmla="*/ 6 w 263"/>
                <a:gd name="T3" fmla="*/ 2 h 145"/>
                <a:gd name="T4" fmla="*/ 2 w 263"/>
                <a:gd name="T5" fmla="*/ 4 h 145"/>
                <a:gd name="T6" fmla="*/ 258 w 263"/>
                <a:gd name="T7" fmla="*/ 144 h 145"/>
                <a:gd name="T8" fmla="*/ 258 w 263"/>
                <a:gd name="T9" fmla="*/ 13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145">
                  <a:moveTo>
                    <a:pt x="258" y="136"/>
                  </a:moveTo>
                  <a:cubicBezTo>
                    <a:pt x="161" y="119"/>
                    <a:pt x="73" y="76"/>
                    <a:pt x="6" y="2"/>
                  </a:cubicBezTo>
                  <a:cubicBezTo>
                    <a:pt x="4" y="0"/>
                    <a:pt x="0" y="2"/>
                    <a:pt x="2" y="4"/>
                  </a:cubicBezTo>
                  <a:cubicBezTo>
                    <a:pt x="67" y="79"/>
                    <a:pt x="159" y="133"/>
                    <a:pt x="258" y="144"/>
                  </a:cubicBezTo>
                  <a:cubicBezTo>
                    <a:pt x="263" y="145"/>
                    <a:pt x="263" y="137"/>
                    <a:pt x="258" y="13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íṩ1ïde">
              <a:extLst>
                <a:ext uri="{FF2B5EF4-FFF2-40B4-BE49-F238E27FC236}">
                  <a16:creationId xmlns:a16="http://schemas.microsoft.com/office/drawing/2014/main" id="{848CD98C-0977-4D2A-91F2-4BC3782EE938}"/>
                </a:ext>
              </a:extLst>
            </p:cNvPr>
            <p:cNvSpPr/>
            <p:nvPr/>
          </p:nvSpPr>
          <p:spPr bwMode="auto">
            <a:xfrm>
              <a:off x="6173788" y="4637088"/>
              <a:ext cx="160338" cy="98425"/>
            </a:xfrm>
            <a:custGeom>
              <a:avLst/>
              <a:gdLst>
                <a:gd name="T0" fmla="*/ 112 w 117"/>
                <a:gd name="T1" fmla="*/ 61 h 71"/>
                <a:gd name="T2" fmla="*/ 4 w 117"/>
                <a:gd name="T3" fmla="*/ 2 h 71"/>
                <a:gd name="T4" fmla="*/ 2 w 117"/>
                <a:gd name="T5" fmla="*/ 6 h 71"/>
                <a:gd name="T6" fmla="*/ 109 w 117"/>
                <a:gd name="T7" fmla="*/ 68 h 71"/>
                <a:gd name="T8" fmla="*/ 112 w 117"/>
                <a:gd name="T9" fmla="*/ 6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71">
                  <a:moveTo>
                    <a:pt x="112" y="61"/>
                  </a:moveTo>
                  <a:cubicBezTo>
                    <a:pt x="76" y="41"/>
                    <a:pt x="40" y="22"/>
                    <a:pt x="4" y="2"/>
                  </a:cubicBezTo>
                  <a:cubicBezTo>
                    <a:pt x="1" y="0"/>
                    <a:pt x="0" y="4"/>
                    <a:pt x="2" y="6"/>
                  </a:cubicBezTo>
                  <a:cubicBezTo>
                    <a:pt x="38" y="26"/>
                    <a:pt x="74" y="48"/>
                    <a:pt x="109" y="68"/>
                  </a:cubicBezTo>
                  <a:cubicBezTo>
                    <a:pt x="114" y="71"/>
                    <a:pt x="117" y="64"/>
                    <a:pt x="112" y="6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íŝļiḑè">
              <a:extLst>
                <a:ext uri="{FF2B5EF4-FFF2-40B4-BE49-F238E27FC236}">
                  <a16:creationId xmlns:a16="http://schemas.microsoft.com/office/drawing/2014/main" id="{9479EC8B-FB8C-453F-B05A-3D3D3901CDD8}"/>
                </a:ext>
              </a:extLst>
            </p:cNvPr>
            <p:cNvSpPr/>
            <p:nvPr/>
          </p:nvSpPr>
          <p:spPr bwMode="auto">
            <a:xfrm>
              <a:off x="6162675" y="4568826"/>
              <a:ext cx="146050" cy="42863"/>
            </a:xfrm>
            <a:custGeom>
              <a:avLst/>
              <a:gdLst>
                <a:gd name="T0" fmla="*/ 103 w 107"/>
                <a:gd name="T1" fmla="*/ 24 h 31"/>
                <a:gd name="T2" fmla="*/ 3 w 107"/>
                <a:gd name="T3" fmla="*/ 1 h 31"/>
                <a:gd name="T4" fmla="*/ 3 w 107"/>
                <a:gd name="T5" fmla="*/ 5 h 31"/>
                <a:gd name="T6" fmla="*/ 103 w 107"/>
                <a:gd name="T7" fmla="*/ 30 h 31"/>
                <a:gd name="T8" fmla="*/ 103 w 107"/>
                <a:gd name="T9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31">
                  <a:moveTo>
                    <a:pt x="103" y="24"/>
                  </a:moveTo>
                  <a:cubicBezTo>
                    <a:pt x="70" y="15"/>
                    <a:pt x="37" y="8"/>
                    <a:pt x="3" y="1"/>
                  </a:cubicBezTo>
                  <a:cubicBezTo>
                    <a:pt x="0" y="0"/>
                    <a:pt x="0" y="4"/>
                    <a:pt x="3" y="5"/>
                  </a:cubicBezTo>
                  <a:cubicBezTo>
                    <a:pt x="36" y="14"/>
                    <a:pt x="69" y="23"/>
                    <a:pt x="103" y="30"/>
                  </a:cubicBezTo>
                  <a:cubicBezTo>
                    <a:pt x="107" y="31"/>
                    <a:pt x="107" y="25"/>
                    <a:pt x="103" y="2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íṩlíḍe">
              <a:extLst>
                <a:ext uri="{FF2B5EF4-FFF2-40B4-BE49-F238E27FC236}">
                  <a16:creationId xmlns:a16="http://schemas.microsoft.com/office/drawing/2014/main" id="{54E4E800-8696-43B1-92EC-9B16DF543F46}"/>
                </a:ext>
              </a:extLst>
            </p:cNvPr>
            <p:cNvSpPr/>
            <p:nvPr/>
          </p:nvSpPr>
          <p:spPr bwMode="auto">
            <a:xfrm>
              <a:off x="6246813" y="4532313"/>
              <a:ext cx="87313" cy="33338"/>
            </a:xfrm>
            <a:custGeom>
              <a:avLst/>
              <a:gdLst>
                <a:gd name="T0" fmla="*/ 59 w 63"/>
                <a:gd name="T1" fmla="*/ 17 h 24"/>
                <a:gd name="T2" fmla="*/ 3 w 63"/>
                <a:gd name="T3" fmla="*/ 1 h 24"/>
                <a:gd name="T4" fmla="*/ 3 w 63"/>
                <a:gd name="T5" fmla="*/ 5 h 24"/>
                <a:gd name="T6" fmla="*/ 59 w 63"/>
                <a:gd name="T7" fmla="*/ 23 h 24"/>
                <a:gd name="T8" fmla="*/ 59 w 63"/>
                <a:gd name="T9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4">
                  <a:moveTo>
                    <a:pt x="59" y="17"/>
                  </a:moveTo>
                  <a:cubicBezTo>
                    <a:pt x="41" y="12"/>
                    <a:pt x="22" y="6"/>
                    <a:pt x="3" y="1"/>
                  </a:cubicBezTo>
                  <a:cubicBezTo>
                    <a:pt x="0" y="0"/>
                    <a:pt x="0" y="4"/>
                    <a:pt x="3" y="5"/>
                  </a:cubicBezTo>
                  <a:cubicBezTo>
                    <a:pt x="21" y="11"/>
                    <a:pt x="40" y="17"/>
                    <a:pt x="59" y="23"/>
                  </a:cubicBezTo>
                  <a:cubicBezTo>
                    <a:pt x="62" y="24"/>
                    <a:pt x="63" y="18"/>
                    <a:pt x="59" y="1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ïsļîḍè">
              <a:extLst>
                <a:ext uri="{FF2B5EF4-FFF2-40B4-BE49-F238E27FC236}">
                  <a16:creationId xmlns:a16="http://schemas.microsoft.com/office/drawing/2014/main" id="{18DBCA7B-F630-452A-BE7B-E62C06CF8F37}"/>
                </a:ext>
              </a:extLst>
            </p:cNvPr>
            <p:cNvSpPr/>
            <p:nvPr/>
          </p:nvSpPr>
          <p:spPr bwMode="auto">
            <a:xfrm>
              <a:off x="5767388" y="4265613"/>
              <a:ext cx="157163" cy="76200"/>
            </a:xfrm>
            <a:custGeom>
              <a:avLst/>
              <a:gdLst>
                <a:gd name="T0" fmla="*/ 111 w 115"/>
                <a:gd name="T1" fmla="*/ 29 h 55"/>
                <a:gd name="T2" fmla="*/ 2 w 115"/>
                <a:gd name="T3" fmla="*/ 12 h 55"/>
                <a:gd name="T4" fmla="*/ 0 w 115"/>
                <a:gd name="T5" fmla="*/ 16 h 55"/>
                <a:gd name="T6" fmla="*/ 2 w 115"/>
                <a:gd name="T7" fmla="*/ 50 h 55"/>
                <a:gd name="T8" fmla="*/ 8 w 115"/>
                <a:gd name="T9" fmla="*/ 51 h 55"/>
                <a:gd name="T10" fmla="*/ 10 w 115"/>
                <a:gd name="T11" fmla="*/ 21 h 55"/>
                <a:gd name="T12" fmla="*/ 43 w 115"/>
                <a:gd name="T13" fmla="*/ 15 h 55"/>
                <a:gd name="T14" fmla="*/ 107 w 115"/>
                <a:gd name="T15" fmla="*/ 37 h 55"/>
                <a:gd name="T16" fmla="*/ 111 w 115"/>
                <a:gd name="T17" fmla="*/ 2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55">
                  <a:moveTo>
                    <a:pt x="111" y="29"/>
                  </a:moveTo>
                  <a:cubicBezTo>
                    <a:pt x="83" y="3"/>
                    <a:pt x="37" y="0"/>
                    <a:pt x="2" y="12"/>
                  </a:cubicBezTo>
                  <a:cubicBezTo>
                    <a:pt x="0" y="13"/>
                    <a:pt x="0" y="14"/>
                    <a:pt x="0" y="16"/>
                  </a:cubicBezTo>
                  <a:cubicBezTo>
                    <a:pt x="0" y="28"/>
                    <a:pt x="1" y="39"/>
                    <a:pt x="2" y="50"/>
                  </a:cubicBezTo>
                  <a:cubicBezTo>
                    <a:pt x="2" y="54"/>
                    <a:pt x="8" y="55"/>
                    <a:pt x="8" y="51"/>
                  </a:cubicBezTo>
                  <a:cubicBezTo>
                    <a:pt x="8" y="43"/>
                    <a:pt x="5" y="28"/>
                    <a:pt x="10" y="21"/>
                  </a:cubicBezTo>
                  <a:cubicBezTo>
                    <a:pt x="16" y="13"/>
                    <a:pt x="34" y="14"/>
                    <a:pt x="43" y="15"/>
                  </a:cubicBezTo>
                  <a:cubicBezTo>
                    <a:pt x="67" y="15"/>
                    <a:pt x="86" y="25"/>
                    <a:pt x="107" y="37"/>
                  </a:cubicBezTo>
                  <a:cubicBezTo>
                    <a:pt x="112" y="40"/>
                    <a:pt x="115" y="33"/>
                    <a:pt x="111" y="2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íṥlïďe">
              <a:extLst>
                <a:ext uri="{FF2B5EF4-FFF2-40B4-BE49-F238E27FC236}">
                  <a16:creationId xmlns:a16="http://schemas.microsoft.com/office/drawing/2014/main" id="{07E157FC-4BD9-4A8F-A4E5-05D25FDD39B9}"/>
                </a:ext>
              </a:extLst>
            </p:cNvPr>
            <p:cNvSpPr/>
            <p:nvPr/>
          </p:nvSpPr>
          <p:spPr bwMode="auto">
            <a:xfrm>
              <a:off x="5778500" y="4311651"/>
              <a:ext cx="127000" cy="57150"/>
            </a:xfrm>
            <a:custGeom>
              <a:avLst/>
              <a:gdLst>
                <a:gd name="T0" fmla="*/ 88 w 93"/>
                <a:gd name="T1" fmla="*/ 29 h 41"/>
                <a:gd name="T2" fmla="*/ 1 w 93"/>
                <a:gd name="T3" fmla="*/ 34 h 41"/>
                <a:gd name="T4" fmla="*/ 5 w 93"/>
                <a:gd name="T5" fmla="*/ 37 h 41"/>
                <a:gd name="T6" fmla="*/ 80 w 93"/>
                <a:gd name="T7" fmla="*/ 35 h 41"/>
                <a:gd name="T8" fmla="*/ 88 w 93"/>
                <a:gd name="T9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41">
                  <a:moveTo>
                    <a:pt x="88" y="29"/>
                  </a:moveTo>
                  <a:cubicBezTo>
                    <a:pt x="68" y="0"/>
                    <a:pt x="18" y="2"/>
                    <a:pt x="1" y="34"/>
                  </a:cubicBezTo>
                  <a:cubicBezTo>
                    <a:pt x="0" y="36"/>
                    <a:pt x="4" y="39"/>
                    <a:pt x="5" y="37"/>
                  </a:cubicBezTo>
                  <a:cubicBezTo>
                    <a:pt x="23" y="12"/>
                    <a:pt x="61" y="11"/>
                    <a:pt x="80" y="35"/>
                  </a:cubicBezTo>
                  <a:cubicBezTo>
                    <a:pt x="84" y="41"/>
                    <a:pt x="93" y="35"/>
                    <a:pt x="88" y="2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išḷîďê">
              <a:extLst>
                <a:ext uri="{FF2B5EF4-FFF2-40B4-BE49-F238E27FC236}">
                  <a16:creationId xmlns:a16="http://schemas.microsoft.com/office/drawing/2014/main" id="{C4A7C1E8-8124-44D3-B2A4-D8163920DD1F}"/>
                </a:ext>
              </a:extLst>
            </p:cNvPr>
            <p:cNvSpPr/>
            <p:nvPr/>
          </p:nvSpPr>
          <p:spPr bwMode="auto">
            <a:xfrm>
              <a:off x="5757863" y="4392613"/>
              <a:ext cx="120650" cy="127000"/>
            </a:xfrm>
            <a:custGeom>
              <a:avLst/>
              <a:gdLst>
                <a:gd name="T0" fmla="*/ 82 w 88"/>
                <a:gd name="T1" fmla="*/ 38 h 92"/>
                <a:gd name="T2" fmla="*/ 33 w 88"/>
                <a:gd name="T3" fmla="*/ 51 h 92"/>
                <a:gd name="T4" fmla="*/ 33 w 88"/>
                <a:gd name="T5" fmla="*/ 56 h 92"/>
                <a:gd name="T6" fmla="*/ 46 w 88"/>
                <a:gd name="T7" fmla="*/ 72 h 92"/>
                <a:gd name="T8" fmla="*/ 13 w 88"/>
                <a:gd name="T9" fmla="*/ 46 h 92"/>
                <a:gd name="T10" fmla="*/ 42 w 88"/>
                <a:gd name="T11" fmla="*/ 4 h 92"/>
                <a:gd name="T12" fmla="*/ 41 w 88"/>
                <a:gd name="T13" fmla="*/ 0 h 92"/>
                <a:gd name="T14" fmla="*/ 6 w 88"/>
                <a:gd name="T15" fmla="*/ 49 h 92"/>
                <a:gd name="T16" fmla="*/ 53 w 88"/>
                <a:gd name="T17" fmla="*/ 80 h 92"/>
                <a:gd name="T18" fmla="*/ 60 w 88"/>
                <a:gd name="T19" fmla="*/ 90 h 92"/>
                <a:gd name="T20" fmla="*/ 64 w 88"/>
                <a:gd name="T21" fmla="*/ 88 h 92"/>
                <a:gd name="T22" fmla="*/ 58 w 88"/>
                <a:gd name="T23" fmla="*/ 78 h 92"/>
                <a:gd name="T24" fmla="*/ 53 w 88"/>
                <a:gd name="T25" fmla="*/ 72 h 92"/>
                <a:gd name="T26" fmla="*/ 53 w 88"/>
                <a:gd name="T27" fmla="*/ 72 h 92"/>
                <a:gd name="T28" fmla="*/ 42 w 88"/>
                <a:gd name="T29" fmla="*/ 55 h 92"/>
                <a:gd name="T30" fmla="*/ 78 w 88"/>
                <a:gd name="T31" fmla="*/ 47 h 92"/>
                <a:gd name="T32" fmla="*/ 82 w 88"/>
                <a:gd name="T33" fmla="*/ 3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92">
                  <a:moveTo>
                    <a:pt x="82" y="38"/>
                  </a:moveTo>
                  <a:cubicBezTo>
                    <a:pt x="64" y="30"/>
                    <a:pt x="44" y="36"/>
                    <a:pt x="33" y="51"/>
                  </a:cubicBezTo>
                  <a:cubicBezTo>
                    <a:pt x="32" y="53"/>
                    <a:pt x="32" y="55"/>
                    <a:pt x="33" y="56"/>
                  </a:cubicBezTo>
                  <a:cubicBezTo>
                    <a:pt x="37" y="61"/>
                    <a:pt x="41" y="67"/>
                    <a:pt x="46" y="72"/>
                  </a:cubicBezTo>
                  <a:cubicBezTo>
                    <a:pt x="30" y="71"/>
                    <a:pt x="16" y="62"/>
                    <a:pt x="13" y="46"/>
                  </a:cubicBezTo>
                  <a:cubicBezTo>
                    <a:pt x="9" y="26"/>
                    <a:pt x="24" y="8"/>
                    <a:pt x="42" y="4"/>
                  </a:cubicBezTo>
                  <a:cubicBezTo>
                    <a:pt x="44" y="4"/>
                    <a:pt x="43" y="0"/>
                    <a:pt x="41" y="0"/>
                  </a:cubicBezTo>
                  <a:cubicBezTo>
                    <a:pt x="18" y="3"/>
                    <a:pt x="0" y="26"/>
                    <a:pt x="6" y="49"/>
                  </a:cubicBezTo>
                  <a:cubicBezTo>
                    <a:pt x="11" y="69"/>
                    <a:pt x="32" y="83"/>
                    <a:pt x="53" y="80"/>
                  </a:cubicBezTo>
                  <a:cubicBezTo>
                    <a:pt x="55" y="84"/>
                    <a:pt x="58" y="87"/>
                    <a:pt x="60" y="90"/>
                  </a:cubicBezTo>
                  <a:cubicBezTo>
                    <a:pt x="62" y="92"/>
                    <a:pt x="66" y="90"/>
                    <a:pt x="64" y="88"/>
                  </a:cubicBezTo>
                  <a:cubicBezTo>
                    <a:pt x="62" y="85"/>
                    <a:pt x="60" y="82"/>
                    <a:pt x="58" y="78"/>
                  </a:cubicBezTo>
                  <a:cubicBezTo>
                    <a:pt x="59" y="76"/>
                    <a:pt x="57" y="71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0" y="66"/>
                    <a:pt x="46" y="61"/>
                    <a:pt x="42" y="55"/>
                  </a:cubicBezTo>
                  <a:cubicBezTo>
                    <a:pt x="51" y="46"/>
                    <a:pt x="65" y="43"/>
                    <a:pt x="78" y="47"/>
                  </a:cubicBezTo>
                  <a:cubicBezTo>
                    <a:pt x="85" y="50"/>
                    <a:pt x="88" y="41"/>
                    <a:pt x="82" y="3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ï$1iḑè">
              <a:extLst>
                <a:ext uri="{FF2B5EF4-FFF2-40B4-BE49-F238E27FC236}">
                  <a16:creationId xmlns:a16="http://schemas.microsoft.com/office/drawing/2014/main" id="{AB1D49B7-FD1B-4B9A-B6AA-05A8D472CF84}"/>
                </a:ext>
              </a:extLst>
            </p:cNvPr>
            <p:cNvSpPr/>
            <p:nvPr/>
          </p:nvSpPr>
          <p:spPr bwMode="auto">
            <a:xfrm>
              <a:off x="5876925" y="4352926"/>
              <a:ext cx="160338" cy="153988"/>
            </a:xfrm>
            <a:custGeom>
              <a:avLst/>
              <a:gdLst>
                <a:gd name="T0" fmla="*/ 112 w 116"/>
                <a:gd name="T1" fmla="*/ 67 h 112"/>
                <a:gd name="T2" fmla="*/ 58 w 116"/>
                <a:gd name="T3" fmla="*/ 53 h 112"/>
                <a:gd name="T4" fmla="*/ 48 w 116"/>
                <a:gd name="T5" fmla="*/ 89 h 112"/>
                <a:gd name="T6" fmla="*/ 21 w 116"/>
                <a:gd name="T7" fmla="*/ 58 h 112"/>
                <a:gd name="T8" fmla="*/ 25 w 116"/>
                <a:gd name="T9" fmla="*/ 24 h 112"/>
                <a:gd name="T10" fmla="*/ 61 w 116"/>
                <a:gd name="T11" fmla="*/ 23 h 112"/>
                <a:gd name="T12" fmla="*/ 65 w 116"/>
                <a:gd name="T13" fmla="*/ 20 h 112"/>
                <a:gd name="T14" fmla="*/ 11 w 116"/>
                <a:gd name="T15" fmla="*/ 32 h 112"/>
                <a:gd name="T16" fmla="*/ 63 w 116"/>
                <a:gd name="T17" fmla="*/ 109 h 112"/>
                <a:gd name="T18" fmla="*/ 68 w 116"/>
                <a:gd name="T19" fmla="*/ 101 h 112"/>
                <a:gd name="T20" fmla="*/ 63 w 116"/>
                <a:gd name="T21" fmla="*/ 64 h 112"/>
                <a:gd name="T22" fmla="*/ 102 w 116"/>
                <a:gd name="T23" fmla="*/ 70 h 112"/>
                <a:gd name="T24" fmla="*/ 112 w 116"/>
                <a:gd name="T25" fmla="*/ 6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12">
                  <a:moveTo>
                    <a:pt x="112" y="67"/>
                  </a:moveTo>
                  <a:cubicBezTo>
                    <a:pt x="103" y="47"/>
                    <a:pt x="76" y="38"/>
                    <a:pt x="58" y="53"/>
                  </a:cubicBezTo>
                  <a:cubicBezTo>
                    <a:pt x="47" y="62"/>
                    <a:pt x="45" y="76"/>
                    <a:pt x="48" y="89"/>
                  </a:cubicBezTo>
                  <a:cubicBezTo>
                    <a:pt x="37" y="81"/>
                    <a:pt x="26" y="71"/>
                    <a:pt x="21" y="58"/>
                  </a:cubicBezTo>
                  <a:cubicBezTo>
                    <a:pt x="17" y="47"/>
                    <a:pt x="17" y="33"/>
                    <a:pt x="25" y="24"/>
                  </a:cubicBezTo>
                  <a:cubicBezTo>
                    <a:pt x="34" y="13"/>
                    <a:pt x="52" y="12"/>
                    <a:pt x="61" y="23"/>
                  </a:cubicBezTo>
                  <a:cubicBezTo>
                    <a:pt x="63" y="25"/>
                    <a:pt x="67" y="23"/>
                    <a:pt x="65" y="20"/>
                  </a:cubicBezTo>
                  <a:cubicBezTo>
                    <a:pt x="50" y="0"/>
                    <a:pt x="18" y="9"/>
                    <a:pt x="11" y="32"/>
                  </a:cubicBezTo>
                  <a:cubicBezTo>
                    <a:pt x="0" y="68"/>
                    <a:pt x="37" y="94"/>
                    <a:pt x="63" y="109"/>
                  </a:cubicBezTo>
                  <a:cubicBezTo>
                    <a:pt x="69" y="112"/>
                    <a:pt x="73" y="105"/>
                    <a:pt x="68" y="101"/>
                  </a:cubicBezTo>
                  <a:cubicBezTo>
                    <a:pt x="57" y="93"/>
                    <a:pt x="53" y="76"/>
                    <a:pt x="63" y="64"/>
                  </a:cubicBezTo>
                  <a:cubicBezTo>
                    <a:pt x="74" y="51"/>
                    <a:pt x="94" y="56"/>
                    <a:pt x="102" y="70"/>
                  </a:cubicBezTo>
                  <a:cubicBezTo>
                    <a:pt x="105" y="76"/>
                    <a:pt x="116" y="74"/>
                    <a:pt x="112" y="6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îšľiḍe">
              <a:extLst>
                <a:ext uri="{FF2B5EF4-FFF2-40B4-BE49-F238E27FC236}">
                  <a16:creationId xmlns:a16="http://schemas.microsoft.com/office/drawing/2014/main" id="{AD3CEEF6-9217-4F37-A91A-C3EA4BBFD08E}"/>
                </a:ext>
              </a:extLst>
            </p:cNvPr>
            <p:cNvSpPr/>
            <p:nvPr/>
          </p:nvSpPr>
          <p:spPr bwMode="auto">
            <a:xfrm>
              <a:off x="5975350" y="4364038"/>
              <a:ext cx="106363" cy="71438"/>
            </a:xfrm>
            <a:custGeom>
              <a:avLst/>
              <a:gdLst>
                <a:gd name="T0" fmla="*/ 71 w 77"/>
                <a:gd name="T1" fmla="*/ 39 h 52"/>
                <a:gd name="T2" fmla="*/ 5 w 77"/>
                <a:gd name="T3" fmla="*/ 2 h 52"/>
                <a:gd name="T4" fmla="*/ 3 w 77"/>
                <a:gd name="T5" fmla="*/ 6 h 52"/>
                <a:gd name="T6" fmla="*/ 67 w 77"/>
                <a:gd name="T7" fmla="*/ 48 h 52"/>
                <a:gd name="T8" fmla="*/ 71 w 77"/>
                <a:gd name="T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2">
                  <a:moveTo>
                    <a:pt x="71" y="39"/>
                  </a:moveTo>
                  <a:cubicBezTo>
                    <a:pt x="50" y="25"/>
                    <a:pt x="27" y="14"/>
                    <a:pt x="5" y="2"/>
                  </a:cubicBezTo>
                  <a:cubicBezTo>
                    <a:pt x="3" y="0"/>
                    <a:pt x="0" y="4"/>
                    <a:pt x="3" y="6"/>
                  </a:cubicBezTo>
                  <a:cubicBezTo>
                    <a:pt x="24" y="20"/>
                    <a:pt x="45" y="35"/>
                    <a:pt x="67" y="48"/>
                  </a:cubicBezTo>
                  <a:cubicBezTo>
                    <a:pt x="74" y="52"/>
                    <a:pt x="77" y="42"/>
                    <a:pt x="71" y="3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iSḷîḍe">
              <a:extLst>
                <a:ext uri="{FF2B5EF4-FFF2-40B4-BE49-F238E27FC236}">
                  <a16:creationId xmlns:a16="http://schemas.microsoft.com/office/drawing/2014/main" id="{7129987A-9EFD-427C-BFEE-F6145912105C}"/>
                </a:ext>
              </a:extLst>
            </p:cNvPr>
            <p:cNvSpPr/>
            <p:nvPr/>
          </p:nvSpPr>
          <p:spPr bwMode="auto">
            <a:xfrm>
              <a:off x="5910263" y="4306888"/>
              <a:ext cx="87313" cy="55563"/>
            </a:xfrm>
            <a:custGeom>
              <a:avLst/>
              <a:gdLst>
                <a:gd name="T0" fmla="*/ 59 w 64"/>
                <a:gd name="T1" fmla="*/ 30 h 40"/>
                <a:gd name="T2" fmla="*/ 5 w 64"/>
                <a:gd name="T3" fmla="*/ 1 h 40"/>
                <a:gd name="T4" fmla="*/ 3 w 64"/>
                <a:gd name="T5" fmla="*/ 5 h 40"/>
                <a:gd name="T6" fmla="*/ 54 w 64"/>
                <a:gd name="T7" fmla="*/ 38 h 40"/>
                <a:gd name="T8" fmla="*/ 59 w 64"/>
                <a:gd name="T9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0">
                  <a:moveTo>
                    <a:pt x="59" y="30"/>
                  </a:moveTo>
                  <a:cubicBezTo>
                    <a:pt x="42" y="19"/>
                    <a:pt x="23" y="8"/>
                    <a:pt x="5" y="1"/>
                  </a:cubicBezTo>
                  <a:cubicBezTo>
                    <a:pt x="2" y="0"/>
                    <a:pt x="0" y="3"/>
                    <a:pt x="3" y="5"/>
                  </a:cubicBezTo>
                  <a:cubicBezTo>
                    <a:pt x="18" y="17"/>
                    <a:pt x="37" y="29"/>
                    <a:pt x="54" y="38"/>
                  </a:cubicBezTo>
                  <a:cubicBezTo>
                    <a:pt x="59" y="40"/>
                    <a:pt x="64" y="33"/>
                    <a:pt x="59" y="3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ïṧ1îḑè">
              <a:extLst>
                <a:ext uri="{FF2B5EF4-FFF2-40B4-BE49-F238E27FC236}">
                  <a16:creationId xmlns:a16="http://schemas.microsoft.com/office/drawing/2014/main" id="{A04F01D5-E666-4910-A1B4-97BBA12609CA}"/>
                </a:ext>
              </a:extLst>
            </p:cNvPr>
            <p:cNvSpPr/>
            <p:nvPr/>
          </p:nvSpPr>
          <p:spPr bwMode="auto">
            <a:xfrm>
              <a:off x="5970588" y="4491038"/>
              <a:ext cx="174625" cy="133350"/>
            </a:xfrm>
            <a:custGeom>
              <a:avLst/>
              <a:gdLst>
                <a:gd name="T0" fmla="*/ 122 w 127"/>
                <a:gd name="T1" fmla="*/ 26 h 97"/>
                <a:gd name="T2" fmla="*/ 105 w 127"/>
                <a:gd name="T3" fmla="*/ 19 h 97"/>
                <a:gd name="T4" fmla="*/ 91 w 127"/>
                <a:gd name="T5" fmla="*/ 15 h 97"/>
                <a:gd name="T6" fmla="*/ 81 w 127"/>
                <a:gd name="T7" fmla="*/ 17 h 97"/>
                <a:gd name="T8" fmla="*/ 84 w 127"/>
                <a:gd name="T9" fmla="*/ 29 h 97"/>
                <a:gd name="T10" fmla="*/ 73 w 127"/>
                <a:gd name="T11" fmla="*/ 23 h 97"/>
                <a:gd name="T12" fmla="*/ 67 w 127"/>
                <a:gd name="T13" fmla="*/ 29 h 97"/>
                <a:gd name="T14" fmla="*/ 71 w 127"/>
                <a:gd name="T15" fmla="*/ 65 h 97"/>
                <a:gd name="T16" fmla="*/ 66 w 127"/>
                <a:gd name="T17" fmla="*/ 66 h 97"/>
                <a:gd name="T18" fmla="*/ 43 w 127"/>
                <a:gd name="T19" fmla="*/ 84 h 97"/>
                <a:gd name="T20" fmla="*/ 15 w 127"/>
                <a:gd name="T21" fmla="*/ 70 h 97"/>
                <a:gd name="T22" fmla="*/ 58 w 127"/>
                <a:gd name="T23" fmla="*/ 52 h 97"/>
                <a:gd name="T24" fmla="*/ 45 w 127"/>
                <a:gd name="T25" fmla="*/ 1 h 97"/>
                <a:gd name="T26" fmla="*/ 41 w 127"/>
                <a:gd name="T27" fmla="*/ 5 h 97"/>
                <a:gd name="T28" fmla="*/ 9 w 127"/>
                <a:gd name="T29" fmla="*/ 56 h 97"/>
                <a:gd name="T30" fmla="*/ 1 w 127"/>
                <a:gd name="T31" fmla="*/ 61 h 97"/>
                <a:gd name="T32" fmla="*/ 34 w 127"/>
                <a:gd name="T33" fmla="*/ 95 h 97"/>
                <a:gd name="T34" fmla="*/ 73 w 127"/>
                <a:gd name="T35" fmla="*/ 73 h 97"/>
                <a:gd name="T36" fmla="*/ 74 w 127"/>
                <a:gd name="T37" fmla="*/ 73 h 97"/>
                <a:gd name="T38" fmla="*/ 80 w 127"/>
                <a:gd name="T39" fmla="*/ 38 h 97"/>
                <a:gd name="T40" fmla="*/ 92 w 127"/>
                <a:gd name="T41" fmla="*/ 45 h 97"/>
                <a:gd name="T42" fmla="*/ 100 w 127"/>
                <a:gd name="T43" fmla="*/ 39 h 97"/>
                <a:gd name="T44" fmla="*/ 94 w 127"/>
                <a:gd name="T45" fmla="*/ 22 h 97"/>
                <a:gd name="T46" fmla="*/ 103 w 127"/>
                <a:gd name="T47" fmla="*/ 26 h 97"/>
                <a:gd name="T48" fmla="*/ 119 w 127"/>
                <a:gd name="T49" fmla="*/ 34 h 97"/>
                <a:gd name="T50" fmla="*/ 122 w 127"/>
                <a:gd name="T51" fmla="*/ 2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7" h="97">
                  <a:moveTo>
                    <a:pt x="122" y="26"/>
                  </a:moveTo>
                  <a:cubicBezTo>
                    <a:pt x="117" y="23"/>
                    <a:pt x="111" y="21"/>
                    <a:pt x="105" y="19"/>
                  </a:cubicBezTo>
                  <a:cubicBezTo>
                    <a:pt x="101" y="18"/>
                    <a:pt x="96" y="16"/>
                    <a:pt x="91" y="15"/>
                  </a:cubicBezTo>
                  <a:cubicBezTo>
                    <a:pt x="89" y="10"/>
                    <a:pt x="80" y="10"/>
                    <a:pt x="81" y="17"/>
                  </a:cubicBezTo>
                  <a:cubicBezTo>
                    <a:pt x="82" y="21"/>
                    <a:pt x="83" y="25"/>
                    <a:pt x="84" y="29"/>
                  </a:cubicBezTo>
                  <a:cubicBezTo>
                    <a:pt x="81" y="27"/>
                    <a:pt x="77" y="25"/>
                    <a:pt x="73" y="23"/>
                  </a:cubicBezTo>
                  <a:cubicBezTo>
                    <a:pt x="69" y="21"/>
                    <a:pt x="65" y="25"/>
                    <a:pt x="67" y="29"/>
                  </a:cubicBezTo>
                  <a:cubicBezTo>
                    <a:pt x="73" y="42"/>
                    <a:pt x="72" y="53"/>
                    <a:pt x="71" y="65"/>
                  </a:cubicBezTo>
                  <a:cubicBezTo>
                    <a:pt x="69" y="64"/>
                    <a:pt x="67" y="64"/>
                    <a:pt x="66" y="66"/>
                  </a:cubicBezTo>
                  <a:cubicBezTo>
                    <a:pt x="60" y="75"/>
                    <a:pt x="54" y="82"/>
                    <a:pt x="43" y="84"/>
                  </a:cubicBezTo>
                  <a:cubicBezTo>
                    <a:pt x="31" y="86"/>
                    <a:pt x="20" y="80"/>
                    <a:pt x="15" y="70"/>
                  </a:cubicBezTo>
                  <a:cubicBezTo>
                    <a:pt x="31" y="73"/>
                    <a:pt x="49" y="67"/>
                    <a:pt x="58" y="52"/>
                  </a:cubicBezTo>
                  <a:cubicBezTo>
                    <a:pt x="68" y="35"/>
                    <a:pt x="62" y="11"/>
                    <a:pt x="45" y="1"/>
                  </a:cubicBezTo>
                  <a:cubicBezTo>
                    <a:pt x="42" y="0"/>
                    <a:pt x="40" y="3"/>
                    <a:pt x="41" y="5"/>
                  </a:cubicBezTo>
                  <a:cubicBezTo>
                    <a:pt x="62" y="31"/>
                    <a:pt x="44" y="70"/>
                    <a:pt x="9" y="56"/>
                  </a:cubicBezTo>
                  <a:cubicBezTo>
                    <a:pt x="5" y="54"/>
                    <a:pt x="0" y="56"/>
                    <a:pt x="1" y="61"/>
                  </a:cubicBezTo>
                  <a:cubicBezTo>
                    <a:pt x="5" y="78"/>
                    <a:pt x="16" y="93"/>
                    <a:pt x="34" y="95"/>
                  </a:cubicBezTo>
                  <a:cubicBezTo>
                    <a:pt x="51" y="97"/>
                    <a:pt x="67" y="88"/>
                    <a:pt x="73" y="73"/>
                  </a:cubicBezTo>
                  <a:cubicBezTo>
                    <a:pt x="73" y="73"/>
                    <a:pt x="74" y="73"/>
                    <a:pt x="74" y="73"/>
                  </a:cubicBezTo>
                  <a:cubicBezTo>
                    <a:pt x="81" y="63"/>
                    <a:pt x="82" y="50"/>
                    <a:pt x="80" y="38"/>
                  </a:cubicBezTo>
                  <a:cubicBezTo>
                    <a:pt x="84" y="40"/>
                    <a:pt x="88" y="43"/>
                    <a:pt x="92" y="45"/>
                  </a:cubicBezTo>
                  <a:cubicBezTo>
                    <a:pt x="95" y="47"/>
                    <a:pt x="101" y="44"/>
                    <a:pt x="100" y="39"/>
                  </a:cubicBezTo>
                  <a:cubicBezTo>
                    <a:pt x="98" y="33"/>
                    <a:pt x="96" y="28"/>
                    <a:pt x="94" y="22"/>
                  </a:cubicBezTo>
                  <a:cubicBezTo>
                    <a:pt x="97" y="23"/>
                    <a:pt x="100" y="25"/>
                    <a:pt x="103" y="26"/>
                  </a:cubicBezTo>
                  <a:cubicBezTo>
                    <a:pt x="108" y="29"/>
                    <a:pt x="113" y="32"/>
                    <a:pt x="119" y="34"/>
                  </a:cubicBezTo>
                  <a:cubicBezTo>
                    <a:pt x="125" y="36"/>
                    <a:pt x="127" y="28"/>
                    <a:pt x="122" y="2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ïṥḷíḋê">
              <a:extLst>
                <a:ext uri="{FF2B5EF4-FFF2-40B4-BE49-F238E27FC236}">
                  <a16:creationId xmlns:a16="http://schemas.microsoft.com/office/drawing/2014/main" id="{323E2AFD-0A76-4E7B-8826-FC12F422F9E0}"/>
                </a:ext>
              </a:extLst>
            </p:cNvPr>
            <p:cNvSpPr/>
            <p:nvPr/>
          </p:nvSpPr>
          <p:spPr bwMode="auto">
            <a:xfrm>
              <a:off x="6043613" y="4418013"/>
              <a:ext cx="169863" cy="141288"/>
            </a:xfrm>
            <a:custGeom>
              <a:avLst/>
              <a:gdLst>
                <a:gd name="T0" fmla="*/ 118 w 123"/>
                <a:gd name="T1" fmla="*/ 92 h 103"/>
                <a:gd name="T2" fmla="*/ 5 w 123"/>
                <a:gd name="T3" fmla="*/ 2 h 103"/>
                <a:gd name="T4" fmla="*/ 2 w 123"/>
                <a:gd name="T5" fmla="*/ 5 h 103"/>
                <a:gd name="T6" fmla="*/ 112 w 123"/>
                <a:gd name="T7" fmla="*/ 99 h 103"/>
                <a:gd name="T8" fmla="*/ 118 w 123"/>
                <a:gd name="T9" fmla="*/ 9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03">
                  <a:moveTo>
                    <a:pt x="118" y="92"/>
                  </a:moveTo>
                  <a:cubicBezTo>
                    <a:pt x="85" y="58"/>
                    <a:pt x="43" y="30"/>
                    <a:pt x="5" y="2"/>
                  </a:cubicBezTo>
                  <a:cubicBezTo>
                    <a:pt x="3" y="0"/>
                    <a:pt x="0" y="3"/>
                    <a:pt x="2" y="5"/>
                  </a:cubicBezTo>
                  <a:cubicBezTo>
                    <a:pt x="37" y="37"/>
                    <a:pt x="73" y="73"/>
                    <a:pt x="112" y="99"/>
                  </a:cubicBezTo>
                  <a:cubicBezTo>
                    <a:pt x="118" y="103"/>
                    <a:pt x="123" y="97"/>
                    <a:pt x="118" y="9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îŝļiḓe">
              <a:extLst>
                <a:ext uri="{FF2B5EF4-FFF2-40B4-BE49-F238E27FC236}">
                  <a16:creationId xmlns:a16="http://schemas.microsoft.com/office/drawing/2014/main" id="{FF1E61E4-4B84-4774-A54F-7C9A77858887}"/>
                </a:ext>
              </a:extLst>
            </p:cNvPr>
            <p:cNvSpPr/>
            <p:nvPr/>
          </p:nvSpPr>
          <p:spPr bwMode="auto">
            <a:xfrm>
              <a:off x="6072188" y="4522788"/>
              <a:ext cx="200025" cy="101600"/>
            </a:xfrm>
            <a:custGeom>
              <a:avLst/>
              <a:gdLst>
                <a:gd name="T0" fmla="*/ 137 w 145"/>
                <a:gd name="T1" fmla="*/ 59 h 74"/>
                <a:gd name="T2" fmla="*/ 70 w 145"/>
                <a:gd name="T3" fmla="*/ 33 h 74"/>
                <a:gd name="T4" fmla="*/ 5 w 145"/>
                <a:gd name="T5" fmla="*/ 1 h 74"/>
                <a:gd name="T6" fmla="*/ 2 w 145"/>
                <a:gd name="T7" fmla="*/ 6 h 74"/>
                <a:gd name="T8" fmla="*/ 134 w 145"/>
                <a:gd name="T9" fmla="*/ 72 h 74"/>
                <a:gd name="T10" fmla="*/ 137 w 145"/>
                <a:gd name="T11" fmla="*/ 5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74">
                  <a:moveTo>
                    <a:pt x="137" y="59"/>
                  </a:moveTo>
                  <a:cubicBezTo>
                    <a:pt x="115" y="50"/>
                    <a:pt x="92" y="43"/>
                    <a:pt x="70" y="33"/>
                  </a:cubicBezTo>
                  <a:cubicBezTo>
                    <a:pt x="48" y="23"/>
                    <a:pt x="27" y="11"/>
                    <a:pt x="5" y="1"/>
                  </a:cubicBezTo>
                  <a:cubicBezTo>
                    <a:pt x="2" y="0"/>
                    <a:pt x="0" y="4"/>
                    <a:pt x="2" y="6"/>
                  </a:cubicBezTo>
                  <a:cubicBezTo>
                    <a:pt x="37" y="38"/>
                    <a:pt x="89" y="61"/>
                    <a:pt x="134" y="72"/>
                  </a:cubicBezTo>
                  <a:cubicBezTo>
                    <a:pt x="142" y="74"/>
                    <a:pt x="145" y="61"/>
                    <a:pt x="137" y="5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ïşļiďé">
              <a:extLst>
                <a:ext uri="{FF2B5EF4-FFF2-40B4-BE49-F238E27FC236}">
                  <a16:creationId xmlns:a16="http://schemas.microsoft.com/office/drawing/2014/main" id="{1C297FA2-981F-43F4-91B5-BA620ACA5895}"/>
                </a:ext>
              </a:extLst>
            </p:cNvPr>
            <p:cNvSpPr/>
            <p:nvPr/>
          </p:nvSpPr>
          <p:spPr bwMode="auto">
            <a:xfrm>
              <a:off x="6294438" y="4502151"/>
              <a:ext cx="34925" cy="34925"/>
            </a:xfrm>
            <a:custGeom>
              <a:avLst/>
              <a:gdLst>
                <a:gd name="T0" fmla="*/ 7 w 25"/>
                <a:gd name="T1" fmla="*/ 2 h 25"/>
                <a:gd name="T2" fmla="*/ 10 w 25"/>
                <a:gd name="T3" fmla="*/ 9 h 25"/>
                <a:gd name="T4" fmla="*/ 14 w 25"/>
                <a:gd name="T5" fmla="*/ 14 h 25"/>
                <a:gd name="T6" fmla="*/ 7 w 25"/>
                <a:gd name="T7" fmla="*/ 14 h 25"/>
                <a:gd name="T8" fmla="*/ 2 w 25"/>
                <a:gd name="T9" fmla="*/ 16 h 25"/>
                <a:gd name="T10" fmla="*/ 21 w 25"/>
                <a:gd name="T11" fmla="*/ 17 h 25"/>
                <a:gd name="T12" fmla="*/ 7 w 25"/>
                <a:gd name="T13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7" y="2"/>
                  </a:moveTo>
                  <a:cubicBezTo>
                    <a:pt x="3" y="4"/>
                    <a:pt x="6" y="10"/>
                    <a:pt x="10" y="9"/>
                  </a:cubicBezTo>
                  <a:cubicBezTo>
                    <a:pt x="13" y="8"/>
                    <a:pt x="15" y="11"/>
                    <a:pt x="14" y="14"/>
                  </a:cubicBezTo>
                  <a:cubicBezTo>
                    <a:pt x="12" y="16"/>
                    <a:pt x="9" y="16"/>
                    <a:pt x="7" y="14"/>
                  </a:cubicBezTo>
                  <a:cubicBezTo>
                    <a:pt x="5" y="11"/>
                    <a:pt x="0" y="13"/>
                    <a:pt x="2" y="16"/>
                  </a:cubicBezTo>
                  <a:cubicBezTo>
                    <a:pt x="6" y="23"/>
                    <a:pt x="17" y="25"/>
                    <a:pt x="21" y="17"/>
                  </a:cubicBezTo>
                  <a:cubicBezTo>
                    <a:pt x="25" y="9"/>
                    <a:pt x="15" y="0"/>
                    <a:pt x="7" y="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i$liḑê">
              <a:extLst>
                <a:ext uri="{FF2B5EF4-FFF2-40B4-BE49-F238E27FC236}">
                  <a16:creationId xmlns:a16="http://schemas.microsoft.com/office/drawing/2014/main" id="{6E096977-43E3-4BD1-AE0D-F5421113A3EE}"/>
                </a:ext>
              </a:extLst>
            </p:cNvPr>
            <p:cNvSpPr/>
            <p:nvPr/>
          </p:nvSpPr>
          <p:spPr bwMode="auto">
            <a:xfrm>
              <a:off x="6173788" y="4087813"/>
              <a:ext cx="212725" cy="477838"/>
            </a:xfrm>
            <a:custGeom>
              <a:avLst/>
              <a:gdLst>
                <a:gd name="T0" fmla="*/ 112 w 155"/>
                <a:gd name="T1" fmla="*/ 157 h 348"/>
                <a:gd name="T2" fmla="*/ 5 w 155"/>
                <a:gd name="T3" fmla="*/ 2 h 348"/>
                <a:gd name="T4" fmla="*/ 2 w 155"/>
                <a:gd name="T5" fmla="*/ 5 h 348"/>
                <a:gd name="T6" fmla="*/ 102 w 155"/>
                <a:gd name="T7" fmla="*/ 160 h 348"/>
                <a:gd name="T8" fmla="*/ 128 w 155"/>
                <a:gd name="T9" fmla="*/ 247 h 348"/>
                <a:gd name="T10" fmla="*/ 138 w 155"/>
                <a:gd name="T11" fmla="*/ 340 h 348"/>
                <a:gd name="T12" fmla="*/ 151 w 155"/>
                <a:gd name="T13" fmla="*/ 341 h 348"/>
                <a:gd name="T14" fmla="*/ 112 w 155"/>
                <a:gd name="T15" fmla="*/ 157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5" h="348">
                  <a:moveTo>
                    <a:pt x="112" y="157"/>
                  </a:moveTo>
                  <a:cubicBezTo>
                    <a:pt x="87" y="98"/>
                    <a:pt x="51" y="46"/>
                    <a:pt x="5" y="2"/>
                  </a:cubicBezTo>
                  <a:cubicBezTo>
                    <a:pt x="3" y="0"/>
                    <a:pt x="0" y="3"/>
                    <a:pt x="2" y="5"/>
                  </a:cubicBezTo>
                  <a:cubicBezTo>
                    <a:pt x="45" y="50"/>
                    <a:pt x="79" y="102"/>
                    <a:pt x="102" y="160"/>
                  </a:cubicBezTo>
                  <a:cubicBezTo>
                    <a:pt x="113" y="188"/>
                    <a:pt x="122" y="217"/>
                    <a:pt x="128" y="247"/>
                  </a:cubicBezTo>
                  <a:cubicBezTo>
                    <a:pt x="135" y="278"/>
                    <a:pt x="135" y="309"/>
                    <a:pt x="138" y="340"/>
                  </a:cubicBezTo>
                  <a:cubicBezTo>
                    <a:pt x="139" y="346"/>
                    <a:pt x="150" y="348"/>
                    <a:pt x="151" y="341"/>
                  </a:cubicBezTo>
                  <a:cubicBezTo>
                    <a:pt x="155" y="280"/>
                    <a:pt x="136" y="212"/>
                    <a:pt x="112" y="15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íṩľîḓe">
              <a:extLst>
                <a:ext uri="{FF2B5EF4-FFF2-40B4-BE49-F238E27FC236}">
                  <a16:creationId xmlns:a16="http://schemas.microsoft.com/office/drawing/2014/main" id="{F54622F3-0BD8-4D1E-9001-30741F25E4B6}"/>
                </a:ext>
              </a:extLst>
            </p:cNvPr>
            <p:cNvSpPr/>
            <p:nvPr/>
          </p:nvSpPr>
          <p:spPr bwMode="auto">
            <a:xfrm>
              <a:off x="6070600" y="4437063"/>
              <a:ext cx="220663" cy="95250"/>
            </a:xfrm>
            <a:custGeom>
              <a:avLst/>
              <a:gdLst>
                <a:gd name="T0" fmla="*/ 154 w 160"/>
                <a:gd name="T1" fmla="*/ 56 h 69"/>
                <a:gd name="T2" fmla="*/ 76 w 160"/>
                <a:gd name="T3" fmla="*/ 25 h 69"/>
                <a:gd name="T4" fmla="*/ 4 w 160"/>
                <a:gd name="T5" fmla="*/ 1 h 69"/>
                <a:gd name="T6" fmla="*/ 3 w 160"/>
                <a:gd name="T7" fmla="*/ 6 h 69"/>
                <a:gd name="T8" fmla="*/ 79 w 160"/>
                <a:gd name="T9" fmla="*/ 40 h 69"/>
                <a:gd name="T10" fmla="*/ 151 w 160"/>
                <a:gd name="T11" fmla="*/ 68 h 69"/>
                <a:gd name="T12" fmla="*/ 154 w 160"/>
                <a:gd name="T13" fmla="*/ 5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69">
                  <a:moveTo>
                    <a:pt x="154" y="56"/>
                  </a:moveTo>
                  <a:cubicBezTo>
                    <a:pt x="130" y="42"/>
                    <a:pt x="102" y="35"/>
                    <a:pt x="76" y="25"/>
                  </a:cubicBezTo>
                  <a:cubicBezTo>
                    <a:pt x="52" y="17"/>
                    <a:pt x="28" y="9"/>
                    <a:pt x="4" y="1"/>
                  </a:cubicBezTo>
                  <a:cubicBezTo>
                    <a:pt x="1" y="0"/>
                    <a:pt x="0" y="5"/>
                    <a:pt x="3" y="6"/>
                  </a:cubicBezTo>
                  <a:cubicBezTo>
                    <a:pt x="28" y="17"/>
                    <a:pt x="53" y="29"/>
                    <a:pt x="79" y="40"/>
                  </a:cubicBezTo>
                  <a:cubicBezTo>
                    <a:pt x="103" y="49"/>
                    <a:pt x="126" y="62"/>
                    <a:pt x="151" y="68"/>
                  </a:cubicBezTo>
                  <a:cubicBezTo>
                    <a:pt x="159" y="69"/>
                    <a:pt x="160" y="59"/>
                    <a:pt x="154" y="5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ïsļîde">
              <a:extLst>
                <a:ext uri="{FF2B5EF4-FFF2-40B4-BE49-F238E27FC236}">
                  <a16:creationId xmlns:a16="http://schemas.microsoft.com/office/drawing/2014/main" id="{A3E02C53-21C3-4F5D-9A37-F3712FF74911}"/>
                </a:ext>
              </a:extLst>
            </p:cNvPr>
            <p:cNvSpPr/>
            <p:nvPr/>
          </p:nvSpPr>
          <p:spPr bwMode="auto">
            <a:xfrm>
              <a:off x="6227763" y="4606926"/>
              <a:ext cx="122238" cy="23813"/>
            </a:xfrm>
            <a:custGeom>
              <a:avLst/>
              <a:gdLst>
                <a:gd name="T0" fmla="*/ 82 w 88"/>
                <a:gd name="T1" fmla="*/ 7 h 17"/>
                <a:gd name="T2" fmla="*/ 49 w 88"/>
                <a:gd name="T3" fmla="*/ 5 h 17"/>
                <a:gd name="T4" fmla="*/ 3 w 88"/>
                <a:gd name="T5" fmla="*/ 0 h 17"/>
                <a:gd name="T6" fmla="*/ 3 w 88"/>
                <a:gd name="T7" fmla="*/ 5 h 17"/>
                <a:gd name="T8" fmla="*/ 18 w 88"/>
                <a:gd name="T9" fmla="*/ 9 h 17"/>
                <a:gd name="T10" fmla="*/ 21 w 88"/>
                <a:gd name="T11" fmla="*/ 11 h 17"/>
                <a:gd name="T12" fmla="*/ 26 w 88"/>
                <a:gd name="T13" fmla="*/ 11 h 17"/>
                <a:gd name="T14" fmla="*/ 64 w 88"/>
                <a:gd name="T15" fmla="*/ 17 h 17"/>
                <a:gd name="T16" fmla="*/ 68 w 88"/>
                <a:gd name="T17" fmla="*/ 16 h 17"/>
                <a:gd name="T18" fmla="*/ 82 w 88"/>
                <a:gd name="T19" fmla="*/ 17 h 17"/>
                <a:gd name="T20" fmla="*/ 82 w 88"/>
                <a:gd name="T21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17">
                  <a:moveTo>
                    <a:pt x="82" y="7"/>
                  </a:moveTo>
                  <a:cubicBezTo>
                    <a:pt x="71" y="6"/>
                    <a:pt x="60" y="5"/>
                    <a:pt x="49" y="5"/>
                  </a:cubicBezTo>
                  <a:cubicBezTo>
                    <a:pt x="34" y="2"/>
                    <a:pt x="18" y="1"/>
                    <a:pt x="3" y="0"/>
                  </a:cubicBezTo>
                  <a:cubicBezTo>
                    <a:pt x="0" y="0"/>
                    <a:pt x="1" y="4"/>
                    <a:pt x="3" y="5"/>
                  </a:cubicBezTo>
                  <a:cubicBezTo>
                    <a:pt x="8" y="6"/>
                    <a:pt x="13" y="8"/>
                    <a:pt x="18" y="9"/>
                  </a:cubicBezTo>
                  <a:cubicBezTo>
                    <a:pt x="19" y="10"/>
                    <a:pt x="20" y="11"/>
                    <a:pt x="21" y="11"/>
                  </a:cubicBezTo>
                  <a:cubicBezTo>
                    <a:pt x="22" y="11"/>
                    <a:pt x="24" y="11"/>
                    <a:pt x="26" y="11"/>
                  </a:cubicBezTo>
                  <a:cubicBezTo>
                    <a:pt x="39" y="14"/>
                    <a:pt x="52" y="17"/>
                    <a:pt x="64" y="17"/>
                  </a:cubicBezTo>
                  <a:cubicBezTo>
                    <a:pt x="66" y="17"/>
                    <a:pt x="67" y="17"/>
                    <a:pt x="68" y="16"/>
                  </a:cubicBezTo>
                  <a:cubicBezTo>
                    <a:pt x="73" y="16"/>
                    <a:pt x="77" y="17"/>
                    <a:pt x="82" y="17"/>
                  </a:cubicBezTo>
                  <a:cubicBezTo>
                    <a:pt x="88" y="17"/>
                    <a:pt x="87" y="8"/>
                    <a:pt x="82" y="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îṡļîḑé">
              <a:extLst>
                <a:ext uri="{FF2B5EF4-FFF2-40B4-BE49-F238E27FC236}">
                  <a16:creationId xmlns:a16="http://schemas.microsoft.com/office/drawing/2014/main" id="{8371B5DD-2AA6-432F-9AD2-6CA9B3B03F09}"/>
                </a:ext>
              </a:extLst>
            </p:cNvPr>
            <p:cNvSpPr/>
            <p:nvPr/>
          </p:nvSpPr>
          <p:spPr bwMode="auto">
            <a:xfrm>
              <a:off x="6265863" y="4595813"/>
              <a:ext cx="84138" cy="20638"/>
            </a:xfrm>
            <a:custGeom>
              <a:avLst/>
              <a:gdLst>
                <a:gd name="T0" fmla="*/ 54 w 60"/>
                <a:gd name="T1" fmla="*/ 5 h 15"/>
                <a:gd name="T2" fmla="*/ 5 w 60"/>
                <a:gd name="T3" fmla="*/ 1 h 15"/>
                <a:gd name="T4" fmla="*/ 6 w 60"/>
                <a:gd name="T5" fmla="*/ 9 h 15"/>
                <a:gd name="T6" fmla="*/ 54 w 60"/>
                <a:gd name="T7" fmla="*/ 14 h 15"/>
                <a:gd name="T8" fmla="*/ 54 w 60"/>
                <a:gd name="T9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">
                  <a:moveTo>
                    <a:pt x="54" y="5"/>
                  </a:moveTo>
                  <a:cubicBezTo>
                    <a:pt x="38" y="1"/>
                    <a:pt x="21" y="2"/>
                    <a:pt x="5" y="1"/>
                  </a:cubicBezTo>
                  <a:cubicBezTo>
                    <a:pt x="0" y="0"/>
                    <a:pt x="1" y="9"/>
                    <a:pt x="6" y="9"/>
                  </a:cubicBezTo>
                  <a:cubicBezTo>
                    <a:pt x="22" y="11"/>
                    <a:pt x="38" y="15"/>
                    <a:pt x="54" y="14"/>
                  </a:cubicBezTo>
                  <a:cubicBezTo>
                    <a:pt x="60" y="14"/>
                    <a:pt x="59" y="6"/>
                    <a:pt x="54" y="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îşľîḑè">
              <a:extLst>
                <a:ext uri="{FF2B5EF4-FFF2-40B4-BE49-F238E27FC236}">
                  <a16:creationId xmlns:a16="http://schemas.microsoft.com/office/drawing/2014/main" id="{8D9BF901-6C6A-4740-B9CA-B5231AA99A66}"/>
                </a:ext>
              </a:extLst>
            </p:cNvPr>
            <p:cNvSpPr/>
            <p:nvPr/>
          </p:nvSpPr>
          <p:spPr bwMode="auto">
            <a:xfrm>
              <a:off x="6284913" y="4568826"/>
              <a:ext cx="65088" cy="25400"/>
            </a:xfrm>
            <a:custGeom>
              <a:avLst/>
              <a:gdLst>
                <a:gd name="T0" fmla="*/ 39 w 48"/>
                <a:gd name="T1" fmla="*/ 1 h 18"/>
                <a:gd name="T2" fmla="*/ 5 w 48"/>
                <a:gd name="T3" fmla="*/ 9 h 18"/>
                <a:gd name="T4" fmla="*/ 8 w 48"/>
                <a:gd name="T5" fmla="*/ 17 h 18"/>
                <a:gd name="T6" fmla="*/ 43 w 48"/>
                <a:gd name="T7" fmla="*/ 9 h 18"/>
                <a:gd name="T8" fmla="*/ 39 w 48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8">
                  <a:moveTo>
                    <a:pt x="39" y="1"/>
                  </a:moveTo>
                  <a:cubicBezTo>
                    <a:pt x="28" y="3"/>
                    <a:pt x="16" y="6"/>
                    <a:pt x="5" y="9"/>
                  </a:cubicBezTo>
                  <a:cubicBezTo>
                    <a:pt x="0" y="11"/>
                    <a:pt x="4" y="18"/>
                    <a:pt x="8" y="17"/>
                  </a:cubicBezTo>
                  <a:cubicBezTo>
                    <a:pt x="20" y="14"/>
                    <a:pt x="31" y="12"/>
                    <a:pt x="43" y="9"/>
                  </a:cubicBezTo>
                  <a:cubicBezTo>
                    <a:pt x="48" y="7"/>
                    <a:pt x="44" y="0"/>
                    <a:pt x="39" y="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îŝḻîḑè">
              <a:extLst>
                <a:ext uri="{FF2B5EF4-FFF2-40B4-BE49-F238E27FC236}">
                  <a16:creationId xmlns:a16="http://schemas.microsoft.com/office/drawing/2014/main" id="{5B71D43F-78FE-429F-9D00-1C21A0FBB34D}"/>
                </a:ext>
              </a:extLst>
            </p:cNvPr>
            <p:cNvSpPr/>
            <p:nvPr/>
          </p:nvSpPr>
          <p:spPr bwMode="auto">
            <a:xfrm>
              <a:off x="6334125" y="4527551"/>
              <a:ext cx="115888" cy="133350"/>
            </a:xfrm>
            <a:custGeom>
              <a:avLst/>
              <a:gdLst>
                <a:gd name="T0" fmla="*/ 80 w 84"/>
                <a:gd name="T1" fmla="*/ 75 h 97"/>
                <a:gd name="T2" fmla="*/ 21 w 84"/>
                <a:gd name="T3" fmla="*/ 3 h 97"/>
                <a:gd name="T4" fmla="*/ 16 w 84"/>
                <a:gd name="T5" fmla="*/ 7 h 97"/>
                <a:gd name="T6" fmla="*/ 56 w 84"/>
                <a:gd name="T7" fmla="*/ 62 h 97"/>
                <a:gd name="T8" fmla="*/ 11 w 84"/>
                <a:gd name="T9" fmla="*/ 41 h 97"/>
                <a:gd name="T10" fmla="*/ 2 w 84"/>
                <a:gd name="T11" fmla="*/ 48 h 97"/>
                <a:gd name="T12" fmla="*/ 11 w 84"/>
                <a:gd name="T13" fmla="*/ 71 h 97"/>
                <a:gd name="T14" fmla="*/ 9 w 84"/>
                <a:gd name="T15" fmla="*/ 79 h 97"/>
                <a:gd name="T16" fmla="*/ 19 w 84"/>
                <a:gd name="T17" fmla="*/ 92 h 97"/>
                <a:gd name="T18" fmla="*/ 30 w 84"/>
                <a:gd name="T19" fmla="*/ 86 h 97"/>
                <a:gd name="T20" fmla="*/ 19 w 84"/>
                <a:gd name="T21" fmla="*/ 58 h 97"/>
                <a:gd name="T22" fmla="*/ 73 w 84"/>
                <a:gd name="T23" fmla="*/ 83 h 97"/>
                <a:gd name="T24" fmla="*/ 80 w 84"/>
                <a:gd name="T25" fmla="*/ 7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97">
                  <a:moveTo>
                    <a:pt x="80" y="75"/>
                  </a:moveTo>
                  <a:cubicBezTo>
                    <a:pt x="60" y="51"/>
                    <a:pt x="41" y="27"/>
                    <a:pt x="21" y="3"/>
                  </a:cubicBezTo>
                  <a:cubicBezTo>
                    <a:pt x="18" y="0"/>
                    <a:pt x="13" y="3"/>
                    <a:pt x="16" y="7"/>
                  </a:cubicBezTo>
                  <a:cubicBezTo>
                    <a:pt x="29" y="26"/>
                    <a:pt x="42" y="44"/>
                    <a:pt x="56" y="62"/>
                  </a:cubicBezTo>
                  <a:cubicBezTo>
                    <a:pt x="41" y="55"/>
                    <a:pt x="26" y="48"/>
                    <a:pt x="11" y="41"/>
                  </a:cubicBezTo>
                  <a:cubicBezTo>
                    <a:pt x="5" y="38"/>
                    <a:pt x="0" y="43"/>
                    <a:pt x="2" y="48"/>
                  </a:cubicBezTo>
                  <a:cubicBezTo>
                    <a:pt x="5" y="56"/>
                    <a:pt x="8" y="63"/>
                    <a:pt x="11" y="71"/>
                  </a:cubicBezTo>
                  <a:cubicBezTo>
                    <a:pt x="8" y="72"/>
                    <a:pt x="7" y="76"/>
                    <a:pt x="9" y="79"/>
                  </a:cubicBezTo>
                  <a:cubicBezTo>
                    <a:pt x="12" y="83"/>
                    <a:pt x="16" y="87"/>
                    <a:pt x="19" y="92"/>
                  </a:cubicBezTo>
                  <a:cubicBezTo>
                    <a:pt x="23" y="97"/>
                    <a:pt x="33" y="94"/>
                    <a:pt x="30" y="86"/>
                  </a:cubicBezTo>
                  <a:cubicBezTo>
                    <a:pt x="27" y="77"/>
                    <a:pt x="23" y="68"/>
                    <a:pt x="19" y="58"/>
                  </a:cubicBezTo>
                  <a:cubicBezTo>
                    <a:pt x="37" y="67"/>
                    <a:pt x="55" y="75"/>
                    <a:pt x="73" y="83"/>
                  </a:cubicBezTo>
                  <a:cubicBezTo>
                    <a:pt x="78" y="86"/>
                    <a:pt x="84" y="80"/>
                    <a:pt x="80" y="7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işḻiďê">
              <a:extLst>
                <a:ext uri="{FF2B5EF4-FFF2-40B4-BE49-F238E27FC236}">
                  <a16:creationId xmlns:a16="http://schemas.microsoft.com/office/drawing/2014/main" id="{1E87F535-0A20-4D78-A7E4-9C7D76F5FD00}"/>
                </a:ext>
              </a:extLst>
            </p:cNvPr>
            <p:cNvSpPr/>
            <p:nvPr/>
          </p:nvSpPr>
          <p:spPr bwMode="auto">
            <a:xfrm>
              <a:off x="6318250" y="4635501"/>
              <a:ext cx="9525" cy="4763"/>
            </a:xfrm>
            <a:custGeom>
              <a:avLst/>
              <a:gdLst>
                <a:gd name="T0" fmla="*/ 3 w 7"/>
                <a:gd name="T1" fmla="*/ 0 h 4"/>
                <a:gd name="T2" fmla="*/ 4 w 7"/>
                <a:gd name="T3" fmla="*/ 4 h 4"/>
                <a:gd name="T4" fmla="*/ 3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0" y="0"/>
                    <a:pt x="1" y="4"/>
                    <a:pt x="4" y="4"/>
                  </a:cubicBezTo>
                  <a:cubicBezTo>
                    <a:pt x="7" y="4"/>
                    <a:pt x="6" y="0"/>
                    <a:pt x="3" y="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íş1íḍé">
              <a:extLst>
                <a:ext uri="{FF2B5EF4-FFF2-40B4-BE49-F238E27FC236}">
                  <a16:creationId xmlns:a16="http://schemas.microsoft.com/office/drawing/2014/main" id="{A643D1E2-448A-4073-BB04-4114BA233F4F}"/>
                </a:ext>
              </a:extLst>
            </p:cNvPr>
            <p:cNvSpPr/>
            <p:nvPr/>
          </p:nvSpPr>
          <p:spPr bwMode="auto">
            <a:xfrm>
              <a:off x="6142038" y="4459288"/>
              <a:ext cx="90488" cy="58738"/>
            </a:xfrm>
            <a:custGeom>
              <a:avLst/>
              <a:gdLst>
                <a:gd name="T0" fmla="*/ 59 w 65"/>
                <a:gd name="T1" fmla="*/ 17 h 43"/>
                <a:gd name="T2" fmla="*/ 54 w 65"/>
                <a:gd name="T3" fmla="*/ 14 h 43"/>
                <a:gd name="T4" fmla="*/ 48 w 65"/>
                <a:gd name="T5" fmla="*/ 10 h 43"/>
                <a:gd name="T6" fmla="*/ 38 w 65"/>
                <a:gd name="T7" fmla="*/ 4 h 43"/>
                <a:gd name="T8" fmla="*/ 33 w 65"/>
                <a:gd name="T9" fmla="*/ 12 h 43"/>
                <a:gd name="T10" fmla="*/ 41 w 65"/>
                <a:gd name="T11" fmla="*/ 18 h 43"/>
                <a:gd name="T12" fmla="*/ 6 w 65"/>
                <a:gd name="T13" fmla="*/ 24 h 43"/>
                <a:gd name="T14" fmla="*/ 5 w 65"/>
                <a:gd name="T15" fmla="*/ 35 h 43"/>
                <a:gd name="T16" fmla="*/ 46 w 65"/>
                <a:gd name="T17" fmla="*/ 30 h 43"/>
                <a:gd name="T18" fmla="*/ 58 w 65"/>
                <a:gd name="T19" fmla="*/ 29 h 43"/>
                <a:gd name="T20" fmla="*/ 59 w 65"/>
                <a:gd name="T2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43">
                  <a:moveTo>
                    <a:pt x="59" y="17"/>
                  </a:moveTo>
                  <a:cubicBezTo>
                    <a:pt x="58" y="16"/>
                    <a:pt x="56" y="15"/>
                    <a:pt x="54" y="14"/>
                  </a:cubicBezTo>
                  <a:cubicBezTo>
                    <a:pt x="54" y="11"/>
                    <a:pt x="50" y="9"/>
                    <a:pt x="48" y="10"/>
                  </a:cubicBezTo>
                  <a:cubicBezTo>
                    <a:pt x="45" y="8"/>
                    <a:pt x="41" y="6"/>
                    <a:pt x="38" y="4"/>
                  </a:cubicBezTo>
                  <a:cubicBezTo>
                    <a:pt x="33" y="0"/>
                    <a:pt x="28" y="9"/>
                    <a:pt x="33" y="12"/>
                  </a:cubicBezTo>
                  <a:cubicBezTo>
                    <a:pt x="36" y="14"/>
                    <a:pt x="38" y="16"/>
                    <a:pt x="41" y="18"/>
                  </a:cubicBezTo>
                  <a:cubicBezTo>
                    <a:pt x="29" y="20"/>
                    <a:pt x="18" y="22"/>
                    <a:pt x="6" y="24"/>
                  </a:cubicBezTo>
                  <a:cubicBezTo>
                    <a:pt x="0" y="25"/>
                    <a:pt x="0" y="32"/>
                    <a:pt x="5" y="35"/>
                  </a:cubicBezTo>
                  <a:cubicBezTo>
                    <a:pt x="18" y="43"/>
                    <a:pt x="36" y="41"/>
                    <a:pt x="46" y="30"/>
                  </a:cubicBezTo>
                  <a:cubicBezTo>
                    <a:pt x="50" y="30"/>
                    <a:pt x="54" y="29"/>
                    <a:pt x="58" y="29"/>
                  </a:cubicBezTo>
                  <a:cubicBezTo>
                    <a:pt x="65" y="28"/>
                    <a:pt x="64" y="20"/>
                    <a:pt x="59" y="1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îṡḻîḑè">
              <a:extLst>
                <a:ext uri="{FF2B5EF4-FFF2-40B4-BE49-F238E27FC236}">
                  <a16:creationId xmlns:a16="http://schemas.microsoft.com/office/drawing/2014/main" id="{A236CAC8-1B80-440B-97F4-5C28654E490E}"/>
                </a:ext>
              </a:extLst>
            </p:cNvPr>
            <p:cNvSpPr/>
            <p:nvPr/>
          </p:nvSpPr>
          <p:spPr bwMode="auto">
            <a:xfrm>
              <a:off x="6175375" y="4448176"/>
              <a:ext cx="7938" cy="28575"/>
            </a:xfrm>
            <a:custGeom>
              <a:avLst/>
              <a:gdLst>
                <a:gd name="T0" fmla="*/ 0 w 6"/>
                <a:gd name="T1" fmla="*/ 4 h 21"/>
                <a:gd name="T2" fmla="*/ 0 w 6"/>
                <a:gd name="T3" fmla="*/ 17 h 21"/>
                <a:gd name="T4" fmla="*/ 6 w 6"/>
                <a:gd name="T5" fmla="*/ 18 h 21"/>
                <a:gd name="T6" fmla="*/ 6 w 6"/>
                <a:gd name="T7" fmla="*/ 5 h 21"/>
                <a:gd name="T8" fmla="*/ 0 w 6"/>
                <a:gd name="T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1">
                  <a:moveTo>
                    <a:pt x="0" y="4"/>
                  </a:moveTo>
                  <a:cubicBezTo>
                    <a:pt x="0" y="8"/>
                    <a:pt x="0" y="12"/>
                    <a:pt x="0" y="17"/>
                  </a:cubicBezTo>
                  <a:cubicBezTo>
                    <a:pt x="0" y="20"/>
                    <a:pt x="6" y="21"/>
                    <a:pt x="6" y="18"/>
                  </a:cubicBezTo>
                  <a:cubicBezTo>
                    <a:pt x="6" y="14"/>
                    <a:pt x="6" y="9"/>
                    <a:pt x="6" y="5"/>
                  </a:cubicBezTo>
                  <a:cubicBezTo>
                    <a:pt x="6" y="2"/>
                    <a:pt x="0" y="0"/>
                    <a:pt x="0" y="4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ïṩḷîḋé">
              <a:extLst>
                <a:ext uri="{FF2B5EF4-FFF2-40B4-BE49-F238E27FC236}">
                  <a16:creationId xmlns:a16="http://schemas.microsoft.com/office/drawing/2014/main" id="{28BE0574-1F57-4C63-9114-B7C13F39D08A}"/>
                </a:ext>
              </a:extLst>
            </p:cNvPr>
            <p:cNvSpPr/>
            <p:nvPr/>
          </p:nvSpPr>
          <p:spPr bwMode="auto">
            <a:xfrm>
              <a:off x="5943600" y="4232276"/>
              <a:ext cx="90488" cy="141288"/>
            </a:xfrm>
            <a:custGeom>
              <a:avLst/>
              <a:gdLst>
                <a:gd name="T0" fmla="*/ 64 w 66"/>
                <a:gd name="T1" fmla="*/ 96 h 103"/>
                <a:gd name="T2" fmla="*/ 5 w 66"/>
                <a:gd name="T3" fmla="*/ 3 h 103"/>
                <a:gd name="T4" fmla="*/ 2 w 66"/>
                <a:gd name="T5" fmla="*/ 5 h 103"/>
                <a:gd name="T6" fmla="*/ 59 w 66"/>
                <a:gd name="T7" fmla="*/ 100 h 103"/>
                <a:gd name="T8" fmla="*/ 64 w 66"/>
                <a:gd name="T9" fmla="*/ 9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103">
                  <a:moveTo>
                    <a:pt x="64" y="96"/>
                  </a:moveTo>
                  <a:cubicBezTo>
                    <a:pt x="45" y="65"/>
                    <a:pt x="25" y="34"/>
                    <a:pt x="5" y="3"/>
                  </a:cubicBezTo>
                  <a:cubicBezTo>
                    <a:pt x="4" y="0"/>
                    <a:pt x="0" y="3"/>
                    <a:pt x="2" y="5"/>
                  </a:cubicBezTo>
                  <a:cubicBezTo>
                    <a:pt x="21" y="37"/>
                    <a:pt x="39" y="69"/>
                    <a:pt x="59" y="100"/>
                  </a:cubicBezTo>
                  <a:cubicBezTo>
                    <a:pt x="61" y="103"/>
                    <a:pt x="66" y="100"/>
                    <a:pt x="64" y="9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íšḻïďê">
              <a:extLst>
                <a:ext uri="{FF2B5EF4-FFF2-40B4-BE49-F238E27FC236}">
                  <a16:creationId xmlns:a16="http://schemas.microsoft.com/office/drawing/2014/main" id="{091BB429-85A3-42E2-A6B6-461675FB0B83}"/>
                </a:ext>
              </a:extLst>
            </p:cNvPr>
            <p:cNvSpPr/>
            <p:nvPr/>
          </p:nvSpPr>
          <p:spPr bwMode="auto">
            <a:xfrm>
              <a:off x="6007100" y="4300538"/>
              <a:ext cx="103188" cy="111125"/>
            </a:xfrm>
            <a:custGeom>
              <a:avLst/>
              <a:gdLst>
                <a:gd name="T0" fmla="*/ 71 w 74"/>
                <a:gd name="T1" fmla="*/ 75 h 81"/>
                <a:gd name="T2" fmla="*/ 6 w 74"/>
                <a:gd name="T3" fmla="*/ 2 h 81"/>
                <a:gd name="T4" fmla="*/ 2 w 74"/>
                <a:gd name="T5" fmla="*/ 5 h 81"/>
                <a:gd name="T6" fmla="*/ 66 w 74"/>
                <a:gd name="T7" fmla="*/ 78 h 81"/>
                <a:gd name="T8" fmla="*/ 71 w 74"/>
                <a:gd name="T9" fmla="*/ 7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1">
                  <a:moveTo>
                    <a:pt x="71" y="75"/>
                  </a:moveTo>
                  <a:cubicBezTo>
                    <a:pt x="50" y="50"/>
                    <a:pt x="28" y="26"/>
                    <a:pt x="6" y="2"/>
                  </a:cubicBezTo>
                  <a:cubicBezTo>
                    <a:pt x="4" y="0"/>
                    <a:pt x="0" y="2"/>
                    <a:pt x="2" y="5"/>
                  </a:cubicBezTo>
                  <a:cubicBezTo>
                    <a:pt x="23" y="29"/>
                    <a:pt x="44" y="54"/>
                    <a:pt x="66" y="78"/>
                  </a:cubicBezTo>
                  <a:cubicBezTo>
                    <a:pt x="69" y="81"/>
                    <a:pt x="74" y="78"/>
                    <a:pt x="71" y="7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i$ļíḍe">
              <a:extLst>
                <a:ext uri="{FF2B5EF4-FFF2-40B4-BE49-F238E27FC236}">
                  <a16:creationId xmlns:a16="http://schemas.microsoft.com/office/drawing/2014/main" id="{579A99E2-3F66-45E3-B841-80BD988EA1AD}"/>
                </a:ext>
              </a:extLst>
            </p:cNvPr>
            <p:cNvSpPr/>
            <p:nvPr/>
          </p:nvSpPr>
          <p:spPr bwMode="auto">
            <a:xfrm>
              <a:off x="6132513" y="4400551"/>
              <a:ext cx="34925" cy="23813"/>
            </a:xfrm>
            <a:custGeom>
              <a:avLst/>
              <a:gdLst>
                <a:gd name="T0" fmla="*/ 22 w 25"/>
                <a:gd name="T1" fmla="*/ 10 h 17"/>
                <a:gd name="T2" fmla="*/ 5 w 25"/>
                <a:gd name="T3" fmla="*/ 2 h 17"/>
                <a:gd name="T4" fmla="*/ 3 w 25"/>
                <a:gd name="T5" fmla="*/ 6 h 17"/>
                <a:gd name="T6" fmla="*/ 20 w 25"/>
                <a:gd name="T7" fmla="*/ 15 h 17"/>
                <a:gd name="T8" fmla="*/ 22 w 25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22" y="10"/>
                  </a:moveTo>
                  <a:cubicBezTo>
                    <a:pt x="16" y="7"/>
                    <a:pt x="10" y="4"/>
                    <a:pt x="5" y="2"/>
                  </a:cubicBezTo>
                  <a:cubicBezTo>
                    <a:pt x="1" y="0"/>
                    <a:pt x="0" y="4"/>
                    <a:pt x="3" y="6"/>
                  </a:cubicBezTo>
                  <a:cubicBezTo>
                    <a:pt x="9" y="9"/>
                    <a:pt x="14" y="12"/>
                    <a:pt x="20" y="15"/>
                  </a:cubicBezTo>
                  <a:cubicBezTo>
                    <a:pt x="23" y="17"/>
                    <a:pt x="25" y="12"/>
                    <a:pt x="22" y="1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iṥľïḋé">
              <a:extLst>
                <a:ext uri="{FF2B5EF4-FFF2-40B4-BE49-F238E27FC236}">
                  <a16:creationId xmlns:a16="http://schemas.microsoft.com/office/drawing/2014/main" id="{619A5AA0-1B01-46ED-A1FB-E72A0E04C8F4}"/>
                </a:ext>
              </a:extLst>
            </p:cNvPr>
            <p:cNvSpPr/>
            <p:nvPr/>
          </p:nvSpPr>
          <p:spPr bwMode="auto">
            <a:xfrm>
              <a:off x="6202363" y="4095751"/>
              <a:ext cx="196850" cy="403225"/>
            </a:xfrm>
            <a:custGeom>
              <a:avLst/>
              <a:gdLst>
                <a:gd name="T0" fmla="*/ 101 w 143"/>
                <a:gd name="T1" fmla="*/ 132 h 293"/>
                <a:gd name="T2" fmla="*/ 8 w 143"/>
                <a:gd name="T3" fmla="*/ 3 h 293"/>
                <a:gd name="T4" fmla="*/ 3 w 143"/>
                <a:gd name="T5" fmla="*/ 7 h 293"/>
                <a:gd name="T6" fmla="*/ 90 w 143"/>
                <a:gd name="T7" fmla="*/ 136 h 293"/>
                <a:gd name="T8" fmla="*/ 116 w 143"/>
                <a:gd name="T9" fmla="*/ 210 h 293"/>
                <a:gd name="T10" fmla="*/ 129 w 143"/>
                <a:gd name="T11" fmla="*/ 287 h 293"/>
                <a:gd name="T12" fmla="*/ 139 w 143"/>
                <a:gd name="T13" fmla="*/ 287 h 293"/>
                <a:gd name="T14" fmla="*/ 101 w 143"/>
                <a:gd name="T15" fmla="*/ 132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3" h="293">
                  <a:moveTo>
                    <a:pt x="101" y="132"/>
                  </a:moveTo>
                  <a:cubicBezTo>
                    <a:pt x="78" y="84"/>
                    <a:pt x="47" y="40"/>
                    <a:pt x="8" y="3"/>
                  </a:cubicBezTo>
                  <a:cubicBezTo>
                    <a:pt x="5" y="0"/>
                    <a:pt x="0" y="4"/>
                    <a:pt x="3" y="7"/>
                  </a:cubicBezTo>
                  <a:cubicBezTo>
                    <a:pt x="39" y="45"/>
                    <a:pt x="69" y="88"/>
                    <a:pt x="90" y="136"/>
                  </a:cubicBezTo>
                  <a:cubicBezTo>
                    <a:pt x="101" y="160"/>
                    <a:pt x="110" y="185"/>
                    <a:pt x="116" y="210"/>
                  </a:cubicBezTo>
                  <a:cubicBezTo>
                    <a:pt x="122" y="235"/>
                    <a:pt x="124" y="261"/>
                    <a:pt x="129" y="287"/>
                  </a:cubicBezTo>
                  <a:cubicBezTo>
                    <a:pt x="130" y="291"/>
                    <a:pt x="138" y="293"/>
                    <a:pt x="139" y="287"/>
                  </a:cubicBezTo>
                  <a:cubicBezTo>
                    <a:pt x="143" y="237"/>
                    <a:pt x="122" y="178"/>
                    <a:pt x="101" y="132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îśļîďe">
              <a:extLst>
                <a:ext uri="{FF2B5EF4-FFF2-40B4-BE49-F238E27FC236}">
                  <a16:creationId xmlns:a16="http://schemas.microsoft.com/office/drawing/2014/main" id="{4B833145-093F-4E27-92E3-B8928ECC6232}"/>
                </a:ext>
              </a:extLst>
            </p:cNvPr>
            <p:cNvSpPr/>
            <p:nvPr/>
          </p:nvSpPr>
          <p:spPr bwMode="auto">
            <a:xfrm>
              <a:off x="6348413" y="4251326"/>
              <a:ext cx="77788" cy="314325"/>
            </a:xfrm>
            <a:custGeom>
              <a:avLst/>
              <a:gdLst>
                <a:gd name="T0" fmla="*/ 7 w 57"/>
                <a:gd name="T1" fmla="*/ 3 h 229"/>
                <a:gd name="T2" fmla="*/ 1 w 57"/>
                <a:gd name="T3" fmla="*/ 5 h 229"/>
                <a:gd name="T4" fmla="*/ 41 w 57"/>
                <a:gd name="T5" fmla="*/ 220 h 229"/>
                <a:gd name="T6" fmla="*/ 52 w 57"/>
                <a:gd name="T7" fmla="*/ 222 h 229"/>
                <a:gd name="T8" fmla="*/ 7 w 57"/>
                <a:gd name="T9" fmla="*/ 3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29">
                  <a:moveTo>
                    <a:pt x="7" y="3"/>
                  </a:moveTo>
                  <a:cubicBezTo>
                    <a:pt x="5" y="0"/>
                    <a:pt x="0" y="1"/>
                    <a:pt x="1" y="5"/>
                  </a:cubicBezTo>
                  <a:cubicBezTo>
                    <a:pt x="31" y="75"/>
                    <a:pt x="41" y="145"/>
                    <a:pt x="41" y="220"/>
                  </a:cubicBezTo>
                  <a:cubicBezTo>
                    <a:pt x="41" y="226"/>
                    <a:pt x="51" y="229"/>
                    <a:pt x="52" y="222"/>
                  </a:cubicBezTo>
                  <a:cubicBezTo>
                    <a:pt x="57" y="148"/>
                    <a:pt x="38" y="71"/>
                    <a:pt x="7" y="3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îS1íḓe">
              <a:extLst>
                <a:ext uri="{FF2B5EF4-FFF2-40B4-BE49-F238E27FC236}">
                  <a16:creationId xmlns:a16="http://schemas.microsoft.com/office/drawing/2014/main" id="{629D9227-CB16-40CF-B5CB-2899045E8700}"/>
                </a:ext>
              </a:extLst>
            </p:cNvPr>
            <p:cNvSpPr/>
            <p:nvPr/>
          </p:nvSpPr>
          <p:spPr bwMode="auto">
            <a:xfrm>
              <a:off x="5424488" y="4579938"/>
              <a:ext cx="115888" cy="139700"/>
            </a:xfrm>
            <a:custGeom>
              <a:avLst/>
              <a:gdLst>
                <a:gd name="T0" fmla="*/ 82 w 84"/>
                <a:gd name="T1" fmla="*/ 27 h 102"/>
                <a:gd name="T2" fmla="*/ 30 w 84"/>
                <a:gd name="T3" fmla="*/ 47 h 102"/>
                <a:gd name="T4" fmla="*/ 40 w 84"/>
                <a:gd name="T5" fmla="*/ 90 h 102"/>
                <a:gd name="T6" fmla="*/ 10 w 84"/>
                <a:gd name="T7" fmla="*/ 48 h 102"/>
                <a:gd name="T8" fmla="*/ 57 w 84"/>
                <a:gd name="T9" fmla="*/ 12 h 102"/>
                <a:gd name="T10" fmla="*/ 56 w 84"/>
                <a:gd name="T11" fmla="*/ 3 h 102"/>
                <a:gd name="T12" fmla="*/ 0 w 84"/>
                <a:gd name="T13" fmla="*/ 51 h 102"/>
                <a:gd name="T14" fmla="*/ 57 w 84"/>
                <a:gd name="T15" fmla="*/ 100 h 102"/>
                <a:gd name="T16" fmla="*/ 57 w 84"/>
                <a:gd name="T17" fmla="*/ 92 h 102"/>
                <a:gd name="T18" fmla="*/ 81 w 84"/>
                <a:gd name="T19" fmla="*/ 31 h 102"/>
                <a:gd name="T20" fmla="*/ 82 w 84"/>
                <a:gd name="T21" fmla="*/ 2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102">
                  <a:moveTo>
                    <a:pt x="82" y="27"/>
                  </a:moveTo>
                  <a:cubicBezTo>
                    <a:pt x="63" y="19"/>
                    <a:pt x="38" y="27"/>
                    <a:pt x="30" y="47"/>
                  </a:cubicBezTo>
                  <a:cubicBezTo>
                    <a:pt x="24" y="62"/>
                    <a:pt x="29" y="79"/>
                    <a:pt x="40" y="90"/>
                  </a:cubicBezTo>
                  <a:cubicBezTo>
                    <a:pt x="22" y="84"/>
                    <a:pt x="7" y="68"/>
                    <a:pt x="10" y="48"/>
                  </a:cubicBezTo>
                  <a:cubicBezTo>
                    <a:pt x="12" y="25"/>
                    <a:pt x="35" y="10"/>
                    <a:pt x="57" y="12"/>
                  </a:cubicBezTo>
                  <a:cubicBezTo>
                    <a:pt x="62" y="12"/>
                    <a:pt x="61" y="4"/>
                    <a:pt x="56" y="3"/>
                  </a:cubicBezTo>
                  <a:cubicBezTo>
                    <a:pt x="28" y="0"/>
                    <a:pt x="0" y="21"/>
                    <a:pt x="0" y="51"/>
                  </a:cubicBezTo>
                  <a:cubicBezTo>
                    <a:pt x="0" y="80"/>
                    <a:pt x="29" y="102"/>
                    <a:pt x="57" y="100"/>
                  </a:cubicBezTo>
                  <a:cubicBezTo>
                    <a:pt x="61" y="99"/>
                    <a:pt x="62" y="93"/>
                    <a:pt x="57" y="92"/>
                  </a:cubicBezTo>
                  <a:cubicBezTo>
                    <a:pt x="17" y="75"/>
                    <a:pt x="41" y="18"/>
                    <a:pt x="81" y="31"/>
                  </a:cubicBezTo>
                  <a:cubicBezTo>
                    <a:pt x="83" y="32"/>
                    <a:pt x="84" y="28"/>
                    <a:pt x="82" y="2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îṣļiḑê">
              <a:extLst>
                <a:ext uri="{FF2B5EF4-FFF2-40B4-BE49-F238E27FC236}">
                  <a16:creationId xmlns:a16="http://schemas.microsoft.com/office/drawing/2014/main" id="{038AF52D-60FC-4223-98EF-BF7A8B1F4469}"/>
                </a:ext>
              </a:extLst>
            </p:cNvPr>
            <p:cNvSpPr/>
            <p:nvPr/>
          </p:nvSpPr>
          <p:spPr bwMode="auto">
            <a:xfrm>
              <a:off x="5480050" y="4608513"/>
              <a:ext cx="217488" cy="244475"/>
            </a:xfrm>
            <a:custGeom>
              <a:avLst/>
              <a:gdLst>
                <a:gd name="T0" fmla="*/ 152 w 158"/>
                <a:gd name="T1" fmla="*/ 41 h 178"/>
                <a:gd name="T2" fmla="*/ 91 w 158"/>
                <a:gd name="T3" fmla="*/ 70 h 178"/>
                <a:gd name="T4" fmla="*/ 101 w 158"/>
                <a:gd name="T5" fmla="*/ 111 h 178"/>
                <a:gd name="T6" fmla="*/ 83 w 158"/>
                <a:gd name="T7" fmla="*/ 97 h 178"/>
                <a:gd name="T8" fmla="*/ 76 w 158"/>
                <a:gd name="T9" fmla="*/ 88 h 178"/>
                <a:gd name="T10" fmla="*/ 72 w 158"/>
                <a:gd name="T11" fmla="*/ 67 h 178"/>
                <a:gd name="T12" fmla="*/ 107 w 158"/>
                <a:gd name="T13" fmla="*/ 15 h 178"/>
                <a:gd name="T14" fmla="*/ 103 w 158"/>
                <a:gd name="T15" fmla="*/ 10 h 178"/>
                <a:gd name="T16" fmla="*/ 74 w 158"/>
                <a:gd name="T17" fmla="*/ 28 h 178"/>
                <a:gd name="T18" fmla="*/ 14 w 158"/>
                <a:gd name="T19" fmla="*/ 8 h 178"/>
                <a:gd name="T20" fmla="*/ 15 w 158"/>
                <a:gd name="T21" fmla="*/ 14 h 178"/>
                <a:gd name="T22" fmla="*/ 65 w 158"/>
                <a:gd name="T23" fmla="*/ 34 h 178"/>
                <a:gd name="T24" fmla="*/ 68 w 158"/>
                <a:gd name="T25" fmla="*/ 37 h 178"/>
                <a:gd name="T26" fmla="*/ 61 w 158"/>
                <a:gd name="T27" fmla="*/ 78 h 178"/>
                <a:gd name="T28" fmla="*/ 66 w 158"/>
                <a:gd name="T29" fmla="*/ 92 h 178"/>
                <a:gd name="T30" fmla="*/ 48 w 158"/>
                <a:gd name="T31" fmla="*/ 158 h 178"/>
                <a:gd name="T32" fmla="*/ 43 w 158"/>
                <a:gd name="T33" fmla="*/ 83 h 178"/>
                <a:gd name="T34" fmla="*/ 40 w 158"/>
                <a:gd name="T35" fmla="*/ 79 h 178"/>
                <a:gd name="T36" fmla="*/ 61 w 158"/>
                <a:gd name="T37" fmla="*/ 176 h 178"/>
                <a:gd name="T38" fmla="*/ 67 w 158"/>
                <a:gd name="T39" fmla="*/ 167 h 178"/>
                <a:gd name="T40" fmla="*/ 74 w 158"/>
                <a:gd name="T41" fmla="*/ 104 h 178"/>
                <a:gd name="T42" fmla="*/ 128 w 158"/>
                <a:gd name="T43" fmla="*/ 128 h 178"/>
                <a:gd name="T44" fmla="*/ 128 w 158"/>
                <a:gd name="T45" fmla="*/ 116 h 178"/>
                <a:gd name="T46" fmla="*/ 149 w 158"/>
                <a:gd name="T47" fmla="*/ 52 h 178"/>
                <a:gd name="T48" fmla="*/ 152 w 158"/>
                <a:gd name="T49" fmla="*/ 4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8" h="178">
                  <a:moveTo>
                    <a:pt x="152" y="41"/>
                  </a:moveTo>
                  <a:cubicBezTo>
                    <a:pt x="128" y="33"/>
                    <a:pt x="99" y="44"/>
                    <a:pt x="91" y="70"/>
                  </a:cubicBezTo>
                  <a:cubicBezTo>
                    <a:pt x="87" y="85"/>
                    <a:pt x="92" y="100"/>
                    <a:pt x="101" y="111"/>
                  </a:cubicBezTo>
                  <a:cubicBezTo>
                    <a:pt x="94" y="108"/>
                    <a:pt x="88" y="103"/>
                    <a:pt x="83" y="97"/>
                  </a:cubicBezTo>
                  <a:cubicBezTo>
                    <a:pt x="86" y="94"/>
                    <a:pt x="81" y="88"/>
                    <a:pt x="76" y="88"/>
                  </a:cubicBezTo>
                  <a:cubicBezTo>
                    <a:pt x="73" y="82"/>
                    <a:pt x="72" y="75"/>
                    <a:pt x="72" y="67"/>
                  </a:cubicBezTo>
                  <a:cubicBezTo>
                    <a:pt x="72" y="43"/>
                    <a:pt x="87" y="27"/>
                    <a:pt x="107" y="15"/>
                  </a:cubicBezTo>
                  <a:cubicBezTo>
                    <a:pt x="110" y="14"/>
                    <a:pt x="106" y="10"/>
                    <a:pt x="103" y="10"/>
                  </a:cubicBezTo>
                  <a:cubicBezTo>
                    <a:pt x="92" y="12"/>
                    <a:pt x="82" y="19"/>
                    <a:pt x="74" y="28"/>
                  </a:cubicBezTo>
                  <a:cubicBezTo>
                    <a:pt x="62" y="9"/>
                    <a:pt x="35" y="0"/>
                    <a:pt x="14" y="8"/>
                  </a:cubicBezTo>
                  <a:cubicBezTo>
                    <a:pt x="10" y="10"/>
                    <a:pt x="12" y="15"/>
                    <a:pt x="15" y="14"/>
                  </a:cubicBezTo>
                  <a:cubicBezTo>
                    <a:pt x="35" y="12"/>
                    <a:pt x="52" y="19"/>
                    <a:pt x="65" y="34"/>
                  </a:cubicBezTo>
                  <a:cubicBezTo>
                    <a:pt x="66" y="36"/>
                    <a:pt x="67" y="37"/>
                    <a:pt x="68" y="37"/>
                  </a:cubicBezTo>
                  <a:cubicBezTo>
                    <a:pt x="61" y="49"/>
                    <a:pt x="58" y="64"/>
                    <a:pt x="61" y="78"/>
                  </a:cubicBezTo>
                  <a:cubicBezTo>
                    <a:pt x="62" y="83"/>
                    <a:pt x="64" y="88"/>
                    <a:pt x="66" y="92"/>
                  </a:cubicBezTo>
                  <a:cubicBezTo>
                    <a:pt x="43" y="104"/>
                    <a:pt x="38" y="135"/>
                    <a:pt x="48" y="158"/>
                  </a:cubicBezTo>
                  <a:cubicBezTo>
                    <a:pt x="22" y="143"/>
                    <a:pt x="19" y="105"/>
                    <a:pt x="43" y="83"/>
                  </a:cubicBezTo>
                  <a:cubicBezTo>
                    <a:pt x="46" y="81"/>
                    <a:pt x="43" y="77"/>
                    <a:pt x="40" y="79"/>
                  </a:cubicBezTo>
                  <a:cubicBezTo>
                    <a:pt x="0" y="107"/>
                    <a:pt x="15" y="165"/>
                    <a:pt x="61" y="176"/>
                  </a:cubicBezTo>
                  <a:cubicBezTo>
                    <a:pt x="66" y="178"/>
                    <a:pt x="70" y="171"/>
                    <a:pt x="67" y="167"/>
                  </a:cubicBezTo>
                  <a:cubicBezTo>
                    <a:pt x="47" y="147"/>
                    <a:pt x="55" y="121"/>
                    <a:pt x="74" y="104"/>
                  </a:cubicBezTo>
                  <a:cubicBezTo>
                    <a:pt x="87" y="120"/>
                    <a:pt x="107" y="129"/>
                    <a:pt x="128" y="128"/>
                  </a:cubicBezTo>
                  <a:cubicBezTo>
                    <a:pt x="136" y="128"/>
                    <a:pt x="134" y="118"/>
                    <a:pt x="128" y="116"/>
                  </a:cubicBezTo>
                  <a:cubicBezTo>
                    <a:pt x="83" y="102"/>
                    <a:pt x="107" y="43"/>
                    <a:pt x="149" y="52"/>
                  </a:cubicBezTo>
                  <a:cubicBezTo>
                    <a:pt x="156" y="53"/>
                    <a:pt x="158" y="43"/>
                    <a:pt x="152" y="4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ïṩḻide">
              <a:extLst>
                <a:ext uri="{FF2B5EF4-FFF2-40B4-BE49-F238E27FC236}">
                  <a16:creationId xmlns:a16="http://schemas.microsoft.com/office/drawing/2014/main" id="{56B5CE4D-7D77-4090-8453-E7D6274E49F2}"/>
                </a:ext>
              </a:extLst>
            </p:cNvPr>
            <p:cNvSpPr/>
            <p:nvPr/>
          </p:nvSpPr>
          <p:spPr bwMode="auto">
            <a:xfrm>
              <a:off x="5527675" y="4565651"/>
              <a:ext cx="90488" cy="28575"/>
            </a:xfrm>
            <a:custGeom>
              <a:avLst/>
              <a:gdLst>
                <a:gd name="T0" fmla="*/ 60 w 66"/>
                <a:gd name="T1" fmla="*/ 11 h 21"/>
                <a:gd name="T2" fmla="*/ 3 w 66"/>
                <a:gd name="T3" fmla="*/ 0 h 21"/>
                <a:gd name="T4" fmla="*/ 2 w 66"/>
                <a:gd name="T5" fmla="*/ 5 h 21"/>
                <a:gd name="T6" fmla="*/ 59 w 66"/>
                <a:gd name="T7" fmla="*/ 20 h 21"/>
                <a:gd name="T8" fmla="*/ 60 w 66"/>
                <a:gd name="T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1">
                  <a:moveTo>
                    <a:pt x="60" y="11"/>
                  </a:moveTo>
                  <a:cubicBezTo>
                    <a:pt x="41" y="6"/>
                    <a:pt x="22" y="2"/>
                    <a:pt x="3" y="0"/>
                  </a:cubicBezTo>
                  <a:cubicBezTo>
                    <a:pt x="0" y="0"/>
                    <a:pt x="0" y="4"/>
                    <a:pt x="2" y="5"/>
                  </a:cubicBezTo>
                  <a:cubicBezTo>
                    <a:pt x="21" y="12"/>
                    <a:pt x="40" y="16"/>
                    <a:pt x="59" y="20"/>
                  </a:cubicBezTo>
                  <a:cubicBezTo>
                    <a:pt x="66" y="21"/>
                    <a:pt x="66" y="12"/>
                    <a:pt x="60" y="1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iśḻîḍe">
              <a:extLst>
                <a:ext uri="{FF2B5EF4-FFF2-40B4-BE49-F238E27FC236}">
                  <a16:creationId xmlns:a16="http://schemas.microsoft.com/office/drawing/2014/main" id="{2F4080A9-81C2-42AC-B200-1EA8DB395968}"/>
                </a:ext>
              </a:extLst>
            </p:cNvPr>
            <p:cNvSpPr/>
            <p:nvPr/>
          </p:nvSpPr>
          <p:spPr bwMode="auto">
            <a:xfrm>
              <a:off x="5680075" y="4702176"/>
              <a:ext cx="196850" cy="196850"/>
            </a:xfrm>
            <a:custGeom>
              <a:avLst/>
              <a:gdLst>
                <a:gd name="T0" fmla="*/ 119 w 143"/>
                <a:gd name="T1" fmla="*/ 45 h 143"/>
                <a:gd name="T2" fmla="*/ 109 w 143"/>
                <a:gd name="T3" fmla="*/ 53 h 143"/>
                <a:gd name="T4" fmla="*/ 109 w 143"/>
                <a:gd name="T5" fmla="*/ 112 h 143"/>
                <a:gd name="T6" fmla="*/ 70 w 143"/>
                <a:gd name="T7" fmla="*/ 118 h 143"/>
                <a:gd name="T8" fmla="*/ 92 w 143"/>
                <a:gd name="T9" fmla="*/ 103 h 143"/>
                <a:gd name="T10" fmla="*/ 79 w 143"/>
                <a:gd name="T11" fmla="*/ 59 h 143"/>
                <a:gd name="T12" fmla="*/ 9 w 143"/>
                <a:gd name="T13" fmla="*/ 1 h 143"/>
                <a:gd name="T14" fmla="*/ 7 w 143"/>
                <a:gd name="T15" fmla="*/ 14 h 143"/>
                <a:gd name="T16" fmla="*/ 83 w 143"/>
                <a:gd name="T17" fmla="*/ 87 h 143"/>
                <a:gd name="T18" fmla="*/ 87 w 143"/>
                <a:gd name="T19" fmla="*/ 88 h 143"/>
                <a:gd name="T20" fmla="*/ 50 w 143"/>
                <a:gd name="T21" fmla="*/ 103 h 143"/>
                <a:gd name="T22" fmla="*/ 41 w 143"/>
                <a:gd name="T23" fmla="*/ 111 h 143"/>
                <a:gd name="T24" fmla="*/ 118 w 143"/>
                <a:gd name="T25" fmla="*/ 124 h 143"/>
                <a:gd name="T26" fmla="*/ 119 w 143"/>
                <a:gd name="T27" fmla="*/ 45 h 143"/>
                <a:gd name="T28" fmla="*/ 83 w 143"/>
                <a:gd name="T29" fmla="*/ 70 h 143"/>
                <a:gd name="T30" fmla="*/ 87 w 143"/>
                <a:gd name="T31" fmla="*/ 86 h 143"/>
                <a:gd name="T32" fmla="*/ 83 w 143"/>
                <a:gd name="T33" fmla="*/ 7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3" h="143">
                  <a:moveTo>
                    <a:pt x="119" y="45"/>
                  </a:moveTo>
                  <a:cubicBezTo>
                    <a:pt x="113" y="39"/>
                    <a:pt x="104" y="47"/>
                    <a:pt x="109" y="53"/>
                  </a:cubicBezTo>
                  <a:cubicBezTo>
                    <a:pt x="125" y="70"/>
                    <a:pt x="126" y="97"/>
                    <a:pt x="109" y="112"/>
                  </a:cubicBezTo>
                  <a:cubicBezTo>
                    <a:pt x="97" y="122"/>
                    <a:pt x="83" y="123"/>
                    <a:pt x="70" y="118"/>
                  </a:cubicBezTo>
                  <a:cubicBezTo>
                    <a:pt x="79" y="117"/>
                    <a:pt x="87" y="112"/>
                    <a:pt x="92" y="103"/>
                  </a:cubicBezTo>
                  <a:cubicBezTo>
                    <a:pt x="100" y="87"/>
                    <a:pt x="93" y="68"/>
                    <a:pt x="79" y="59"/>
                  </a:cubicBezTo>
                  <a:cubicBezTo>
                    <a:pt x="67" y="30"/>
                    <a:pt x="42" y="7"/>
                    <a:pt x="9" y="1"/>
                  </a:cubicBezTo>
                  <a:cubicBezTo>
                    <a:pt x="0" y="0"/>
                    <a:pt x="0" y="11"/>
                    <a:pt x="7" y="14"/>
                  </a:cubicBezTo>
                  <a:cubicBezTo>
                    <a:pt x="42" y="25"/>
                    <a:pt x="73" y="50"/>
                    <a:pt x="83" y="87"/>
                  </a:cubicBezTo>
                  <a:cubicBezTo>
                    <a:pt x="83" y="89"/>
                    <a:pt x="86" y="89"/>
                    <a:pt x="87" y="88"/>
                  </a:cubicBezTo>
                  <a:cubicBezTo>
                    <a:pt x="83" y="104"/>
                    <a:pt x="66" y="116"/>
                    <a:pt x="50" y="103"/>
                  </a:cubicBezTo>
                  <a:cubicBezTo>
                    <a:pt x="44" y="98"/>
                    <a:pt x="37" y="105"/>
                    <a:pt x="41" y="111"/>
                  </a:cubicBezTo>
                  <a:cubicBezTo>
                    <a:pt x="57" y="136"/>
                    <a:pt x="96" y="143"/>
                    <a:pt x="118" y="124"/>
                  </a:cubicBezTo>
                  <a:cubicBezTo>
                    <a:pt x="143" y="104"/>
                    <a:pt x="142" y="65"/>
                    <a:pt x="119" y="45"/>
                  </a:cubicBezTo>
                  <a:close/>
                  <a:moveTo>
                    <a:pt x="83" y="70"/>
                  </a:moveTo>
                  <a:cubicBezTo>
                    <a:pt x="87" y="75"/>
                    <a:pt x="88" y="80"/>
                    <a:pt x="87" y="86"/>
                  </a:cubicBezTo>
                  <a:cubicBezTo>
                    <a:pt x="86" y="80"/>
                    <a:pt x="85" y="75"/>
                    <a:pt x="83" y="7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iSlidê">
              <a:extLst>
                <a:ext uri="{FF2B5EF4-FFF2-40B4-BE49-F238E27FC236}">
                  <a16:creationId xmlns:a16="http://schemas.microsoft.com/office/drawing/2014/main" id="{18CFAEA0-7D02-46C5-83C6-EFBF038C48E2}"/>
                </a:ext>
              </a:extLst>
            </p:cNvPr>
            <p:cNvSpPr/>
            <p:nvPr/>
          </p:nvSpPr>
          <p:spPr bwMode="auto">
            <a:xfrm>
              <a:off x="4064000" y="2333626"/>
              <a:ext cx="1296988" cy="2660650"/>
            </a:xfrm>
            <a:custGeom>
              <a:avLst/>
              <a:gdLst>
                <a:gd name="T0" fmla="*/ 930 w 941"/>
                <a:gd name="T1" fmla="*/ 1920 h 1936"/>
                <a:gd name="T2" fmla="*/ 477 w 941"/>
                <a:gd name="T3" fmla="*/ 1722 h 1936"/>
                <a:gd name="T4" fmla="*/ 167 w 941"/>
                <a:gd name="T5" fmla="*/ 1339 h 1936"/>
                <a:gd name="T6" fmla="*/ 250 w 941"/>
                <a:gd name="T7" fmla="*/ 400 h 1936"/>
                <a:gd name="T8" fmla="*/ 655 w 941"/>
                <a:gd name="T9" fmla="*/ 43 h 1936"/>
                <a:gd name="T10" fmla="*/ 634 w 941"/>
                <a:gd name="T11" fmla="*/ 7 h 1936"/>
                <a:gd name="T12" fmla="*/ 50 w 941"/>
                <a:gd name="T13" fmla="*/ 802 h 1936"/>
                <a:gd name="T14" fmla="*/ 416 w 941"/>
                <a:gd name="T15" fmla="*/ 1713 h 1936"/>
                <a:gd name="T16" fmla="*/ 931 w 941"/>
                <a:gd name="T17" fmla="*/ 1936 h 1936"/>
                <a:gd name="T18" fmla="*/ 930 w 941"/>
                <a:gd name="T19" fmla="*/ 1920 h 1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1" h="1936">
                  <a:moveTo>
                    <a:pt x="930" y="1920"/>
                  </a:moveTo>
                  <a:cubicBezTo>
                    <a:pt x="765" y="1884"/>
                    <a:pt x="613" y="1825"/>
                    <a:pt x="477" y="1722"/>
                  </a:cubicBezTo>
                  <a:cubicBezTo>
                    <a:pt x="346" y="1621"/>
                    <a:pt x="237" y="1489"/>
                    <a:pt x="167" y="1339"/>
                  </a:cubicBezTo>
                  <a:cubicBezTo>
                    <a:pt x="25" y="1035"/>
                    <a:pt x="67" y="678"/>
                    <a:pt x="250" y="400"/>
                  </a:cubicBezTo>
                  <a:cubicBezTo>
                    <a:pt x="354" y="241"/>
                    <a:pt x="491" y="134"/>
                    <a:pt x="655" y="43"/>
                  </a:cubicBezTo>
                  <a:cubicBezTo>
                    <a:pt x="675" y="32"/>
                    <a:pt x="653" y="0"/>
                    <a:pt x="634" y="7"/>
                  </a:cubicBezTo>
                  <a:cubicBezTo>
                    <a:pt x="318" y="130"/>
                    <a:pt x="97" y="476"/>
                    <a:pt x="50" y="802"/>
                  </a:cubicBezTo>
                  <a:cubicBezTo>
                    <a:pt x="0" y="1148"/>
                    <a:pt x="149" y="1492"/>
                    <a:pt x="416" y="1713"/>
                  </a:cubicBezTo>
                  <a:cubicBezTo>
                    <a:pt x="559" y="1832"/>
                    <a:pt x="742" y="1924"/>
                    <a:pt x="931" y="1936"/>
                  </a:cubicBezTo>
                  <a:cubicBezTo>
                    <a:pt x="941" y="1936"/>
                    <a:pt x="939" y="1921"/>
                    <a:pt x="930" y="192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iṧḻîḋê">
              <a:extLst>
                <a:ext uri="{FF2B5EF4-FFF2-40B4-BE49-F238E27FC236}">
                  <a16:creationId xmlns:a16="http://schemas.microsoft.com/office/drawing/2014/main" id="{C5D1B2CD-D55E-4D20-982C-F5A0FC941EEF}"/>
                </a:ext>
              </a:extLst>
            </p:cNvPr>
            <p:cNvSpPr/>
            <p:nvPr/>
          </p:nvSpPr>
          <p:spPr bwMode="auto">
            <a:xfrm>
              <a:off x="5580063" y="1831976"/>
              <a:ext cx="889000" cy="255588"/>
            </a:xfrm>
            <a:custGeom>
              <a:avLst/>
              <a:gdLst>
                <a:gd name="T0" fmla="*/ 622 w 646"/>
                <a:gd name="T1" fmla="*/ 20 h 186"/>
                <a:gd name="T2" fmla="*/ 7 w 646"/>
                <a:gd name="T3" fmla="*/ 171 h 186"/>
                <a:gd name="T4" fmla="*/ 15 w 646"/>
                <a:gd name="T5" fmla="*/ 182 h 186"/>
                <a:gd name="T6" fmla="*/ 310 w 646"/>
                <a:gd name="T7" fmla="*/ 74 h 186"/>
                <a:gd name="T8" fmla="*/ 623 w 646"/>
                <a:gd name="T9" fmla="*/ 57 h 186"/>
                <a:gd name="T10" fmla="*/ 622 w 646"/>
                <a:gd name="T11" fmla="*/ 2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6" h="186">
                  <a:moveTo>
                    <a:pt x="622" y="20"/>
                  </a:moveTo>
                  <a:cubicBezTo>
                    <a:pt x="411" y="0"/>
                    <a:pt x="187" y="62"/>
                    <a:pt x="7" y="171"/>
                  </a:cubicBezTo>
                  <a:cubicBezTo>
                    <a:pt x="0" y="175"/>
                    <a:pt x="8" y="186"/>
                    <a:pt x="15" y="182"/>
                  </a:cubicBezTo>
                  <a:cubicBezTo>
                    <a:pt x="109" y="133"/>
                    <a:pt x="207" y="95"/>
                    <a:pt x="310" y="74"/>
                  </a:cubicBezTo>
                  <a:cubicBezTo>
                    <a:pt x="415" y="52"/>
                    <a:pt x="517" y="53"/>
                    <a:pt x="623" y="57"/>
                  </a:cubicBezTo>
                  <a:cubicBezTo>
                    <a:pt x="646" y="58"/>
                    <a:pt x="642" y="22"/>
                    <a:pt x="622" y="2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ïṧļíḑé">
              <a:extLst>
                <a:ext uri="{FF2B5EF4-FFF2-40B4-BE49-F238E27FC236}">
                  <a16:creationId xmlns:a16="http://schemas.microsoft.com/office/drawing/2014/main" id="{D15B4D7F-133D-4E4C-BB4D-578C6DA5C875}"/>
                </a:ext>
              </a:extLst>
            </p:cNvPr>
            <p:cNvSpPr/>
            <p:nvPr/>
          </p:nvSpPr>
          <p:spPr bwMode="auto">
            <a:xfrm>
              <a:off x="7383463" y="2246313"/>
              <a:ext cx="704850" cy="2501900"/>
            </a:xfrm>
            <a:custGeom>
              <a:avLst/>
              <a:gdLst>
                <a:gd name="T0" fmla="*/ 106 w 512"/>
                <a:gd name="T1" fmla="*/ 6 h 1819"/>
                <a:gd name="T2" fmla="*/ 94 w 512"/>
                <a:gd name="T3" fmla="*/ 17 h 1819"/>
                <a:gd name="T4" fmla="*/ 459 w 512"/>
                <a:gd name="T5" fmla="*/ 921 h 1819"/>
                <a:gd name="T6" fmla="*/ 18 w 512"/>
                <a:gd name="T7" fmla="*/ 1773 h 1819"/>
                <a:gd name="T8" fmla="*/ 42 w 512"/>
                <a:gd name="T9" fmla="*/ 1805 h 1819"/>
                <a:gd name="T10" fmla="*/ 499 w 512"/>
                <a:gd name="T11" fmla="*/ 921 h 1819"/>
                <a:gd name="T12" fmla="*/ 106 w 512"/>
                <a:gd name="T13" fmla="*/ 6 h 1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2" h="1819">
                  <a:moveTo>
                    <a:pt x="106" y="6"/>
                  </a:moveTo>
                  <a:cubicBezTo>
                    <a:pt x="99" y="0"/>
                    <a:pt x="87" y="9"/>
                    <a:pt x="94" y="17"/>
                  </a:cubicBezTo>
                  <a:cubicBezTo>
                    <a:pt x="328" y="262"/>
                    <a:pt x="476" y="576"/>
                    <a:pt x="459" y="921"/>
                  </a:cubicBezTo>
                  <a:cubicBezTo>
                    <a:pt x="443" y="1259"/>
                    <a:pt x="274" y="1557"/>
                    <a:pt x="18" y="1773"/>
                  </a:cubicBezTo>
                  <a:cubicBezTo>
                    <a:pt x="0" y="1788"/>
                    <a:pt x="23" y="1819"/>
                    <a:pt x="42" y="1805"/>
                  </a:cubicBezTo>
                  <a:cubicBezTo>
                    <a:pt x="316" y="1604"/>
                    <a:pt x="487" y="1258"/>
                    <a:pt x="499" y="921"/>
                  </a:cubicBezTo>
                  <a:cubicBezTo>
                    <a:pt x="512" y="585"/>
                    <a:pt x="371" y="221"/>
                    <a:pt x="106" y="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îS1ídé">
              <a:extLst>
                <a:ext uri="{FF2B5EF4-FFF2-40B4-BE49-F238E27FC236}">
                  <a16:creationId xmlns:a16="http://schemas.microsoft.com/office/drawing/2014/main" id="{D1D59E91-C155-4353-BF59-23D4E2D5A494}"/>
                </a:ext>
              </a:extLst>
            </p:cNvPr>
            <p:cNvSpPr/>
            <p:nvPr/>
          </p:nvSpPr>
          <p:spPr bwMode="auto">
            <a:xfrm>
              <a:off x="4470400" y="1909763"/>
              <a:ext cx="531813" cy="303213"/>
            </a:xfrm>
            <a:custGeom>
              <a:avLst/>
              <a:gdLst>
                <a:gd name="T0" fmla="*/ 370 w 386"/>
                <a:gd name="T1" fmla="*/ 186 h 220"/>
                <a:gd name="T2" fmla="*/ 306 w 386"/>
                <a:gd name="T3" fmla="*/ 127 h 220"/>
                <a:gd name="T4" fmla="*/ 18 w 386"/>
                <a:gd name="T5" fmla="*/ 26 h 220"/>
                <a:gd name="T6" fmla="*/ 26 w 386"/>
                <a:gd name="T7" fmla="*/ 54 h 220"/>
                <a:gd name="T8" fmla="*/ 343 w 386"/>
                <a:gd name="T9" fmla="*/ 204 h 220"/>
                <a:gd name="T10" fmla="*/ 370 w 386"/>
                <a:gd name="T11" fmla="*/ 18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" h="220">
                  <a:moveTo>
                    <a:pt x="370" y="186"/>
                  </a:moveTo>
                  <a:cubicBezTo>
                    <a:pt x="350" y="164"/>
                    <a:pt x="329" y="144"/>
                    <a:pt x="306" y="127"/>
                  </a:cubicBezTo>
                  <a:cubicBezTo>
                    <a:pt x="240" y="41"/>
                    <a:pt x="124" y="0"/>
                    <a:pt x="18" y="26"/>
                  </a:cubicBezTo>
                  <a:cubicBezTo>
                    <a:pt x="0" y="31"/>
                    <a:pt x="12" y="54"/>
                    <a:pt x="26" y="54"/>
                  </a:cubicBezTo>
                  <a:cubicBezTo>
                    <a:pt x="148" y="55"/>
                    <a:pt x="263" y="113"/>
                    <a:pt x="343" y="204"/>
                  </a:cubicBezTo>
                  <a:cubicBezTo>
                    <a:pt x="358" y="220"/>
                    <a:pt x="386" y="203"/>
                    <a:pt x="370" y="186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îṩlíḓé">
              <a:extLst>
                <a:ext uri="{FF2B5EF4-FFF2-40B4-BE49-F238E27FC236}">
                  <a16:creationId xmlns:a16="http://schemas.microsoft.com/office/drawing/2014/main" id="{45C4B6CA-6C6F-4CBE-B913-64E8F387F6B4}"/>
                </a:ext>
              </a:extLst>
            </p:cNvPr>
            <p:cNvSpPr/>
            <p:nvPr/>
          </p:nvSpPr>
          <p:spPr bwMode="auto">
            <a:xfrm>
              <a:off x="5030788" y="1384301"/>
              <a:ext cx="174625" cy="636588"/>
            </a:xfrm>
            <a:custGeom>
              <a:avLst/>
              <a:gdLst>
                <a:gd name="T0" fmla="*/ 60 w 126"/>
                <a:gd name="T1" fmla="*/ 169 h 463"/>
                <a:gd name="T2" fmla="*/ 65 w 126"/>
                <a:gd name="T3" fmla="*/ 151 h 463"/>
                <a:gd name="T4" fmla="*/ 87 w 126"/>
                <a:gd name="T5" fmla="*/ 101 h 463"/>
                <a:gd name="T6" fmla="*/ 110 w 126"/>
                <a:gd name="T7" fmla="*/ 20 h 463"/>
                <a:gd name="T8" fmla="*/ 65 w 126"/>
                <a:gd name="T9" fmla="*/ 4 h 463"/>
                <a:gd name="T10" fmla="*/ 1 w 126"/>
                <a:gd name="T11" fmla="*/ 189 h 463"/>
                <a:gd name="T12" fmla="*/ 34 w 126"/>
                <a:gd name="T13" fmla="*/ 382 h 463"/>
                <a:gd name="T14" fmla="*/ 42 w 126"/>
                <a:gd name="T15" fmla="*/ 407 h 463"/>
                <a:gd name="T16" fmla="*/ 46 w 126"/>
                <a:gd name="T17" fmla="*/ 412 h 463"/>
                <a:gd name="T18" fmla="*/ 67 w 126"/>
                <a:gd name="T19" fmla="*/ 455 h 463"/>
                <a:gd name="T20" fmla="*/ 80 w 126"/>
                <a:gd name="T21" fmla="*/ 451 h 463"/>
                <a:gd name="T22" fmla="*/ 62 w 126"/>
                <a:gd name="T23" fmla="*/ 411 h 463"/>
                <a:gd name="T24" fmla="*/ 63 w 126"/>
                <a:gd name="T25" fmla="*/ 404 h 463"/>
                <a:gd name="T26" fmla="*/ 50 w 126"/>
                <a:gd name="T27" fmla="*/ 345 h 463"/>
                <a:gd name="T28" fmla="*/ 60 w 126"/>
                <a:gd name="T29" fmla="*/ 169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463">
                  <a:moveTo>
                    <a:pt x="60" y="169"/>
                  </a:moveTo>
                  <a:cubicBezTo>
                    <a:pt x="62" y="163"/>
                    <a:pt x="64" y="157"/>
                    <a:pt x="65" y="151"/>
                  </a:cubicBezTo>
                  <a:cubicBezTo>
                    <a:pt x="71" y="134"/>
                    <a:pt x="78" y="117"/>
                    <a:pt x="87" y="101"/>
                  </a:cubicBezTo>
                  <a:cubicBezTo>
                    <a:pt x="98" y="78"/>
                    <a:pt x="126" y="47"/>
                    <a:pt x="110" y="20"/>
                  </a:cubicBezTo>
                  <a:cubicBezTo>
                    <a:pt x="101" y="5"/>
                    <a:pt x="81" y="0"/>
                    <a:pt x="65" y="4"/>
                  </a:cubicBezTo>
                  <a:cubicBezTo>
                    <a:pt x="3" y="18"/>
                    <a:pt x="2" y="143"/>
                    <a:pt x="1" y="189"/>
                  </a:cubicBezTo>
                  <a:cubicBezTo>
                    <a:pt x="0" y="255"/>
                    <a:pt x="12" y="320"/>
                    <a:pt x="34" y="382"/>
                  </a:cubicBezTo>
                  <a:cubicBezTo>
                    <a:pt x="37" y="390"/>
                    <a:pt x="39" y="399"/>
                    <a:pt x="42" y="407"/>
                  </a:cubicBezTo>
                  <a:cubicBezTo>
                    <a:pt x="43" y="409"/>
                    <a:pt x="45" y="411"/>
                    <a:pt x="46" y="412"/>
                  </a:cubicBezTo>
                  <a:cubicBezTo>
                    <a:pt x="53" y="427"/>
                    <a:pt x="59" y="441"/>
                    <a:pt x="67" y="455"/>
                  </a:cubicBezTo>
                  <a:cubicBezTo>
                    <a:pt x="71" y="463"/>
                    <a:pt x="85" y="460"/>
                    <a:pt x="80" y="451"/>
                  </a:cubicBezTo>
                  <a:cubicBezTo>
                    <a:pt x="74" y="438"/>
                    <a:pt x="67" y="424"/>
                    <a:pt x="62" y="411"/>
                  </a:cubicBezTo>
                  <a:cubicBezTo>
                    <a:pt x="63" y="409"/>
                    <a:pt x="63" y="407"/>
                    <a:pt x="63" y="404"/>
                  </a:cubicBezTo>
                  <a:cubicBezTo>
                    <a:pt x="58" y="385"/>
                    <a:pt x="54" y="365"/>
                    <a:pt x="50" y="345"/>
                  </a:cubicBezTo>
                  <a:cubicBezTo>
                    <a:pt x="41" y="286"/>
                    <a:pt x="44" y="226"/>
                    <a:pt x="60" y="16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íšļiḍé">
              <a:extLst>
                <a:ext uri="{FF2B5EF4-FFF2-40B4-BE49-F238E27FC236}">
                  <a16:creationId xmlns:a16="http://schemas.microsoft.com/office/drawing/2014/main" id="{1BBB8877-B3C5-4354-B9DB-8AF3972E1621}"/>
                </a:ext>
              </a:extLst>
            </p:cNvPr>
            <p:cNvSpPr/>
            <p:nvPr/>
          </p:nvSpPr>
          <p:spPr bwMode="auto">
            <a:xfrm>
              <a:off x="5467350" y="1701801"/>
              <a:ext cx="179388" cy="266700"/>
            </a:xfrm>
            <a:custGeom>
              <a:avLst/>
              <a:gdLst>
                <a:gd name="T0" fmla="*/ 120 w 130"/>
                <a:gd name="T1" fmla="*/ 20 h 194"/>
                <a:gd name="T2" fmla="*/ 98 w 130"/>
                <a:gd name="T3" fmla="*/ 7 h 194"/>
                <a:gd name="T4" fmla="*/ 91 w 130"/>
                <a:gd name="T5" fmla="*/ 13 h 194"/>
                <a:gd name="T6" fmla="*/ 41 w 130"/>
                <a:gd name="T7" fmla="*/ 65 h 194"/>
                <a:gd name="T8" fmla="*/ 15 w 130"/>
                <a:gd name="T9" fmla="*/ 127 h 194"/>
                <a:gd name="T10" fmla="*/ 1 w 130"/>
                <a:gd name="T11" fmla="*/ 174 h 194"/>
                <a:gd name="T12" fmla="*/ 9 w 130"/>
                <a:gd name="T13" fmla="*/ 187 h 194"/>
                <a:gd name="T14" fmla="*/ 19 w 130"/>
                <a:gd name="T15" fmla="*/ 187 h 194"/>
                <a:gd name="T16" fmla="*/ 19 w 130"/>
                <a:gd name="T17" fmla="*/ 187 h 194"/>
                <a:gd name="T18" fmla="*/ 23 w 130"/>
                <a:gd name="T19" fmla="*/ 182 h 194"/>
                <a:gd name="T20" fmla="*/ 59 w 130"/>
                <a:gd name="T21" fmla="*/ 113 h 194"/>
                <a:gd name="T22" fmla="*/ 113 w 130"/>
                <a:gd name="T23" fmla="*/ 57 h 194"/>
                <a:gd name="T24" fmla="*/ 120 w 130"/>
                <a:gd name="T25" fmla="*/ 2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" h="194">
                  <a:moveTo>
                    <a:pt x="120" y="20"/>
                  </a:moveTo>
                  <a:cubicBezTo>
                    <a:pt x="120" y="10"/>
                    <a:pt x="106" y="0"/>
                    <a:pt x="98" y="7"/>
                  </a:cubicBezTo>
                  <a:cubicBezTo>
                    <a:pt x="95" y="9"/>
                    <a:pt x="93" y="11"/>
                    <a:pt x="91" y="13"/>
                  </a:cubicBezTo>
                  <a:cubicBezTo>
                    <a:pt x="69" y="20"/>
                    <a:pt x="50" y="49"/>
                    <a:pt x="41" y="65"/>
                  </a:cubicBezTo>
                  <a:cubicBezTo>
                    <a:pt x="29" y="84"/>
                    <a:pt x="20" y="105"/>
                    <a:pt x="15" y="127"/>
                  </a:cubicBezTo>
                  <a:cubicBezTo>
                    <a:pt x="9" y="142"/>
                    <a:pt x="5" y="158"/>
                    <a:pt x="1" y="174"/>
                  </a:cubicBezTo>
                  <a:cubicBezTo>
                    <a:pt x="0" y="180"/>
                    <a:pt x="4" y="185"/>
                    <a:pt x="9" y="187"/>
                  </a:cubicBezTo>
                  <a:cubicBezTo>
                    <a:pt x="11" y="192"/>
                    <a:pt x="19" y="194"/>
                    <a:pt x="19" y="187"/>
                  </a:cubicBezTo>
                  <a:cubicBezTo>
                    <a:pt x="19" y="187"/>
                    <a:pt x="19" y="187"/>
                    <a:pt x="19" y="187"/>
                  </a:cubicBezTo>
                  <a:cubicBezTo>
                    <a:pt x="21" y="186"/>
                    <a:pt x="22" y="184"/>
                    <a:pt x="23" y="182"/>
                  </a:cubicBezTo>
                  <a:cubicBezTo>
                    <a:pt x="32" y="157"/>
                    <a:pt x="43" y="134"/>
                    <a:pt x="59" y="113"/>
                  </a:cubicBezTo>
                  <a:cubicBezTo>
                    <a:pt x="74" y="91"/>
                    <a:pt x="94" y="76"/>
                    <a:pt x="113" y="57"/>
                  </a:cubicBezTo>
                  <a:cubicBezTo>
                    <a:pt x="123" y="47"/>
                    <a:pt x="130" y="31"/>
                    <a:pt x="120" y="2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ïṥļîďê">
              <a:extLst>
                <a:ext uri="{FF2B5EF4-FFF2-40B4-BE49-F238E27FC236}">
                  <a16:creationId xmlns:a16="http://schemas.microsoft.com/office/drawing/2014/main" id="{D73C4A17-D2C1-429C-97FA-E1EF2CEFF28B}"/>
                </a:ext>
              </a:extLst>
            </p:cNvPr>
            <p:cNvSpPr/>
            <p:nvPr/>
          </p:nvSpPr>
          <p:spPr bwMode="auto">
            <a:xfrm>
              <a:off x="7491413" y="1968501"/>
              <a:ext cx="371475" cy="112713"/>
            </a:xfrm>
            <a:custGeom>
              <a:avLst/>
              <a:gdLst>
                <a:gd name="T0" fmla="*/ 261 w 270"/>
                <a:gd name="T1" fmla="*/ 39 h 82"/>
                <a:gd name="T2" fmla="*/ 166 w 270"/>
                <a:gd name="T3" fmla="*/ 2 h 82"/>
                <a:gd name="T4" fmla="*/ 61 w 270"/>
                <a:gd name="T5" fmla="*/ 16 h 82"/>
                <a:gd name="T6" fmla="*/ 20 w 270"/>
                <a:gd name="T7" fmla="*/ 29 h 82"/>
                <a:gd name="T8" fmla="*/ 13 w 270"/>
                <a:gd name="T9" fmla="*/ 36 h 82"/>
                <a:gd name="T10" fmla="*/ 7 w 270"/>
                <a:gd name="T11" fmla="*/ 39 h 82"/>
                <a:gd name="T12" fmla="*/ 14 w 270"/>
                <a:gd name="T13" fmla="*/ 52 h 82"/>
                <a:gd name="T14" fmla="*/ 17 w 270"/>
                <a:gd name="T15" fmla="*/ 50 h 82"/>
                <a:gd name="T16" fmla="*/ 27 w 270"/>
                <a:gd name="T17" fmla="*/ 54 h 82"/>
                <a:gd name="T18" fmla="*/ 144 w 270"/>
                <a:gd name="T19" fmla="*/ 55 h 82"/>
                <a:gd name="T20" fmla="*/ 237 w 270"/>
                <a:gd name="T21" fmla="*/ 80 h 82"/>
                <a:gd name="T22" fmla="*/ 261 w 270"/>
                <a:gd name="T23" fmla="*/ 3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0" h="82">
                  <a:moveTo>
                    <a:pt x="261" y="39"/>
                  </a:moveTo>
                  <a:cubicBezTo>
                    <a:pt x="248" y="5"/>
                    <a:pt x="195" y="3"/>
                    <a:pt x="166" y="2"/>
                  </a:cubicBezTo>
                  <a:cubicBezTo>
                    <a:pt x="129" y="0"/>
                    <a:pt x="95" y="5"/>
                    <a:pt x="61" y="16"/>
                  </a:cubicBezTo>
                  <a:cubicBezTo>
                    <a:pt x="47" y="19"/>
                    <a:pt x="33" y="24"/>
                    <a:pt x="20" y="29"/>
                  </a:cubicBezTo>
                  <a:cubicBezTo>
                    <a:pt x="16" y="31"/>
                    <a:pt x="14" y="33"/>
                    <a:pt x="13" y="36"/>
                  </a:cubicBezTo>
                  <a:cubicBezTo>
                    <a:pt x="11" y="37"/>
                    <a:pt x="9" y="38"/>
                    <a:pt x="7" y="39"/>
                  </a:cubicBezTo>
                  <a:cubicBezTo>
                    <a:pt x="0" y="43"/>
                    <a:pt x="8" y="54"/>
                    <a:pt x="14" y="52"/>
                  </a:cubicBezTo>
                  <a:cubicBezTo>
                    <a:pt x="15" y="51"/>
                    <a:pt x="16" y="51"/>
                    <a:pt x="17" y="50"/>
                  </a:cubicBezTo>
                  <a:cubicBezTo>
                    <a:pt x="19" y="53"/>
                    <a:pt x="23" y="54"/>
                    <a:pt x="27" y="54"/>
                  </a:cubicBezTo>
                  <a:cubicBezTo>
                    <a:pt x="66" y="48"/>
                    <a:pt x="104" y="47"/>
                    <a:pt x="144" y="55"/>
                  </a:cubicBezTo>
                  <a:cubicBezTo>
                    <a:pt x="173" y="60"/>
                    <a:pt x="206" y="82"/>
                    <a:pt x="237" y="80"/>
                  </a:cubicBezTo>
                  <a:cubicBezTo>
                    <a:pt x="258" y="78"/>
                    <a:pt x="270" y="59"/>
                    <a:pt x="261" y="39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i$1iḋè">
              <a:extLst>
                <a:ext uri="{FF2B5EF4-FFF2-40B4-BE49-F238E27FC236}">
                  <a16:creationId xmlns:a16="http://schemas.microsoft.com/office/drawing/2014/main" id="{89037957-A3B8-4E74-A46C-407AE2FAE3BC}"/>
                </a:ext>
              </a:extLst>
            </p:cNvPr>
            <p:cNvSpPr/>
            <p:nvPr/>
          </p:nvSpPr>
          <p:spPr bwMode="auto">
            <a:xfrm>
              <a:off x="6291263" y="1463676"/>
              <a:ext cx="223838" cy="322263"/>
            </a:xfrm>
            <a:custGeom>
              <a:avLst/>
              <a:gdLst>
                <a:gd name="T0" fmla="*/ 158 w 162"/>
                <a:gd name="T1" fmla="*/ 201 h 235"/>
                <a:gd name="T2" fmla="*/ 160 w 162"/>
                <a:gd name="T3" fmla="*/ 192 h 235"/>
                <a:gd name="T4" fmla="*/ 102 w 162"/>
                <a:gd name="T5" fmla="*/ 46 h 235"/>
                <a:gd name="T6" fmla="*/ 21 w 162"/>
                <a:gd name="T7" fmla="*/ 20 h 235"/>
                <a:gd name="T8" fmla="*/ 15 w 162"/>
                <a:gd name="T9" fmla="*/ 74 h 235"/>
                <a:gd name="T10" fmla="*/ 20 w 162"/>
                <a:gd name="T11" fmla="*/ 81 h 235"/>
                <a:gd name="T12" fmla="*/ 24 w 162"/>
                <a:gd name="T13" fmla="*/ 84 h 235"/>
                <a:gd name="T14" fmla="*/ 96 w 162"/>
                <a:gd name="T15" fmla="*/ 130 h 235"/>
                <a:gd name="T16" fmla="*/ 124 w 162"/>
                <a:gd name="T17" fmla="*/ 164 h 235"/>
                <a:gd name="T18" fmla="*/ 134 w 162"/>
                <a:gd name="T19" fmla="*/ 197 h 235"/>
                <a:gd name="T20" fmla="*/ 142 w 162"/>
                <a:gd name="T21" fmla="*/ 205 h 235"/>
                <a:gd name="T22" fmla="*/ 148 w 162"/>
                <a:gd name="T23" fmla="*/ 225 h 235"/>
                <a:gd name="T24" fmla="*/ 162 w 162"/>
                <a:gd name="T25" fmla="*/ 225 h 235"/>
                <a:gd name="T26" fmla="*/ 158 w 162"/>
                <a:gd name="T27" fmla="*/ 20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2" h="235">
                  <a:moveTo>
                    <a:pt x="158" y="201"/>
                  </a:moveTo>
                  <a:cubicBezTo>
                    <a:pt x="160" y="198"/>
                    <a:pt x="161" y="196"/>
                    <a:pt x="160" y="192"/>
                  </a:cubicBezTo>
                  <a:cubicBezTo>
                    <a:pt x="155" y="139"/>
                    <a:pt x="137" y="86"/>
                    <a:pt x="102" y="46"/>
                  </a:cubicBezTo>
                  <a:cubicBezTo>
                    <a:pt x="82" y="24"/>
                    <a:pt x="50" y="0"/>
                    <a:pt x="21" y="20"/>
                  </a:cubicBezTo>
                  <a:cubicBezTo>
                    <a:pt x="0" y="34"/>
                    <a:pt x="3" y="57"/>
                    <a:pt x="15" y="74"/>
                  </a:cubicBezTo>
                  <a:cubicBezTo>
                    <a:pt x="17" y="77"/>
                    <a:pt x="19" y="79"/>
                    <a:pt x="20" y="81"/>
                  </a:cubicBezTo>
                  <a:cubicBezTo>
                    <a:pt x="22" y="82"/>
                    <a:pt x="23" y="83"/>
                    <a:pt x="24" y="84"/>
                  </a:cubicBezTo>
                  <a:cubicBezTo>
                    <a:pt x="45" y="103"/>
                    <a:pt x="75" y="109"/>
                    <a:pt x="96" y="130"/>
                  </a:cubicBezTo>
                  <a:cubicBezTo>
                    <a:pt x="107" y="140"/>
                    <a:pt x="116" y="152"/>
                    <a:pt x="124" y="164"/>
                  </a:cubicBezTo>
                  <a:cubicBezTo>
                    <a:pt x="127" y="175"/>
                    <a:pt x="131" y="186"/>
                    <a:pt x="134" y="197"/>
                  </a:cubicBezTo>
                  <a:cubicBezTo>
                    <a:pt x="135" y="201"/>
                    <a:pt x="138" y="204"/>
                    <a:pt x="142" y="205"/>
                  </a:cubicBezTo>
                  <a:cubicBezTo>
                    <a:pt x="144" y="212"/>
                    <a:pt x="146" y="218"/>
                    <a:pt x="148" y="225"/>
                  </a:cubicBezTo>
                  <a:cubicBezTo>
                    <a:pt x="149" y="234"/>
                    <a:pt x="162" y="235"/>
                    <a:pt x="162" y="225"/>
                  </a:cubicBezTo>
                  <a:cubicBezTo>
                    <a:pt x="161" y="217"/>
                    <a:pt x="160" y="209"/>
                    <a:pt x="158" y="20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îṥḷiḋè">
              <a:extLst>
                <a:ext uri="{FF2B5EF4-FFF2-40B4-BE49-F238E27FC236}">
                  <a16:creationId xmlns:a16="http://schemas.microsoft.com/office/drawing/2014/main" id="{2AB55B5F-78E0-4CC3-BC85-1662EAF0B1E8}"/>
                </a:ext>
              </a:extLst>
            </p:cNvPr>
            <p:cNvSpPr/>
            <p:nvPr/>
          </p:nvSpPr>
          <p:spPr bwMode="auto">
            <a:xfrm>
              <a:off x="7199313" y="1247776"/>
              <a:ext cx="239713" cy="377825"/>
            </a:xfrm>
            <a:custGeom>
              <a:avLst/>
              <a:gdLst>
                <a:gd name="T0" fmla="*/ 161 w 174"/>
                <a:gd name="T1" fmla="*/ 18 h 275"/>
                <a:gd name="T2" fmla="*/ 143 w 174"/>
                <a:gd name="T3" fmla="*/ 8 h 275"/>
                <a:gd name="T4" fmla="*/ 88 w 174"/>
                <a:gd name="T5" fmla="*/ 67 h 275"/>
                <a:gd name="T6" fmla="*/ 3 w 174"/>
                <a:gd name="T7" fmla="*/ 265 h 275"/>
                <a:gd name="T8" fmla="*/ 10 w 174"/>
                <a:gd name="T9" fmla="*/ 272 h 275"/>
                <a:gd name="T10" fmla="*/ 46 w 174"/>
                <a:gd name="T11" fmla="*/ 237 h 275"/>
                <a:gd name="T12" fmla="*/ 60 w 174"/>
                <a:gd name="T13" fmla="*/ 237 h 275"/>
                <a:gd name="T14" fmla="*/ 111 w 174"/>
                <a:gd name="T15" fmla="*/ 159 h 275"/>
                <a:gd name="T16" fmla="*/ 123 w 174"/>
                <a:gd name="T17" fmla="*/ 141 h 275"/>
                <a:gd name="T18" fmla="*/ 168 w 174"/>
                <a:gd name="T19" fmla="*/ 69 h 275"/>
                <a:gd name="T20" fmla="*/ 161 w 174"/>
                <a:gd name="T21" fmla="*/ 18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4" h="275">
                  <a:moveTo>
                    <a:pt x="161" y="18"/>
                  </a:moveTo>
                  <a:cubicBezTo>
                    <a:pt x="158" y="11"/>
                    <a:pt x="150" y="6"/>
                    <a:pt x="143" y="8"/>
                  </a:cubicBezTo>
                  <a:cubicBezTo>
                    <a:pt x="108" y="0"/>
                    <a:pt x="93" y="39"/>
                    <a:pt x="88" y="67"/>
                  </a:cubicBezTo>
                  <a:cubicBezTo>
                    <a:pt x="76" y="145"/>
                    <a:pt x="52" y="201"/>
                    <a:pt x="3" y="265"/>
                  </a:cubicBezTo>
                  <a:cubicBezTo>
                    <a:pt x="0" y="269"/>
                    <a:pt x="6" y="275"/>
                    <a:pt x="10" y="272"/>
                  </a:cubicBezTo>
                  <a:cubicBezTo>
                    <a:pt x="24" y="262"/>
                    <a:pt x="36" y="250"/>
                    <a:pt x="46" y="237"/>
                  </a:cubicBezTo>
                  <a:cubicBezTo>
                    <a:pt x="50" y="241"/>
                    <a:pt x="56" y="242"/>
                    <a:pt x="60" y="237"/>
                  </a:cubicBezTo>
                  <a:cubicBezTo>
                    <a:pt x="80" y="212"/>
                    <a:pt x="96" y="186"/>
                    <a:pt x="111" y="159"/>
                  </a:cubicBezTo>
                  <a:cubicBezTo>
                    <a:pt x="115" y="153"/>
                    <a:pt x="119" y="147"/>
                    <a:pt x="123" y="141"/>
                  </a:cubicBezTo>
                  <a:cubicBezTo>
                    <a:pt x="137" y="118"/>
                    <a:pt x="158" y="95"/>
                    <a:pt x="168" y="69"/>
                  </a:cubicBezTo>
                  <a:cubicBezTo>
                    <a:pt x="174" y="51"/>
                    <a:pt x="173" y="30"/>
                    <a:pt x="161" y="1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iṥ1îḍé">
              <a:extLst>
                <a:ext uri="{FF2B5EF4-FFF2-40B4-BE49-F238E27FC236}">
                  <a16:creationId xmlns:a16="http://schemas.microsoft.com/office/drawing/2014/main" id="{DE19A3FF-0FC7-49DC-9D59-3BCA6BD4370A}"/>
                </a:ext>
              </a:extLst>
            </p:cNvPr>
            <p:cNvSpPr/>
            <p:nvPr/>
          </p:nvSpPr>
          <p:spPr bwMode="auto">
            <a:xfrm>
              <a:off x="6848475" y="933451"/>
              <a:ext cx="134938" cy="454025"/>
            </a:xfrm>
            <a:custGeom>
              <a:avLst/>
              <a:gdLst>
                <a:gd name="T0" fmla="*/ 28 w 98"/>
                <a:gd name="T1" fmla="*/ 27 h 330"/>
                <a:gd name="T2" fmla="*/ 22 w 98"/>
                <a:gd name="T3" fmla="*/ 92 h 330"/>
                <a:gd name="T4" fmla="*/ 61 w 98"/>
                <a:gd name="T5" fmla="*/ 321 h 330"/>
                <a:gd name="T6" fmla="*/ 72 w 98"/>
                <a:gd name="T7" fmla="*/ 323 h 330"/>
                <a:gd name="T8" fmla="*/ 79 w 98"/>
                <a:gd name="T9" fmla="*/ 260 h 330"/>
                <a:gd name="T10" fmla="*/ 82 w 98"/>
                <a:gd name="T11" fmla="*/ 254 h 330"/>
                <a:gd name="T12" fmla="*/ 28 w 98"/>
                <a:gd name="T13" fmla="*/ 27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330">
                  <a:moveTo>
                    <a:pt x="28" y="27"/>
                  </a:moveTo>
                  <a:cubicBezTo>
                    <a:pt x="0" y="38"/>
                    <a:pt x="14" y="73"/>
                    <a:pt x="22" y="92"/>
                  </a:cubicBezTo>
                  <a:cubicBezTo>
                    <a:pt x="53" y="169"/>
                    <a:pt x="65" y="237"/>
                    <a:pt x="61" y="321"/>
                  </a:cubicBezTo>
                  <a:cubicBezTo>
                    <a:pt x="61" y="327"/>
                    <a:pt x="70" y="330"/>
                    <a:pt x="72" y="323"/>
                  </a:cubicBezTo>
                  <a:cubicBezTo>
                    <a:pt x="76" y="302"/>
                    <a:pt x="79" y="281"/>
                    <a:pt x="79" y="260"/>
                  </a:cubicBezTo>
                  <a:cubicBezTo>
                    <a:pt x="80" y="259"/>
                    <a:pt x="81" y="257"/>
                    <a:pt x="82" y="254"/>
                  </a:cubicBezTo>
                  <a:cubicBezTo>
                    <a:pt x="84" y="223"/>
                    <a:pt x="98" y="0"/>
                    <a:pt x="28" y="27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ïŝ1íḍè">
              <a:extLst>
                <a:ext uri="{FF2B5EF4-FFF2-40B4-BE49-F238E27FC236}">
                  <a16:creationId xmlns:a16="http://schemas.microsoft.com/office/drawing/2014/main" id="{1D8F4239-499F-45FF-98C9-4883994A9BE0}"/>
                </a:ext>
              </a:extLst>
            </p:cNvPr>
            <p:cNvSpPr/>
            <p:nvPr/>
          </p:nvSpPr>
          <p:spPr bwMode="auto">
            <a:xfrm>
              <a:off x="5200650" y="5014913"/>
              <a:ext cx="328613" cy="342900"/>
            </a:xfrm>
            <a:custGeom>
              <a:avLst/>
              <a:gdLst>
                <a:gd name="T0" fmla="*/ 208 w 239"/>
                <a:gd name="T1" fmla="*/ 10 h 250"/>
                <a:gd name="T2" fmla="*/ 7 w 239"/>
                <a:gd name="T3" fmla="*/ 221 h 250"/>
                <a:gd name="T4" fmla="*/ 17 w 239"/>
                <a:gd name="T5" fmla="*/ 242 h 250"/>
                <a:gd name="T6" fmla="*/ 35 w 239"/>
                <a:gd name="T7" fmla="*/ 246 h 250"/>
                <a:gd name="T8" fmla="*/ 117 w 239"/>
                <a:gd name="T9" fmla="*/ 181 h 250"/>
                <a:gd name="T10" fmla="*/ 190 w 239"/>
                <a:gd name="T11" fmla="*/ 92 h 250"/>
                <a:gd name="T12" fmla="*/ 232 w 239"/>
                <a:gd name="T13" fmla="*/ 25 h 250"/>
                <a:gd name="T14" fmla="*/ 208 w 239"/>
                <a:gd name="T15" fmla="*/ 1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9" h="250">
                  <a:moveTo>
                    <a:pt x="208" y="10"/>
                  </a:moveTo>
                  <a:cubicBezTo>
                    <a:pt x="141" y="80"/>
                    <a:pt x="74" y="151"/>
                    <a:pt x="7" y="221"/>
                  </a:cubicBezTo>
                  <a:cubicBezTo>
                    <a:pt x="0" y="229"/>
                    <a:pt x="8" y="241"/>
                    <a:pt x="17" y="242"/>
                  </a:cubicBezTo>
                  <a:cubicBezTo>
                    <a:pt x="22" y="247"/>
                    <a:pt x="30" y="250"/>
                    <a:pt x="35" y="246"/>
                  </a:cubicBezTo>
                  <a:cubicBezTo>
                    <a:pt x="65" y="229"/>
                    <a:pt x="92" y="207"/>
                    <a:pt x="117" y="181"/>
                  </a:cubicBezTo>
                  <a:cubicBezTo>
                    <a:pt x="147" y="156"/>
                    <a:pt x="172" y="126"/>
                    <a:pt x="190" y="92"/>
                  </a:cubicBezTo>
                  <a:cubicBezTo>
                    <a:pt x="205" y="70"/>
                    <a:pt x="219" y="47"/>
                    <a:pt x="232" y="25"/>
                  </a:cubicBezTo>
                  <a:cubicBezTo>
                    <a:pt x="239" y="12"/>
                    <a:pt x="218" y="0"/>
                    <a:pt x="208" y="10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íŝľïḓe">
              <a:extLst>
                <a:ext uri="{FF2B5EF4-FFF2-40B4-BE49-F238E27FC236}">
                  <a16:creationId xmlns:a16="http://schemas.microsoft.com/office/drawing/2014/main" id="{5AD2A00D-FB79-43E9-9A72-4BAC5037A3BC}"/>
                </a:ext>
              </a:extLst>
            </p:cNvPr>
            <p:cNvSpPr/>
            <p:nvPr/>
          </p:nvSpPr>
          <p:spPr bwMode="auto">
            <a:xfrm>
              <a:off x="7326313" y="4813301"/>
              <a:ext cx="349250" cy="260350"/>
            </a:xfrm>
            <a:custGeom>
              <a:avLst/>
              <a:gdLst>
                <a:gd name="T0" fmla="*/ 217 w 253"/>
                <a:gd name="T1" fmla="*/ 151 h 189"/>
                <a:gd name="T2" fmla="*/ 41 w 253"/>
                <a:gd name="T3" fmla="*/ 18 h 189"/>
                <a:gd name="T4" fmla="*/ 36 w 253"/>
                <a:gd name="T5" fmla="*/ 13 h 189"/>
                <a:gd name="T6" fmla="*/ 9 w 253"/>
                <a:gd name="T7" fmla="*/ 26 h 189"/>
                <a:gd name="T8" fmla="*/ 97 w 253"/>
                <a:gd name="T9" fmla="*/ 136 h 189"/>
                <a:gd name="T10" fmla="*/ 181 w 253"/>
                <a:gd name="T11" fmla="*/ 171 h 189"/>
                <a:gd name="T12" fmla="*/ 200 w 253"/>
                <a:gd name="T13" fmla="*/ 180 h 189"/>
                <a:gd name="T14" fmla="*/ 217 w 253"/>
                <a:gd name="T15" fmla="*/ 151 h 189"/>
                <a:gd name="T16" fmla="*/ 145 w 253"/>
                <a:gd name="T17" fmla="*/ 101 h 189"/>
                <a:gd name="T18" fmla="*/ 172 w 253"/>
                <a:gd name="T19" fmla="*/ 115 h 189"/>
                <a:gd name="T20" fmla="*/ 172 w 253"/>
                <a:gd name="T21" fmla="*/ 126 h 189"/>
                <a:gd name="T22" fmla="*/ 103 w 253"/>
                <a:gd name="T23" fmla="*/ 79 h 189"/>
                <a:gd name="T24" fmla="*/ 106 w 253"/>
                <a:gd name="T25" fmla="*/ 80 h 189"/>
                <a:gd name="T26" fmla="*/ 145 w 253"/>
                <a:gd name="T27" fmla="*/ 101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3" h="189">
                  <a:moveTo>
                    <a:pt x="217" y="151"/>
                  </a:moveTo>
                  <a:cubicBezTo>
                    <a:pt x="253" y="102"/>
                    <a:pt x="98" y="40"/>
                    <a:pt x="41" y="18"/>
                  </a:cubicBezTo>
                  <a:cubicBezTo>
                    <a:pt x="39" y="16"/>
                    <a:pt x="38" y="14"/>
                    <a:pt x="36" y="13"/>
                  </a:cubicBezTo>
                  <a:cubicBezTo>
                    <a:pt x="26" y="0"/>
                    <a:pt x="0" y="7"/>
                    <a:pt x="9" y="26"/>
                  </a:cubicBezTo>
                  <a:cubicBezTo>
                    <a:pt x="29" y="69"/>
                    <a:pt x="58" y="108"/>
                    <a:pt x="97" y="136"/>
                  </a:cubicBezTo>
                  <a:cubicBezTo>
                    <a:pt x="119" y="151"/>
                    <a:pt x="152" y="173"/>
                    <a:pt x="181" y="171"/>
                  </a:cubicBezTo>
                  <a:cubicBezTo>
                    <a:pt x="188" y="174"/>
                    <a:pt x="194" y="177"/>
                    <a:pt x="200" y="180"/>
                  </a:cubicBezTo>
                  <a:cubicBezTo>
                    <a:pt x="222" y="189"/>
                    <a:pt x="232" y="163"/>
                    <a:pt x="217" y="151"/>
                  </a:cubicBezTo>
                  <a:close/>
                  <a:moveTo>
                    <a:pt x="145" y="101"/>
                  </a:moveTo>
                  <a:cubicBezTo>
                    <a:pt x="154" y="105"/>
                    <a:pt x="163" y="110"/>
                    <a:pt x="172" y="115"/>
                  </a:cubicBezTo>
                  <a:cubicBezTo>
                    <a:pt x="187" y="120"/>
                    <a:pt x="187" y="124"/>
                    <a:pt x="172" y="126"/>
                  </a:cubicBezTo>
                  <a:cubicBezTo>
                    <a:pt x="148" y="112"/>
                    <a:pt x="125" y="96"/>
                    <a:pt x="103" y="79"/>
                  </a:cubicBezTo>
                  <a:cubicBezTo>
                    <a:pt x="104" y="79"/>
                    <a:pt x="105" y="80"/>
                    <a:pt x="106" y="80"/>
                  </a:cubicBezTo>
                  <a:cubicBezTo>
                    <a:pt x="119" y="87"/>
                    <a:pt x="132" y="94"/>
                    <a:pt x="145" y="101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iş1iḍê">
              <a:extLst>
                <a:ext uri="{FF2B5EF4-FFF2-40B4-BE49-F238E27FC236}">
                  <a16:creationId xmlns:a16="http://schemas.microsoft.com/office/drawing/2014/main" id="{3D8556A6-25AE-4189-B11D-08D08F234A3D}"/>
                </a:ext>
              </a:extLst>
            </p:cNvPr>
            <p:cNvSpPr/>
            <p:nvPr/>
          </p:nvSpPr>
          <p:spPr bwMode="auto">
            <a:xfrm>
              <a:off x="5435600" y="5192713"/>
              <a:ext cx="255588" cy="360363"/>
            </a:xfrm>
            <a:custGeom>
              <a:avLst/>
              <a:gdLst>
                <a:gd name="T0" fmla="*/ 150 w 186"/>
                <a:gd name="T1" fmla="*/ 15 h 262"/>
                <a:gd name="T2" fmla="*/ 141 w 186"/>
                <a:gd name="T3" fmla="*/ 30 h 262"/>
                <a:gd name="T4" fmla="*/ 25 w 186"/>
                <a:gd name="T5" fmla="*/ 169 h 262"/>
                <a:gd name="T6" fmla="*/ 19 w 186"/>
                <a:gd name="T7" fmla="*/ 211 h 262"/>
                <a:gd name="T8" fmla="*/ 11 w 186"/>
                <a:gd name="T9" fmla="*/ 222 h 262"/>
                <a:gd name="T10" fmla="*/ 39 w 186"/>
                <a:gd name="T11" fmla="*/ 245 h 262"/>
                <a:gd name="T12" fmla="*/ 48 w 186"/>
                <a:gd name="T13" fmla="*/ 232 h 262"/>
                <a:gd name="T14" fmla="*/ 101 w 186"/>
                <a:gd name="T15" fmla="*/ 197 h 262"/>
                <a:gd name="T16" fmla="*/ 179 w 186"/>
                <a:gd name="T17" fmla="*/ 33 h 262"/>
                <a:gd name="T18" fmla="*/ 150 w 186"/>
                <a:gd name="T19" fmla="*/ 1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6" h="262">
                  <a:moveTo>
                    <a:pt x="150" y="15"/>
                  </a:moveTo>
                  <a:cubicBezTo>
                    <a:pt x="147" y="20"/>
                    <a:pt x="144" y="25"/>
                    <a:pt x="141" y="30"/>
                  </a:cubicBezTo>
                  <a:cubicBezTo>
                    <a:pt x="100" y="72"/>
                    <a:pt x="55" y="119"/>
                    <a:pt x="25" y="169"/>
                  </a:cubicBezTo>
                  <a:cubicBezTo>
                    <a:pt x="17" y="183"/>
                    <a:pt x="14" y="198"/>
                    <a:pt x="19" y="211"/>
                  </a:cubicBezTo>
                  <a:cubicBezTo>
                    <a:pt x="16" y="215"/>
                    <a:pt x="14" y="219"/>
                    <a:pt x="11" y="222"/>
                  </a:cubicBezTo>
                  <a:cubicBezTo>
                    <a:pt x="0" y="239"/>
                    <a:pt x="27" y="262"/>
                    <a:pt x="39" y="245"/>
                  </a:cubicBezTo>
                  <a:cubicBezTo>
                    <a:pt x="42" y="241"/>
                    <a:pt x="45" y="237"/>
                    <a:pt x="48" y="232"/>
                  </a:cubicBezTo>
                  <a:cubicBezTo>
                    <a:pt x="71" y="235"/>
                    <a:pt x="90" y="217"/>
                    <a:pt x="101" y="197"/>
                  </a:cubicBezTo>
                  <a:cubicBezTo>
                    <a:pt x="130" y="145"/>
                    <a:pt x="153" y="88"/>
                    <a:pt x="179" y="33"/>
                  </a:cubicBezTo>
                  <a:cubicBezTo>
                    <a:pt x="186" y="18"/>
                    <a:pt x="160" y="0"/>
                    <a:pt x="150" y="15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îṥ1ïďe">
              <a:extLst>
                <a:ext uri="{FF2B5EF4-FFF2-40B4-BE49-F238E27FC236}">
                  <a16:creationId xmlns:a16="http://schemas.microsoft.com/office/drawing/2014/main" id="{0C2B9CE1-3190-4E7F-97DB-F630F89BBBD3}"/>
                </a:ext>
              </a:extLst>
            </p:cNvPr>
            <p:cNvSpPr/>
            <p:nvPr/>
          </p:nvSpPr>
          <p:spPr bwMode="auto">
            <a:xfrm>
              <a:off x="7451725" y="5291138"/>
              <a:ext cx="334963" cy="287338"/>
            </a:xfrm>
            <a:custGeom>
              <a:avLst/>
              <a:gdLst>
                <a:gd name="T0" fmla="*/ 229 w 243"/>
                <a:gd name="T1" fmla="*/ 178 h 210"/>
                <a:gd name="T2" fmla="*/ 200 w 243"/>
                <a:gd name="T3" fmla="*/ 158 h 210"/>
                <a:gd name="T4" fmla="*/ 201 w 243"/>
                <a:gd name="T5" fmla="*/ 158 h 210"/>
                <a:gd name="T6" fmla="*/ 197 w 243"/>
                <a:gd name="T7" fmla="*/ 131 h 210"/>
                <a:gd name="T8" fmla="*/ 33 w 243"/>
                <a:gd name="T9" fmla="*/ 6 h 210"/>
                <a:gd name="T10" fmla="*/ 23 w 243"/>
                <a:gd name="T11" fmla="*/ 10 h 210"/>
                <a:gd name="T12" fmla="*/ 26 w 243"/>
                <a:gd name="T13" fmla="*/ 17 h 210"/>
                <a:gd name="T14" fmla="*/ 2 w 243"/>
                <a:gd name="T15" fmla="*/ 30 h 210"/>
                <a:gd name="T16" fmla="*/ 154 w 243"/>
                <a:gd name="T17" fmla="*/ 163 h 210"/>
                <a:gd name="T18" fmla="*/ 215 w 243"/>
                <a:gd name="T19" fmla="*/ 201 h 210"/>
                <a:gd name="T20" fmla="*/ 229 w 243"/>
                <a:gd name="T21" fmla="*/ 17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3" h="210">
                  <a:moveTo>
                    <a:pt x="229" y="178"/>
                  </a:moveTo>
                  <a:cubicBezTo>
                    <a:pt x="219" y="171"/>
                    <a:pt x="210" y="165"/>
                    <a:pt x="200" y="158"/>
                  </a:cubicBezTo>
                  <a:cubicBezTo>
                    <a:pt x="200" y="158"/>
                    <a:pt x="201" y="158"/>
                    <a:pt x="201" y="158"/>
                  </a:cubicBezTo>
                  <a:cubicBezTo>
                    <a:pt x="216" y="153"/>
                    <a:pt x="208" y="134"/>
                    <a:pt x="197" y="131"/>
                  </a:cubicBezTo>
                  <a:cubicBezTo>
                    <a:pt x="123" y="113"/>
                    <a:pt x="73" y="67"/>
                    <a:pt x="33" y="6"/>
                  </a:cubicBezTo>
                  <a:cubicBezTo>
                    <a:pt x="30" y="0"/>
                    <a:pt x="20" y="4"/>
                    <a:pt x="23" y="10"/>
                  </a:cubicBezTo>
                  <a:cubicBezTo>
                    <a:pt x="24" y="13"/>
                    <a:pt x="25" y="15"/>
                    <a:pt x="26" y="17"/>
                  </a:cubicBezTo>
                  <a:cubicBezTo>
                    <a:pt x="16" y="10"/>
                    <a:pt x="0" y="17"/>
                    <a:pt x="2" y="30"/>
                  </a:cubicBezTo>
                  <a:cubicBezTo>
                    <a:pt x="14" y="106"/>
                    <a:pt x="81" y="161"/>
                    <a:pt x="154" y="163"/>
                  </a:cubicBezTo>
                  <a:cubicBezTo>
                    <a:pt x="174" y="177"/>
                    <a:pt x="194" y="190"/>
                    <a:pt x="215" y="201"/>
                  </a:cubicBezTo>
                  <a:cubicBezTo>
                    <a:pt x="230" y="210"/>
                    <a:pt x="243" y="188"/>
                    <a:pt x="229" y="178"/>
                  </a:cubicBezTo>
                  <a:close/>
                </a:path>
              </a:pathLst>
            </a:custGeom>
            <a:solidFill>
              <a:srgbClr val="2B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5" name="文本框 4">
            <a:extLst>
              <a:ext uri="{FF2B5EF4-FFF2-40B4-BE49-F238E27FC236}">
                <a16:creationId xmlns:a16="http://schemas.microsoft.com/office/drawing/2014/main" id="{852B53C8-BED7-45A1-8625-0A68E118999F}"/>
              </a:ext>
            </a:extLst>
          </p:cNvPr>
          <p:cNvSpPr txBox="1"/>
          <p:nvPr/>
        </p:nvSpPr>
        <p:spPr>
          <a:xfrm>
            <a:off x="669924" y="1240971"/>
            <a:ext cx="108505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利用</a:t>
            </a:r>
            <a:r>
              <a:rPr lang="en-US" altLang="zh-CN" dirty="0"/>
              <a:t>trait</a:t>
            </a:r>
            <a:r>
              <a:rPr lang="zh-CN" altLang="en-US" dirty="0"/>
              <a:t>给其它类型添加方法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9719BF1-2F6B-4BB7-A385-35E31846DEF9}"/>
              </a:ext>
            </a:extLst>
          </p:cNvPr>
          <p:cNvSpPr txBox="1"/>
          <p:nvPr/>
        </p:nvSpPr>
        <p:spPr>
          <a:xfrm>
            <a:off x="669924" y="1768124"/>
            <a:ext cx="2892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孤儿规则（一致性规则）</a:t>
            </a:r>
          </a:p>
        </p:txBody>
      </p:sp>
    </p:spTree>
    <p:extLst>
      <p:ext uri="{BB962C8B-B14F-4D97-AF65-F5344CB8AC3E}">
        <p14:creationId xmlns:p14="http://schemas.microsoft.com/office/powerpoint/2010/main" val="21477000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D11EE5-47E1-4035-A2B7-19C2E3AF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trait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的约束与继承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7666BC-59F7-4E7F-8671-AA1B72E44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85EB3A-2EBC-4BF1-9376-F73050A0C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420" name="54707205-7a60-4a29-a60a-6bae9ca0ee4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EC1297E-ECAA-4A95-9676-DD0F155AE18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514392" y="3589956"/>
            <a:ext cx="1901470" cy="1770079"/>
            <a:chOff x="3703523" y="1682960"/>
            <a:chExt cx="4784953" cy="4454315"/>
          </a:xfrm>
        </p:grpSpPr>
        <p:sp>
          <p:nvSpPr>
            <p:cNvPr id="421" name="ïSḷidê">
              <a:extLst>
                <a:ext uri="{FF2B5EF4-FFF2-40B4-BE49-F238E27FC236}">
                  <a16:creationId xmlns:a16="http://schemas.microsoft.com/office/drawing/2014/main" id="{373C6555-DB89-4574-815F-26E7F2B8AF0F}"/>
                </a:ext>
              </a:extLst>
            </p:cNvPr>
            <p:cNvSpPr/>
            <p:nvPr/>
          </p:nvSpPr>
          <p:spPr bwMode="auto">
            <a:xfrm>
              <a:off x="3703523" y="5799207"/>
              <a:ext cx="4454315" cy="338068"/>
            </a:xfrm>
            <a:prstGeom prst="ellipse">
              <a:avLst/>
            </a:prstGeom>
            <a:solidFill>
              <a:srgbClr val="E6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î$1ïḓe">
              <a:extLst>
                <a:ext uri="{FF2B5EF4-FFF2-40B4-BE49-F238E27FC236}">
                  <a16:creationId xmlns:a16="http://schemas.microsoft.com/office/drawing/2014/main" id="{69442BAB-5D72-414D-9F84-649568B09C06}"/>
                </a:ext>
              </a:extLst>
            </p:cNvPr>
            <p:cNvSpPr/>
            <p:nvPr/>
          </p:nvSpPr>
          <p:spPr bwMode="auto">
            <a:xfrm>
              <a:off x="4260777" y="1682960"/>
              <a:ext cx="3053750" cy="2529933"/>
            </a:xfrm>
            <a:custGeom>
              <a:avLst/>
              <a:gdLst>
                <a:gd name="T0" fmla="*/ 349 w 444"/>
                <a:gd name="T1" fmla="*/ 368 h 368"/>
                <a:gd name="T2" fmla="*/ 29 w 444"/>
                <a:gd name="T3" fmla="*/ 161 h 368"/>
                <a:gd name="T4" fmla="*/ 14 w 444"/>
                <a:gd name="T5" fmla="*/ 94 h 368"/>
                <a:gd name="T6" fmla="*/ 57 w 444"/>
                <a:gd name="T7" fmla="*/ 28 h 368"/>
                <a:gd name="T8" fmla="*/ 123 w 444"/>
                <a:gd name="T9" fmla="*/ 14 h 368"/>
                <a:gd name="T10" fmla="*/ 444 w 444"/>
                <a:gd name="T11" fmla="*/ 221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" h="368">
                  <a:moveTo>
                    <a:pt x="349" y="368"/>
                  </a:moveTo>
                  <a:cubicBezTo>
                    <a:pt x="29" y="161"/>
                    <a:pt x="29" y="161"/>
                    <a:pt x="29" y="161"/>
                  </a:cubicBezTo>
                  <a:cubicBezTo>
                    <a:pt x="6" y="146"/>
                    <a:pt x="0" y="117"/>
                    <a:pt x="14" y="94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71" y="6"/>
                    <a:pt x="101" y="0"/>
                    <a:pt x="123" y="14"/>
                  </a:cubicBezTo>
                  <a:cubicBezTo>
                    <a:pt x="444" y="221"/>
                    <a:pt x="444" y="221"/>
                    <a:pt x="444" y="221"/>
                  </a:cubicBezTo>
                </a:path>
              </a:pathLst>
            </a:custGeom>
            <a:noFill/>
            <a:ln w="152400" cap="flat">
              <a:solidFill>
                <a:srgbClr val="2B284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îŝḻîḓé">
              <a:extLst>
                <a:ext uri="{FF2B5EF4-FFF2-40B4-BE49-F238E27FC236}">
                  <a16:creationId xmlns:a16="http://schemas.microsoft.com/office/drawing/2014/main" id="{7A6F69AF-9F4D-47E4-A001-03217A096994}"/>
                </a:ext>
              </a:extLst>
            </p:cNvPr>
            <p:cNvSpPr/>
            <p:nvPr/>
          </p:nvSpPr>
          <p:spPr bwMode="auto">
            <a:xfrm>
              <a:off x="6961600" y="4335487"/>
              <a:ext cx="873032" cy="676134"/>
            </a:xfrm>
            <a:custGeom>
              <a:avLst/>
              <a:gdLst>
                <a:gd name="T0" fmla="*/ 79 w 127"/>
                <a:gd name="T1" fmla="*/ 24 h 98"/>
                <a:gd name="T2" fmla="*/ 118 w 127"/>
                <a:gd name="T3" fmla="*/ 84 h 98"/>
                <a:gd name="T4" fmla="*/ 48 w 127"/>
                <a:gd name="T5" fmla="*/ 73 h 98"/>
                <a:gd name="T6" fmla="*/ 8 w 127"/>
                <a:gd name="T7" fmla="*/ 13 h 98"/>
                <a:gd name="T8" fmla="*/ 79 w 127"/>
                <a:gd name="T9" fmla="*/ 2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98">
                  <a:moveTo>
                    <a:pt x="79" y="24"/>
                  </a:moveTo>
                  <a:cubicBezTo>
                    <a:pt x="109" y="44"/>
                    <a:pt x="127" y="71"/>
                    <a:pt x="118" y="84"/>
                  </a:cubicBezTo>
                  <a:cubicBezTo>
                    <a:pt x="109" y="98"/>
                    <a:pt x="78" y="93"/>
                    <a:pt x="48" y="73"/>
                  </a:cubicBezTo>
                  <a:cubicBezTo>
                    <a:pt x="17" y="54"/>
                    <a:pt x="0" y="27"/>
                    <a:pt x="8" y="13"/>
                  </a:cubicBezTo>
                  <a:cubicBezTo>
                    <a:pt x="17" y="0"/>
                    <a:pt x="49" y="5"/>
                    <a:pt x="79" y="24"/>
                  </a:cubicBezTo>
                  <a:close/>
                </a:path>
              </a:pathLst>
            </a:custGeom>
            <a:noFill/>
            <a:ln w="61913" cap="flat">
              <a:solidFill>
                <a:srgbClr val="2B284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ïṣḻîdè">
              <a:extLst>
                <a:ext uri="{FF2B5EF4-FFF2-40B4-BE49-F238E27FC236}">
                  <a16:creationId xmlns:a16="http://schemas.microsoft.com/office/drawing/2014/main" id="{F576CBFE-9A13-4703-99BF-D7E3E3A6E178}"/>
                </a:ext>
              </a:extLst>
            </p:cNvPr>
            <p:cNvSpPr/>
            <p:nvPr/>
          </p:nvSpPr>
          <p:spPr bwMode="auto">
            <a:xfrm>
              <a:off x="6426637" y="3937978"/>
              <a:ext cx="445803" cy="534963"/>
            </a:xfrm>
            <a:custGeom>
              <a:avLst/>
              <a:gdLst>
                <a:gd name="T0" fmla="*/ 54 w 65"/>
                <a:gd name="T1" fmla="*/ 5 h 78"/>
                <a:gd name="T2" fmla="*/ 59 w 65"/>
                <a:gd name="T3" fmla="*/ 30 h 78"/>
                <a:gd name="T4" fmla="*/ 35 w 65"/>
                <a:gd name="T5" fmla="*/ 67 h 78"/>
                <a:gd name="T6" fmla="*/ 10 w 65"/>
                <a:gd name="T7" fmla="*/ 72 h 78"/>
                <a:gd name="T8" fmla="*/ 5 w 65"/>
                <a:gd name="T9" fmla="*/ 48 h 78"/>
                <a:gd name="T10" fmla="*/ 29 w 65"/>
                <a:gd name="T11" fmla="*/ 10 h 78"/>
                <a:gd name="T12" fmla="*/ 54 w 65"/>
                <a:gd name="T13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78">
                  <a:moveTo>
                    <a:pt x="54" y="5"/>
                  </a:moveTo>
                  <a:cubicBezTo>
                    <a:pt x="62" y="10"/>
                    <a:pt x="65" y="21"/>
                    <a:pt x="59" y="30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0" y="75"/>
                    <a:pt x="19" y="78"/>
                    <a:pt x="10" y="72"/>
                  </a:cubicBezTo>
                  <a:cubicBezTo>
                    <a:pt x="2" y="67"/>
                    <a:pt x="0" y="56"/>
                    <a:pt x="5" y="48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5" y="2"/>
                    <a:pt x="46" y="0"/>
                    <a:pt x="54" y="5"/>
                  </a:cubicBezTo>
                  <a:close/>
                </a:path>
              </a:pathLst>
            </a:custGeom>
            <a:solidFill>
              <a:srgbClr val="0FED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íṧ1ídê">
              <a:extLst>
                <a:ext uri="{FF2B5EF4-FFF2-40B4-BE49-F238E27FC236}">
                  <a16:creationId xmlns:a16="http://schemas.microsoft.com/office/drawing/2014/main" id="{488817EF-AC0A-4F3F-838C-8616983DDF4F}"/>
                </a:ext>
              </a:extLst>
            </p:cNvPr>
            <p:cNvSpPr/>
            <p:nvPr/>
          </p:nvSpPr>
          <p:spPr bwMode="auto">
            <a:xfrm>
              <a:off x="6619818" y="4060575"/>
              <a:ext cx="445803" cy="538680"/>
            </a:xfrm>
            <a:custGeom>
              <a:avLst/>
              <a:gdLst>
                <a:gd name="T0" fmla="*/ 55 w 65"/>
                <a:gd name="T1" fmla="*/ 6 h 78"/>
                <a:gd name="T2" fmla="*/ 60 w 65"/>
                <a:gd name="T3" fmla="*/ 30 h 78"/>
                <a:gd name="T4" fmla="*/ 36 w 65"/>
                <a:gd name="T5" fmla="*/ 67 h 78"/>
                <a:gd name="T6" fmla="*/ 11 w 65"/>
                <a:gd name="T7" fmla="*/ 73 h 78"/>
                <a:gd name="T8" fmla="*/ 6 w 65"/>
                <a:gd name="T9" fmla="*/ 48 h 78"/>
                <a:gd name="T10" fmla="*/ 30 w 65"/>
                <a:gd name="T11" fmla="*/ 11 h 78"/>
                <a:gd name="T12" fmla="*/ 55 w 65"/>
                <a:gd name="T13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78">
                  <a:moveTo>
                    <a:pt x="55" y="6"/>
                  </a:moveTo>
                  <a:cubicBezTo>
                    <a:pt x="63" y="11"/>
                    <a:pt x="65" y="22"/>
                    <a:pt x="60" y="30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0" y="76"/>
                    <a:pt x="19" y="78"/>
                    <a:pt x="11" y="73"/>
                  </a:cubicBezTo>
                  <a:cubicBezTo>
                    <a:pt x="3" y="67"/>
                    <a:pt x="0" y="56"/>
                    <a:pt x="6" y="48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5" y="3"/>
                    <a:pt x="46" y="0"/>
                    <a:pt x="55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íšḷïḍè">
              <a:extLst>
                <a:ext uri="{FF2B5EF4-FFF2-40B4-BE49-F238E27FC236}">
                  <a16:creationId xmlns:a16="http://schemas.microsoft.com/office/drawing/2014/main" id="{9F8EBE3F-B0A7-4F08-8ED2-7B68318711DB}"/>
                </a:ext>
              </a:extLst>
            </p:cNvPr>
            <p:cNvSpPr/>
            <p:nvPr/>
          </p:nvSpPr>
          <p:spPr bwMode="auto">
            <a:xfrm>
              <a:off x="6812999" y="4183170"/>
              <a:ext cx="438373" cy="538680"/>
            </a:xfrm>
            <a:custGeom>
              <a:avLst/>
              <a:gdLst>
                <a:gd name="T0" fmla="*/ 54 w 64"/>
                <a:gd name="T1" fmla="*/ 5 h 78"/>
                <a:gd name="T2" fmla="*/ 59 w 64"/>
                <a:gd name="T3" fmla="*/ 30 h 78"/>
                <a:gd name="T4" fmla="*/ 35 w 64"/>
                <a:gd name="T5" fmla="*/ 67 h 78"/>
                <a:gd name="T6" fmla="*/ 10 w 64"/>
                <a:gd name="T7" fmla="*/ 72 h 78"/>
                <a:gd name="T8" fmla="*/ 5 w 64"/>
                <a:gd name="T9" fmla="*/ 48 h 78"/>
                <a:gd name="T10" fmla="*/ 29 w 64"/>
                <a:gd name="T11" fmla="*/ 10 h 78"/>
                <a:gd name="T12" fmla="*/ 54 w 64"/>
                <a:gd name="T13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8">
                  <a:moveTo>
                    <a:pt x="54" y="5"/>
                  </a:moveTo>
                  <a:cubicBezTo>
                    <a:pt x="62" y="11"/>
                    <a:pt x="64" y="22"/>
                    <a:pt x="59" y="30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0" y="75"/>
                    <a:pt x="19" y="78"/>
                    <a:pt x="10" y="72"/>
                  </a:cubicBezTo>
                  <a:cubicBezTo>
                    <a:pt x="2" y="67"/>
                    <a:pt x="0" y="56"/>
                    <a:pt x="5" y="48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5" y="2"/>
                    <a:pt x="46" y="0"/>
                    <a:pt x="54" y="5"/>
                  </a:cubicBezTo>
                  <a:close/>
                </a:path>
              </a:pathLst>
            </a:custGeom>
            <a:solidFill>
              <a:srgbClr val="0FED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ïSļíḍé">
              <a:extLst>
                <a:ext uri="{FF2B5EF4-FFF2-40B4-BE49-F238E27FC236}">
                  <a16:creationId xmlns:a16="http://schemas.microsoft.com/office/drawing/2014/main" id="{F176DB40-D220-4FEE-8EAA-3CD77EE6846F}"/>
                </a:ext>
              </a:extLst>
            </p:cNvPr>
            <p:cNvSpPr/>
            <p:nvPr/>
          </p:nvSpPr>
          <p:spPr bwMode="auto">
            <a:xfrm>
              <a:off x="7615444" y="3317571"/>
              <a:ext cx="873032" cy="676134"/>
            </a:xfrm>
            <a:custGeom>
              <a:avLst/>
              <a:gdLst>
                <a:gd name="T0" fmla="*/ 80 w 127"/>
                <a:gd name="T1" fmla="*/ 25 h 98"/>
                <a:gd name="T2" fmla="*/ 119 w 127"/>
                <a:gd name="T3" fmla="*/ 85 h 98"/>
                <a:gd name="T4" fmla="*/ 48 w 127"/>
                <a:gd name="T5" fmla="*/ 74 h 98"/>
                <a:gd name="T6" fmla="*/ 9 w 127"/>
                <a:gd name="T7" fmla="*/ 14 h 98"/>
                <a:gd name="T8" fmla="*/ 80 w 127"/>
                <a:gd name="T9" fmla="*/ 2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98">
                  <a:moveTo>
                    <a:pt x="80" y="25"/>
                  </a:moveTo>
                  <a:cubicBezTo>
                    <a:pt x="110" y="44"/>
                    <a:pt x="127" y="71"/>
                    <a:pt x="119" y="85"/>
                  </a:cubicBezTo>
                  <a:cubicBezTo>
                    <a:pt x="110" y="98"/>
                    <a:pt x="78" y="93"/>
                    <a:pt x="48" y="74"/>
                  </a:cubicBezTo>
                  <a:cubicBezTo>
                    <a:pt x="18" y="54"/>
                    <a:pt x="0" y="27"/>
                    <a:pt x="9" y="14"/>
                  </a:cubicBezTo>
                  <a:cubicBezTo>
                    <a:pt x="18" y="0"/>
                    <a:pt x="49" y="5"/>
                    <a:pt x="80" y="25"/>
                  </a:cubicBezTo>
                  <a:close/>
                </a:path>
              </a:pathLst>
            </a:custGeom>
            <a:noFill/>
            <a:ln w="61913" cap="flat">
              <a:solidFill>
                <a:srgbClr val="2B284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ïs1ïḑé">
              <a:extLst>
                <a:ext uri="{FF2B5EF4-FFF2-40B4-BE49-F238E27FC236}">
                  <a16:creationId xmlns:a16="http://schemas.microsoft.com/office/drawing/2014/main" id="{9F08A586-1092-45AA-A852-9F632E23FCBD}"/>
                </a:ext>
              </a:extLst>
            </p:cNvPr>
            <p:cNvSpPr/>
            <p:nvPr/>
          </p:nvSpPr>
          <p:spPr bwMode="auto">
            <a:xfrm>
              <a:off x="7080481" y="2920062"/>
              <a:ext cx="445803" cy="534963"/>
            </a:xfrm>
            <a:custGeom>
              <a:avLst/>
              <a:gdLst>
                <a:gd name="T0" fmla="*/ 54 w 65"/>
                <a:gd name="T1" fmla="*/ 5 h 78"/>
                <a:gd name="T2" fmla="*/ 60 w 65"/>
                <a:gd name="T3" fmla="*/ 30 h 78"/>
                <a:gd name="T4" fmla="*/ 36 w 65"/>
                <a:gd name="T5" fmla="*/ 67 h 78"/>
                <a:gd name="T6" fmla="*/ 11 w 65"/>
                <a:gd name="T7" fmla="*/ 72 h 78"/>
                <a:gd name="T8" fmla="*/ 6 w 65"/>
                <a:gd name="T9" fmla="*/ 48 h 78"/>
                <a:gd name="T10" fmla="*/ 30 w 65"/>
                <a:gd name="T11" fmla="*/ 11 h 78"/>
                <a:gd name="T12" fmla="*/ 54 w 65"/>
                <a:gd name="T13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78">
                  <a:moveTo>
                    <a:pt x="54" y="5"/>
                  </a:moveTo>
                  <a:cubicBezTo>
                    <a:pt x="63" y="11"/>
                    <a:pt x="65" y="22"/>
                    <a:pt x="60" y="30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0" y="75"/>
                    <a:pt x="19" y="78"/>
                    <a:pt x="11" y="72"/>
                  </a:cubicBezTo>
                  <a:cubicBezTo>
                    <a:pt x="3" y="67"/>
                    <a:pt x="0" y="56"/>
                    <a:pt x="6" y="48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5" y="2"/>
                    <a:pt x="46" y="0"/>
                    <a:pt x="54" y="5"/>
                  </a:cubicBezTo>
                  <a:close/>
                </a:path>
              </a:pathLst>
            </a:custGeom>
            <a:solidFill>
              <a:srgbClr val="0FED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ïṧḷîďè">
              <a:extLst>
                <a:ext uri="{FF2B5EF4-FFF2-40B4-BE49-F238E27FC236}">
                  <a16:creationId xmlns:a16="http://schemas.microsoft.com/office/drawing/2014/main" id="{430F7BAF-AFC5-4848-AD25-770BAC53E301}"/>
                </a:ext>
              </a:extLst>
            </p:cNvPr>
            <p:cNvSpPr/>
            <p:nvPr/>
          </p:nvSpPr>
          <p:spPr bwMode="auto">
            <a:xfrm>
              <a:off x="7277376" y="3042659"/>
              <a:ext cx="449519" cy="538680"/>
            </a:xfrm>
            <a:custGeom>
              <a:avLst/>
              <a:gdLst>
                <a:gd name="T0" fmla="*/ 54 w 65"/>
                <a:gd name="T1" fmla="*/ 6 h 78"/>
                <a:gd name="T2" fmla="*/ 59 w 65"/>
                <a:gd name="T3" fmla="*/ 30 h 78"/>
                <a:gd name="T4" fmla="*/ 35 w 65"/>
                <a:gd name="T5" fmla="*/ 68 h 78"/>
                <a:gd name="T6" fmla="*/ 11 w 65"/>
                <a:gd name="T7" fmla="*/ 73 h 78"/>
                <a:gd name="T8" fmla="*/ 5 w 65"/>
                <a:gd name="T9" fmla="*/ 48 h 78"/>
                <a:gd name="T10" fmla="*/ 29 w 65"/>
                <a:gd name="T11" fmla="*/ 11 h 78"/>
                <a:gd name="T12" fmla="*/ 54 w 65"/>
                <a:gd name="T13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78">
                  <a:moveTo>
                    <a:pt x="54" y="6"/>
                  </a:moveTo>
                  <a:cubicBezTo>
                    <a:pt x="62" y="11"/>
                    <a:pt x="65" y="22"/>
                    <a:pt x="59" y="30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0" y="76"/>
                    <a:pt x="19" y="78"/>
                    <a:pt x="11" y="73"/>
                  </a:cubicBezTo>
                  <a:cubicBezTo>
                    <a:pt x="2" y="68"/>
                    <a:pt x="0" y="57"/>
                    <a:pt x="5" y="48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5" y="3"/>
                    <a:pt x="46" y="0"/>
                    <a:pt x="5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íṡḻíďè">
              <a:extLst>
                <a:ext uri="{FF2B5EF4-FFF2-40B4-BE49-F238E27FC236}">
                  <a16:creationId xmlns:a16="http://schemas.microsoft.com/office/drawing/2014/main" id="{653FFE2B-4501-4545-9FAF-A3D61522847C}"/>
                </a:ext>
              </a:extLst>
            </p:cNvPr>
            <p:cNvSpPr/>
            <p:nvPr/>
          </p:nvSpPr>
          <p:spPr bwMode="auto">
            <a:xfrm>
              <a:off x="7463127" y="3168970"/>
              <a:ext cx="449519" cy="534963"/>
            </a:xfrm>
            <a:custGeom>
              <a:avLst/>
              <a:gdLst>
                <a:gd name="T0" fmla="*/ 54 w 65"/>
                <a:gd name="T1" fmla="*/ 6 h 78"/>
                <a:gd name="T2" fmla="*/ 60 w 65"/>
                <a:gd name="T3" fmla="*/ 30 h 78"/>
                <a:gd name="T4" fmla="*/ 36 w 65"/>
                <a:gd name="T5" fmla="*/ 67 h 78"/>
                <a:gd name="T6" fmla="*/ 11 w 65"/>
                <a:gd name="T7" fmla="*/ 73 h 78"/>
                <a:gd name="T8" fmla="*/ 6 w 65"/>
                <a:gd name="T9" fmla="*/ 48 h 78"/>
                <a:gd name="T10" fmla="*/ 30 w 65"/>
                <a:gd name="T11" fmla="*/ 11 h 78"/>
                <a:gd name="T12" fmla="*/ 54 w 65"/>
                <a:gd name="T13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78">
                  <a:moveTo>
                    <a:pt x="54" y="6"/>
                  </a:moveTo>
                  <a:cubicBezTo>
                    <a:pt x="63" y="11"/>
                    <a:pt x="65" y="22"/>
                    <a:pt x="60" y="30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0" y="76"/>
                    <a:pt x="19" y="78"/>
                    <a:pt x="11" y="73"/>
                  </a:cubicBezTo>
                  <a:cubicBezTo>
                    <a:pt x="3" y="67"/>
                    <a:pt x="0" y="56"/>
                    <a:pt x="6" y="48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5" y="3"/>
                    <a:pt x="46" y="0"/>
                    <a:pt x="54" y="6"/>
                  </a:cubicBezTo>
                  <a:close/>
                </a:path>
              </a:pathLst>
            </a:custGeom>
            <a:solidFill>
              <a:srgbClr val="0FED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5" name="文本框 4">
            <a:extLst>
              <a:ext uri="{FF2B5EF4-FFF2-40B4-BE49-F238E27FC236}">
                <a16:creationId xmlns:a16="http://schemas.microsoft.com/office/drawing/2014/main" id="{23D43AB9-7E4D-4F65-B105-1F26EDF7A722}"/>
              </a:ext>
            </a:extLst>
          </p:cNvPr>
          <p:cNvSpPr txBox="1"/>
          <p:nvPr/>
        </p:nvSpPr>
        <p:spPr>
          <a:xfrm>
            <a:off x="669924" y="1303952"/>
            <a:ext cx="54260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泛型约束  </a:t>
            </a:r>
            <a:r>
              <a:rPr lang="en-US" altLang="zh-CN" dirty="0"/>
              <a:t>T: Debug  or </a:t>
            </a:r>
            <a:r>
              <a:rPr lang="en-US" altLang="zh-CN" dirty="0" err="1"/>
              <a:t>wehre</a:t>
            </a:r>
            <a:r>
              <a:rPr lang="en-US" altLang="zh-CN" dirty="0"/>
              <a:t>  T: Debug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DBF08D7-6B6F-4745-8697-E7D9B4FDEDB5}"/>
              </a:ext>
            </a:extLst>
          </p:cNvPr>
          <p:cNvSpPr txBox="1"/>
          <p:nvPr/>
        </p:nvSpPr>
        <p:spPr>
          <a:xfrm>
            <a:off x="669924" y="1875453"/>
            <a:ext cx="3211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继承</a:t>
            </a:r>
          </a:p>
        </p:txBody>
      </p:sp>
    </p:spTree>
    <p:extLst>
      <p:ext uri="{BB962C8B-B14F-4D97-AF65-F5344CB8AC3E}">
        <p14:creationId xmlns:p14="http://schemas.microsoft.com/office/powerpoint/2010/main" val="14131602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D11EE5-47E1-4035-A2B7-19C2E3AF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trait alias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7666BC-59F7-4E7F-8671-AA1B72E44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85EB3A-2EBC-4BF1-9376-F73050A0C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9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420" name="c1fe35dc-98d7-43d6-84a4-797cea14b02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C6C1294-FDC6-48F7-A151-1EF83BA7B0D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857914" y="2332386"/>
            <a:ext cx="2474582" cy="2193227"/>
            <a:chOff x="3362325" y="1178839"/>
            <a:chExt cx="5467350" cy="4845724"/>
          </a:xfrm>
        </p:grpSpPr>
        <p:sp>
          <p:nvSpPr>
            <p:cNvPr id="421" name="ïś1íḍê">
              <a:extLst>
                <a:ext uri="{FF2B5EF4-FFF2-40B4-BE49-F238E27FC236}">
                  <a16:creationId xmlns:a16="http://schemas.microsoft.com/office/drawing/2014/main" id="{B45076D0-7EF1-46A7-BA58-1D46E472642B}"/>
                </a:ext>
              </a:extLst>
            </p:cNvPr>
            <p:cNvSpPr/>
            <p:nvPr/>
          </p:nvSpPr>
          <p:spPr bwMode="auto">
            <a:xfrm>
              <a:off x="6414214" y="5855836"/>
              <a:ext cx="145046" cy="168727"/>
            </a:xfrm>
            <a:custGeom>
              <a:avLst/>
              <a:gdLst>
                <a:gd name="T0" fmla="*/ 33 w 47"/>
                <a:gd name="T1" fmla="*/ 4 h 55"/>
                <a:gd name="T2" fmla="*/ 15 w 47"/>
                <a:gd name="T3" fmla="*/ 3 h 55"/>
                <a:gd name="T4" fmla="*/ 12 w 47"/>
                <a:gd name="T5" fmla="*/ 4 h 55"/>
                <a:gd name="T6" fmla="*/ 11 w 47"/>
                <a:gd name="T7" fmla="*/ 8 h 55"/>
                <a:gd name="T8" fmla="*/ 11 w 47"/>
                <a:gd name="T9" fmla="*/ 9 h 55"/>
                <a:gd name="T10" fmla="*/ 3 w 47"/>
                <a:gd name="T11" fmla="*/ 41 h 55"/>
                <a:gd name="T12" fmla="*/ 13 w 47"/>
                <a:gd name="T13" fmla="*/ 52 h 55"/>
                <a:gd name="T14" fmla="*/ 29 w 47"/>
                <a:gd name="T15" fmla="*/ 51 h 55"/>
                <a:gd name="T16" fmla="*/ 45 w 47"/>
                <a:gd name="T17" fmla="*/ 36 h 55"/>
                <a:gd name="T18" fmla="*/ 45 w 47"/>
                <a:gd name="T19" fmla="*/ 18 h 55"/>
                <a:gd name="T20" fmla="*/ 33 w 47"/>
                <a:gd name="T21" fmla="*/ 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55">
                  <a:moveTo>
                    <a:pt x="33" y="4"/>
                  </a:moveTo>
                  <a:cubicBezTo>
                    <a:pt x="28" y="1"/>
                    <a:pt x="21" y="0"/>
                    <a:pt x="15" y="3"/>
                  </a:cubicBezTo>
                  <a:cubicBezTo>
                    <a:pt x="14" y="3"/>
                    <a:pt x="13" y="3"/>
                    <a:pt x="12" y="4"/>
                  </a:cubicBezTo>
                  <a:cubicBezTo>
                    <a:pt x="11" y="5"/>
                    <a:pt x="11" y="7"/>
                    <a:pt x="11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4" y="17"/>
                    <a:pt x="0" y="30"/>
                    <a:pt x="3" y="41"/>
                  </a:cubicBezTo>
                  <a:cubicBezTo>
                    <a:pt x="5" y="46"/>
                    <a:pt x="8" y="50"/>
                    <a:pt x="13" y="52"/>
                  </a:cubicBezTo>
                  <a:cubicBezTo>
                    <a:pt x="18" y="55"/>
                    <a:pt x="25" y="53"/>
                    <a:pt x="29" y="51"/>
                  </a:cubicBezTo>
                  <a:cubicBezTo>
                    <a:pt x="36" y="48"/>
                    <a:pt x="42" y="43"/>
                    <a:pt x="45" y="36"/>
                  </a:cubicBezTo>
                  <a:cubicBezTo>
                    <a:pt x="47" y="30"/>
                    <a:pt x="47" y="24"/>
                    <a:pt x="45" y="18"/>
                  </a:cubicBezTo>
                  <a:cubicBezTo>
                    <a:pt x="43" y="13"/>
                    <a:pt x="39" y="8"/>
                    <a:pt x="33" y="4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íŝlîďé">
              <a:extLst>
                <a:ext uri="{FF2B5EF4-FFF2-40B4-BE49-F238E27FC236}">
                  <a16:creationId xmlns:a16="http://schemas.microsoft.com/office/drawing/2014/main" id="{FF70A00E-A150-4BDB-8557-10993E98FAD5}"/>
                </a:ext>
              </a:extLst>
            </p:cNvPr>
            <p:cNvSpPr/>
            <p:nvPr/>
          </p:nvSpPr>
          <p:spPr bwMode="auto">
            <a:xfrm>
              <a:off x="3756022" y="4103442"/>
              <a:ext cx="159847" cy="213129"/>
            </a:xfrm>
            <a:custGeom>
              <a:avLst/>
              <a:gdLst>
                <a:gd name="T0" fmla="*/ 36 w 52"/>
                <a:gd name="T1" fmla="*/ 54 h 69"/>
                <a:gd name="T2" fmla="*/ 32 w 52"/>
                <a:gd name="T3" fmla="*/ 65 h 69"/>
                <a:gd name="T4" fmla="*/ 28 w 52"/>
                <a:gd name="T5" fmla="*/ 65 h 69"/>
                <a:gd name="T6" fmla="*/ 7 w 52"/>
                <a:gd name="T7" fmla="*/ 49 h 69"/>
                <a:gd name="T8" fmla="*/ 22 w 52"/>
                <a:gd name="T9" fmla="*/ 29 h 69"/>
                <a:gd name="T10" fmla="*/ 34 w 52"/>
                <a:gd name="T11" fmla="*/ 17 h 69"/>
                <a:gd name="T12" fmla="*/ 46 w 52"/>
                <a:gd name="T13" fmla="*/ 0 h 69"/>
                <a:gd name="T14" fmla="*/ 49 w 52"/>
                <a:gd name="T15" fmla="*/ 10 h 69"/>
                <a:gd name="T16" fmla="*/ 46 w 52"/>
                <a:gd name="T17" fmla="*/ 17 h 69"/>
                <a:gd name="T18" fmla="*/ 37 w 52"/>
                <a:gd name="T19" fmla="*/ 49 h 69"/>
                <a:gd name="T20" fmla="*/ 36 w 52"/>
                <a:gd name="T21" fmla="*/ 5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69">
                  <a:moveTo>
                    <a:pt x="36" y="54"/>
                  </a:moveTo>
                  <a:cubicBezTo>
                    <a:pt x="35" y="56"/>
                    <a:pt x="33" y="63"/>
                    <a:pt x="32" y="65"/>
                  </a:cubicBezTo>
                  <a:cubicBezTo>
                    <a:pt x="31" y="69"/>
                    <a:pt x="30" y="67"/>
                    <a:pt x="28" y="65"/>
                  </a:cubicBezTo>
                  <a:cubicBezTo>
                    <a:pt x="20" y="53"/>
                    <a:pt x="0" y="60"/>
                    <a:pt x="7" y="49"/>
                  </a:cubicBezTo>
                  <a:cubicBezTo>
                    <a:pt x="11" y="43"/>
                    <a:pt x="17" y="37"/>
                    <a:pt x="22" y="29"/>
                  </a:cubicBezTo>
                  <a:cubicBezTo>
                    <a:pt x="26" y="23"/>
                    <a:pt x="29" y="20"/>
                    <a:pt x="34" y="17"/>
                  </a:cubicBezTo>
                  <a:cubicBezTo>
                    <a:pt x="36" y="15"/>
                    <a:pt x="45" y="2"/>
                    <a:pt x="46" y="0"/>
                  </a:cubicBezTo>
                  <a:cubicBezTo>
                    <a:pt x="52" y="0"/>
                    <a:pt x="50" y="6"/>
                    <a:pt x="49" y="10"/>
                  </a:cubicBezTo>
                  <a:cubicBezTo>
                    <a:pt x="48" y="13"/>
                    <a:pt x="46" y="15"/>
                    <a:pt x="46" y="17"/>
                  </a:cubicBezTo>
                  <a:cubicBezTo>
                    <a:pt x="46" y="17"/>
                    <a:pt x="39" y="45"/>
                    <a:pt x="37" y="49"/>
                  </a:cubicBezTo>
                  <a:cubicBezTo>
                    <a:pt x="37" y="50"/>
                    <a:pt x="36" y="53"/>
                    <a:pt x="36" y="54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ïṩlíḓê">
              <a:extLst>
                <a:ext uri="{FF2B5EF4-FFF2-40B4-BE49-F238E27FC236}">
                  <a16:creationId xmlns:a16="http://schemas.microsoft.com/office/drawing/2014/main" id="{26AA8294-B592-443D-8057-07F1B601D40B}"/>
                </a:ext>
              </a:extLst>
            </p:cNvPr>
            <p:cNvSpPr/>
            <p:nvPr/>
          </p:nvSpPr>
          <p:spPr bwMode="auto">
            <a:xfrm>
              <a:off x="3621336" y="3486257"/>
              <a:ext cx="48843" cy="37002"/>
            </a:xfrm>
            <a:custGeom>
              <a:avLst/>
              <a:gdLst>
                <a:gd name="T0" fmla="*/ 3 w 16"/>
                <a:gd name="T1" fmla="*/ 3 h 12"/>
                <a:gd name="T2" fmla="*/ 4 w 16"/>
                <a:gd name="T3" fmla="*/ 1 h 12"/>
                <a:gd name="T4" fmla="*/ 14 w 16"/>
                <a:gd name="T5" fmla="*/ 3 h 12"/>
                <a:gd name="T6" fmla="*/ 15 w 16"/>
                <a:gd name="T7" fmla="*/ 9 h 12"/>
                <a:gd name="T8" fmla="*/ 10 w 16"/>
                <a:gd name="T9" fmla="*/ 12 h 12"/>
                <a:gd name="T10" fmla="*/ 2 w 16"/>
                <a:gd name="T11" fmla="*/ 11 h 12"/>
                <a:gd name="T12" fmla="*/ 2 w 16"/>
                <a:gd name="T13" fmla="*/ 4 h 12"/>
                <a:gd name="T14" fmla="*/ 3 w 16"/>
                <a:gd name="T1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3" y="3"/>
                  </a:moveTo>
                  <a:cubicBezTo>
                    <a:pt x="3" y="2"/>
                    <a:pt x="3" y="2"/>
                    <a:pt x="4" y="1"/>
                  </a:cubicBezTo>
                  <a:cubicBezTo>
                    <a:pt x="9" y="0"/>
                    <a:pt x="10" y="2"/>
                    <a:pt x="14" y="3"/>
                  </a:cubicBezTo>
                  <a:cubicBezTo>
                    <a:pt x="16" y="4"/>
                    <a:pt x="15" y="7"/>
                    <a:pt x="15" y="9"/>
                  </a:cubicBezTo>
                  <a:cubicBezTo>
                    <a:pt x="14" y="12"/>
                    <a:pt x="13" y="12"/>
                    <a:pt x="10" y="12"/>
                  </a:cubicBezTo>
                  <a:cubicBezTo>
                    <a:pt x="9" y="12"/>
                    <a:pt x="3" y="12"/>
                    <a:pt x="2" y="11"/>
                  </a:cubicBezTo>
                  <a:cubicBezTo>
                    <a:pt x="1" y="9"/>
                    <a:pt x="0" y="6"/>
                    <a:pt x="2" y="4"/>
                  </a:cubicBezTo>
                  <a:cubicBezTo>
                    <a:pt x="3" y="4"/>
                    <a:pt x="3" y="3"/>
                    <a:pt x="3" y="3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iṡlíḍe">
              <a:extLst>
                <a:ext uri="{FF2B5EF4-FFF2-40B4-BE49-F238E27FC236}">
                  <a16:creationId xmlns:a16="http://schemas.microsoft.com/office/drawing/2014/main" id="{BE56F60A-4678-4BBC-8DFC-905DFB1EDA80}"/>
                </a:ext>
              </a:extLst>
            </p:cNvPr>
            <p:cNvSpPr/>
            <p:nvPr/>
          </p:nvSpPr>
          <p:spPr bwMode="auto">
            <a:xfrm>
              <a:off x="4306606" y="1615458"/>
              <a:ext cx="87324" cy="72524"/>
            </a:xfrm>
            <a:custGeom>
              <a:avLst/>
              <a:gdLst>
                <a:gd name="T0" fmla="*/ 24 w 28"/>
                <a:gd name="T1" fmla="*/ 19 h 24"/>
                <a:gd name="T2" fmla="*/ 28 w 28"/>
                <a:gd name="T3" fmla="*/ 9 h 24"/>
                <a:gd name="T4" fmla="*/ 16 w 28"/>
                <a:gd name="T5" fmla="*/ 0 h 24"/>
                <a:gd name="T6" fmla="*/ 7 w 28"/>
                <a:gd name="T7" fmla="*/ 2 h 24"/>
                <a:gd name="T8" fmla="*/ 3 w 28"/>
                <a:gd name="T9" fmla="*/ 6 h 24"/>
                <a:gd name="T10" fmla="*/ 1 w 28"/>
                <a:gd name="T11" fmla="*/ 9 h 24"/>
                <a:gd name="T12" fmla="*/ 0 w 28"/>
                <a:gd name="T13" fmla="*/ 12 h 24"/>
                <a:gd name="T14" fmla="*/ 1 w 28"/>
                <a:gd name="T15" fmla="*/ 14 h 24"/>
                <a:gd name="T16" fmla="*/ 2 w 28"/>
                <a:gd name="T17" fmla="*/ 18 h 24"/>
                <a:gd name="T18" fmla="*/ 12 w 28"/>
                <a:gd name="T19" fmla="*/ 24 h 24"/>
                <a:gd name="T20" fmla="*/ 24 w 28"/>
                <a:gd name="T21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4">
                  <a:moveTo>
                    <a:pt x="24" y="19"/>
                  </a:moveTo>
                  <a:cubicBezTo>
                    <a:pt x="26" y="16"/>
                    <a:pt x="28" y="13"/>
                    <a:pt x="28" y="9"/>
                  </a:cubicBezTo>
                  <a:cubicBezTo>
                    <a:pt x="27" y="3"/>
                    <a:pt x="21" y="0"/>
                    <a:pt x="16" y="0"/>
                  </a:cubicBezTo>
                  <a:cubicBezTo>
                    <a:pt x="13" y="0"/>
                    <a:pt x="10" y="1"/>
                    <a:pt x="7" y="2"/>
                  </a:cubicBezTo>
                  <a:cubicBezTo>
                    <a:pt x="5" y="3"/>
                    <a:pt x="4" y="5"/>
                    <a:pt x="3" y="6"/>
                  </a:cubicBezTo>
                  <a:cubicBezTo>
                    <a:pt x="2" y="7"/>
                    <a:pt x="1" y="8"/>
                    <a:pt x="1" y="9"/>
                  </a:cubicBezTo>
                  <a:cubicBezTo>
                    <a:pt x="1" y="10"/>
                    <a:pt x="1" y="11"/>
                    <a:pt x="0" y="12"/>
                  </a:cubicBezTo>
                  <a:cubicBezTo>
                    <a:pt x="0" y="13"/>
                    <a:pt x="1" y="13"/>
                    <a:pt x="1" y="14"/>
                  </a:cubicBezTo>
                  <a:cubicBezTo>
                    <a:pt x="0" y="15"/>
                    <a:pt x="1" y="17"/>
                    <a:pt x="2" y="18"/>
                  </a:cubicBezTo>
                  <a:cubicBezTo>
                    <a:pt x="3" y="22"/>
                    <a:pt x="8" y="24"/>
                    <a:pt x="12" y="24"/>
                  </a:cubicBezTo>
                  <a:cubicBezTo>
                    <a:pt x="16" y="24"/>
                    <a:pt x="21" y="22"/>
                    <a:pt x="24" y="19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işḻíḓe">
              <a:extLst>
                <a:ext uri="{FF2B5EF4-FFF2-40B4-BE49-F238E27FC236}">
                  <a16:creationId xmlns:a16="http://schemas.microsoft.com/office/drawing/2014/main" id="{AC1FE541-C502-4176-91E0-FDB0F3C51FFC}"/>
                </a:ext>
              </a:extLst>
            </p:cNvPr>
            <p:cNvSpPr/>
            <p:nvPr/>
          </p:nvSpPr>
          <p:spPr bwMode="auto">
            <a:xfrm>
              <a:off x="4885310" y="1593256"/>
              <a:ext cx="53282" cy="68083"/>
            </a:xfrm>
            <a:custGeom>
              <a:avLst/>
              <a:gdLst>
                <a:gd name="T0" fmla="*/ 9 w 17"/>
                <a:gd name="T1" fmla="*/ 22 h 22"/>
                <a:gd name="T2" fmla="*/ 15 w 17"/>
                <a:gd name="T3" fmla="*/ 19 h 22"/>
                <a:gd name="T4" fmla="*/ 13 w 17"/>
                <a:gd name="T5" fmla="*/ 4 h 22"/>
                <a:gd name="T6" fmla="*/ 8 w 17"/>
                <a:gd name="T7" fmla="*/ 0 h 22"/>
                <a:gd name="T8" fmla="*/ 5 w 17"/>
                <a:gd name="T9" fmla="*/ 0 h 22"/>
                <a:gd name="T10" fmla="*/ 4 w 17"/>
                <a:gd name="T11" fmla="*/ 1 h 22"/>
                <a:gd name="T12" fmla="*/ 2 w 17"/>
                <a:gd name="T13" fmla="*/ 2 h 22"/>
                <a:gd name="T14" fmla="*/ 2 w 17"/>
                <a:gd name="T15" fmla="*/ 4 h 22"/>
                <a:gd name="T16" fmla="*/ 0 w 17"/>
                <a:gd name="T17" fmla="*/ 7 h 22"/>
                <a:gd name="T18" fmla="*/ 2 w 17"/>
                <a:gd name="T19" fmla="*/ 17 h 22"/>
                <a:gd name="T20" fmla="*/ 9 w 17"/>
                <a:gd name="T2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22">
                  <a:moveTo>
                    <a:pt x="9" y="22"/>
                  </a:moveTo>
                  <a:cubicBezTo>
                    <a:pt x="12" y="22"/>
                    <a:pt x="14" y="21"/>
                    <a:pt x="15" y="19"/>
                  </a:cubicBezTo>
                  <a:cubicBezTo>
                    <a:pt x="17" y="14"/>
                    <a:pt x="16" y="8"/>
                    <a:pt x="13" y="4"/>
                  </a:cubicBezTo>
                  <a:cubicBezTo>
                    <a:pt x="12" y="2"/>
                    <a:pt x="10" y="1"/>
                    <a:pt x="8" y="0"/>
                  </a:cubicBezTo>
                  <a:cubicBezTo>
                    <a:pt x="7" y="0"/>
                    <a:pt x="7" y="0"/>
                    <a:pt x="5" y="0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1" y="4"/>
                    <a:pt x="0" y="6"/>
                    <a:pt x="0" y="7"/>
                  </a:cubicBezTo>
                  <a:cubicBezTo>
                    <a:pt x="0" y="11"/>
                    <a:pt x="1" y="15"/>
                    <a:pt x="2" y="17"/>
                  </a:cubicBezTo>
                  <a:cubicBezTo>
                    <a:pt x="4" y="21"/>
                    <a:pt x="7" y="22"/>
                    <a:pt x="9" y="22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íṡ1íḑe">
              <a:extLst>
                <a:ext uri="{FF2B5EF4-FFF2-40B4-BE49-F238E27FC236}">
                  <a16:creationId xmlns:a16="http://schemas.microsoft.com/office/drawing/2014/main" id="{215530BE-2DAF-405B-AB11-74A418C27CF7}"/>
                </a:ext>
              </a:extLst>
            </p:cNvPr>
            <p:cNvSpPr/>
            <p:nvPr/>
          </p:nvSpPr>
          <p:spPr bwMode="auto">
            <a:xfrm>
              <a:off x="5666782" y="1190679"/>
              <a:ext cx="56242" cy="48843"/>
            </a:xfrm>
            <a:custGeom>
              <a:avLst/>
              <a:gdLst>
                <a:gd name="T0" fmla="*/ 10 w 18"/>
                <a:gd name="T1" fmla="*/ 16 h 16"/>
                <a:gd name="T2" fmla="*/ 16 w 18"/>
                <a:gd name="T3" fmla="*/ 14 h 16"/>
                <a:gd name="T4" fmla="*/ 14 w 18"/>
                <a:gd name="T5" fmla="*/ 3 h 16"/>
                <a:gd name="T6" fmla="*/ 9 w 18"/>
                <a:gd name="T7" fmla="*/ 0 h 16"/>
                <a:gd name="T8" fmla="*/ 6 w 18"/>
                <a:gd name="T9" fmla="*/ 0 h 16"/>
                <a:gd name="T10" fmla="*/ 4 w 18"/>
                <a:gd name="T11" fmla="*/ 1 h 16"/>
                <a:gd name="T12" fmla="*/ 3 w 18"/>
                <a:gd name="T13" fmla="*/ 2 h 16"/>
                <a:gd name="T14" fmla="*/ 2 w 18"/>
                <a:gd name="T15" fmla="*/ 3 h 16"/>
                <a:gd name="T16" fmla="*/ 1 w 18"/>
                <a:gd name="T17" fmla="*/ 6 h 16"/>
                <a:gd name="T18" fmla="*/ 3 w 18"/>
                <a:gd name="T19" fmla="*/ 13 h 16"/>
                <a:gd name="T20" fmla="*/ 10 w 18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6">
                  <a:moveTo>
                    <a:pt x="10" y="16"/>
                  </a:moveTo>
                  <a:cubicBezTo>
                    <a:pt x="12" y="16"/>
                    <a:pt x="15" y="16"/>
                    <a:pt x="16" y="14"/>
                  </a:cubicBezTo>
                  <a:cubicBezTo>
                    <a:pt x="18" y="11"/>
                    <a:pt x="16" y="6"/>
                    <a:pt x="14" y="3"/>
                  </a:cubicBezTo>
                  <a:cubicBezTo>
                    <a:pt x="13" y="2"/>
                    <a:pt x="11" y="1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0"/>
                    <a:pt x="5" y="1"/>
                    <a:pt x="4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0" y="8"/>
                    <a:pt x="1" y="11"/>
                    <a:pt x="3" y="13"/>
                  </a:cubicBezTo>
                  <a:cubicBezTo>
                    <a:pt x="5" y="16"/>
                    <a:pt x="7" y="16"/>
                    <a:pt x="10" y="16"/>
                  </a:cubicBezTo>
                  <a:close/>
                </a:path>
              </a:pathLst>
            </a:custGeom>
            <a:solidFill>
              <a:srgbClr val="FB7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íṣḷiḍê">
              <a:extLst>
                <a:ext uri="{FF2B5EF4-FFF2-40B4-BE49-F238E27FC236}">
                  <a16:creationId xmlns:a16="http://schemas.microsoft.com/office/drawing/2014/main" id="{76321FE0-6811-427E-B222-EB5C88632943}"/>
                </a:ext>
              </a:extLst>
            </p:cNvPr>
            <p:cNvSpPr/>
            <p:nvPr/>
          </p:nvSpPr>
          <p:spPr bwMode="auto">
            <a:xfrm>
              <a:off x="7312612" y="1568096"/>
              <a:ext cx="47362" cy="47362"/>
            </a:xfrm>
            <a:prstGeom prst="ellipse">
              <a:avLst/>
            </a:pr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íṡḻiḑè">
              <a:extLst>
                <a:ext uri="{FF2B5EF4-FFF2-40B4-BE49-F238E27FC236}">
                  <a16:creationId xmlns:a16="http://schemas.microsoft.com/office/drawing/2014/main" id="{0EB55CB8-B8A5-4DCC-A3CA-596324E0E342}"/>
                </a:ext>
              </a:extLst>
            </p:cNvPr>
            <p:cNvSpPr/>
            <p:nvPr/>
          </p:nvSpPr>
          <p:spPr bwMode="auto">
            <a:xfrm>
              <a:off x="7211967" y="1685020"/>
              <a:ext cx="91764" cy="105085"/>
            </a:xfrm>
            <a:prstGeom prst="ellipse">
              <a:avLst/>
            </a:pr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işļïḋé">
              <a:extLst>
                <a:ext uri="{FF2B5EF4-FFF2-40B4-BE49-F238E27FC236}">
                  <a16:creationId xmlns:a16="http://schemas.microsoft.com/office/drawing/2014/main" id="{508CE1FE-9528-4838-AD68-9528A3AB23F4}"/>
                </a:ext>
              </a:extLst>
            </p:cNvPr>
            <p:cNvSpPr/>
            <p:nvPr/>
          </p:nvSpPr>
          <p:spPr bwMode="auto">
            <a:xfrm>
              <a:off x="3772303" y="1178839"/>
              <a:ext cx="4648876" cy="4765801"/>
            </a:xfrm>
            <a:custGeom>
              <a:avLst/>
              <a:gdLst>
                <a:gd name="T0" fmla="*/ 1470 w 1511"/>
                <a:gd name="T1" fmla="*/ 925 h 1551"/>
                <a:gd name="T2" fmla="*/ 1396 w 1511"/>
                <a:gd name="T3" fmla="*/ 930 h 1551"/>
                <a:gd name="T4" fmla="*/ 1309 w 1511"/>
                <a:gd name="T5" fmla="*/ 886 h 1551"/>
                <a:gd name="T6" fmla="*/ 1253 w 1511"/>
                <a:gd name="T7" fmla="*/ 805 h 1551"/>
                <a:gd name="T8" fmla="*/ 1326 w 1511"/>
                <a:gd name="T9" fmla="*/ 768 h 1551"/>
                <a:gd name="T10" fmla="*/ 1403 w 1511"/>
                <a:gd name="T11" fmla="*/ 530 h 1551"/>
                <a:gd name="T12" fmla="*/ 1302 w 1511"/>
                <a:gd name="T13" fmla="*/ 476 h 1551"/>
                <a:gd name="T14" fmla="*/ 1261 w 1511"/>
                <a:gd name="T15" fmla="*/ 417 h 1551"/>
                <a:gd name="T16" fmla="*/ 1221 w 1511"/>
                <a:gd name="T17" fmla="*/ 284 h 1551"/>
                <a:gd name="T18" fmla="*/ 1125 w 1511"/>
                <a:gd name="T19" fmla="*/ 273 h 1551"/>
                <a:gd name="T20" fmla="*/ 1072 w 1511"/>
                <a:gd name="T21" fmla="*/ 62 h 1551"/>
                <a:gd name="T22" fmla="*/ 1067 w 1511"/>
                <a:gd name="T23" fmla="*/ 110 h 1551"/>
                <a:gd name="T24" fmla="*/ 1062 w 1511"/>
                <a:gd name="T25" fmla="*/ 129 h 1551"/>
                <a:gd name="T26" fmla="*/ 1057 w 1511"/>
                <a:gd name="T27" fmla="*/ 140 h 1551"/>
                <a:gd name="T28" fmla="*/ 1026 w 1511"/>
                <a:gd name="T29" fmla="*/ 168 h 1551"/>
                <a:gd name="T30" fmla="*/ 1001 w 1511"/>
                <a:gd name="T31" fmla="*/ 58 h 1551"/>
                <a:gd name="T32" fmla="*/ 935 w 1511"/>
                <a:gd name="T33" fmla="*/ 165 h 1551"/>
                <a:gd name="T34" fmla="*/ 927 w 1511"/>
                <a:gd name="T35" fmla="*/ 148 h 1551"/>
                <a:gd name="T36" fmla="*/ 865 w 1511"/>
                <a:gd name="T37" fmla="*/ 84 h 1551"/>
                <a:gd name="T38" fmla="*/ 788 w 1511"/>
                <a:gd name="T39" fmla="*/ 51 h 1551"/>
                <a:gd name="T40" fmla="*/ 664 w 1511"/>
                <a:gd name="T41" fmla="*/ 61 h 1551"/>
                <a:gd name="T42" fmla="*/ 559 w 1511"/>
                <a:gd name="T43" fmla="*/ 118 h 1551"/>
                <a:gd name="T44" fmla="*/ 545 w 1511"/>
                <a:gd name="T45" fmla="*/ 121 h 1551"/>
                <a:gd name="T46" fmla="*/ 530 w 1511"/>
                <a:gd name="T47" fmla="*/ 16 h 1551"/>
                <a:gd name="T48" fmla="*/ 471 w 1511"/>
                <a:gd name="T49" fmla="*/ 18 h 1551"/>
                <a:gd name="T50" fmla="*/ 513 w 1511"/>
                <a:gd name="T51" fmla="*/ 127 h 1551"/>
                <a:gd name="T52" fmla="*/ 503 w 1511"/>
                <a:gd name="T53" fmla="*/ 138 h 1551"/>
                <a:gd name="T54" fmla="*/ 503 w 1511"/>
                <a:gd name="T55" fmla="*/ 222 h 1551"/>
                <a:gd name="T56" fmla="*/ 425 w 1511"/>
                <a:gd name="T57" fmla="*/ 222 h 1551"/>
                <a:gd name="T58" fmla="*/ 413 w 1511"/>
                <a:gd name="T59" fmla="*/ 207 h 1551"/>
                <a:gd name="T60" fmla="*/ 443 w 1511"/>
                <a:gd name="T61" fmla="*/ 205 h 1551"/>
                <a:gd name="T62" fmla="*/ 444 w 1511"/>
                <a:gd name="T63" fmla="*/ 172 h 1551"/>
                <a:gd name="T64" fmla="*/ 426 w 1511"/>
                <a:gd name="T65" fmla="*/ 157 h 1551"/>
                <a:gd name="T66" fmla="*/ 394 w 1511"/>
                <a:gd name="T67" fmla="*/ 174 h 1551"/>
                <a:gd name="T68" fmla="*/ 369 w 1511"/>
                <a:gd name="T69" fmla="*/ 191 h 1551"/>
                <a:gd name="T70" fmla="*/ 323 w 1511"/>
                <a:gd name="T71" fmla="*/ 259 h 1551"/>
                <a:gd name="T72" fmla="*/ 341 w 1511"/>
                <a:gd name="T73" fmla="*/ 130 h 1551"/>
                <a:gd name="T74" fmla="*/ 56 w 1511"/>
                <a:gd name="T75" fmla="*/ 431 h 1551"/>
                <a:gd name="T76" fmla="*/ 116 w 1511"/>
                <a:gd name="T77" fmla="*/ 795 h 1551"/>
                <a:gd name="T78" fmla="*/ 84 w 1511"/>
                <a:gd name="T79" fmla="*/ 801 h 1551"/>
                <a:gd name="T80" fmla="*/ 45 w 1511"/>
                <a:gd name="T81" fmla="*/ 802 h 1551"/>
                <a:gd name="T82" fmla="*/ 80 w 1511"/>
                <a:gd name="T83" fmla="*/ 961 h 1551"/>
                <a:gd name="T84" fmla="*/ 132 w 1511"/>
                <a:gd name="T85" fmla="*/ 971 h 1551"/>
                <a:gd name="T86" fmla="*/ 124 w 1511"/>
                <a:gd name="T87" fmla="*/ 1132 h 1551"/>
                <a:gd name="T88" fmla="*/ 162 w 1511"/>
                <a:gd name="T89" fmla="*/ 1310 h 1551"/>
                <a:gd name="T90" fmla="*/ 341 w 1511"/>
                <a:gd name="T91" fmla="*/ 1378 h 1551"/>
                <a:gd name="T92" fmla="*/ 408 w 1511"/>
                <a:gd name="T93" fmla="*/ 1381 h 1551"/>
                <a:gd name="T94" fmla="*/ 622 w 1511"/>
                <a:gd name="T95" fmla="*/ 1546 h 1551"/>
                <a:gd name="T96" fmla="*/ 848 w 1511"/>
                <a:gd name="T97" fmla="*/ 1484 h 1551"/>
                <a:gd name="T98" fmla="*/ 923 w 1511"/>
                <a:gd name="T99" fmla="*/ 1410 h 1551"/>
                <a:gd name="T100" fmla="*/ 945 w 1511"/>
                <a:gd name="T101" fmla="*/ 1420 h 1551"/>
                <a:gd name="T102" fmla="*/ 951 w 1511"/>
                <a:gd name="T103" fmla="*/ 1468 h 1551"/>
                <a:gd name="T104" fmla="*/ 996 w 1511"/>
                <a:gd name="T105" fmla="*/ 1471 h 1551"/>
                <a:gd name="T106" fmla="*/ 1250 w 1511"/>
                <a:gd name="T107" fmla="*/ 1190 h 1551"/>
                <a:gd name="T108" fmla="*/ 1252 w 1511"/>
                <a:gd name="T109" fmla="*/ 1060 h 1551"/>
                <a:gd name="T110" fmla="*/ 1282 w 1511"/>
                <a:gd name="T111" fmla="*/ 1044 h 1551"/>
                <a:gd name="T112" fmla="*/ 1321 w 1511"/>
                <a:gd name="T113" fmla="*/ 1048 h 1551"/>
                <a:gd name="T114" fmla="*/ 1316 w 1511"/>
                <a:gd name="T115" fmla="*/ 1015 h 1551"/>
                <a:gd name="T116" fmla="*/ 1403 w 1511"/>
                <a:gd name="T117" fmla="*/ 1083 h 1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11" h="1551">
                  <a:moveTo>
                    <a:pt x="1459" y="1055"/>
                  </a:moveTo>
                  <a:cubicBezTo>
                    <a:pt x="1471" y="1042"/>
                    <a:pt x="1481" y="1026"/>
                    <a:pt x="1490" y="1011"/>
                  </a:cubicBezTo>
                  <a:cubicBezTo>
                    <a:pt x="1499" y="996"/>
                    <a:pt x="1505" y="979"/>
                    <a:pt x="1508" y="961"/>
                  </a:cubicBezTo>
                  <a:cubicBezTo>
                    <a:pt x="1510" y="949"/>
                    <a:pt x="1511" y="932"/>
                    <a:pt x="1500" y="925"/>
                  </a:cubicBezTo>
                  <a:cubicBezTo>
                    <a:pt x="1491" y="919"/>
                    <a:pt x="1479" y="922"/>
                    <a:pt x="1470" y="925"/>
                  </a:cubicBezTo>
                  <a:cubicBezTo>
                    <a:pt x="1466" y="926"/>
                    <a:pt x="1462" y="927"/>
                    <a:pt x="1458" y="928"/>
                  </a:cubicBezTo>
                  <a:cubicBezTo>
                    <a:pt x="1457" y="929"/>
                    <a:pt x="1456" y="929"/>
                    <a:pt x="1454" y="929"/>
                  </a:cubicBezTo>
                  <a:cubicBezTo>
                    <a:pt x="1451" y="930"/>
                    <a:pt x="1446" y="930"/>
                    <a:pt x="1442" y="931"/>
                  </a:cubicBezTo>
                  <a:cubicBezTo>
                    <a:pt x="1437" y="932"/>
                    <a:pt x="1432" y="932"/>
                    <a:pt x="1427" y="932"/>
                  </a:cubicBezTo>
                  <a:cubicBezTo>
                    <a:pt x="1416" y="934"/>
                    <a:pt x="1406" y="932"/>
                    <a:pt x="1396" y="930"/>
                  </a:cubicBezTo>
                  <a:cubicBezTo>
                    <a:pt x="1386" y="929"/>
                    <a:pt x="1376" y="926"/>
                    <a:pt x="1366" y="923"/>
                  </a:cubicBezTo>
                  <a:cubicBezTo>
                    <a:pt x="1357" y="920"/>
                    <a:pt x="1348" y="917"/>
                    <a:pt x="1338" y="913"/>
                  </a:cubicBezTo>
                  <a:cubicBezTo>
                    <a:pt x="1330" y="910"/>
                    <a:pt x="1323" y="907"/>
                    <a:pt x="1316" y="904"/>
                  </a:cubicBezTo>
                  <a:cubicBezTo>
                    <a:pt x="1315" y="902"/>
                    <a:pt x="1315" y="900"/>
                    <a:pt x="1314" y="898"/>
                  </a:cubicBezTo>
                  <a:cubicBezTo>
                    <a:pt x="1312" y="894"/>
                    <a:pt x="1311" y="890"/>
                    <a:pt x="1309" y="886"/>
                  </a:cubicBezTo>
                  <a:cubicBezTo>
                    <a:pt x="1306" y="878"/>
                    <a:pt x="1303" y="871"/>
                    <a:pt x="1299" y="863"/>
                  </a:cubicBezTo>
                  <a:cubicBezTo>
                    <a:pt x="1291" y="849"/>
                    <a:pt x="1282" y="835"/>
                    <a:pt x="1271" y="823"/>
                  </a:cubicBezTo>
                  <a:cubicBezTo>
                    <a:pt x="1266" y="817"/>
                    <a:pt x="1260" y="812"/>
                    <a:pt x="1254" y="807"/>
                  </a:cubicBezTo>
                  <a:cubicBezTo>
                    <a:pt x="1253" y="806"/>
                    <a:pt x="1252" y="806"/>
                    <a:pt x="1252" y="805"/>
                  </a:cubicBezTo>
                  <a:cubicBezTo>
                    <a:pt x="1252" y="805"/>
                    <a:pt x="1253" y="805"/>
                    <a:pt x="1253" y="805"/>
                  </a:cubicBezTo>
                  <a:cubicBezTo>
                    <a:pt x="1254" y="805"/>
                    <a:pt x="1255" y="805"/>
                    <a:pt x="1256" y="805"/>
                  </a:cubicBezTo>
                  <a:cubicBezTo>
                    <a:pt x="1261" y="805"/>
                    <a:pt x="1266" y="804"/>
                    <a:pt x="1271" y="803"/>
                  </a:cubicBezTo>
                  <a:cubicBezTo>
                    <a:pt x="1276" y="801"/>
                    <a:pt x="1280" y="799"/>
                    <a:pt x="1284" y="797"/>
                  </a:cubicBezTo>
                  <a:cubicBezTo>
                    <a:pt x="1292" y="794"/>
                    <a:pt x="1300" y="789"/>
                    <a:pt x="1307" y="784"/>
                  </a:cubicBezTo>
                  <a:cubicBezTo>
                    <a:pt x="1313" y="779"/>
                    <a:pt x="1320" y="773"/>
                    <a:pt x="1326" y="768"/>
                  </a:cubicBezTo>
                  <a:cubicBezTo>
                    <a:pt x="1330" y="764"/>
                    <a:pt x="1335" y="759"/>
                    <a:pt x="1340" y="755"/>
                  </a:cubicBezTo>
                  <a:cubicBezTo>
                    <a:pt x="1362" y="735"/>
                    <a:pt x="1382" y="712"/>
                    <a:pt x="1400" y="687"/>
                  </a:cubicBezTo>
                  <a:cubicBezTo>
                    <a:pt x="1417" y="662"/>
                    <a:pt x="1431" y="634"/>
                    <a:pt x="1434" y="603"/>
                  </a:cubicBezTo>
                  <a:cubicBezTo>
                    <a:pt x="1436" y="589"/>
                    <a:pt x="1434" y="574"/>
                    <a:pt x="1428" y="561"/>
                  </a:cubicBezTo>
                  <a:cubicBezTo>
                    <a:pt x="1423" y="549"/>
                    <a:pt x="1413" y="538"/>
                    <a:pt x="1403" y="530"/>
                  </a:cubicBezTo>
                  <a:cubicBezTo>
                    <a:pt x="1392" y="520"/>
                    <a:pt x="1379" y="512"/>
                    <a:pt x="1366" y="506"/>
                  </a:cubicBezTo>
                  <a:cubicBezTo>
                    <a:pt x="1354" y="499"/>
                    <a:pt x="1340" y="494"/>
                    <a:pt x="1327" y="488"/>
                  </a:cubicBezTo>
                  <a:cubicBezTo>
                    <a:pt x="1324" y="487"/>
                    <a:pt x="1322" y="486"/>
                    <a:pt x="1319" y="485"/>
                  </a:cubicBezTo>
                  <a:cubicBezTo>
                    <a:pt x="1318" y="484"/>
                    <a:pt x="1317" y="484"/>
                    <a:pt x="1316" y="483"/>
                  </a:cubicBezTo>
                  <a:cubicBezTo>
                    <a:pt x="1311" y="480"/>
                    <a:pt x="1306" y="478"/>
                    <a:pt x="1302" y="476"/>
                  </a:cubicBezTo>
                  <a:cubicBezTo>
                    <a:pt x="1297" y="473"/>
                    <a:pt x="1291" y="471"/>
                    <a:pt x="1286" y="470"/>
                  </a:cubicBezTo>
                  <a:cubicBezTo>
                    <a:pt x="1284" y="469"/>
                    <a:pt x="1282" y="469"/>
                    <a:pt x="1280" y="468"/>
                  </a:cubicBezTo>
                  <a:cubicBezTo>
                    <a:pt x="1278" y="461"/>
                    <a:pt x="1274" y="454"/>
                    <a:pt x="1269" y="448"/>
                  </a:cubicBezTo>
                  <a:cubicBezTo>
                    <a:pt x="1261" y="440"/>
                    <a:pt x="1252" y="434"/>
                    <a:pt x="1241" y="431"/>
                  </a:cubicBezTo>
                  <a:cubicBezTo>
                    <a:pt x="1249" y="428"/>
                    <a:pt x="1255" y="423"/>
                    <a:pt x="1261" y="417"/>
                  </a:cubicBezTo>
                  <a:cubicBezTo>
                    <a:pt x="1270" y="408"/>
                    <a:pt x="1278" y="397"/>
                    <a:pt x="1282" y="385"/>
                  </a:cubicBezTo>
                  <a:cubicBezTo>
                    <a:pt x="1292" y="360"/>
                    <a:pt x="1295" y="329"/>
                    <a:pt x="1277" y="307"/>
                  </a:cubicBezTo>
                  <a:cubicBezTo>
                    <a:pt x="1269" y="297"/>
                    <a:pt x="1255" y="289"/>
                    <a:pt x="1242" y="289"/>
                  </a:cubicBezTo>
                  <a:cubicBezTo>
                    <a:pt x="1233" y="289"/>
                    <a:pt x="1226" y="292"/>
                    <a:pt x="1219" y="297"/>
                  </a:cubicBezTo>
                  <a:cubicBezTo>
                    <a:pt x="1220" y="293"/>
                    <a:pt x="1221" y="288"/>
                    <a:pt x="1221" y="284"/>
                  </a:cubicBezTo>
                  <a:cubicBezTo>
                    <a:pt x="1221" y="276"/>
                    <a:pt x="1220" y="268"/>
                    <a:pt x="1218" y="261"/>
                  </a:cubicBezTo>
                  <a:cubicBezTo>
                    <a:pt x="1215" y="248"/>
                    <a:pt x="1207" y="234"/>
                    <a:pt x="1195" y="227"/>
                  </a:cubicBezTo>
                  <a:cubicBezTo>
                    <a:pt x="1181" y="219"/>
                    <a:pt x="1164" y="221"/>
                    <a:pt x="1152" y="229"/>
                  </a:cubicBezTo>
                  <a:cubicBezTo>
                    <a:pt x="1138" y="237"/>
                    <a:pt x="1130" y="252"/>
                    <a:pt x="1126" y="267"/>
                  </a:cubicBezTo>
                  <a:cubicBezTo>
                    <a:pt x="1125" y="269"/>
                    <a:pt x="1125" y="271"/>
                    <a:pt x="1125" y="273"/>
                  </a:cubicBezTo>
                  <a:cubicBezTo>
                    <a:pt x="1113" y="270"/>
                    <a:pt x="1103" y="265"/>
                    <a:pt x="1093" y="259"/>
                  </a:cubicBezTo>
                  <a:cubicBezTo>
                    <a:pt x="1088" y="256"/>
                    <a:pt x="1083" y="253"/>
                    <a:pt x="1078" y="250"/>
                  </a:cubicBezTo>
                  <a:cubicBezTo>
                    <a:pt x="1089" y="214"/>
                    <a:pt x="1097" y="176"/>
                    <a:pt x="1093" y="139"/>
                  </a:cubicBezTo>
                  <a:cubicBezTo>
                    <a:pt x="1092" y="126"/>
                    <a:pt x="1090" y="113"/>
                    <a:pt x="1086" y="101"/>
                  </a:cubicBezTo>
                  <a:cubicBezTo>
                    <a:pt x="1083" y="87"/>
                    <a:pt x="1079" y="74"/>
                    <a:pt x="1072" y="62"/>
                  </a:cubicBezTo>
                  <a:cubicBezTo>
                    <a:pt x="1072" y="60"/>
                    <a:pt x="1070" y="60"/>
                    <a:pt x="1068" y="60"/>
                  </a:cubicBezTo>
                  <a:cubicBezTo>
                    <a:pt x="1067" y="60"/>
                    <a:pt x="1065" y="61"/>
                    <a:pt x="1065" y="64"/>
                  </a:cubicBezTo>
                  <a:cubicBezTo>
                    <a:pt x="1066" y="73"/>
                    <a:pt x="1067" y="82"/>
                    <a:pt x="1067" y="92"/>
                  </a:cubicBezTo>
                  <a:cubicBezTo>
                    <a:pt x="1067" y="96"/>
                    <a:pt x="1067" y="100"/>
                    <a:pt x="1067" y="104"/>
                  </a:cubicBezTo>
                  <a:cubicBezTo>
                    <a:pt x="1067" y="106"/>
                    <a:pt x="1067" y="108"/>
                    <a:pt x="1067" y="110"/>
                  </a:cubicBezTo>
                  <a:cubicBezTo>
                    <a:pt x="1066" y="111"/>
                    <a:pt x="1066" y="111"/>
                    <a:pt x="1066" y="111"/>
                  </a:cubicBezTo>
                  <a:cubicBezTo>
                    <a:pt x="1066" y="111"/>
                    <a:pt x="1066" y="112"/>
                    <a:pt x="1066" y="112"/>
                  </a:cubicBezTo>
                  <a:cubicBezTo>
                    <a:pt x="1066" y="113"/>
                    <a:pt x="1066" y="114"/>
                    <a:pt x="1066" y="115"/>
                  </a:cubicBezTo>
                  <a:cubicBezTo>
                    <a:pt x="1065" y="119"/>
                    <a:pt x="1064" y="123"/>
                    <a:pt x="1063" y="127"/>
                  </a:cubicBezTo>
                  <a:cubicBezTo>
                    <a:pt x="1063" y="127"/>
                    <a:pt x="1062" y="128"/>
                    <a:pt x="1062" y="129"/>
                  </a:cubicBezTo>
                  <a:cubicBezTo>
                    <a:pt x="1062" y="129"/>
                    <a:pt x="1062" y="130"/>
                    <a:pt x="1061" y="130"/>
                  </a:cubicBezTo>
                  <a:cubicBezTo>
                    <a:pt x="1061" y="130"/>
                    <a:pt x="1061" y="130"/>
                    <a:pt x="1061" y="130"/>
                  </a:cubicBezTo>
                  <a:cubicBezTo>
                    <a:pt x="1061" y="131"/>
                    <a:pt x="1061" y="131"/>
                    <a:pt x="1061" y="131"/>
                  </a:cubicBezTo>
                  <a:cubicBezTo>
                    <a:pt x="1060" y="132"/>
                    <a:pt x="1060" y="134"/>
                    <a:pt x="1059" y="136"/>
                  </a:cubicBezTo>
                  <a:cubicBezTo>
                    <a:pt x="1058" y="137"/>
                    <a:pt x="1057" y="139"/>
                    <a:pt x="1057" y="140"/>
                  </a:cubicBezTo>
                  <a:cubicBezTo>
                    <a:pt x="1056" y="141"/>
                    <a:pt x="1056" y="142"/>
                    <a:pt x="1055" y="143"/>
                  </a:cubicBezTo>
                  <a:cubicBezTo>
                    <a:pt x="1055" y="143"/>
                    <a:pt x="1055" y="143"/>
                    <a:pt x="1054" y="144"/>
                  </a:cubicBezTo>
                  <a:cubicBezTo>
                    <a:pt x="1054" y="144"/>
                    <a:pt x="1054" y="145"/>
                    <a:pt x="1053" y="145"/>
                  </a:cubicBezTo>
                  <a:cubicBezTo>
                    <a:pt x="1051" y="148"/>
                    <a:pt x="1049" y="150"/>
                    <a:pt x="1046" y="154"/>
                  </a:cubicBezTo>
                  <a:cubicBezTo>
                    <a:pt x="1040" y="159"/>
                    <a:pt x="1034" y="164"/>
                    <a:pt x="1026" y="168"/>
                  </a:cubicBezTo>
                  <a:cubicBezTo>
                    <a:pt x="1023" y="170"/>
                    <a:pt x="1020" y="171"/>
                    <a:pt x="1017" y="173"/>
                  </a:cubicBezTo>
                  <a:cubicBezTo>
                    <a:pt x="1020" y="168"/>
                    <a:pt x="1023" y="164"/>
                    <a:pt x="1025" y="159"/>
                  </a:cubicBezTo>
                  <a:cubicBezTo>
                    <a:pt x="1029" y="147"/>
                    <a:pt x="1030" y="134"/>
                    <a:pt x="1029" y="122"/>
                  </a:cubicBezTo>
                  <a:cubicBezTo>
                    <a:pt x="1027" y="110"/>
                    <a:pt x="1024" y="98"/>
                    <a:pt x="1019" y="86"/>
                  </a:cubicBezTo>
                  <a:cubicBezTo>
                    <a:pt x="1015" y="76"/>
                    <a:pt x="1009" y="66"/>
                    <a:pt x="1001" y="58"/>
                  </a:cubicBezTo>
                  <a:cubicBezTo>
                    <a:pt x="993" y="51"/>
                    <a:pt x="983" y="48"/>
                    <a:pt x="972" y="50"/>
                  </a:cubicBezTo>
                  <a:cubicBezTo>
                    <a:pt x="966" y="52"/>
                    <a:pt x="960" y="55"/>
                    <a:pt x="956" y="59"/>
                  </a:cubicBezTo>
                  <a:cubicBezTo>
                    <a:pt x="949" y="64"/>
                    <a:pt x="943" y="70"/>
                    <a:pt x="938" y="77"/>
                  </a:cubicBezTo>
                  <a:cubicBezTo>
                    <a:pt x="930" y="89"/>
                    <a:pt x="925" y="105"/>
                    <a:pt x="925" y="120"/>
                  </a:cubicBezTo>
                  <a:cubicBezTo>
                    <a:pt x="925" y="136"/>
                    <a:pt x="929" y="151"/>
                    <a:pt x="935" y="165"/>
                  </a:cubicBezTo>
                  <a:cubicBezTo>
                    <a:pt x="938" y="173"/>
                    <a:pt x="943" y="181"/>
                    <a:pt x="949" y="188"/>
                  </a:cubicBezTo>
                  <a:cubicBezTo>
                    <a:pt x="941" y="187"/>
                    <a:pt x="933" y="187"/>
                    <a:pt x="926" y="185"/>
                  </a:cubicBezTo>
                  <a:cubicBezTo>
                    <a:pt x="924" y="185"/>
                    <a:pt x="922" y="185"/>
                    <a:pt x="921" y="184"/>
                  </a:cubicBezTo>
                  <a:cubicBezTo>
                    <a:pt x="924" y="181"/>
                    <a:pt x="926" y="176"/>
                    <a:pt x="927" y="172"/>
                  </a:cubicBezTo>
                  <a:cubicBezTo>
                    <a:pt x="929" y="165"/>
                    <a:pt x="929" y="156"/>
                    <a:pt x="927" y="148"/>
                  </a:cubicBezTo>
                  <a:cubicBezTo>
                    <a:pt x="923" y="133"/>
                    <a:pt x="911" y="119"/>
                    <a:pt x="897" y="114"/>
                  </a:cubicBezTo>
                  <a:cubicBezTo>
                    <a:pt x="890" y="111"/>
                    <a:pt x="884" y="111"/>
                    <a:pt x="877" y="112"/>
                  </a:cubicBezTo>
                  <a:cubicBezTo>
                    <a:pt x="877" y="110"/>
                    <a:pt x="877" y="107"/>
                    <a:pt x="877" y="105"/>
                  </a:cubicBezTo>
                  <a:cubicBezTo>
                    <a:pt x="877" y="102"/>
                    <a:pt x="876" y="99"/>
                    <a:pt x="875" y="96"/>
                  </a:cubicBezTo>
                  <a:cubicBezTo>
                    <a:pt x="873" y="91"/>
                    <a:pt x="869" y="87"/>
                    <a:pt x="865" y="84"/>
                  </a:cubicBezTo>
                  <a:cubicBezTo>
                    <a:pt x="856" y="78"/>
                    <a:pt x="844" y="78"/>
                    <a:pt x="834" y="80"/>
                  </a:cubicBezTo>
                  <a:cubicBezTo>
                    <a:pt x="829" y="81"/>
                    <a:pt x="824" y="83"/>
                    <a:pt x="820" y="85"/>
                  </a:cubicBezTo>
                  <a:cubicBezTo>
                    <a:pt x="819" y="86"/>
                    <a:pt x="817" y="87"/>
                    <a:pt x="816" y="88"/>
                  </a:cubicBezTo>
                  <a:cubicBezTo>
                    <a:pt x="816" y="87"/>
                    <a:pt x="815" y="87"/>
                    <a:pt x="815" y="86"/>
                  </a:cubicBezTo>
                  <a:cubicBezTo>
                    <a:pt x="810" y="72"/>
                    <a:pt x="800" y="59"/>
                    <a:pt x="788" y="51"/>
                  </a:cubicBezTo>
                  <a:cubicBezTo>
                    <a:pt x="775" y="43"/>
                    <a:pt x="761" y="41"/>
                    <a:pt x="747" y="45"/>
                  </a:cubicBezTo>
                  <a:cubicBezTo>
                    <a:pt x="745" y="37"/>
                    <a:pt x="739" y="29"/>
                    <a:pt x="733" y="24"/>
                  </a:cubicBezTo>
                  <a:cubicBezTo>
                    <a:pt x="727" y="19"/>
                    <a:pt x="721" y="15"/>
                    <a:pt x="714" y="13"/>
                  </a:cubicBezTo>
                  <a:cubicBezTo>
                    <a:pt x="701" y="9"/>
                    <a:pt x="687" y="12"/>
                    <a:pt x="677" y="22"/>
                  </a:cubicBezTo>
                  <a:cubicBezTo>
                    <a:pt x="667" y="32"/>
                    <a:pt x="664" y="47"/>
                    <a:pt x="664" y="61"/>
                  </a:cubicBezTo>
                  <a:cubicBezTo>
                    <a:pt x="664" y="63"/>
                    <a:pt x="664" y="65"/>
                    <a:pt x="665" y="68"/>
                  </a:cubicBezTo>
                  <a:cubicBezTo>
                    <a:pt x="659" y="60"/>
                    <a:pt x="651" y="52"/>
                    <a:pt x="642" y="47"/>
                  </a:cubicBezTo>
                  <a:cubicBezTo>
                    <a:pt x="628" y="39"/>
                    <a:pt x="612" y="37"/>
                    <a:pt x="596" y="43"/>
                  </a:cubicBezTo>
                  <a:cubicBezTo>
                    <a:pt x="583" y="49"/>
                    <a:pt x="572" y="61"/>
                    <a:pt x="566" y="75"/>
                  </a:cubicBezTo>
                  <a:cubicBezTo>
                    <a:pt x="560" y="88"/>
                    <a:pt x="558" y="103"/>
                    <a:pt x="559" y="118"/>
                  </a:cubicBezTo>
                  <a:cubicBezTo>
                    <a:pt x="559" y="123"/>
                    <a:pt x="560" y="128"/>
                    <a:pt x="561" y="133"/>
                  </a:cubicBezTo>
                  <a:cubicBezTo>
                    <a:pt x="559" y="132"/>
                    <a:pt x="557" y="131"/>
                    <a:pt x="555" y="131"/>
                  </a:cubicBezTo>
                  <a:cubicBezTo>
                    <a:pt x="553" y="130"/>
                    <a:pt x="551" y="129"/>
                    <a:pt x="549" y="129"/>
                  </a:cubicBezTo>
                  <a:cubicBezTo>
                    <a:pt x="548" y="129"/>
                    <a:pt x="547" y="129"/>
                    <a:pt x="547" y="129"/>
                  </a:cubicBezTo>
                  <a:cubicBezTo>
                    <a:pt x="547" y="126"/>
                    <a:pt x="546" y="124"/>
                    <a:pt x="545" y="121"/>
                  </a:cubicBezTo>
                  <a:cubicBezTo>
                    <a:pt x="543" y="119"/>
                    <a:pt x="542" y="118"/>
                    <a:pt x="541" y="117"/>
                  </a:cubicBezTo>
                  <a:cubicBezTo>
                    <a:pt x="540" y="116"/>
                    <a:pt x="540" y="116"/>
                    <a:pt x="539" y="115"/>
                  </a:cubicBezTo>
                  <a:cubicBezTo>
                    <a:pt x="542" y="112"/>
                    <a:pt x="545" y="108"/>
                    <a:pt x="547" y="104"/>
                  </a:cubicBezTo>
                  <a:cubicBezTo>
                    <a:pt x="555" y="90"/>
                    <a:pt x="557" y="74"/>
                    <a:pt x="554" y="58"/>
                  </a:cubicBezTo>
                  <a:cubicBezTo>
                    <a:pt x="551" y="42"/>
                    <a:pt x="542" y="26"/>
                    <a:pt x="530" y="16"/>
                  </a:cubicBezTo>
                  <a:cubicBezTo>
                    <a:pt x="517" y="6"/>
                    <a:pt x="500" y="0"/>
                    <a:pt x="485" y="7"/>
                  </a:cubicBezTo>
                  <a:cubicBezTo>
                    <a:pt x="482" y="8"/>
                    <a:pt x="480" y="9"/>
                    <a:pt x="478" y="11"/>
                  </a:cubicBezTo>
                  <a:cubicBezTo>
                    <a:pt x="478" y="11"/>
                    <a:pt x="478" y="11"/>
                    <a:pt x="477" y="11"/>
                  </a:cubicBezTo>
                  <a:cubicBezTo>
                    <a:pt x="476" y="12"/>
                    <a:pt x="475" y="13"/>
                    <a:pt x="474" y="14"/>
                  </a:cubicBezTo>
                  <a:cubicBezTo>
                    <a:pt x="473" y="15"/>
                    <a:pt x="472" y="17"/>
                    <a:pt x="471" y="18"/>
                  </a:cubicBezTo>
                  <a:cubicBezTo>
                    <a:pt x="469" y="20"/>
                    <a:pt x="468" y="23"/>
                    <a:pt x="467" y="25"/>
                  </a:cubicBezTo>
                  <a:cubicBezTo>
                    <a:pt x="464" y="31"/>
                    <a:pt x="462" y="37"/>
                    <a:pt x="461" y="43"/>
                  </a:cubicBezTo>
                  <a:cubicBezTo>
                    <a:pt x="459" y="55"/>
                    <a:pt x="459" y="68"/>
                    <a:pt x="462" y="80"/>
                  </a:cubicBezTo>
                  <a:cubicBezTo>
                    <a:pt x="465" y="92"/>
                    <a:pt x="470" y="104"/>
                    <a:pt x="479" y="112"/>
                  </a:cubicBezTo>
                  <a:cubicBezTo>
                    <a:pt x="488" y="121"/>
                    <a:pt x="500" y="127"/>
                    <a:pt x="513" y="127"/>
                  </a:cubicBezTo>
                  <a:cubicBezTo>
                    <a:pt x="516" y="127"/>
                    <a:pt x="518" y="127"/>
                    <a:pt x="520" y="126"/>
                  </a:cubicBezTo>
                  <a:cubicBezTo>
                    <a:pt x="520" y="127"/>
                    <a:pt x="520" y="127"/>
                    <a:pt x="520" y="127"/>
                  </a:cubicBezTo>
                  <a:cubicBezTo>
                    <a:pt x="520" y="129"/>
                    <a:pt x="520" y="131"/>
                    <a:pt x="520" y="133"/>
                  </a:cubicBezTo>
                  <a:cubicBezTo>
                    <a:pt x="517" y="133"/>
                    <a:pt x="515" y="134"/>
                    <a:pt x="512" y="134"/>
                  </a:cubicBezTo>
                  <a:cubicBezTo>
                    <a:pt x="509" y="135"/>
                    <a:pt x="506" y="136"/>
                    <a:pt x="503" y="138"/>
                  </a:cubicBezTo>
                  <a:cubicBezTo>
                    <a:pt x="498" y="141"/>
                    <a:pt x="494" y="146"/>
                    <a:pt x="491" y="151"/>
                  </a:cubicBezTo>
                  <a:cubicBezTo>
                    <a:pt x="484" y="163"/>
                    <a:pt x="482" y="177"/>
                    <a:pt x="484" y="190"/>
                  </a:cubicBezTo>
                  <a:cubicBezTo>
                    <a:pt x="485" y="196"/>
                    <a:pt x="487" y="202"/>
                    <a:pt x="490" y="207"/>
                  </a:cubicBezTo>
                  <a:cubicBezTo>
                    <a:pt x="492" y="210"/>
                    <a:pt x="493" y="214"/>
                    <a:pt x="495" y="217"/>
                  </a:cubicBezTo>
                  <a:cubicBezTo>
                    <a:pt x="497" y="219"/>
                    <a:pt x="500" y="221"/>
                    <a:pt x="503" y="222"/>
                  </a:cubicBezTo>
                  <a:cubicBezTo>
                    <a:pt x="497" y="227"/>
                    <a:pt x="493" y="233"/>
                    <a:pt x="492" y="240"/>
                  </a:cubicBezTo>
                  <a:cubicBezTo>
                    <a:pt x="491" y="242"/>
                    <a:pt x="491" y="245"/>
                    <a:pt x="490" y="248"/>
                  </a:cubicBezTo>
                  <a:cubicBezTo>
                    <a:pt x="486" y="242"/>
                    <a:pt x="481" y="238"/>
                    <a:pt x="475" y="234"/>
                  </a:cubicBezTo>
                  <a:cubicBezTo>
                    <a:pt x="464" y="225"/>
                    <a:pt x="450" y="219"/>
                    <a:pt x="435" y="220"/>
                  </a:cubicBezTo>
                  <a:cubicBezTo>
                    <a:pt x="432" y="220"/>
                    <a:pt x="428" y="221"/>
                    <a:pt x="425" y="222"/>
                  </a:cubicBezTo>
                  <a:cubicBezTo>
                    <a:pt x="424" y="221"/>
                    <a:pt x="423" y="220"/>
                    <a:pt x="422" y="219"/>
                  </a:cubicBezTo>
                  <a:cubicBezTo>
                    <a:pt x="420" y="217"/>
                    <a:pt x="418" y="215"/>
                    <a:pt x="417" y="213"/>
                  </a:cubicBezTo>
                  <a:cubicBezTo>
                    <a:pt x="414" y="211"/>
                    <a:pt x="412" y="210"/>
                    <a:pt x="410" y="208"/>
                  </a:cubicBezTo>
                  <a:cubicBezTo>
                    <a:pt x="410" y="208"/>
                    <a:pt x="411" y="207"/>
                    <a:pt x="412" y="207"/>
                  </a:cubicBezTo>
                  <a:cubicBezTo>
                    <a:pt x="412" y="207"/>
                    <a:pt x="413" y="207"/>
                    <a:pt x="413" y="207"/>
                  </a:cubicBezTo>
                  <a:cubicBezTo>
                    <a:pt x="414" y="207"/>
                    <a:pt x="415" y="206"/>
                    <a:pt x="415" y="206"/>
                  </a:cubicBezTo>
                  <a:cubicBezTo>
                    <a:pt x="418" y="206"/>
                    <a:pt x="423" y="209"/>
                    <a:pt x="426" y="211"/>
                  </a:cubicBezTo>
                  <a:cubicBezTo>
                    <a:pt x="431" y="213"/>
                    <a:pt x="435" y="217"/>
                    <a:pt x="440" y="219"/>
                  </a:cubicBezTo>
                  <a:cubicBezTo>
                    <a:pt x="442" y="219"/>
                    <a:pt x="444" y="218"/>
                    <a:pt x="444" y="216"/>
                  </a:cubicBezTo>
                  <a:cubicBezTo>
                    <a:pt x="444" y="212"/>
                    <a:pt x="444" y="209"/>
                    <a:pt x="443" y="205"/>
                  </a:cubicBezTo>
                  <a:cubicBezTo>
                    <a:pt x="443" y="204"/>
                    <a:pt x="443" y="202"/>
                    <a:pt x="443" y="200"/>
                  </a:cubicBezTo>
                  <a:cubicBezTo>
                    <a:pt x="443" y="199"/>
                    <a:pt x="443" y="198"/>
                    <a:pt x="442" y="197"/>
                  </a:cubicBezTo>
                  <a:cubicBezTo>
                    <a:pt x="444" y="195"/>
                    <a:pt x="447" y="192"/>
                    <a:pt x="449" y="190"/>
                  </a:cubicBezTo>
                  <a:cubicBezTo>
                    <a:pt x="452" y="187"/>
                    <a:pt x="458" y="182"/>
                    <a:pt x="456" y="177"/>
                  </a:cubicBezTo>
                  <a:cubicBezTo>
                    <a:pt x="454" y="173"/>
                    <a:pt x="448" y="173"/>
                    <a:pt x="444" y="172"/>
                  </a:cubicBezTo>
                  <a:cubicBezTo>
                    <a:pt x="441" y="172"/>
                    <a:pt x="439" y="171"/>
                    <a:pt x="436" y="171"/>
                  </a:cubicBezTo>
                  <a:cubicBezTo>
                    <a:pt x="435" y="171"/>
                    <a:pt x="433" y="170"/>
                    <a:pt x="432" y="170"/>
                  </a:cubicBezTo>
                  <a:cubicBezTo>
                    <a:pt x="432" y="170"/>
                    <a:pt x="432" y="169"/>
                    <a:pt x="432" y="169"/>
                  </a:cubicBezTo>
                  <a:cubicBezTo>
                    <a:pt x="431" y="167"/>
                    <a:pt x="431" y="166"/>
                    <a:pt x="430" y="165"/>
                  </a:cubicBezTo>
                  <a:cubicBezTo>
                    <a:pt x="429" y="162"/>
                    <a:pt x="428" y="160"/>
                    <a:pt x="426" y="157"/>
                  </a:cubicBezTo>
                  <a:cubicBezTo>
                    <a:pt x="424" y="152"/>
                    <a:pt x="421" y="147"/>
                    <a:pt x="418" y="143"/>
                  </a:cubicBezTo>
                  <a:cubicBezTo>
                    <a:pt x="418" y="141"/>
                    <a:pt x="415" y="141"/>
                    <a:pt x="415" y="143"/>
                  </a:cubicBezTo>
                  <a:cubicBezTo>
                    <a:pt x="407" y="151"/>
                    <a:pt x="400" y="162"/>
                    <a:pt x="397" y="174"/>
                  </a:cubicBezTo>
                  <a:cubicBezTo>
                    <a:pt x="397" y="174"/>
                    <a:pt x="397" y="174"/>
                    <a:pt x="396" y="174"/>
                  </a:cubicBezTo>
                  <a:cubicBezTo>
                    <a:pt x="395" y="173"/>
                    <a:pt x="394" y="174"/>
                    <a:pt x="394" y="174"/>
                  </a:cubicBezTo>
                  <a:cubicBezTo>
                    <a:pt x="392" y="174"/>
                    <a:pt x="390" y="174"/>
                    <a:pt x="389" y="174"/>
                  </a:cubicBezTo>
                  <a:cubicBezTo>
                    <a:pt x="385" y="174"/>
                    <a:pt x="382" y="173"/>
                    <a:pt x="378" y="173"/>
                  </a:cubicBezTo>
                  <a:cubicBezTo>
                    <a:pt x="376" y="172"/>
                    <a:pt x="374" y="175"/>
                    <a:pt x="375" y="177"/>
                  </a:cubicBezTo>
                  <a:cubicBezTo>
                    <a:pt x="378" y="181"/>
                    <a:pt x="380" y="186"/>
                    <a:pt x="383" y="189"/>
                  </a:cubicBezTo>
                  <a:cubicBezTo>
                    <a:pt x="379" y="189"/>
                    <a:pt x="374" y="189"/>
                    <a:pt x="369" y="191"/>
                  </a:cubicBezTo>
                  <a:cubicBezTo>
                    <a:pt x="364" y="193"/>
                    <a:pt x="358" y="197"/>
                    <a:pt x="353" y="201"/>
                  </a:cubicBezTo>
                  <a:cubicBezTo>
                    <a:pt x="344" y="210"/>
                    <a:pt x="336" y="222"/>
                    <a:pt x="331" y="235"/>
                  </a:cubicBezTo>
                  <a:cubicBezTo>
                    <a:pt x="329" y="240"/>
                    <a:pt x="327" y="245"/>
                    <a:pt x="326" y="250"/>
                  </a:cubicBezTo>
                  <a:cubicBezTo>
                    <a:pt x="325" y="253"/>
                    <a:pt x="325" y="256"/>
                    <a:pt x="324" y="259"/>
                  </a:cubicBezTo>
                  <a:cubicBezTo>
                    <a:pt x="324" y="259"/>
                    <a:pt x="323" y="259"/>
                    <a:pt x="323" y="259"/>
                  </a:cubicBezTo>
                  <a:cubicBezTo>
                    <a:pt x="322" y="259"/>
                    <a:pt x="320" y="259"/>
                    <a:pt x="319" y="259"/>
                  </a:cubicBezTo>
                  <a:cubicBezTo>
                    <a:pt x="321" y="253"/>
                    <a:pt x="323" y="246"/>
                    <a:pt x="325" y="239"/>
                  </a:cubicBezTo>
                  <a:cubicBezTo>
                    <a:pt x="335" y="205"/>
                    <a:pt x="344" y="170"/>
                    <a:pt x="348" y="135"/>
                  </a:cubicBezTo>
                  <a:cubicBezTo>
                    <a:pt x="348" y="131"/>
                    <a:pt x="345" y="130"/>
                    <a:pt x="342" y="130"/>
                  </a:cubicBezTo>
                  <a:cubicBezTo>
                    <a:pt x="342" y="130"/>
                    <a:pt x="341" y="130"/>
                    <a:pt x="341" y="130"/>
                  </a:cubicBezTo>
                  <a:cubicBezTo>
                    <a:pt x="324" y="137"/>
                    <a:pt x="309" y="147"/>
                    <a:pt x="294" y="157"/>
                  </a:cubicBezTo>
                  <a:cubicBezTo>
                    <a:pt x="279" y="166"/>
                    <a:pt x="264" y="176"/>
                    <a:pt x="250" y="187"/>
                  </a:cubicBezTo>
                  <a:cubicBezTo>
                    <a:pt x="222" y="208"/>
                    <a:pt x="195" y="232"/>
                    <a:pt x="171" y="259"/>
                  </a:cubicBezTo>
                  <a:cubicBezTo>
                    <a:pt x="149" y="285"/>
                    <a:pt x="129" y="312"/>
                    <a:pt x="111" y="340"/>
                  </a:cubicBezTo>
                  <a:cubicBezTo>
                    <a:pt x="91" y="369"/>
                    <a:pt x="73" y="399"/>
                    <a:pt x="56" y="431"/>
                  </a:cubicBezTo>
                  <a:cubicBezTo>
                    <a:pt x="41" y="463"/>
                    <a:pt x="26" y="496"/>
                    <a:pt x="16" y="531"/>
                  </a:cubicBezTo>
                  <a:cubicBezTo>
                    <a:pt x="7" y="562"/>
                    <a:pt x="0" y="596"/>
                    <a:pt x="0" y="629"/>
                  </a:cubicBezTo>
                  <a:cubicBezTo>
                    <a:pt x="1" y="685"/>
                    <a:pt x="24" y="747"/>
                    <a:pt x="73" y="775"/>
                  </a:cubicBezTo>
                  <a:cubicBezTo>
                    <a:pt x="80" y="779"/>
                    <a:pt x="88" y="782"/>
                    <a:pt x="97" y="784"/>
                  </a:cubicBezTo>
                  <a:cubicBezTo>
                    <a:pt x="102" y="789"/>
                    <a:pt x="108" y="793"/>
                    <a:pt x="116" y="795"/>
                  </a:cubicBezTo>
                  <a:cubicBezTo>
                    <a:pt x="121" y="796"/>
                    <a:pt x="126" y="796"/>
                    <a:pt x="131" y="795"/>
                  </a:cubicBezTo>
                  <a:cubicBezTo>
                    <a:pt x="131" y="795"/>
                    <a:pt x="131" y="795"/>
                    <a:pt x="131" y="795"/>
                  </a:cubicBezTo>
                  <a:cubicBezTo>
                    <a:pt x="131" y="795"/>
                    <a:pt x="131" y="795"/>
                    <a:pt x="132" y="795"/>
                  </a:cubicBezTo>
                  <a:cubicBezTo>
                    <a:pt x="123" y="797"/>
                    <a:pt x="115" y="798"/>
                    <a:pt x="106" y="799"/>
                  </a:cubicBezTo>
                  <a:cubicBezTo>
                    <a:pt x="99" y="799"/>
                    <a:pt x="92" y="800"/>
                    <a:pt x="84" y="801"/>
                  </a:cubicBezTo>
                  <a:cubicBezTo>
                    <a:pt x="77" y="802"/>
                    <a:pt x="69" y="803"/>
                    <a:pt x="62" y="803"/>
                  </a:cubicBezTo>
                  <a:cubicBezTo>
                    <a:pt x="61" y="803"/>
                    <a:pt x="60" y="803"/>
                    <a:pt x="58" y="804"/>
                  </a:cubicBezTo>
                  <a:cubicBezTo>
                    <a:pt x="58" y="803"/>
                    <a:pt x="57" y="803"/>
                    <a:pt x="57" y="803"/>
                  </a:cubicBezTo>
                  <a:cubicBezTo>
                    <a:pt x="54" y="802"/>
                    <a:pt x="51" y="802"/>
                    <a:pt x="48" y="803"/>
                  </a:cubicBezTo>
                  <a:cubicBezTo>
                    <a:pt x="47" y="803"/>
                    <a:pt x="46" y="802"/>
                    <a:pt x="45" y="802"/>
                  </a:cubicBezTo>
                  <a:cubicBezTo>
                    <a:pt x="43" y="802"/>
                    <a:pt x="42" y="805"/>
                    <a:pt x="43" y="806"/>
                  </a:cubicBezTo>
                  <a:cubicBezTo>
                    <a:pt x="39" y="811"/>
                    <a:pt x="38" y="817"/>
                    <a:pt x="37" y="823"/>
                  </a:cubicBezTo>
                  <a:cubicBezTo>
                    <a:pt x="35" y="839"/>
                    <a:pt x="40" y="856"/>
                    <a:pt x="44" y="872"/>
                  </a:cubicBezTo>
                  <a:cubicBezTo>
                    <a:pt x="49" y="893"/>
                    <a:pt x="57" y="915"/>
                    <a:pt x="66" y="935"/>
                  </a:cubicBezTo>
                  <a:cubicBezTo>
                    <a:pt x="70" y="944"/>
                    <a:pt x="74" y="953"/>
                    <a:pt x="80" y="961"/>
                  </a:cubicBezTo>
                  <a:cubicBezTo>
                    <a:pt x="84" y="968"/>
                    <a:pt x="90" y="975"/>
                    <a:pt x="96" y="979"/>
                  </a:cubicBezTo>
                  <a:cubicBezTo>
                    <a:pt x="102" y="983"/>
                    <a:pt x="109" y="983"/>
                    <a:pt x="115" y="980"/>
                  </a:cubicBezTo>
                  <a:cubicBezTo>
                    <a:pt x="117" y="979"/>
                    <a:pt x="119" y="978"/>
                    <a:pt x="121" y="976"/>
                  </a:cubicBezTo>
                  <a:cubicBezTo>
                    <a:pt x="121" y="976"/>
                    <a:pt x="121" y="976"/>
                    <a:pt x="121" y="976"/>
                  </a:cubicBezTo>
                  <a:cubicBezTo>
                    <a:pt x="125" y="975"/>
                    <a:pt x="129" y="973"/>
                    <a:pt x="132" y="971"/>
                  </a:cubicBezTo>
                  <a:cubicBezTo>
                    <a:pt x="140" y="967"/>
                    <a:pt x="147" y="962"/>
                    <a:pt x="154" y="957"/>
                  </a:cubicBezTo>
                  <a:cubicBezTo>
                    <a:pt x="160" y="952"/>
                    <a:pt x="166" y="948"/>
                    <a:pt x="172" y="943"/>
                  </a:cubicBezTo>
                  <a:cubicBezTo>
                    <a:pt x="165" y="959"/>
                    <a:pt x="159" y="976"/>
                    <a:pt x="153" y="992"/>
                  </a:cubicBezTo>
                  <a:cubicBezTo>
                    <a:pt x="147" y="1015"/>
                    <a:pt x="140" y="1038"/>
                    <a:pt x="136" y="1061"/>
                  </a:cubicBezTo>
                  <a:cubicBezTo>
                    <a:pt x="131" y="1084"/>
                    <a:pt x="126" y="1108"/>
                    <a:pt x="124" y="1132"/>
                  </a:cubicBezTo>
                  <a:cubicBezTo>
                    <a:pt x="124" y="1133"/>
                    <a:pt x="124" y="1134"/>
                    <a:pt x="124" y="1134"/>
                  </a:cubicBezTo>
                  <a:cubicBezTo>
                    <a:pt x="123" y="1141"/>
                    <a:pt x="122" y="1147"/>
                    <a:pt x="121" y="1154"/>
                  </a:cubicBezTo>
                  <a:cubicBezTo>
                    <a:pt x="118" y="1175"/>
                    <a:pt x="117" y="1197"/>
                    <a:pt x="120" y="1218"/>
                  </a:cubicBezTo>
                  <a:cubicBezTo>
                    <a:pt x="122" y="1236"/>
                    <a:pt x="128" y="1254"/>
                    <a:pt x="136" y="1270"/>
                  </a:cubicBezTo>
                  <a:cubicBezTo>
                    <a:pt x="143" y="1285"/>
                    <a:pt x="151" y="1298"/>
                    <a:pt x="162" y="1310"/>
                  </a:cubicBezTo>
                  <a:cubicBezTo>
                    <a:pt x="182" y="1334"/>
                    <a:pt x="209" y="1352"/>
                    <a:pt x="238" y="1363"/>
                  </a:cubicBezTo>
                  <a:cubicBezTo>
                    <a:pt x="254" y="1368"/>
                    <a:pt x="271" y="1372"/>
                    <a:pt x="288" y="1374"/>
                  </a:cubicBezTo>
                  <a:cubicBezTo>
                    <a:pt x="298" y="1375"/>
                    <a:pt x="308" y="1376"/>
                    <a:pt x="318" y="1377"/>
                  </a:cubicBezTo>
                  <a:cubicBezTo>
                    <a:pt x="323" y="1377"/>
                    <a:pt x="328" y="1378"/>
                    <a:pt x="333" y="1378"/>
                  </a:cubicBezTo>
                  <a:cubicBezTo>
                    <a:pt x="336" y="1378"/>
                    <a:pt x="338" y="1378"/>
                    <a:pt x="341" y="1378"/>
                  </a:cubicBezTo>
                  <a:cubicBezTo>
                    <a:pt x="343" y="1378"/>
                    <a:pt x="344" y="1378"/>
                    <a:pt x="345" y="1378"/>
                  </a:cubicBezTo>
                  <a:cubicBezTo>
                    <a:pt x="346" y="1378"/>
                    <a:pt x="346" y="1378"/>
                    <a:pt x="347" y="1377"/>
                  </a:cubicBezTo>
                  <a:cubicBezTo>
                    <a:pt x="346" y="1384"/>
                    <a:pt x="346" y="1391"/>
                    <a:pt x="346" y="1398"/>
                  </a:cubicBezTo>
                  <a:cubicBezTo>
                    <a:pt x="346" y="1402"/>
                    <a:pt x="349" y="1404"/>
                    <a:pt x="352" y="1403"/>
                  </a:cubicBezTo>
                  <a:cubicBezTo>
                    <a:pt x="371" y="1396"/>
                    <a:pt x="390" y="1388"/>
                    <a:pt x="408" y="1381"/>
                  </a:cubicBezTo>
                  <a:cubicBezTo>
                    <a:pt x="412" y="1390"/>
                    <a:pt x="417" y="1399"/>
                    <a:pt x="422" y="1408"/>
                  </a:cubicBezTo>
                  <a:cubicBezTo>
                    <a:pt x="429" y="1418"/>
                    <a:pt x="436" y="1427"/>
                    <a:pt x="443" y="1437"/>
                  </a:cubicBezTo>
                  <a:cubicBezTo>
                    <a:pt x="458" y="1455"/>
                    <a:pt x="475" y="1473"/>
                    <a:pt x="493" y="1488"/>
                  </a:cubicBezTo>
                  <a:cubicBezTo>
                    <a:pt x="512" y="1504"/>
                    <a:pt x="531" y="1517"/>
                    <a:pt x="552" y="1527"/>
                  </a:cubicBezTo>
                  <a:cubicBezTo>
                    <a:pt x="574" y="1537"/>
                    <a:pt x="598" y="1543"/>
                    <a:pt x="622" y="1546"/>
                  </a:cubicBezTo>
                  <a:cubicBezTo>
                    <a:pt x="673" y="1551"/>
                    <a:pt x="726" y="1543"/>
                    <a:pt x="774" y="1524"/>
                  </a:cubicBezTo>
                  <a:cubicBezTo>
                    <a:pt x="781" y="1522"/>
                    <a:pt x="788" y="1519"/>
                    <a:pt x="794" y="1516"/>
                  </a:cubicBezTo>
                  <a:cubicBezTo>
                    <a:pt x="801" y="1513"/>
                    <a:pt x="807" y="1511"/>
                    <a:pt x="813" y="1508"/>
                  </a:cubicBezTo>
                  <a:cubicBezTo>
                    <a:pt x="826" y="1502"/>
                    <a:pt x="838" y="1496"/>
                    <a:pt x="848" y="1485"/>
                  </a:cubicBezTo>
                  <a:cubicBezTo>
                    <a:pt x="848" y="1484"/>
                    <a:pt x="848" y="1484"/>
                    <a:pt x="848" y="1484"/>
                  </a:cubicBezTo>
                  <a:cubicBezTo>
                    <a:pt x="851" y="1489"/>
                    <a:pt x="854" y="1494"/>
                    <a:pt x="857" y="1500"/>
                  </a:cubicBezTo>
                  <a:cubicBezTo>
                    <a:pt x="858" y="1503"/>
                    <a:pt x="862" y="1503"/>
                    <a:pt x="864" y="1500"/>
                  </a:cubicBezTo>
                  <a:cubicBezTo>
                    <a:pt x="875" y="1482"/>
                    <a:pt x="887" y="1464"/>
                    <a:pt x="899" y="1446"/>
                  </a:cubicBezTo>
                  <a:cubicBezTo>
                    <a:pt x="904" y="1438"/>
                    <a:pt x="910" y="1429"/>
                    <a:pt x="915" y="1421"/>
                  </a:cubicBezTo>
                  <a:cubicBezTo>
                    <a:pt x="918" y="1417"/>
                    <a:pt x="920" y="1414"/>
                    <a:pt x="923" y="1410"/>
                  </a:cubicBezTo>
                  <a:cubicBezTo>
                    <a:pt x="924" y="1409"/>
                    <a:pt x="926" y="1407"/>
                    <a:pt x="927" y="1405"/>
                  </a:cubicBezTo>
                  <a:cubicBezTo>
                    <a:pt x="929" y="1404"/>
                    <a:pt x="931" y="1402"/>
                    <a:pt x="932" y="1399"/>
                  </a:cubicBezTo>
                  <a:cubicBezTo>
                    <a:pt x="933" y="1399"/>
                    <a:pt x="933" y="1398"/>
                    <a:pt x="933" y="1398"/>
                  </a:cubicBezTo>
                  <a:cubicBezTo>
                    <a:pt x="933" y="1398"/>
                    <a:pt x="933" y="1398"/>
                    <a:pt x="933" y="1398"/>
                  </a:cubicBezTo>
                  <a:cubicBezTo>
                    <a:pt x="936" y="1406"/>
                    <a:pt x="941" y="1413"/>
                    <a:pt x="945" y="1420"/>
                  </a:cubicBezTo>
                  <a:cubicBezTo>
                    <a:pt x="948" y="1424"/>
                    <a:pt x="950" y="1428"/>
                    <a:pt x="953" y="1432"/>
                  </a:cubicBezTo>
                  <a:cubicBezTo>
                    <a:pt x="954" y="1434"/>
                    <a:pt x="955" y="1436"/>
                    <a:pt x="956" y="1438"/>
                  </a:cubicBezTo>
                  <a:cubicBezTo>
                    <a:pt x="957" y="1439"/>
                    <a:pt x="957" y="1440"/>
                    <a:pt x="958" y="1441"/>
                  </a:cubicBezTo>
                  <a:cubicBezTo>
                    <a:pt x="957" y="1445"/>
                    <a:pt x="956" y="1449"/>
                    <a:pt x="955" y="1453"/>
                  </a:cubicBezTo>
                  <a:cubicBezTo>
                    <a:pt x="954" y="1458"/>
                    <a:pt x="952" y="1463"/>
                    <a:pt x="951" y="1468"/>
                  </a:cubicBezTo>
                  <a:cubicBezTo>
                    <a:pt x="949" y="1472"/>
                    <a:pt x="947" y="1477"/>
                    <a:pt x="946" y="1482"/>
                  </a:cubicBezTo>
                  <a:cubicBezTo>
                    <a:pt x="945" y="1485"/>
                    <a:pt x="946" y="1487"/>
                    <a:pt x="949" y="1489"/>
                  </a:cubicBezTo>
                  <a:cubicBezTo>
                    <a:pt x="952" y="1491"/>
                    <a:pt x="955" y="1489"/>
                    <a:pt x="957" y="1487"/>
                  </a:cubicBezTo>
                  <a:cubicBezTo>
                    <a:pt x="958" y="1487"/>
                    <a:pt x="960" y="1488"/>
                    <a:pt x="961" y="1487"/>
                  </a:cubicBezTo>
                  <a:cubicBezTo>
                    <a:pt x="973" y="1483"/>
                    <a:pt x="985" y="1477"/>
                    <a:pt x="996" y="1471"/>
                  </a:cubicBezTo>
                  <a:cubicBezTo>
                    <a:pt x="1008" y="1465"/>
                    <a:pt x="1018" y="1458"/>
                    <a:pt x="1029" y="1452"/>
                  </a:cubicBezTo>
                  <a:cubicBezTo>
                    <a:pt x="1051" y="1440"/>
                    <a:pt x="1071" y="1426"/>
                    <a:pt x="1091" y="1410"/>
                  </a:cubicBezTo>
                  <a:cubicBezTo>
                    <a:pt x="1127" y="1382"/>
                    <a:pt x="1160" y="1351"/>
                    <a:pt x="1188" y="1315"/>
                  </a:cubicBezTo>
                  <a:cubicBezTo>
                    <a:pt x="1203" y="1296"/>
                    <a:pt x="1215" y="1277"/>
                    <a:pt x="1226" y="1256"/>
                  </a:cubicBezTo>
                  <a:cubicBezTo>
                    <a:pt x="1236" y="1235"/>
                    <a:pt x="1244" y="1212"/>
                    <a:pt x="1250" y="1190"/>
                  </a:cubicBezTo>
                  <a:cubicBezTo>
                    <a:pt x="1252" y="1178"/>
                    <a:pt x="1255" y="1167"/>
                    <a:pt x="1256" y="1156"/>
                  </a:cubicBezTo>
                  <a:cubicBezTo>
                    <a:pt x="1257" y="1144"/>
                    <a:pt x="1259" y="1132"/>
                    <a:pt x="1259" y="1119"/>
                  </a:cubicBezTo>
                  <a:cubicBezTo>
                    <a:pt x="1259" y="1108"/>
                    <a:pt x="1258" y="1096"/>
                    <a:pt x="1256" y="1084"/>
                  </a:cubicBezTo>
                  <a:cubicBezTo>
                    <a:pt x="1255" y="1079"/>
                    <a:pt x="1255" y="1073"/>
                    <a:pt x="1254" y="1067"/>
                  </a:cubicBezTo>
                  <a:cubicBezTo>
                    <a:pt x="1253" y="1065"/>
                    <a:pt x="1252" y="1062"/>
                    <a:pt x="1252" y="1060"/>
                  </a:cubicBezTo>
                  <a:cubicBezTo>
                    <a:pt x="1252" y="1059"/>
                    <a:pt x="1251" y="1059"/>
                    <a:pt x="1251" y="1059"/>
                  </a:cubicBezTo>
                  <a:cubicBezTo>
                    <a:pt x="1251" y="1057"/>
                    <a:pt x="1251" y="1057"/>
                    <a:pt x="1251" y="1056"/>
                  </a:cubicBezTo>
                  <a:cubicBezTo>
                    <a:pt x="1252" y="1056"/>
                    <a:pt x="1253" y="1055"/>
                    <a:pt x="1254" y="1055"/>
                  </a:cubicBezTo>
                  <a:cubicBezTo>
                    <a:pt x="1256" y="1055"/>
                    <a:pt x="1260" y="1054"/>
                    <a:pt x="1263" y="1053"/>
                  </a:cubicBezTo>
                  <a:cubicBezTo>
                    <a:pt x="1270" y="1051"/>
                    <a:pt x="1277" y="1048"/>
                    <a:pt x="1282" y="1044"/>
                  </a:cubicBezTo>
                  <a:cubicBezTo>
                    <a:pt x="1286" y="1042"/>
                    <a:pt x="1289" y="1040"/>
                    <a:pt x="1293" y="1038"/>
                  </a:cubicBezTo>
                  <a:cubicBezTo>
                    <a:pt x="1292" y="1038"/>
                    <a:pt x="1292" y="1039"/>
                    <a:pt x="1292" y="1039"/>
                  </a:cubicBezTo>
                  <a:cubicBezTo>
                    <a:pt x="1291" y="1046"/>
                    <a:pt x="1295" y="1053"/>
                    <a:pt x="1301" y="1055"/>
                  </a:cubicBezTo>
                  <a:cubicBezTo>
                    <a:pt x="1305" y="1057"/>
                    <a:pt x="1309" y="1058"/>
                    <a:pt x="1313" y="1056"/>
                  </a:cubicBezTo>
                  <a:cubicBezTo>
                    <a:pt x="1317" y="1054"/>
                    <a:pt x="1319" y="1051"/>
                    <a:pt x="1321" y="1048"/>
                  </a:cubicBezTo>
                  <a:cubicBezTo>
                    <a:pt x="1325" y="1042"/>
                    <a:pt x="1326" y="1034"/>
                    <a:pt x="1323" y="1028"/>
                  </a:cubicBezTo>
                  <a:cubicBezTo>
                    <a:pt x="1321" y="1024"/>
                    <a:pt x="1318" y="1023"/>
                    <a:pt x="1314" y="1023"/>
                  </a:cubicBezTo>
                  <a:cubicBezTo>
                    <a:pt x="1312" y="1023"/>
                    <a:pt x="1310" y="1023"/>
                    <a:pt x="1308" y="1024"/>
                  </a:cubicBezTo>
                  <a:cubicBezTo>
                    <a:pt x="1308" y="1024"/>
                    <a:pt x="1307" y="1025"/>
                    <a:pt x="1307" y="1025"/>
                  </a:cubicBezTo>
                  <a:cubicBezTo>
                    <a:pt x="1310" y="1022"/>
                    <a:pt x="1313" y="1018"/>
                    <a:pt x="1316" y="1015"/>
                  </a:cubicBezTo>
                  <a:cubicBezTo>
                    <a:pt x="1326" y="1001"/>
                    <a:pt x="1331" y="981"/>
                    <a:pt x="1326" y="964"/>
                  </a:cubicBezTo>
                  <a:cubicBezTo>
                    <a:pt x="1344" y="979"/>
                    <a:pt x="1360" y="998"/>
                    <a:pt x="1371" y="1019"/>
                  </a:cubicBezTo>
                  <a:cubicBezTo>
                    <a:pt x="1376" y="1028"/>
                    <a:pt x="1379" y="1038"/>
                    <a:pt x="1383" y="1047"/>
                  </a:cubicBezTo>
                  <a:cubicBezTo>
                    <a:pt x="1387" y="1056"/>
                    <a:pt x="1390" y="1065"/>
                    <a:pt x="1395" y="1074"/>
                  </a:cubicBezTo>
                  <a:cubicBezTo>
                    <a:pt x="1397" y="1078"/>
                    <a:pt x="1400" y="1081"/>
                    <a:pt x="1403" y="1083"/>
                  </a:cubicBezTo>
                  <a:cubicBezTo>
                    <a:pt x="1408" y="1087"/>
                    <a:pt x="1415" y="1086"/>
                    <a:pt x="1421" y="1084"/>
                  </a:cubicBezTo>
                  <a:cubicBezTo>
                    <a:pt x="1428" y="1082"/>
                    <a:pt x="1435" y="1077"/>
                    <a:pt x="1441" y="1072"/>
                  </a:cubicBezTo>
                  <a:cubicBezTo>
                    <a:pt x="1447" y="1067"/>
                    <a:pt x="1453" y="1061"/>
                    <a:pt x="1459" y="105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iṩḻïḋé">
              <a:extLst>
                <a:ext uri="{FF2B5EF4-FFF2-40B4-BE49-F238E27FC236}">
                  <a16:creationId xmlns:a16="http://schemas.microsoft.com/office/drawing/2014/main" id="{23F986E7-0C30-40F5-B183-7AC754696149}"/>
                </a:ext>
              </a:extLst>
            </p:cNvPr>
            <p:cNvSpPr/>
            <p:nvPr/>
          </p:nvSpPr>
          <p:spPr bwMode="auto">
            <a:xfrm>
              <a:off x="4744704" y="3077759"/>
              <a:ext cx="85844" cy="68083"/>
            </a:xfrm>
            <a:custGeom>
              <a:avLst/>
              <a:gdLst>
                <a:gd name="T0" fmla="*/ 18 w 28"/>
                <a:gd name="T1" fmla="*/ 9 h 22"/>
                <a:gd name="T2" fmla="*/ 3 w 28"/>
                <a:gd name="T3" fmla="*/ 1 h 22"/>
                <a:gd name="T4" fmla="*/ 2 w 28"/>
                <a:gd name="T5" fmla="*/ 4 h 22"/>
                <a:gd name="T6" fmla="*/ 15 w 28"/>
                <a:gd name="T7" fmla="*/ 12 h 22"/>
                <a:gd name="T8" fmla="*/ 20 w 28"/>
                <a:gd name="T9" fmla="*/ 18 h 22"/>
                <a:gd name="T10" fmla="*/ 26 w 28"/>
                <a:gd name="T11" fmla="*/ 22 h 22"/>
                <a:gd name="T12" fmla="*/ 28 w 28"/>
                <a:gd name="T13" fmla="*/ 21 h 22"/>
                <a:gd name="T14" fmla="*/ 24 w 28"/>
                <a:gd name="T15" fmla="*/ 15 h 22"/>
                <a:gd name="T16" fmla="*/ 18 w 28"/>
                <a:gd name="T1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2">
                  <a:moveTo>
                    <a:pt x="18" y="9"/>
                  </a:moveTo>
                  <a:cubicBezTo>
                    <a:pt x="13" y="5"/>
                    <a:pt x="8" y="2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ubicBezTo>
                    <a:pt x="7" y="6"/>
                    <a:pt x="11" y="9"/>
                    <a:pt x="15" y="12"/>
                  </a:cubicBezTo>
                  <a:cubicBezTo>
                    <a:pt x="17" y="14"/>
                    <a:pt x="18" y="16"/>
                    <a:pt x="20" y="18"/>
                  </a:cubicBezTo>
                  <a:cubicBezTo>
                    <a:pt x="22" y="19"/>
                    <a:pt x="24" y="22"/>
                    <a:pt x="26" y="22"/>
                  </a:cubicBezTo>
                  <a:cubicBezTo>
                    <a:pt x="27" y="22"/>
                    <a:pt x="28" y="22"/>
                    <a:pt x="28" y="21"/>
                  </a:cubicBezTo>
                  <a:cubicBezTo>
                    <a:pt x="28" y="19"/>
                    <a:pt x="26" y="16"/>
                    <a:pt x="24" y="15"/>
                  </a:cubicBezTo>
                  <a:cubicBezTo>
                    <a:pt x="22" y="12"/>
                    <a:pt x="20" y="10"/>
                    <a:pt x="18" y="9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iş1ídé">
              <a:extLst>
                <a:ext uri="{FF2B5EF4-FFF2-40B4-BE49-F238E27FC236}">
                  <a16:creationId xmlns:a16="http://schemas.microsoft.com/office/drawing/2014/main" id="{34E9DF51-5944-4760-BD39-5280EA394996}"/>
                </a:ext>
              </a:extLst>
            </p:cNvPr>
            <p:cNvSpPr/>
            <p:nvPr/>
          </p:nvSpPr>
          <p:spPr bwMode="auto">
            <a:xfrm>
              <a:off x="6658424" y="2769906"/>
              <a:ext cx="11840" cy="25162"/>
            </a:xfrm>
            <a:custGeom>
              <a:avLst/>
              <a:gdLst>
                <a:gd name="T0" fmla="*/ 0 w 4"/>
                <a:gd name="T1" fmla="*/ 2 h 8"/>
                <a:gd name="T2" fmla="*/ 2 w 4"/>
                <a:gd name="T3" fmla="*/ 7 h 8"/>
                <a:gd name="T4" fmla="*/ 3 w 4"/>
                <a:gd name="T5" fmla="*/ 7 h 8"/>
                <a:gd name="T6" fmla="*/ 4 w 4"/>
                <a:gd name="T7" fmla="*/ 2 h 8"/>
                <a:gd name="T8" fmla="*/ 0 w 4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0" y="2"/>
                  </a:moveTo>
                  <a:cubicBezTo>
                    <a:pt x="0" y="4"/>
                    <a:pt x="0" y="6"/>
                    <a:pt x="2" y="7"/>
                  </a:cubicBezTo>
                  <a:cubicBezTo>
                    <a:pt x="2" y="8"/>
                    <a:pt x="3" y="8"/>
                    <a:pt x="3" y="7"/>
                  </a:cubicBezTo>
                  <a:cubicBezTo>
                    <a:pt x="4" y="6"/>
                    <a:pt x="4" y="4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îŝḷíďe">
              <a:extLst>
                <a:ext uri="{FF2B5EF4-FFF2-40B4-BE49-F238E27FC236}">
                  <a16:creationId xmlns:a16="http://schemas.microsoft.com/office/drawing/2014/main" id="{56721EB3-0FCB-4E3C-B01B-DBA695A73491}"/>
                </a:ext>
              </a:extLst>
            </p:cNvPr>
            <p:cNvSpPr/>
            <p:nvPr/>
          </p:nvSpPr>
          <p:spPr bwMode="auto">
            <a:xfrm>
              <a:off x="6599222" y="2629300"/>
              <a:ext cx="74003" cy="134686"/>
            </a:xfrm>
            <a:custGeom>
              <a:avLst/>
              <a:gdLst>
                <a:gd name="T0" fmla="*/ 18 w 24"/>
                <a:gd name="T1" fmla="*/ 37 h 44"/>
                <a:gd name="T2" fmla="*/ 21 w 24"/>
                <a:gd name="T3" fmla="*/ 43 h 44"/>
                <a:gd name="T4" fmla="*/ 23 w 24"/>
                <a:gd name="T5" fmla="*/ 43 h 44"/>
                <a:gd name="T6" fmla="*/ 24 w 24"/>
                <a:gd name="T7" fmla="*/ 37 h 44"/>
                <a:gd name="T8" fmla="*/ 23 w 24"/>
                <a:gd name="T9" fmla="*/ 30 h 44"/>
                <a:gd name="T10" fmla="*/ 20 w 24"/>
                <a:gd name="T11" fmla="*/ 18 h 44"/>
                <a:gd name="T12" fmla="*/ 14 w 24"/>
                <a:gd name="T13" fmla="*/ 7 h 44"/>
                <a:gd name="T14" fmla="*/ 3 w 24"/>
                <a:gd name="T15" fmla="*/ 0 h 44"/>
                <a:gd name="T16" fmla="*/ 2 w 24"/>
                <a:gd name="T17" fmla="*/ 3 h 44"/>
                <a:gd name="T18" fmla="*/ 16 w 24"/>
                <a:gd name="T19" fmla="*/ 20 h 44"/>
                <a:gd name="T20" fmla="*/ 18 w 24"/>
                <a:gd name="T21" fmla="*/ 32 h 44"/>
                <a:gd name="T22" fmla="*/ 18 w 24"/>
                <a:gd name="T23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44">
                  <a:moveTo>
                    <a:pt x="18" y="37"/>
                  </a:moveTo>
                  <a:cubicBezTo>
                    <a:pt x="19" y="39"/>
                    <a:pt x="19" y="42"/>
                    <a:pt x="21" y="43"/>
                  </a:cubicBezTo>
                  <a:cubicBezTo>
                    <a:pt x="21" y="44"/>
                    <a:pt x="23" y="44"/>
                    <a:pt x="23" y="43"/>
                  </a:cubicBezTo>
                  <a:cubicBezTo>
                    <a:pt x="24" y="41"/>
                    <a:pt x="24" y="39"/>
                    <a:pt x="24" y="37"/>
                  </a:cubicBezTo>
                  <a:cubicBezTo>
                    <a:pt x="24" y="35"/>
                    <a:pt x="23" y="32"/>
                    <a:pt x="23" y="30"/>
                  </a:cubicBezTo>
                  <a:cubicBezTo>
                    <a:pt x="22" y="26"/>
                    <a:pt x="21" y="22"/>
                    <a:pt x="20" y="18"/>
                  </a:cubicBezTo>
                  <a:cubicBezTo>
                    <a:pt x="19" y="14"/>
                    <a:pt x="17" y="10"/>
                    <a:pt x="14" y="7"/>
                  </a:cubicBezTo>
                  <a:cubicBezTo>
                    <a:pt x="11" y="4"/>
                    <a:pt x="7" y="2"/>
                    <a:pt x="3" y="0"/>
                  </a:cubicBezTo>
                  <a:cubicBezTo>
                    <a:pt x="2" y="0"/>
                    <a:pt x="0" y="2"/>
                    <a:pt x="2" y="3"/>
                  </a:cubicBezTo>
                  <a:cubicBezTo>
                    <a:pt x="9" y="7"/>
                    <a:pt x="14" y="13"/>
                    <a:pt x="16" y="20"/>
                  </a:cubicBezTo>
                  <a:cubicBezTo>
                    <a:pt x="17" y="24"/>
                    <a:pt x="17" y="28"/>
                    <a:pt x="18" y="32"/>
                  </a:cubicBezTo>
                  <a:cubicBezTo>
                    <a:pt x="18" y="34"/>
                    <a:pt x="18" y="36"/>
                    <a:pt x="18" y="3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íS1íďê">
              <a:extLst>
                <a:ext uri="{FF2B5EF4-FFF2-40B4-BE49-F238E27FC236}">
                  <a16:creationId xmlns:a16="http://schemas.microsoft.com/office/drawing/2014/main" id="{C952344B-8C65-4F25-8A6A-C45324B40C01}"/>
                </a:ext>
              </a:extLst>
            </p:cNvPr>
            <p:cNvSpPr/>
            <p:nvPr/>
          </p:nvSpPr>
          <p:spPr bwMode="auto">
            <a:xfrm>
              <a:off x="7149805" y="2675182"/>
              <a:ext cx="19241" cy="34042"/>
            </a:xfrm>
            <a:custGeom>
              <a:avLst/>
              <a:gdLst>
                <a:gd name="T0" fmla="*/ 1 w 6"/>
                <a:gd name="T1" fmla="*/ 4 h 11"/>
                <a:gd name="T2" fmla="*/ 3 w 6"/>
                <a:gd name="T3" fmla="*/ 11 h 11"/>
                <a:gd name="T4" fmla="*/ 5 w 6"/>
                <a:gd name="T5" fmla="*/ 10 h 11"/>
                <a:gd name="T6" fmla="*/ 5 w 6"/>
                <a:gd name="T7" fmla="*/ 7 h 11"/>
                <a:gd name="T8" fmla="*/ 5 w 6"/>
                <a:gd name="T9" fmla="*/ 3 h 11"/>
                <a:gd name="T10" fmla="*/ 1 w 6"/>
                <a:gd name="T1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1" y="4"/>
                  </a:moveTo>
                  <a:cubicBezTo>
                    <a:pt x="1" y="6"/>
                    <a:pt x="1" y="9"/>
                    <a:pt x="3" y="11"/>
                  </a:cubicBezTo>
                  <a:cubicBezTo>
                    <a:pt x="4" y="11"/>
                    <a:pt x="5" y="11"/>
                    <a:pt x="5" y="10"/>
                  </a:cubicBezTo>
                  <a:cubicBezTo>
                    <a:pt x="5" y="9"/>
                    <a:pt x="6" y="8"/>
                    <a:pt x="5" y="7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4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íSľíḍê">
              <a:extLst>
                <a:ext uri="{FF2B5EF4-FFF2-40B4-BE49-F238E27FC236}">
                  <a16:creationId xmlns:a16="http://schemas.microsoft.com/office/drawing/2014/main" id="{FA239962-4170-4EE2-B7BD-A33105B40F1E}"/>
                </a:ext>
              </a:extLst>
            </p:cNvPr>
            <p:cNvSpPr/>
            <p:nvPr/>
          </p:nvSpPr>
          <p:spPr bwMode="auto">
            <a:xfrm>
              <a:off x="7024000" y="2515336"/>
              <a:ext cx="137646" cy="145046"/>
            </a:xfrm>
            <a:custGeom>
              <a:avLst/>
              <a:gdLst>
                <a:gd name="T0" fmla="*/ 44 w 45"/>
                <a:gd name="T1" fmla="*/ 46 h 47"/>
                <a:gd name="T2" fmla="*/ 45 w 45"/>
                <a:gd name="T3" fmla="*/ 42 h 47"/>
                <a:gd name="T4" fmla="*/ 44 w 45"/>
                <a:gd name="T5" fmla="*/ 37 h 47"/>
                <a:gd name="T6" fmla="*/ 42 w 45"/>
                <a:gd name="T7" fmla="*/ 29 h 47"/>
                <a:gd name="T8" fmla="*/ 33 w 45"/>
                <a:gd name="T9" fmla="*/ 14 h 47"/>
                <a:gd name="T10" fmla="*/ 2 w 45"/>
                <a:gd name="T11" fmla="*/ 4 h 47"/>
                <a:gd name="T12" fmla="*/ 2 w 45"/>
                <a:gd name="T13" fmla="*/ 7 h 47"/>
                <a:gd name="T14" fmla="*/ 17 w 45"/>
                <a:gd name="T15" fmla="*/ 9 h 47"/>
                <a:gd name="T16" fmla="*/ 29 w 45"/>
                <a:gd name="T17" fmla="*/ 18 h 47"/>
                <a:gd name="T18" fmla="*/ 37 w 45"/>
                <a:gd name="T19" fmla="*/ 31 h 47"/>
                <a:gd name="T20" fmla="*/ 39 w 45"/>
                <a:gd name="T21" fmla="*/ 38 h 47"/>
                <a:gd name="T22" fmla="*/ 41 w 45"/>
                <a:gd name="T23" fmla="*/ 46 h 47"/>
                <a:gd name="T24" fmla="*/ 44 w 45"/>
                <a:gd name="T25" fmla="*/ 4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47">
                  <a:moveTo>
                    <a:pt x="44" y="46"/>
                  </a:moveTo>
                  <a:cubicBezTo>
                    <a:pt x="44" y="44"/>
                    <a:pt x="45" y="43"/>
                    <a:pt x="45" y="42"/>
                  </a:cubicBezTo>
                  <a:cubicBezTo>
                    <a:pt x="45" y="40"/>
                    <a:pt x="45" y="39"/>
                    <a:pt x="44" y="37"/>
                  </a:cubicBezTo>
                  <a:cubicBezTo>
                    <a:pt x="44" y="35"/>
                    <a:pt x="43" y="32"/>
                    <a:pt x="42" y="29"/>
                  </a:cubicBezTo>
                  <a:cubicBezTo>
                    <a:pt x="40" y="23"/>
                    <a:pt x="37" y="18"/>
                    <a:pt x="33" y="14"/>
                  </a:cubicBezTo>
                  <a:cubicBezTo>
                    <a:pt x="25" y="5"/>
                    <a:pt x="13" y="0"/>
                    <a:pt x="2" y="4"/>
                  </a:cubicBezTo>
                  <a:cubicBezTo>
                    <a:pt x="0" y="4"/>
                    <a:pt x="0" y="8"/>
                    <a:pt x="2" y="7"/>
                  </a:cubicBezTo>
                  <a:cubicBezTo>
                    <a:pt x="7" y="7"/>
                    <a:pt x="12" y="7"/>
                    <a:pt x="17" y="9"/>
                  </a:cubicBezTo>
                  <a:cubicBezTo>
                    <a:pt x="22" y="11"/>
                    <a:pt x="26" y="14"/>
                    <a:pt x="29" y="18"/>
                  </a:cubicBezTo>
                  <a:cubicBezTo>
                    <a:pt x="32" y="21"/>
                    <a:pt x="35" y="26"/>
                    <a:pt x="37" y="31"/>
                  </a:cubicBezTo>
                  <a:cubicBezTo>
                    <a:pt x="38" y="33"/>
                    <a:pt x="38" y="36"/>
                    <a:pt x="39" y="38"/>
                  </a:cubicBezTo>
                  <a:cubicBezTo>
                    <a:pt x="39" y="41"/>
                    <a:pt x="40" y="44"/>
                    <a:pt x="41" y="46"/>
                  </a:cubicBezTo>
                  <a:cubicBezTo>
                    <a:pt x="42" y="47"/>
                    <a:pt x="43" y="47"/>
                    <a:pt x="44" y="4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íṩ1îḋe">
              <a:extLst>
                <a:ext uri="{FF2B5EF4-FFF2-40B4-BE49-F238E27FC236}">
                  <a16:creationId xmlns:a16="http://schemas.microsoft.com/office/drawing/2014/main" id="{CCD8A2C2-7C02-48B8-82E5-0E15F04FFD0B}"/>
                </a:ext>
              </a:extLst>
            </p:cNvPr>
            <p:cNvSpPr/>
            <p:nvPr/>
          </p:nvSpPr>
          <p:spPr bwMode="auto">
            <a:xfrm>
              <a:off x="7648586" y="2729944"/>
              <a:ext cx="17761" cy="19241"/>
            </a:xfrm>
            <a:custGeom>
              <a:avLst/>
              <a:gdLst>
                <a:gd name="T0" fmla="*/ 3 w 6"/>
                <a:gd name="T1" fmla="*/ 0 h 6"/>
                <a:gd name="T2" fmla="*/ 1 w 6"/>
                <a:gd name="T3" fmla="*/ 2 h 6"/>
                <a:gd name="T4" fmla="*/ 1 w 6"/>
                <a:gd name="T5" fmla="*/ 4 h 6"/>
                <a:gd name="T6" fmla="*/ 1 w 6"/>
                <a:gd name="T7" fmla="*/ 4 h 6"/>
                <a:gd name="T8" fmla="*/ 1 w 6"/>
                <a:gd name="T9" fmla="*/ 5 h 6"/>
                <a:gd name="T10" fmla="*/ 2 w 6"/>
                <a:gd name="T11" fmla="*/ 5 h 6"/>
                <a:gd name="T12" fmla="*/ 3 w 6"/>
                <a:gd name="T13" fmla="*/ 5 h 6"/>
                <a:gd name="T14" fmla="*/ 3 w 6"/>
                <a:gd name="T15" fmla="*/ 5 h 6"/>
                <a:gd name="T16" fmla="*/ 4 w 6"/>
                <a:gd name="T17" fmla="*/ 5 h 6"/>
                <a:gd name="T18" fmla="*/ 5 w 6"/>
                <a:gd name="T19" fmla="*/ 4 h 6"/>
                <a:gd name="T20" fmla="*/ 6 w 6"/>
                <a:gd name="T21" fmla="*/ 3 h 6"/>
                <a:gd name="T22" fmla="*/ 5 w 6"/>
                <a:gd name="T23" fmla="*/ 1 h 6"/>
                <a:gd name="T24" fmla="*/ 3 w 6"/>
                <a:gd name="T2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1" y="2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3" y="6"/>
                    <a:pt x="3" y="6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5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iṡľidè">
              <a:extLst>
                <a:ext uri="{FF2B5EF4-FFF2-40B4-BE49-F238E27FC236}">
                  <a16:creationId xmlns:a16="http://schemas.microsoft.com/office/drawing/2014/main" id="{C0C7960C-F244-4A44-9EBF-A7795449F257}"/>
                </a:ext>
              </a:extLst>
            </p:cNvPr>
            <p:cNvSpPr/>
            <p:nvPr/>
          </p:nvSpPr>
          <p:spPr bwMode="auto">
            <a:xfrm>
              <a:off x="7565703" y="2558257"/>
              <a:ext cx="97684" cy="153926"/>
            </a:xfrm>
            <a:custGeom>
              <a:avLst/>
              <a:gdLst>
                <a:gd name="T0" fmla="*/ 2 w 32"/>
                <a:gd name="T1" fmla="*/ 2 h 50"/>
                <a:gd name="T2" fmla="*/ 2 w 32"/>
                <a:gd name="T3" fmla="*/ 5 h 50"/>
                <a:gd name="T4" fmla="*/ 9 w 32"/>
                <a:gd name="T5" fmla="*/ 6 h 50"/>
                <a:gd name="T6" fmla="*/ 15 w 32"/>
                <a:gd name="T7" fmla="*/ 9 h 50"/>
                <a:gd name="T8" fmla="*/ 22 w 32"/>
                <a:gd name="T9" fmla="*/ 20 h 50"/>
                <a:gd name="T10" fmla="*/ 26 w 32"/>
                <a:gd name="T11" fmla="*/ 34 h 50"/>
                <a:gd name="T12" fmla="*/ 26 w 32"/>
                <a:gd name="T13" fmla="*/ 42 h 50"/>
                <a:gd name="T14" fmla="*/ 27 w 32"/>
                <a:gd name="T15" fmla="*/ 49 h 50"/>
                <a:gd name="T16" fmla="*/ 29 w 32"/>
                <a:gd name="T17" fmla="*/ 49 h 50"/>
                <a:gd name="T18" fmla="*/ 32 w 32"/>
                <a:gd name="T19" fmla="*/ 34 h 50"/>
                <a:gd name="T20" fmla="*/ 27 w 32"/>
                <a:gd name="T21" fmla="*/ 17 h 50"/>
                <a:gd name="T22" fmla="*/ 18 w 32"/>
                <a:gd name="T23" fmla="*/ 4 h 50"/>
                <a:gd name="T24" fmla="*/ 2 w 32"/>
                <a:gd name="T2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0">
                  <a:moveTo>
                    <a:pt x="2" y="2"/>
                  </a:moveTo>
                  <a:cubicBezTo>
                    <a:pt x="0" y="2"/>
                    <a:pt x="0" y="5"/>
                    <a:pt x="2" y="5"/>
                  </a:cubicBezTo>
                  <a:cubicBezTo>
                    <a:pt x="4" y="6"/>
                    <a:pt x="7" y="6"/>
                    <a:pt x="9" y="6"/>
                  </a:cubicBezTo>
                  <a:cubicBezTo>
                    <a:pt x="11" y="7"/>
                    <a:pt x="13" y="8"/>
                    <a:pt x="15" y="9"/>
                  </a:cubicBezTo>
                  <a:cubicBezTo>
                    <a:pt x="19" y="11"/>
                    <a:pt x="21" y="16"/>
                    <a:pt x="22" y="20"/>
                  </a:cubicBezTo>
                  <a:cubicBezTo>
                    <a:pt x="24" y="25"/>
                    <a:pt x="25" y="30"/>
                    <a:pt x="26" y="34"/>
                  </a:cubicBezTo>
                  <a:cubicBezTo>
                    <a:pt x="26" y="37"/>
                    <a:pt x="26" y="39"/>
                    <a:pt x="26" y="42"/>
                  </a:cubicBezTo>
                  <a:cubicBezTo>
                    <a:pt x="26" y="44"/>
                    <a:pt x="26" y="46"/>
                    <a:pt x="27" y="49"/>
                  </a:cubicBezTo>
                  <a:cubicBezTo>
                    <a:pt x="27" y="50"/>
                    <a:pt x="29" y="50"/>
                    <a:pt x="29" y="49"/>
                  </a:cubicBezTo>
                  <a:cubicBezTo>
                    <a:pt x="32" y="45"/>
                    <a:pt x="32" y="39"/>
                    <a:pt x="32" y="34"/>
                  </a:cubicBezTo>
                  <a:cubicBezTo>
                    <a:pt x="31" y="28"/>
                    <a:pt x="30" y="22"/>
                    <a:pt x="27" y="17"/>
                  </a:cubicBezTo>
                  <a:cubicBezTo>
                    <a:pt x="25" y="12"/>
                    <a:pt x="22" y="7"/>
                    <a:pt x="18" y="4"/>
                  </a:cubicBezTo>
                  <a:cubicBezTo>
                    <a:pt x="14" y="1"/>
                    <a:pt x="7" y="0"/>
                    <a:pt x="2" y="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ïslíḍê">
              <a:extLst>
                <a:ext uri="{FF2B5EF4-FFF2-40B4-BE49-F238E27FC236}">
                  <a16:creationId xmlns:a16="http://schemas.microsoft.com/office/drawing/2014/main" id="{FB7E7F97-B360-4AED-B704-B22C0615C32E}"/>
                </a:ext>
              </a:extLst>
            </p:cNvPr>
            <p:cNvSpPr/>
            <p:nvPr/>
          </p:nvSpPr>
          <p:spPr bwMode="auto">
            <a:xfrm>
              <a:off x="7303731" y="2423572"/>
              <a:ext cx="150966" cy="88804"/>
            </a:xfrm>
            <a:custGeom>
              <a:avLst/>
              <a:gdLst>
                <a:gd name="T0" fmla="*/ 37 w 49"/>
                <a:gd name="T1" fmla="*/ 17 h 29"/>
                <a:gd name="T2" fmla="*/ 41 w 49"/>
                <a:gd name="T3" fmla="*/ 22 h 29"/>
                <a:gd name="T4" fmla="*/ 42 w 49"/>
                <a:gd name="T5" fmla="*/ 25 h 29"/>
                <a:gd name="T6" fmla="*/ 44 w 49"/>
                <a:gd name="T7" fmla="*/ 28 h 29"/>
                <a:gd name="T8" fmla="*/ 46 w 49"/>
                <a:gd name="T9" fmla="*/ 27 h 29"/>
                <a:gd name="T10" fmla="*/ 42 w 49"/>
                <a:gd name="T11" fmla="*/ 13 h 29"/>
                <a:gd name="T12" fmla="*/ 30 w 49"/>
                <a:gd name="T13" fmla="*/ 5 h 29"/>
                <a:gd name="T14" fmla="*/ 2 w 49"/>
                <a:gd name="T15" fmla="*/ 2 h 29"/>
                <a:gd name="T16" fmla="*/ 3 w 49"/>
                <a:gd name="T17" fmla="*/ 7 h 29"/>
                <a:gd name="T18" fmla="*/ 28 w 49"/>
                <a:gd name="T19" fmla="*/ 10 h 29"/>
                <a:gd name="T20" fmla="*/ 37 w 49"/>
                <a:gd name="T21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29">
                  <a:moveTo>
                    <a:pt x="37" y="17"/>
                  </a:moveTo>
                  <a:cubicBezTo>
                    <a:pt x="39" y="18"/>
                    <a:pt x="40" y="20"/>
                    <a:pt x="41" y="22"/>
                  </a:cubicBezTo>
                  <a:cubicBezTo>
                    <a:pt x="41" y="23"/>
                    <a:pt x="41" y="24"/>
                    <a:pt x="42" y="25"/>
                  </a:cubicBezTo>
                  <a:cubicBezTo>
                    <a:pt x="42" y="26"/>
                    <a:pt x="43" y="27"/>
                    <a:pt x="44" y="28"/>
                  </a:cubicBezTo>
                  <a:cubicBezTo>
                    <a:pt x="44" y="29"/>
                    <a:pt x="46" y="29"/>
                    <a:pt x="46" y="27"/>
                  </a:cubicBezTo>
                  <a:cubicBezTo>
                    <a:pt x="49" y="23"/>
                    <a:pt x="45" y="17"/>
                    <a:pt x="42" y="13"/>
                  </a:cubicBezTo>
                  <a:cubicBezTo>
                    <a:pt x="39" y="9"/>
                    <a:pt x="35" y="7"/>
                    <a:pt x="30" y="5"/>
                  </a:cubicBezTo>
                  <a:cubicBezTo>
                    <a:pt x="21" y="1"/>
                    <a:pt x="11" y="0"/>
                    <a:pt x="2" y="2"/>
                  </a:cubicBezTo>
                  <a:cubicBezTo>
                    <a:pt x="0" y="3"/>
                    <a:pt x="0" y="7"/>
                    <a:pt x="3" y="7"/>
                  </a:cubicBezTo>
                  <a:cubicBezTo>
                    <a:pt x="11" y="6"/>
                    <a:pt x="20" y="7"/>
                    <a:pt x="28" y="10"/>
                  </a:cubicBezTo>
                  <a:cubicBezTo>
                    <a:pt x="32" y="12"/>
                    <a:pt x="35" y="14"/>
                    <a:pt x="37" y="1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îṧḻîḓe">
              <a:extLst>
                <a:ext uri="{FF2B5EF4-FFF2-40B4-BE49-F238E27FC236}">
                  <a16:creationId xmlns:a16="http://schemas.microsoft.com/office/drawing/2014/main" id="{EEDA5FD2-82B7-4939-A0D6-6CEDB6C8C361}"/>
                </a:ext>
              </a:extLst>
            </p:cNvPr>
            <p:cNvSpPr/>
            <p:nvPr/>
          </p:nvSpPr>
          <p:spPr bwMode="auto">
            <a:xfrm>
              <a:off x="7639706" y="2158640"/>
              <a:ext cx="42922" cy="165767"/>
            </a:xfrm>
            <a:custGeom>
              <a:avLst/>
              <a:gdLst>
                <a:gd name="T0" fmla="*/ 4 w 14"/>
                <a:gd name="T1" fmla="*/ 40 h 54"/>
                <a:gd name="T2" fmla="*/ 2 w 14"/>
                <a:gd name="T3" fmla="*/ 45 h 54"/>
                <a:gd name="T4" fmla="*/ 0 w 14"/>
                <a:gd name="T5" fmla="*/ 51 h 54"/>
                <a:gd name="T6" fmla="*/ 2 w 14"/>
                <a:gd name="T7" fmla="*/ 53 h 54"/>
                <a:gd name="T8" fmla="*/ 7 w 14"/>
                <a:gd name="T9" fmla="*/ 48 h 54"/>
                <a:gd name="T10" fmla="*/ 9 w 14"/>
                <a:gd name="T11" fmla="*/ 42 h 54"/>
                <a:gd name="T12" fmla="*/ 13 w 14"/>
                <a:gd name="T13" fmla="*/ 28 h 54"/>
                <a:gd name="T14" fmla="*/ 4 w 14"/>
                <a:gd name="T15" fmla="*/ 2 h 54"/>
                <a:gd name="T16" fmla="*/ 2 w 14"/>
                <a:gd name="T17" fmla="*/ 4 h 54"/>
                <a:gd name="T18" fmla="*/ 7 w 14"/>
                <a:gd name="T19" fmla="*/ 28 h 54"/>
                <a:gd name="T20" fmla="*/ 4 w 14"/>
                <a:gd name="T21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54">
                  <a:moveTo>
                    <a:pt x="4" y="40"/>
                  </a:moveTo>
                  <a:cubicBezTo>
                    <a:pt x="3" y="42"/>
                    <a:pt x="3" y="44"/>
                    <a:pt x="2" y="45"/>
                  </a:cubicBezTo>
                  <a:cubicBezTo>
                    <a:pt x="1" y="47"/>
                    <a:pt x="0" y="49"/>
                    <a:pt x="0" y="51"/>
                  </a:cubicBezTo>
                  <a:cubicBezTo>
                    <a:pt x="0" y="52"/>
                    <a:pt x="1" y="54"/>
                    <a:pt x="2" y="53"/>
                  </a:cubicBezTo>
                  <a:cubicBezTo>
                    <a:pt x="4" y="52"/>
                    <a:pt x="5" y="50"/>
                    <a:pt x="7" y="48"/>
                  </a:cubicBezTo>
                  <a:cubicBezTo>
                    <a:pt x="8" y="46"/>
                    <a:pt x="9" y="44"/>
                    <a:pt x="9" y="42"/>
                  </a:cubicBezTo>
                  <a:cubicBezTo>
                    <a:pt x="11" y="37"/>
                    <a:pt x="12" y="33"/>
                    <a:pt x="13" y="28"/>
                  </a:cubicBezTo>
                  <a:cubicBezTo>
                    <a:pt x="14" y="18"/>
                    <a:pt x="11" y="8"/>
                    <a:pt x="4" y="2"/>
                  </a:cubicBezTo>
                  <a:cubicBezTo>
                    <a:pt x="3" y="0"/>
                    <a:pt x="0" y="3"/>
                    <a:pt x="2" y="4"/>
                  </a:cubicBezTo>
                  <a:cubicBezTo>
                    <a:pt x="8" y="10"/>
                    <a:pt x="8" y="19"/>
                    <a:pt x="7" y="28"/>
                  </a:cubicBezTo>
                  <a:cubicBezTo>
                    <a:pt x="7" y="32"/>
                    <a:pt x="6" y="36"/>
                    <a:pt x="4" y="4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îṣļiḑe">
              <a:extLst>
                <a:ext uri="{FF2B5EF4-FFF2-40B4-BE49-F238E27FC236}">
                  <a16:creationId xmlns:a16="http://schemas.microsoft.com/office/drawing/2014/main" id="{C36DBFFA-0DF6-47F4-8386-DC959ABAC87E}"/>
                </a:ext>
              </a:extLst>
            </p:cNvPr>
            <p:cNvSpPr/>
            <p:nvPr/>
          </p:nvSpPr>
          <p:spPr bwMode="auto">
            <a:xfrm>
              <a:off x="7460618" y="2084637"/>
              <a:ext cx="19241" cy="19241"/>
            </a:xfrm>
            <a:custGeom>
              <a:avLst/>
              <a:gdLst>
                <a:gd name="T0" fmla="*/ 3 w 6"/>
                <a:gd name="T1" fmla="*/ 0 h 6"/>
                <a:gd name="T2" fmla="*/ 1 w 6"/>
                <a:gd name="T3" fmla="*/ 1 h 6"/>
                <a:gd name="T4" fmla="*/ 0 w 6"/>
                <a:gd name="T5" fmla="*/ 3 h 6"/>
                <a:gd name="T6" fmla="*/ 1 w 6"/>
                <a:gd name="T7" fmla="*/ 4 h 6"/>
                <a:gd name="T8" fmla="*/ 4 w 6"/>
                <a:gd name="T9" fmla="*/ 5 h 6"/>
                <a:gd name="T10" fmla="*/ 5 w 6"/>
                <a:gd name="T11" fmla="*/ 4 h 6"/>
                <a:gd name="T12" fmla="*/ 5 w 6"/>
                <a:gd name="T13" fmla="*/ 4 h 6"/>
                <a:gd name="T14" fmla="*/ 3 w 6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0" y="5"/>
                    <a:pt x="3" y="6"/>
                    <a:pt x="4" y="5"/>
                  </a:cubicBezTo>
                  <a:cubicBezTo>
                    <a:pt x="4" y="5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2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0" name="iṥļiďé">
              <a:extLst>
                <a:ext uri="{FF2B5EF4-FFF2-40B4-BE49-F238E27FC236}">
                  <a16:creationId xmlns:a16="http://schemas.microsoft.com/office/drawing/2014/main" id="{411401C5-E6AC-4DC6-A2A5-F89C702A629A}"/>
                </a:ext>
              </a:extLst>
            </p:cNvPr>
            <p:cNvSpPr/>
            <p:nvPr/>
          </p:nvSpPr>
          <p:spPr bwMode="auto">
            <a:xfrm>
              <a:off x="6867113" y="1541455"/>
              <a:ext cx="17761" cy="37002"/>
            </a:xfrm>
            <a:custGeom>
              <a:avLst/>
              <a:gdLst>
                <a:gd name="T0" fmla="*/ 6 w 6"/>
                <a:gd name="T1" fmla="*/ 9 h 12"/>
                <a:gd name="T2" fmla="*/ 6 w 6"/>
                <a:gd name="T3" fmla="*/ 4 h 12"/>
                <a:gd name="T4" fmla="*/ 0 w 6"/>
                <a:gd name="T5" fmla="*/ 4 h 12"/>
                <a:gd name="T6" fmla="*/ 2 w 6"/>
                <a:gd name="T7" fmla="*/ 10 h 12"/>
                <a:gd name="T8" fmla="*/ 6 w 6"/>
                <a:gd name="T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9"/>
                  </a:moveTo>
                  <a:cubicBezTo>
                    <a:pt x="6" y="8"/>
                    <a:pt x="6" y="6"/>
                    <a:pt x="6" y="4"/>
                  </a:cubicBezTo>
                  <a:cubicBezTo>
                    <a:pt x="6" y="0"/>
                    <a:pt x="0" y="0"/>
                    <a:pt x="0" y="4"/>
                  </a:cubicBezTo>
                  <a:cubicBezTo>
                    <a:pt x="0" y="6"/>
                    <a:pt x="0" y="9"/>
                    <a:pt x="2" y="10"/>
                  </a:cubicBezTo>
                  <a:cubicBezTo>
                    <a:pt x="3" y="12"/>
                    <a:pt x="5" y="11"/>
                    <a:pt x="6" y="9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1" name="ísľîḋé">
              <a:extLst>
                <a:ext uri="{FF2B5EF4-FFF2-40B4-BE49-F238E27FC236}">
                  <a16:creationId xmlns:a16="http://schemas.microsoft.com/office/drawing/2014/main" id="{D9A2CA56-6B43-4877-A920-CBC0887C90BF}"/>
                </a:ext>
              </a:extLst>
            </p:cNvPr>
            <p:cNvSpPr/>
            <p:nvPr/>
          </p:nvSpPr>
          <p:spPr bwMode="auto">
            <a:xfrm>
              <a:off x="6756108" y="1390488"/>
              <a:ext cx="108045" cy="122846"/>
            </a:xfrm>
            <a:custGeom>
              <a:avLst/>
              <a:gdLst>
                <a:gd name="T0" fmla="*/ 4 w 35"/>
                <a:gd name="T1" fmla="*/ 8 h 40"/>
                <a:gd name="T2" fmla="*/ 11 w 35"/>
                <a:gd name="T3" fmla="*/ 10 h 40"/>
                <a:gd name="T4" fmla="*/ 19 w 35"/>
                <a:gd name="T5" fmla="*/ 17 h 40"/>
                <a:gd name="T6" fmla="*/ 26 w 35"/>
                <a:gd name="T7" fmla="*/ 27 h 40"/>
                <a:gd name="T8" fmla="*/ 28 w 35"/>
                <a:gd name="T9" fmla="*/ 32 h 40"/>
                <a:gd name="T10" fmla="*/ 30 w 35"/>
                <a:gd name="T11" fmla="*/ 37 h 40"/>
                <a:gd name="T12" fmla="*/ 30 w 35"/>
                <a:gd name="T13" fmla="*/ 37 h 40"/>
                <a:gd name="T14" fmla="*/ 31 w 35"/>
                <a:gd name="T15" fmla="*/ 39 h 40"/>
                <a:gd name="T16" fmla="*/ 32 w 35"/>
                <a:gd name="T17" fmla="*/ 39 h 40"/>
                <a:gd name="T18" fmla="*/ 32 w 35"/>
                <a:gd name="T19" fmla="*/ 39 h 40"/>
                <a:gd name="T20" fmla="*/ 34 w 35"/>
                <a:gd name="T21" fmla="*/ 39 h 40"/>
                <a:gd name="T22" fmla="*/ 35 w 35"/>
                <a:gd name="T23" fmla="*/ 38 h 40"/>
                <a:gd name="T24" fmla="*/ 35 w 35"/>
                <a:gd name="T25" fmla="*/ 36 h 40"/>
                <a:gd name="T26" fmla="*/ 35 w 35"/>
                <a:gd name="T27" fmla="*/ 36 h 40"/>
                <a:gd name="T28" fmla="*/ 35 w 35"/>
                <a:gd name="T29" fmla="*/ 36 h 40"/>
                <a:gd name="T30" fmla="*/ 35 w 35"/>
                <a:gd name="T31" fmla="*/ 35 h 40"/>
                <a:gd name="T32" fmla="*/ 35 w 35"/>
                <a:gd name="T33" fmla="*/ 34 h 40"/>
                <a:gd name="T34" fmla="*/ 33 w 35"/>
                <a:gd name="T35" fmla="*/ 27 h 40"/>
                <a:gd name="T36" fmla="*/ 24 w 35"/>
                <a:gd name="T37" fmla="*/ 14 h 40"/>
                <a:gd name="T38" fmla="*/ 2 w 35"/>
                <a:gd name="T39" fmla="*/ 5 h 40"/>
                <a:gd name="T40" fmla="*/ 4 w 35"/>
                <a:gd name="T4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4" y="8"/>
                  </a:moveTo>
                  <a:cubicBezTo>
                    <a:pt x="6" y="8"/>
                    <a:pt x="9" y="8"/>
                    <a:pt x="11" y="10"/>
                  </a:cubicBezTo>
                  <a:cubicBezTo>
                    <a:pt x="15" y="12"/>
                    <a:pt x="17" y="14"/>
                    <a:pt x="19" y="17"/>
                  </a:cubicBezTo>
                  <a:cubicBezTo>
                    <a:pt x="22" y="20"/>
                    <a:pt x="24" y="24"/>
                    <a:pt x="26" y="27"/>
                  </a:cubicBezTo>
                  <a:cubicBezTo>
                    <a:pt x="27" y="29"/>
                    <a:pt x="28" y="31"/>
                    <a:pt x="28" y="32"/>
                  </a:cubicBezTo>
                  <a:cubicBezTo>
                    <a:pt x="29" y="34"/>
                    <a:pt x="29" y="35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1" y="38"/>
                    <a:pt x="31" y="38"/>
                    <a:pt x="31" y="39"/>
                  </a:cubicBezTo>
                  <a:cubicBezTo>
                    <a:pt x="31" y="39"/>
                    <a:pt x="31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3" y="40"/>
                    <a:pt x="34" y="39"/>
                  </a:cubicBezTo>
                  <a:cubicBezTo>
                    <a:pt x="35" y="38"/>
                    <a:pt x="34" y="39"/>
                    <a:pt x="35" y="38"/>
                  </a:cubicBezTo>
                  <a:cubicBezTo>
                    <a:pt x="35" y="38"/>
                    <a:pt x="35" y="37"/>
                    <a:pt x="35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35"/>
                    <a:pt x="35" y="33"/>
                    <a:pt x="35" y="34"/>
                  </a:cubicBezTo>
                  <a:cubicBezTo>
                    <a:pt x="35" y="31"/>
                    <a:pt x="34" y="29"/>
                    <a:pt x="33" y="27"/>
                  </a:cubicBezTo>
                  <a:cubicBezTo>
                    <a:pt x="31" y="22"/>
                    <a:pt x="28" y="18"/>
                    <a:pt x="24" y="14"/>
                  </a:cubicBezTo>
                  <a:cubicBezTo>
                    <a:pt x="19" y="8"/>
                    <a:pt x="10" y="0"/>
                    <a:pt x="2" y="5"/>
                  </a:cubicBezTo>
                  <a:cubicBezTo>
                    <a:pt x="0" y="6"/>
                    <a:pt x="1" y="9"/>
                    <a:pt x="4" y="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2" name="îsḻîḓê">
              <a:extLst>
                <a:ext uri="{FF2B5EF4-FFF2-40B4-BE49-F238E27FC236}">
                  <a16:creationId xmlns:a16="http://schemas.microsoft.com/office/drawing/2014/main" id="{69FF2638-266E-42E9-B23F-640AB01817E5}"/>
                </a:ext>
              </a:extLst>
            </p:cNvPr>
            <p:cNvSpPr/>
            <p:nvPr/>
          </p:nvSpPr>
          <p:spPr bwMode="auto">
            <a:xfrm>
              <a:off x="6516338" y="1587336"/>
              <a:ext cx="42922" cy="54763"/>
            </a:xfrm>
            <a:custGeom>
              <a:avLst/>
              <a:gdLst>
                <a:gd name="T0" fmla="*/ 1 w 14"/>
                <a:gd name="T1" fmla="*/ 5 h 18"/>
                <a:gd name="T2" fmla="*/ 7 w 14"/>
                <a:gd name="T3" fmla="*/ 11 h 18"/>
                <a:gd name="T4" fmla="*/ 11 w 14"/>
                <a:gd name="T5" fmla="*/ 18 h 18"/>
                <a:gd name="T6" fmla="*/ 12 w 14"/>
                <a:gd name="T7" fmla="*/ 18 h 18"/>
                <a:gd name="T8" fmla="*/ 11 w 14"/>
                <a:gd name="T9" fmla="*/ 9 h 18"/>
                <a:gd name="T10" fmla="*/ 3 w 14"/>
                <a:gd name="T11" fmla="*/ 1 h 18"/>
                <a:gd name="T12" fmla="*/ 1 w 14"/>
                <a:gd name="T1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1" y="5"/>
                  </a:moveTo>
                  <a:cubicBezTo>
                    <a:pt x="4" y="6"/>
                    <a:pt x="6" y="9"/>
                    <a:pt x="7" y="11"/>
                  </a:cubicBezTo>
                  <a:cubicBezTo>
                    <a:pt x="8" y="13"/>
                    <a:pt x="9" y="17"/>
                    <a:pt x="11" y="18"/>
                  </a:cubicBezTo>
                  <a:cubicBezTo>
                    <a:pt x="11" y="18"/>
                    <a:pt x="12" y="18"/>
                    <a:pt x="12" y="18"/>
                  </a:cubicBezTo>
                  <a:cubicBezTo>
                    <a:pt x="14" y="15"/>
                    <a:pt x="12" y="11"/>
                    <a:pt x="11" y="9"/>
                  </a:cubicBezTo>
                  <a:cubicBezTo>
                    <a:pt x="9" y="6"/>
                    <a:pt x="6" y="3"/>
                    <a:pt x="3" y="1"/>
                  </a:cubicBezTo>
                  <a:cubicBezTo>
                    <a:pt x="1" y="0"/>
                    <a:pt x="0" y="3"/>
                    <a:pt x="1" y="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3" name="îşḷîḓé">
              <a:extLst>
                <a:ext uri="{FF2B5EF4-FFF2-40B4-BE49-F238E27FC236}">
                  <a16:creationId xmlns:a16="http://schemas.microsoft.com/office/drawing/2014/main" id="{33BAC899-EACB-4E32-8CDB-3AEEDAA91594}"/>
                </a:ext>
              </a:extLst>
            </p:cNvPr>
            <p:cNvSpPr/>
            <p:nvPr/>
          </p:nvSpPr>
          <p:spPr bwMode="auto">
            <a:xfrm>
              <a:off x="6116721" y="1369768"/>
              <a:ext cx="116925" cy="140606"/>
            </a:xfrm>
            <a:custGeom>
              <a:avLst/>
              <a:gdLst>
                <a:gd name="T0" fmla="*/ 2 w 38"/>
                <a:gd name="T1" fmla="*/ 4 h 46"/>
                <a:gd name="T2" fmla="*/ 23 w 38"/>
                <a:gd name="T3" fmla="*/ 19 h 46"/>
                <a:gd name="T4" fmla="*/ 29 w 38"/>
                <a:gd name="T5" fmla="*/ 32 h 46"/>
                <a:gd name="T6" fmla="*/ 34 w 38"/>
                <a:gd name="T7" fmla="*/ 45 h 46"/>
                <a:gd name="T8" fmla="*/ 37 w 38"/>
                <a:gd name="T9" fmla="*/ 45 h 46"/>
                <a:gd name="T10" fmla="*/ 34 w 38"/>
                <a:gd name="T11" fmla="*/ 30 h 46"/>
                <a:gd name="T12" fmla="*/ 27 w 38"/>
                <a:gd name="T13" fmla="*/ 16 h 46"/>
                <a:gd name="T14" fmla="*/ 3 w 38"/>
                <a:gd name="T15" fmla="*/ 0 h 46"/>
                <a:gd name="T16" fmla="*/ 2 w 38"/>
                <a:gd name="T17" fmla="*/ 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6">
                  <a:moveTo>
                    <a:pt x="2" y="4"/>
                  </a:moveTo>
                  <a:cubicBezTo>
                    <a:pt x="11" y="6"/>
                    <a:pt x="18" y="12"/>
                    <a:pt x="23" y="19"/>
                  </a:cubicBezTo>
                  <a:cubicBezTo>
                    <a:pt x="26" y="23"/>
                    <a:pt x="27" y="28"/>
                    <a:pt x="29" y="32"/>
                  </a:cubicBezTo>
                  <a:cubicBezTo>
                    <a:pt x="30" y="37"/>
                    <a:pt x="31" y="42"/>
                    <a:pt x="34" y="45"/>
                  </a:cubicBezTo>
                  <a:cubicBezTo>
                    <a:pt x="35" y="46"/>
                    <a:pt x="37" y="46"/>
                    <a:pt x="37" y="45"/>
                  </a:cubicBezTo>
                  <a:cubicBezTo>
                    <a:pt x="38" y="40"/>
                    <a:pt x="36" y="35"/>
                    <a:pt x="34" y="30"/>
                  </a:cubicBezTo>
                  <a:cubicBezTo>
                    <a:pt x="32" y="25"/>
                    <a:pt x="30" y="21"/>
                    <a:pt x="27" y="16"/>
                  </a:cubicBezTo>
                  <a:cubicBezTo>
                    <a:pt x="22" y="8"/>
                    <a:pt x="13" y="2"/>
                    <a:pt x="3" y="0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ïṧḷïďé">
              <a:extLst>
                <a:ext uri="{FF2B5EF4-FFF2-40B4-BE49-F238E27FC236}">
                  <a16:creationId xmlns:a16="http://schemas.microsoft.com/office/drawing/2014/main" id="{D6FAB447-DD5F-424B-B762-1D274BB71F9A}"/>
                </a:ext>
              </a:extLst>
            </p:cNvPr>
            <p:cNvSpPr/>
            <p:nvPr/>
          </p:nvSpPr>
          <p:spPr bwMode="auto">
            <a:xfrm>
              <a:off x="5912473" y="1267643"/>
              <a:ext cx="105085" cy="68083"/>
            </a:xfrm>
            <a:custGeom>
              <a:avLst/>
              <a:gdLst>
                <a:gd name="T0" fmla="*/ 2 w 34"/>
                <a:gd name="T1" fmla="*/ 4 h 22"/>
                <a:gd name="T2" fmla="*/ 19 w 34"/>
                <a:gd name="T3" fmla="*/ 9 h 22"/>
                <a:gd name="T4" fmla="*/ 26 w 34"/>
                <a:gd name="T5" fmla="*/ 14 h 22"/>
                <a:gd name="T6" fmla="*/ 29 w 34"/>
                <a:gd name="T7" fmla="*/ 17 h 22"/>
                <a:gd name="T8" fmla="*/ 30 w 34"/>
                <a:gd name="T9" fmla="*/ 19 h 22"/>
                <a:gd name="T10" fmla="*/ 31 w 34"/>
                <a:gd name="T11" fmla="*/ 21 h 22"/>
                <a:gd name="T12" fmla="*/ 33 w 34"/>
                <a:gd name="T13" fmla="*/ 21 h 22"/>
                <a:gd name="T14" fmla="*/ 34 w 34"/>
                <a:gd name="T15" fmla="*/ 16 h 22"/>
                <a:gd name="T16" fmla="*/ 31 w 34"/>
                <a:gd name="T17" fmla="*/ 11 h 22"/>
                <a:gd name="T18" fmla="*/ 22 w 34"/>
                <a:gd name="T19" fmla="*/ 5 h 22"/>
                <a:gd name="T20" fmla="*/ 2 w 34"/>
                <a:gd name="T21" fmla="*/ 0 h 22"/>
                <a:gd name="T22" fmla="*/ 2 w 34"/>
                <a:gd name="T23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22">
                  <a:moveTo>
                    <a:pt x="2" y="4"/>
                  </a:moveTo>
                  <a:cubicBezTo>
                    <a:pt x="7" y="5"/>
                    <a:pt x="14" y="6"/>
                    <a:pt x="19" y="9"/>
                  </a:cubicBezTo>
                  <a:cubicBezTo>
                    <a:pt x="21" y="10"/>
                    <a:pt x="24" y="12"/>
                    <a:pt x="26" y="14"/>
                  </a:cubicBezTo>
                  <a:cubicBezTo>
                    <a:pt x="27" y="15"/>
                    <a:pt x="28" y="16"/>
                    <a:pt x="29" y="17"/>
                  </a:cubicBezTo>
                  <a:cubicBezTo>
                    <a:pt x="29" y="18"/>
                    <a:pt x="29" y="19"/>
                    <a:pt x="30" y="19"/>
                  </a:cubicBezTo>
                  <a:cubicBezTo>
                    <a:pt x="30" y="20"/>
                    <a:pt x="31" y="21"/>
                    <a:pt x="31" y="21"/>
                  </a:cubicBezTo>
                  <a:cubicBezTo>
                    <a:pt x="32" y="22"/>
                    <a:pt x="33" y="22"/>
                    <a:pt x="33" y="21"/>
                  </a:cubicBezTo>
                  <a:cubicBezTo>
                    <a:pt x="34" y="19"/>
                    <a:pt x="34" y="18"/>
                    <a:pt x="34" y="16"/>
                  </a:cubicBezTo>
                  <a:cubicBezTo>
                    <a:pt x="33" y="14"/>
                    <a:pt x="32" y="13"/>
                    <a:pt x="31" y="11"/>
                  </a:cubicBezTo>
                  <a:cubicBezTo>
                    <a:pt x="28" y="8"/>
                    <a:pt x="25" y="6"/>
                    <a:pt x="22" y="5"/>
                  </a:cubicBezTo>
                  <a:cubicBezTo>
                    <a:pt x="16" y="2"/>
                    <a:pt x="9" y="1"/>
                    <a:pt x="2" y="0"/>
                  </a:cubicBezTo>
                  <a:cubicBezTo>
                    <a:pt x="0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îşḷídé">
              <a:extLst>
                <a:ext uri="{FF2B5EF4-FFF2-40B4-BE49-F238E27FC236}">
                  <a16:creationId xmlns:a16="http://schemas.microsoft.com/office/drawing/2014/main" id="{B1C9D1D4-155B-4C15-8AA2-B16B781A4532}"/>
                </a:ext>
              </a:extLst>
            </p:cNvPr>
            <p:cNvSpPr/>
            <p:nvPr/>
          </p:nvSpPr>
          <p:spPr bwMode="auto">
            <a:xfrm>
              <a:off x="5678623" y="1878909"/>
              <a:ext cx="16281" cy="31082"/>
            </a:xfrm>
            <a:custGeom>
              <a:avLst/>
              <a:gdLst>
                <a:gd name="T0" fmla="*/ 3 w 5"/>
                <a:gd name="T1" fmla="*/ 10 h 10"/>
                <a:gd name="T2" fmla="*/ 5 w 5"/>
                <a:gd name="T3" fmla="*/ 9 h 10"/>
                <a:gd name="T4" fmla="*/ 5 w 5"/>
                <a:gd name="T5" fmla="*/ 7 h 10"/>
                <a:gd name="T6" fmla="*/ 5 w 5"/>
                <a:gd name="T7" fmla="*/ 3 h 10"/>
                <a:gd name="T8" fmla="*/ 2 w 5"/>
                <a:gd name="T9" fmla="*/ 0 h 10"/>
                <a:gd name="T10" fmla="*/ 0 w 5"/>
                <a:gd name="T11" fmla="*/ 3 h 10"/>
                <a:gd name="T12" fmla="*/ 3 w 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0">
                  <a:moveTo>
                    <a:pt x="3" y="10"/>
                  </a:moveTo>
                  <a:cubicBezTo>
                    <a:pt x="4" y="10"/>
                    <a:pt x="5" y="9"/>
                    <a:pt x="5" y="9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0" y="9"/>
                    <a:pt x="3" y="1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6" name="ïṣlîďe">
              <a:extLst>
                <a:ext uri="{FF2B5EF4-FFF2-40B4-BE49-F238E27FC236}">
                  <a16:creationId xmlns:a16="http://schemas.microsoft.com/office/drawing/2014/main" id="{3ACB446E-CA3F-4E9E-A4D2-9F89AF19429E}"/>
                </a:ext>
              </a:extLst>
            </p:cNvPr>
            <p:cNvSpPr/>
            <p:nvPr/>
          </p:nvSpPr>
          <p:spPr bwMode="auto">
            <a:xfrm>
              <a:off x="5532097" y="1804906"/>
              <a:ext cx="134686" cy="65123"/>
            </a:xfrm>
            <a:custGeom>
              <a:avLst/>
              <a:gdLst>
                <a:gd name="T0" fmla="*/ 2 w 44"/>
                <a:gd name="T1" fmla="*/ 4 h 21"/>
                <a:gd name="T2" fmla="*/ 23 w 44"/>
                <a:gd name="T3" fmla="*/ 10 h 21"/>
                <a:gd name="T4" fmla="*/ 33 w 44"/>
                <a:gd name="T5" fmla="*/ 16 h 21"/>
                <a:gd name="T6" fmla="*/ 38 w 44"/>
                <a:gd name="T7" fmla="*/ 19 h 21"/>
                <a:gd name="T8" fmla="*/ 43 w 44"/>
                <a:gd name="T9" fmla="*/ 21 h 21"/>
                <a:gd name="T10" fmla="*/ 44 w 44"/>
                <a:gd name="T11" fmla="*/ 20 h 21"/>
                <a:gd name="T12" fmla="*/ 42 w 44"/>
                <a:gd name="T13" fmla="*/ 15 h 21"/>
                <a:gd name="T14" fmla="*/ 37 w 44"/>
                <a:gd name="T15" fmla="*/ 12 h 21"/>
                <a:gd name="T16" fmla="*/ 26 w 44"/>
                <a:gd name="T17" fmla="*/ 5 h 21"/>
                <a:gd name="T18" fmla="*/ 3 w 44"/>
                <a:gd name="T19" fmla="*/ 0 h 21"/>
                <a:gd name="T20" fmla="*/ 2 w 44"/>
                <a:gd name="T21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21">
                  <a:moveTo>
                    <a:pt x="2" y="4"/>
                  </a:moveTo>
                  <a:cubicBezTo>
                    <a:pt x="9" y="5"/>
                    <a:pt x="17" y="8"/>
                    <a:pt x="23" y="10"/>
                  </a:cubicBezTo>
                  <a:cubicBezTo>
                    <a:pt x="27" y="12"/>
                    <a:pt x="30" y="14"/>
                    <a:pt x="33" y="16"/>
                  </a:cubicBezTo>
                  <a:cubicBezTo>
                    <a:pt x="35" y="17"/>
                    <a:pt x="37" y="18"/>
                    <a:pt x="38" y="19"/>
                  </a:cubicBezTo>
                  <a:cubicBezTo>
                    <a:pt x="39" y="20"/>
                    <a:pt x="41" y="21"/>
                    <a:pt x="43" y="21"/>
                  </a:cubicBezTo>
                  <a:cubicBezTo>
                    <a:pt x="43" y="21"/>
                    <a:pt x="44" y="21"/>
                    <a:pt x="44" y="20"/>
                  </a:cubicBezTo>
                  <a:cubicBezTo>
                    <a:pt x="44" y="18"/>
                    <a:pt x="43" y="16"/>
                    <a:pt x="42" y="15"/>
                  </a:cubicBezTo>
                  <a:cubicBezTo>
                    <a:pt x="41" y="14"/>
                    <a:pt x="39" y="13"/>
                    <a:pt x="37" y="12"/>
                  </a:cubicBezTo>
                  <a:cubicBezTo>
                    <a:pt x="34" y="9"/>
                    <a:pt x="30" y="7"/>
                    <a:pt x="26" y="5"/>
                  </a:cubicBezTo>
                  <a:cubicBezTo>
                    <a:pt x="19" y="2"/>
                    <a:pt x="11" y="0"/>
                    <a:pt x="3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7" name="íSļíďé">
              <a:extLst>
                <a:ext uri="{FF2B5EF4-FFF2-40B4-BE49-F238E27FC236}">
                  <a16:creationId xmlns:a16="http://schemas.microsoft.com/office/drawing/2014/main" id="{69259B9F-EB0D-4DC9-9E70-CA1961A6DB08}"/>
                </a:ext>
              </a:extLst>
            </p:cNvPr>
            <p:cNvSpPr/>
            <p:nvPr/>
          </p:nvSpPr>
          <p:spPr bwMode="auto">
            <a:xfrm>
              <a:off x="4744704" y="2020995"/>
              <a:ext cx="60683" cy="42922"/>
            </a:xfrm>
            <a:custGeom>
              <a:avLst/>
              <a:gdLst>
                <a:gd name="T0" fmla="*/ 2 w 20"/>
                <a:gd name="T1" fmla="*/ 5 h 14"/>
                <a:gd name="T2" fmla="*/ 4 w 20"/>
                <a:gd name="T3" fmla="*/ 6 h 14"/>
                <a:gd name="T4" fmla="*/ 9 w 20"/>
                <a:gd name="T5" fmla="*/ 8 h 14"/>
                <a:gd name="T6" fmla="*/ 14 w 20"/>
                <a:gd name="T7" fmla="*/ 11 h 14"/>
                <a:gd name="T8" fmla="*/ 18 w 20"/>
                <a:gd name="T9" fmla="*/ 14 h 14"/>
                <a:gd name="T10" fmla="*/ 19 w 20"/>
                <a:gd name="T11" fmla="*/ 13 h 14"/>
                <a:gd name="T12" fmla="*/ 17 w 20"/>
                <a:gd name="T13" fmla="*/ 8 h 14"/>
                <a:gd name="T14" fmla="*/ 11 w 20"/>
                <a:gd name="T15" fmla="*/ 4 h 14"/>
                <a:gd name="T16" fmla="*/ 1 w 20"/>
                <a:gd name="T17" fmla="*/ 3 h 14"/>
                <a:gd name="T18" fmla="*/ 2 w 20"/>
                <a:gd name="T1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4">
                  <a:moveTo>
                    <a:pt x="2" y="5"/>
                  </a:moveTo>
                  <a:cubicBezTo>
                    <a:pt x="3" y="5"/>
                    <a:pt x="3" y="5"/>
                    <a:pt x="4" y="6"/>
                  </a:cubicBezTo>
                  <a:cubicBezTo>
                    <a:pt x="6" y="6"/>
                    <a:pt x="8" y="7"/>
                    <a:pt x="9" y="8"/>
                  </a:cubicBezTo>
                  <a:cubicBezTo>
                    <a:pt x="11" y="9"/>
                    <a:pt x="12" y="10"/>
                    <a:pt x="14" y="11"/>
                  </a:cubicBezTo>
                  <a:cubicBezTo>
                    <a:pt x="15" y="12"/>
                    <a:pt x="16" y="13"/>
                    <a:pt x="18" y="14"/>
                  </a:cubicBezTo>
                  <a:cubicBezTo>
                    <a:pt x="18" y="14"/>
                    <a:pt x="19" y="13"/>
                    <a:pt x="19" y="13"/>
                  </a:cubicBezTo>
                  <a:cubicBezTo>
                    <a:pt x="20" y="11"/>
                    <a:pt x="18" y="9"/>
                    <a:pt x="17" y="8"/>
                  </a:cubicBezTo>
                  <a:cubicBezTo>
                    <a:pt x="15" y="6"/>
                    <a:pt x="13" y="5"/>
                    <a:pt x="11" y="4"/>
                  </a:cubicBezTo>
                  <a:cubicBezTo>
                    <a:pt x="9" y="2"/>
                    <a:pt x="3" y="0"/>
                    <a:pt x="1" y="3"/>
                  </a:cubicBezTo>
                  <a:cubicBezTo>
                    <a:pt x="0" y="3"/>
                    <a:pt x="1" y="5"/>
                    <a:pt x="2" y="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8" name="íşḻîḍé">
              <a:extLst>
                <a:ext uri="{FF2B5EF4-FFF2-40B4-BE49-F238E27FC236}">
                  <a16:creationId xmlns:a16="http://schemas.microsoft.com/office/drawing/2014/main" id="{27FFA48D-B192-4B24-8519-05B8EC716B65}"/>
                </a:ext>
              </a:extLst>
            </p:cNvPr>
            <p:cNvSpPr/>
            <p:nvPr/>
          </p:nvSpPr>
          <p:spPr bwMode="auto">
            <a:xfrm>
              <a:off x="4857189" y="2112759"/>
              <a:ext cx="96205" cy="76963"/>
            </a:xfrm>
            <a:custGeom>
              <a:avLst/>
              <a:gdLst>
                <a:gd name="T0" fmla="*/ 2 w 31"/>
                <a:gd name="T1" fmla="*/ 4 h 25"/>
                <a:gd name="T2" fmla="*/ 11 w 31"/>
                <a:gd name="T3" fmla="*/ 6 h 25"/>
                <a:gd name="T4" fmla="*/ 17 w 31"/>
                <a:gd name="T5" fmla="*/ 10 h 25"/>
                <a:gd name="T6" fmla="*/ 23 w 31"/>
                <a:gd name="T7" fmla="*/ 15 h 25"/>
                <a:gd name="T8" fmla="*/ 29 w 31"/>
                <a:gd name="T9" fmla="*/ 24 h 25"/>
                <a:gd name="T10" fmla="*/ 31 w 31"/>
                <a:gd name="T11" fmla="*/ 23 h 25"/>
                <a:gd name="T12" fmla="*/ 27 w 31"/>
                <a:gd name="T13" fmla="*/ 13 h 25"/>
                <a:gd name="T14" fmla="*/ 20 w 31"/>
                <a:gd name="T15" fmla="*/ 6 h 25"/>
                <a:gd name="T16" fmla="*/ 2 w 31"/>
                <a:gd name="T17" fmla="*/ 1 h 25"/>
                <a:gd name="T18" fmla="*/ 2 w 31"/>
                <a:gd name="T19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5">
                  <a:moveTo>
                    <a:pt x="2" y="4"/>
                  </a:moveTo>
                  <a:cubicBezTo>
                    <a:pt x="5" y="5"/>
                    <a:pt x="8" y="6"/>
                    <a:pt x="11" y="6"/>
                  </a:cubicBezTo>
                  <a:cubicBezTo>
                    <a:pt x="13" y="7"/>
                    <a:pt x="16" y="8"/>
                    <a:pt x="17" y="10"/>
                  </a:cubicBezTo>
                  <a:cubicBezTo>
                    <a:pt x="19" y="11"/>
                    <a:pt x="21" y="13"/>
                    <a:pt x="23" y="15"/>
                  </a:cubicBezTo>
                  <a:cubicBezTo>
                    <a:pt x="25" y="18"/>
                    <a:pt x="26" y="21"/>
                    <a:pt x="29" y="24"/>
                  </a:cubicBezTo>
                  <a:cubicBezTo>
                    <a:pt x="30" y="25"/>
                    <a:pt x="31" y="24"/>
                    <a:pt x="31" y="23"/>
                  </a:cubicBezTo>
                  <a:cubicBezTo>
                    <a:pt x="31" y="19"/>
                    <a:pt x="29" y="16"/>
                    <a:pt x="27" y="13"/>
                  </a:cubicBezTo>
                  <a:cubicBezTo>
                    <a:pt x="25" y="10"/>
                    <a:pt x="23" y="8"/>
                    <a:pt x="20" y="6"/>
                  </a:cubicBezTo>
                  <a:cubicBezTo>
                    <a:pt x="16" y="2"/>
                    <a:pt x="8" y="0"/>
                    <a:pt x="2" y="1"/>
                  </a:cubicBezTo>
                  <a:cubicBezTo>
                    <a:pt x="1" y="1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9" name="íṩḷïḋe">
              <a:extLst>
                <a:ext uri="{FF2B5EF4-FFF2-40B4-BE49-F238E27FC236}">
                  <a16:creationId xmlns:a16="http://schemas.microsoft.com/office/drawing/2014/main" id="{A8960BB3-B97E-4F94-A9F3-7AFC636C8F9B}"/>
                </a:ext>
              </a:extLst>
            </p:cNvPr>
            <p:cNvSpPr/>
            <p:nvPr/>
          </p:nvSpPr>
          <p:spPr bwMode="auto">
            <a:xfrm>
              <a:off x="5227204" y="1981033"/>
              <a:ext cx="25162" cy="26641"/>
            </a:xfrm>
            <a:custGeom>
              <a:avLst/>
              <a:gdLst>
                <a:gd name="T0" fmla="*/ 6 w 8"/>
                <a:gd name="T1" fmla="*/ 9 h 9"/>
                <a:gd name="T2" fmla="*/ 7 w 8"/>
                <a:gd name="T3" fmla="*/ 8 h 9"/>
                <a:gd name="T4" fmla="*/ 8 w 8"/>
                <a:gd name="T5" fmla="*/ 7 h 9"/>
                <a:gd name="T6" fmla="*/ 8 w 8"/>
                <a:gd name="T7" fmla="*/ 6 h 9"/>
                <a:gd name="T8" fmla="*/ 7 w 8"/>
                <a:gd name="T9" fmla="*/ 4 h 9"/>
                <a:gd name="T10" fmla="*/ 5 w 8"/>
                <a:gd name="T11" fmla="*/ 2 h 9"/>
                <a:gd name="T12" fmla="*/ 2 w 8"/>
                <a:gd name="T13" fmla="*/ 1 h 9"/>
                <a:gd name="T14" fmla="*/ 1 w 8"/>
                <a:gd name="T15" fmla="*/ 4 h 9"/>
                <a:gd name="T16" fmla="*/ 6 w 8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6" y="9"/>
                  </a:moveTo>
                  <a:cubicBezTo>
                    <a:pt x="7" y="9"/>
                    <a:pt x="7" y="9"/>
                    <a:pt x="7" y="8"/>
                  </a:cubicBezTo>
                  <a:cubicBezTo>
                    <a:pt x="8" y="8"/>
                    <a:pt x="8" y="8"/>
                    <a:pt x="8" y="7"/>
                  </a:cubicBezTo>
                  <a:cubicBezTo>
                    <a:pt x="8" y="7"/>
                    <a:pt x="8" y="7"/>
                    <a:pt x="8" y="6"/>
                  </a:cubicBezTo>
                  <a:cubicBezTo>
                    <a:pt x="8" y="5"/>
                    <a:pt x="7" y="5"/>
                    <a:pt x="7" y="4"/>
                  </a:cubicBezTo>
                  <a:cubicBezTo>
                    <a:pt x="6" y="3"/>
                    <a:pt x="6" y="2"/>
                    <a:pt x="5" y="2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ubicBezTo>
                    <a:pt x="2" y="6"/>
                    <a:pt x="4" y="9"/>
                    <a:pt x="6" y="9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0" name="ïṥlïďe">
              <a:extLst>
                <a:ext uri="{FF2B5EF4-FFF2-40B4-BE49-F238E27FC236}">
                  <a16:creationId xmlns:a16="http://schemas.microsoft.com/office/drawing/2014/main" id="{CBFF95CF-2CC2-47BB-9FEE-00D331CA4B7F}"/>
                </a:ext>
              </a:extLst>
            </p:cNvPr>
            <p:cNvSpPr/>
            <p:nvPr/>
          </p:nvSpPr>
          <p:spPr bwMode="auto">
            <a:xfrm>
              <a:off x="5101399" y="1907030"/>
              <a:ext cx="119886" cy="57723"/>
            </a:xfrm>
            <a:custGeom>
              <a:avLst/>
              <a:gdLst>
                <a:gd name="T0" fmla="*/ 2 w 39"/>
                <a:gd name="T1" fmla="*/ 3 h 19"/>
                <a:gd name="T2" fmla="*/ 21 w 39"/>
                <a:gd name="T3" fmla="*/ 8 h 19"/>
                <a:gd name="T4" fmla="*/ 29 w 39"/>
                <a:gd name="T5" fmla="*/ 13 h 19"/>
                <a:gd name="T6" fmla="*/ 33 w 39"/>
                <a:gd name="T7" fmla="*/ 16 h 19"/>
                <a:gd name="T8" fmla="*/ 37 w 39"/>
                <a:gd name="T9" fmla="*/ 18 h 19"/>
                <a:gd name="T10" fmla="*/ 39 w 39"/>
                <a:gd name="T11" fmla="*/ 17 h 19"/>
                <a:gd name="T12" fmla="*/ 36 w 39"/>
                <a:gd name="T13" fmla="*/ 12 h 19"/>
                <a:gd name="T14" fmla="*/ 32 w 39"/>
                <a:gd name="T15" fmla="*/ 8 h 19"/>
                <a:gd name="T16" fmla="*/ 23 w 39"/>
                <a:gd name="T17" fmla="*/ 3 h 19"/>
                <a:gd name="T18" fmla="*/ 2 w 39"/>
                <a:gd name="T19" fmla="*/ 0 h 19"/>
                <a:gd name="T20" fmla="*/ 2 w 39"/>
                <a:gd name="T2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19">
                  <a:moveTo>
                    <a:pt x="2" y="3"/>
                  </a:moveTo>
                  <a:cubicBezTo>
                    <a:pt x="8" y="5"/>
                    <a:pt x="14" y="6"/>
                    <a:pt x="21" y="8"/>
                  </a:cubicBezTo>
                  <a:cubicBezTo>
                    <a:pt x="24" y="10"/>
                    <a:pt x="26" y="11"/>
                    <a:pt x="29" y="13"/>
                  </a:cubicBezTo>
                  <a:cubicBezTo>
                    <a:pt x="30" y="13"/>
                    <a:pt x="32" y="15"/>
                    <a:pt x="33" y="16"/>
                  </a:cubicBezTo>
                  <a:cubicBezTo>
                    <a:pt x="34" y="17"/>
                    <a:pt x="36" y="18"/>
                    <a:pt x="37" y="18"/>
                  </a:cubicBezTo>
                  <a:cubicBezTo>
                    <a:pt x="38" y="19"/>
                    <a:pt x="39" y="18"/>
                    <a:pt x="39" y="17"/>
                  </a:cubicBezTo>
                  <a:cubicBezTo>
                    <a:pt x="39" y="15"/>
                    <a:pt x="38" y="13"/>
                    <a:pt x="36" y="12"/>
                  </a:cubicBezTo>
                  <a:cubicBezTo>
                    <a:pt x="35" y="11"/>
                    <a:pt x="34" y="9"/>
                    <a:pt x="32" y="8"/>
                  </a:cubicBezTo>
                  <a:cubicBezTo>
                    <a:pt x="30" y="6"/>
                    <a:pt x="26" y="4"/>
                    <a:pt x="23" y="3"/>
                  </a:cubicBezTo>
                  <a:cubicBezTo>
                    <a:pt x="16" y="1"/>
                    <a:pt x="9" y="0"/>
                    <a:pt x="2" y="0"/>
                  </a:cubicBezTo>
                  <a:cubicBezTo>
                    <a:pt x="0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1" name="ï$ḻíḓe">
              <a:extLst>
                <a:ext uri="{FF2B5EF4-FFF2-40B4-BE49-F238E27FC236}">
                  <a16:creationId xmlns:a16="http://schemas.microsoft.com/office/drawing/2014/main" id="{50E03B7E-5CC5-4EF5-B634-C1C606D93A14}"/>
                </a:ext>
              </a:extLst>
            </p:cNvPr>
            <p:cNvSpPr/>
            <p:nvPr/>
          </p:nvSpPr>
          <p:spPr bwMode="auto">
            <a:xfrm>
              <a:off x="5398892" y="1615458"/>
              <a:ext cx="93244" cy="48843"/>
            </a:xfrm>
            <a:custGeom>
              <a:avLst/>
              <a:gdLst>
                <a:gd name="T0" fmla="*/ 2 w 30"/>
                <a:gd name="T1" fmla="*/ 4 h 16"/>
                <a:gd name="T2" fmla="*/ 16 w 30"/>
                <a:gd name="T3" fmla="*/ 7 h 16"/>
                <a:gd name="T4" fmla="*/ 23 w 30"/>
                <a:gd name="T5" fmla="*/ 10 h 16"/>
                <a:gd name="T6" fmla="*/ 28 w 30"/>
                <a:gd name="T7" fmla="*/ 15 h 16"/>
                <a:gd name="T8" fmla="*/ 30 w 30"/>
                <a:gd name="T9" fmla="*/ 14 h 16"/>
                <a:gd name="T10" fmla="*/ 19 w 30"/>
                <a:gd name="T11" fmla="*/ 2 h 16"/>
                <a:gd name="T12" fmla="*/ 3 w 30"/>
                <a:gd name="T13" fmla="*/ 0 h 16"/>
                <a:gd name="T14" fmla="*/ 2 w 30"/>
                <a:gd name="T15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16">
                  <a:moveTo>
                    <a:pt x="2" y="4"/>
                  </a:moveTo>
                  <a:cubicBezTo>
                    <a:pt x="7" y="5"/>
                    <a:pt x="12" y="5"/>
                    <a:pt x="16" y="7"/>
                  </a:cubicBezTo>
                  <a:cubicBezTo>
                    <a:pt x="18" y="8"/>
                    <a:pt x="21" y="9"/>
                    <a:pt x="23" y="10"/>
                  </a:cubicBezTo>
                  <a:cubicBezTo>
                    <a:pt x="25" y="12"/>
                    <a:pt x="26" y="14"/>
                    <a:pt x="28" y="15"/>
                  </a:cubicBezTo>
                  <a:cubicBezTo>
                    <a:pt x="29" y="16"/>
                    <a:pt x="30" y="15"/>
                    <a:pt x="30" y="14"/>
                  </a:cubicBezTo>
                  <a:cubicBezTo>
                    <a:pt x="30" y="7"/>
                    <a:pt x="24" y="4"/>
                    <a:pt x="19" y="2"/>
                  </a:cubicBezTo>
                  <a:cubicBezTo>
                    <a:pt x="14" y="0"/>
                    <a:pt x="8" y="0"/>
                    <a:pt x="3" y="0"/>
                  </a:cubicBezTo>
                  <a:cubicBezTo>
                    <a:pt x="1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2" name="îş1íḋé">
              <a:extLst>
                <a:ext uri="{FF2B5EF4-FFF2-40B4-BE49-F238E27FC236}">
                  <a16:creationId xmlns:a16="http://schemas.microsoft.com/office/drawing/2014/main" id="{F174B616-1524-4119-A3F1-0D0BF838C767}"/>
                </a:ext>
              </a:extLst>
            </p:cNvPr>
            <p:cNvSpPr/>
            <p:nvPr/>
          </p:nvSpPr>
          <p:spPr bwMode="auto">
            <a:xfrm>
              <a:off x="5404812" y="1310565"/>
              <a:ext cx="19241" cy="25162"/>
            </a:xfrm>
            <a:custGeom>
              <a:avLst/>
              <a:gdLst>
                <a:gd name="T0" fmla="*/ 2 w 6"/>
                <a:gd name="T1" fmla="*/ 6 h 8"/>
                <a:gd name="T2" fmla="*/ 5 w 6"/>
                <a:gd name="T3" fmla="*/ 4 h 8"/>
                <a:gd name="T4" fmla="*/ 5 w 6"/>
                <a:gd name="T5" fmla="*/ 4 h 8"/>
                <a:gd name="T6" fmla="*/ 4 w 6"/>
                <a:gd name="T7" fmla="*/ 3 h 8"/>
                <a:gd name="T8" fmla="*/ 4 w 6"/>
                <a:gd name="T9" fmla="*/ 3 h 8"/>
                <a:gd name="T10" fmla="*/ 4 w 6"/>
                <a:gd name="T11" fmla="*/ 2 h 8"/>
                <a:gd name="T12" fmla="*/ 4 w 6"/>
                <a:gd name="T13" fmla="*/ 2 h 8"/>
                <a:gd name="T14" fmla="*/ 2 w 6"/>
                <a:gd name="T15" fmla="*/ 0 h 8"/>
                <a:gd name="T16" fmla="*/ 0 w 6"/>
                <a:gd name="T17" fmla="*/ 2 h 8"/>
                <a:gd name="T18" fmla="*/ 2 w 6"/>
                <a:gd name="T1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8">
                  <a:moveTo>
                    <a:pt x="2" y="6"/>
                  </a:moveTo>
                  <a:cubicBezTo>
                    <a:pt x="3" y="8"/>
                    <a:pt x="6" y="6"/>
                    <a:pt x="5" y="4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5"/>
                    <a:pt x="2" y="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3" name="iṥḷiḑê">
              <a:extLst>
                <a:ext uri="{FF2B5EF4-FFF2-40B4-BE49-F238E27FC236}">
                  <a16:creationId xmlns:a16="http://schemas.microsoft.com/office/drawing/2014/main" id="{58FB235B-0CA6-473E-A5D2-D938EDE048C7}"/>
                </a:ext>
              </a:extLst>
            </p:cNvPr>
            <p:cNvSpPr/>
            <p:nvPr/>
          </p:nvSpPr>
          <p:spPr bwMode="auto">
            <a:xfrm>
              <a:off x="5295287" y="1227682"/>
              <a:ext cx="113965" cy="79923"/>
            </a:xfrm>
            <a:custGeom>
              <a:avLst/>
              <a:gdLst>
                <a:gd name="T0" fmla="*/ 29 w 37"/>
                <a:gd name="T1" fmla="*/ 18 h 26"/>
                <a:gd name="T2" fmla="*/ 33 w 37"/>
                <a:gd name="T3" fmla="*/ 25 h 26"/>
                <a:gd name="T4" fmla="*/ 35 w 37"/>
                <a:gd name="T5" fmla="*/ 25 h 26"/>
                <a:gd name="T6" fmla="*/ 33 w 37"/>
                <a:gd name="T7" fmla="*/ 15 h 26"/>
                <a:gd name="T8" fmla="*/ 24 w 37"/>
                <a:gd name="T9" fmla="*/ 7 h 26"/>
                <a:gd name="T10" fmla="*/ 13 w 37"/>
                <a:gd name="T11" fmla="*/ 2 h 26"/>
                <a:gd name="T12" fmla="*/ 2 w 37"/>
                <a:gd name="T13" fmla="*/ 1 h 26"/>
                <a:gd name="T14" fmla="*/ 2 w 37"/>
                <a:gd name="T15" fmla="*/ 3 h 26"/>
                <a:gd name="T16" fmla="*/ 11 w 37"/>
                <a:gd name="T17" fmla="*/ 6 h 26"/>
                <a:gd name="T18" fmla="*/ 21 w 37"/>
                <a:gd name="T19" fmla="*/ 10 h 26"/>
                <a:gd name="T20" fmla="*/ 29 w 37"/>
                <a:gd name="T21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26">
                  <a:moveTo>
                    <a:pt x="29" y="18"/>
                  </a:moveTo>
                  <a:cubicBezTo>
                    <a:pt x="30" y="20"/>
                    <a:pt x="31" y="23"/>
                    <a:pt x="33" y="25"/>
                  </a:cubicBezTo>
                  <a:cubicBezTo>
                    <a:pt x="34" y="26"/>
                    <a:pt x="35" y="26"/>
                    <a:pt x="35" y="25"/>
                  </a:cubicBezTo>
                  <a:cubicBezTo>
                    <a:pt x="37" y="22"/>
                    <a:pt x="35" y="18"/>
                    <a:pt x="33" y="15"/>
                  </a:cubicBezTo>
                  <a:cubicBezTo>
                    <a:pt x="31" y="11"/>
                    <a:pt x="27" y="9"/>
                    <a:pt x="24" y="7"/>
                  </a:cubicBezTo>
                  <a:cubicBezTo>
                    <a:pt x="21" y="4"/>
                    <a:pt x="17" y="3"/>
                    <a:pt x="13" y="2"/>
                  </a:cubicBezTo>
                  <a:cubicBezTo>
                    <a:pt x="9" y="1"/>
                    <a:pt x="5" y="0"/>
                    <a:pt x="2" y="1"/>
                  </a:cubicBezTo>
                  <a:cubicBezTo>
                    <a:pt x="0" y="1"/>
                    <a:pt x="0" y="3"/>
                    <a:pt x="2" y="3"/>
                  </a:cubicBezTo>
                  <a:cubicBezTo>
                    <a:pt x="5" y="4"/>
                    <a:pt x="8" y="5"/>
                    <a:pt x="11" y="6"/>
                  </a:cubicBezTo>
                  <a:cubicBezTo>
                    <a:pt x="14" y="7"/>
                    <a:pt x="18" y="8"/>
                    <a:pt x="21" y="10"/>
                  </a:cubicBezTo>
                  <a:cubicBezTo>
                    <a:pt x="24" y="13"/>
                    <a:pt x="26" y="15"/>
                    <a:pt x="29" y="1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4" name="îSļiďé">
              <a:extLst>
                <a:ext uri="{FF2B5EF4-FFF2-40B4-BE49-F238E27FC236}">
                  <a16:creationId xmlns:a16="http://schemas.microsoft.com/office/drawing/2014/main" id="{D39F3E68-4D79-40EC-BEFE-FFBC0A4E7754}"/>
                </a:ext>
              </a:extLst>
            </p:cNvPr>
            <p:cNvSpPr/>
            <p:nvPr/>
          </p:nvSpPr>
          <p:spPr bwMode="auto">
            <a:xfrm>
              <a:off x="5795548" y="1461531"/>
              <a:ext cx="16281" cy="23681"/>
            </a:xfrm>
            <a:custGeom>
              <a:avLst/>
              <a:gdLst>
                <a:gd name="T0" fmla="*/ 3 w 5"/>
                <a:gd name="T1" fmla="*/ 8 h 8"/>
                <a:gd name="T2" fmla="*/ 5 w 5"/>
                <a:gd name="T3" fmla="*/ 7 h 8"/>
                <a:gd name="T4" fmla="*/ 5 w 5"/>
                <a:gd name="T5" fmla="*/ 5 h 8"/>
                <a:gd name="T6" fmla="*/ 5 w 5"/>
                <a:gd name="T7" fmla="*/ 2 h 8"/>
                <a:gd name="T8" fmla="*/ 2 w 5"/>
                <a:gd name="T9" fmla="*/ 0 h 8"/>
                <a:gd name="T10" fmla="*/ 0 w 5"/>
                <a:gd name="T11" fmla="*/ 2 h 8"/>
                <a:gd name="T12" fmla="*/ 0 w 5"/>
                <a:gd name="T13" fmla="*/ 5 h 8"/>
                <a:gd name="T14" fmla="*/ 3 w 5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8"/>
                    <a:pt x="4" y="8"/>
                    <a:pt x="5" y="7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6"/>
                    <a:pt x="1" y="8"/>
                    <a:pt x="3" y="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5" name="ïşliďè">
              <a:extLst>
                <a:ext uri="{FF2B5EF4-FFF2-40B4-BE49-F238E27FC236}">
                  <a16:creationId xmlns:a16="http://schemas.microsoft.com/office/drawing/2014/main" id="{EDDABD03-F04F-4021-89B9-C1EDF9408BF8}"/>
                </a:ext>
              </a:extLst>
            </p:cNvPr>
            <p:cNvSpPr/>
            <p:nvPr/>
          </p:nvSpPr>
          <p:spPr bwMode="auto">
            <a:xfrm>
              <a:off x="5632741" y="1341646"/>
              <a:ext cx="150966" cy="100644"/>
            </a:xfrm>
            <a:custGeom>
              <a:avLst/>
              <a:gdLst>
                <a:gd name="T0" fmla="*/ 1 w 49"/>
                <a:gd name="T1" fmla="*/ 3 h 33"/>
                <a:gd name="T2" fmla="*/ 12 w 49"/>
                <a:gd name="T3" fmla="*/ 10 h 33"/>
                <a:gd name="T4" fmla="*/ 24 w 49"/>
                <a:gd name="T5" fmla="*/ 16 h 33"/>
                <a:gd name="T6" fmla="*/ 36 w 49"/>
                <a:gd name="T7" fmla="*/ 23 h 33"/>
                <a:gd name="T8" fmla="*/ 41 w 49"/>
                <a:gd name="T9" fmla="*/ 28 h 33"/>
                <a:gd name="T10" fmla="*/ 44 w 49"/>
                <a:gd name="T11" fmla="*/ 30 h 33"/>
                <a:gd name="T12" fmla="*/ 47 w 49"/>
                <a:gd name="T13" fmla="*/ 33 h 33"/>
                <a:gd name="T14" fmla="*/ 49 w 49"/>
                <a:gd name="T15" fmla="*/ 31 h 33"/>
                <a:gd name="T16" fmla="*/ 48 w 49"/>
                <a:gd name="T17" fmla="*/ 27 h 33"/>
                <a:gd name="T18" fmla="*/ 45 w 49"/>
                <a:gd name="T19" fmla="*/ 24 h 33"/>
                <a:gd name="T20" fmla="*/ 40 w 49"/>
                <a:gd name="T21" fmla="*/ 19 h 33"/>
                <a:gd name="T22" fmla="*/ 28 w 49"/>
                <a:gd name="T23" fmla="*/ 12 h 33"/>
                <a:gd name="T24" fmla="*/ 15 w 49"/>
                <a:gd name="T25" fmla="*/ 7 h 33"/>
                <a:gd name="T26" fmla="*/ 3 w 49"/>
                <a:gd name="T27" fmla="*/ 1 h 33"/>
                <a:gd name="T28" fmla="*/ 1 w 49"/>
                <a:gd name="T2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" h="33">
                  <a:moveTo>
                    <a:pt x="1" y="3"/>
                  </a:moveTo>
                  <a:cubicBezTo>
                    <a:pt x="5" y="6"/>
                    <a:pt x="9" y="9"/>
                    <a:pt x="12" y="10"/>
                  </a:cubicBezTo>
                  <a:cubicBezTo>
                    <a:pt x="16" y="12"/>
                    <a:pt x="20" y="14"/>
                    <a:pt x="24" y="16"/>
                  </a:cubicBezTo>
                  <a:cubicBezTo>
                    <a:pt x="29" y="18"/>
                    <a:pt x="33" y="20"/>
                    <a:pt x="36" y="23"/>
                  </a:cubicBezTo>
                  <a:cubicBezTo>
                    <a:pt x="38" y="25"/>
                    <a:pt x="39" y="26"/>
                    <a:pt x="41" y="28"/>
                  </a:cubicBezTo>
                  <a:cubicBezTo>
                    <a:pt x="42" y="29"/>
                    <a:pt x="43" y="30"/>
                    <a:pt x="44" y="30"/>
                  </a:cubicBezTo>
                  <a:cubicBezTo>
                    <a:pt x="45" y="32"/>
                    <a:pt x="46" y="32"/>
                    <a:pt x="47" y="33"/>
                  </a:cubicBezTo>
                  <a:cubicBezTo>
                    <a:pt x="48" y="33"/>
                    <a:pt x="49" y="32"/>
                    <a:pt x="49" y="31"/>
                  </a:cubicBezTo>
                  <a:cubicBezTo>
                    <a:pt x="49" y="30"/>
                    <a:pt x="49" y="29"/>
                    <a:pt x="48" y="27"/>
                  </a:cubicBezTo>
                  <a:cubicBezTo>
                    <a:pt x="47" y="26"/>
                    <a:pt x="46" y="25"/>
                    <a:pt x="45" y="24"/>
                  </a:cubicBezTo>
                  <a:cubicBezTo>
                    <a:pt x="44" y="22"/>
                    <a:pt x="42" y="21"/>
                    <a:pt x="40" y="19"/>
                  </a:cubicBezTo>
                  <a:cubicBezTo>
                    <a:pt x="36" y="16"/>
                    <a:pt x="32" y="14"/>
                    <a:pt x="28" y="12"/>
                  </a:cubicBezTo>
                  <a:cubicBezTo>
                    <a:pt x="24" y="10"/>
                    <a:pt x="19" y="8"/>
                    <a:pt x="15" y="7"/>
                  </a:cubicBezTo>
                  <a:cubicBezTo>
                    <a:pt x="11" y="5"/>
                    <a:pt x="7" y="3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6" name="ïṩ1íḑê">
              <a:extLst>
                <a:ext uri="{FF2B5EF4-FFF2-40B4-BE49-F238E27FC236}">
                  <a16:creationId xmlns:a16="http://schemas.microsoft.com/office/drawing/2014/main" id="{C5478B44-BCE6-4BA8-81B2-6957F82EA643}"/>
                </a:ext>
              </a:extLst>
            </p:cNvPr>
            <p:cNvSpPr/>
            <p:nvPr/>
          </p:nvSpPr>
          <p:spPr bwMode="auto">
            <a:xfrm>
              <a:off x="5233125" y="5812915"/>
              <a:ext cx="39962" cy="39962"/>
            </a:xfrm>
            <a:custGeom>
              <a:avLst/>
              <a:gdLst>
                <a:gd name="T0" fmla="*/ 13 w 13"/>
                <a:gd name="T1" fmla="*/ 9 h 13"/>
                <a:gd name="T2" fmla="*/ 13 w 13"/>
                <a:gd name="T3" fmla="*/ 9 h 13"/>
                <a:gd name="T4" fmla="*/ 13 w 13"/>
                <a:gd name="T5" fmla="*/ 10 h 13"/>
                <a:gd name="T6" fmla="*/ 12 w 13"/>
                <a:gd name="T7" fmla="*/ 11 h 13"/>
                <a:gd name="T8" fmla="*/ 11 w 13"/>
                <a:gd name="T9" fmla="*/ 12 h 13"/>
                <a:gd name="T10" fmla="*/ 10 w 13"/>
                <a:gd name="T11" fmla="*/ 12 h 13"/>
                <a:gd name="T12" fmla="*/ 8 w 13"/>
                <a:gd name="T13" fmla="*/ 13 h 13"/>
                <a:gd name="T14" fmla="*/ 1 w 13"/>
                <a:gd name="T15" fmla="*/ 11 h 13"/>
                <a:gd name="T16" fmla="*/ 0 w 13"/>
                <a:gd name="T17" fmla="*/ 10 h 13"/>
                <a:gd name="T18" fmla="*/ 0 w 13"/>
                <a:gd name="T19" fmla="*/ 9 h 13"/>
                <a:gd name="T20" fmla="*/ 0 w 13"/>
                <a:gd name="T21" fmla="*/ 8 h 13"/>
                <a:gd name="T22" fmla="*/ 10 w 13"/>
                <a:gd name="T23" fmla="*/ 1 h 13"/>
                <a:gd name="T24" fmla="*/ 12 w 13"/>
                <a:gd name="T25" fmla="*/ 0 h 13"/>
                <a:gd name="T26" fmla="*/ 12 w 13"/>
                <a:gd name="T27" fmla="*/ 1 h 13"/>
                <a:gd name="T28" fmla="*/ 13 w 13"/>
                <a:gd name="T29" fmla="*/ 6 h 13"/>
                <a:gd name="T30" fmla="*/ 13 w 13"/>
                <a:gd name="T3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13">
                  <a:moveTo>
                    <a:pt x="13" y="9"/>
                  </a:moveTo>
                  <a:cubicBezTo>
                    <a:pt x="13" y="9"/>
                    <a:pt x="13" y="9"/>
                    <a:pt x="13" y="9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0"/>
                    <a:pt x="12" y="11"/>
                    <a:pt x="12" y="11"/>
                  </a:cubicBezTo>
                  <a:cubicBezTo>
                    <a:pt x="12" y="11"/>
                    <a:pt x="11" y="12"/>
                    <a:pt x="11" y="12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0" y="13"/>
                    <a:pt x="9" y="13"/>
                    <a:pt x="8" y="13"/>
                  </a:cubicBezTo>
                  <a:cubicBezTo>
                    <a:pt x="6" y="13"/>
                    <a:pt x="3" y="13"/>
                    <a:pt x="1" y="11"/>
                  </a:cubicBezTo>
                  <a:cubicBezTo>
                    <a:pt x="0" y="11"/>
                    <a:pt x="0" y="10"/>
                    <a:pt x="0" y="1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3"/>
                    <a:pt x="6" y="1"/>
                    <a:pt x="10" y="1"/>
                  </a:cubicBezTo>
                  <a:cubicBezTo>
                    <a:pt x="11" y="1"/>
                    <a:pt x="11" y="1"/>
                    <a:pt x="12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2"/>
                    <a:pt x="13" y="5"/>
                    <a:pt x="13" y="6"/>
                  </a:cubicBezTo>
                  <a:cubicBezTo>
                    <a:pt x="13" y="8"/>
                    <a:pt x="13" y="8"/>
                    <a:pt x="13" y="9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7" name="îşlïďé">
              <a:extLst>
                <a:ext uri="{FF2B5EF4-FFF2-40B4-BE49-F238E27FC236}">
                  <a16:creationId xmlns:a16="http://schemas.microsoft.com/office/drawing/2014/main" id="{9E95E05B-0307-4806-94B1-3E4B82F32379}"/>
                </a:ext>
              </a:extLst>
            </p:cNvPr>
            <p:cNvSpPr/>
            <p:nvPr/>
          </p:nvSpPr>
          <p:spPr bwMode="auto">
            <a:xfrm>
              <a:off x="5218324" y="5790713"/>
              <a:ext cx="76963" cy="82883"/>
            </a:xfrm>
            <a:custGeom>
              <a:avLst/>
              <a:gdLst>
                <a:gd name="T0" fmla="*/ 20 w 25"/>
                <a:gd name="T1" fmla="*/ 3 h 27"/>
                <a:gd name="T2" fmla="*/ 14 w 25"/>
                <a:gd name="T3" fmla="*/ 0 h 27"/>
                <a:gd name="T4" fmla="*/ 13 w 25"/>
                <a:gd name="T5" fmla="*/ 2 h 27"/>
                <a:gd name="T6" fmla="*/ 14 w 25"/>
                <a:gd name="T7" fmla="*/ 3 h 27"/>
                <a:gd name="T8" fmla="*/ 1 w 25"/>
                <a:gd name="T9" fmla="*/ 12 h 27"/>
                <a:gd name="T10" fmla="*/ 1 w 25"/>
                <a:gd name="T11" fmla="*/ 20 h 27"/>
                <a:gd name="T12" fmla="*/ 8 w 25"/>
                <a:gd name="T13" fmla="*/ 25 h 27"/>
                <a:gd name="T14" fmla="*/ 23 w 25"/>
                <a:gd name="T15" fmla="*/ 18 h 27"/>
                <a:gd name="T16" fmla="*/ 20 w 25"/>
                <a:gd name="T17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7">
                  <a:moveTo>
                    <a:pt x="20" y="3"/>
                  </a:moveTo>
                  <a:cubicBezTo>
                    <a:pt x="18" y="1"/>
                    <a:pt x="17" y="0"/>
                    <a:pt x="14" y="0"/>
                  </a:cubicBezTo>
                  <a:cubicBezTo>
                    <a:pt x="13" y="0"/>
                    <a:pt x="13" y="1"/>
                    <a:pt x="13" y="2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9" y="4"/>
                    <a:pt x="3" y="7"/>
                    <a:pt x="1" y="12"/>
                  </a:cubicBezTo>
                  <a:cubicBezTo>
                    <a:pt x="0" y="14"/>
                    <a:pt x="0" y="17"/>
                    <a:pt x="1" y="20"/>
                  </a:cubicBezTo>
                  <a:cubicBezTo>
                    <a:pt x="2" y="23"/>
                    <a:pt x="5" y="24"/>
                    <a:pt x="8" y="25"/>
                  </a:cubicBezTo>
                  <a:cubicBezTo>
                    <a:pt x="14" y="27"/>
                    <a:pt x="21" y="24"/>
                    <a:pt x="23" y="18"/>
                  </a:cubicBezTo>
                  <a:cubicBezTo>
                    <a:pt x="25" y="13"/>
                    <a:pt x="23" y="6"/>
                    <a:pt x="20" y="3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8" name="îşliďê">
              <a:extLst>
                <a:ext uri="{FF2B5EF4-FFF2-40B4-BE49-F238E27FC236}">
                  <a16:creationId xmlns:a16="http://schemas.microsoft.com/office/drawing/2014/main" id="{5D366270-C6D6-429C-AA67-A5F5B9BA8B23}"/>
                </a:ext>
              </a:extLst>
            </p:cNvPr>
            <p:cNvSpPr/>
            <p:nvPr/>
          </p:nvSpPr>
          <p:spPr bwMode="auto">
            <a:xfrm>
              <a:off x="4784665" y="5576105"/>
              <a:ext cx="91764" cy="113965"/>
            </a:xfrm>
            <a:custGeom>
              <a:avLst/>
              <a:gdLst>
                <a:gd name="T0" fmla="*/ 28 w 30"/>
                <a:gd name="T1" fmla="*/ 17 h 37"/>
                <a:gd name="T2" fmla="*/ 28 w 30"/>
                <a:gd name="T3" fmla="*/ 17 h 37"/>
                <a:gd name="T4" fmla="*/ 29 w 30"/>
                <a:gd name="T5" fmla="*/ 17 h 37"/>
                <a:gd name="T6" fmla="*/ 29 w 30"/>
                <a:gd name="T7" fmla="*/ 17 h 37"/>
                <a:gd name="T8" fmla="*/ 29 w 30"/>
                <a:gd name="T9" fmla="*/ 18 h 37"/>
                <a:gd name="T10" fmla="*/ 29 w 30"/>
                <a:gd name="T11" fmla="*/ 20 h 37"/>
                <a:gd name="T12" fmla="*/ 30 w 30"/>
                <a:gd name="T13" fmla="*/ 21 h 37"/>
                <a:gd name="T14" fmla="*/ 30 w 30"/>
                <a:gd name="T15" fmla="*/ 23 h 37"/>
                <a:gd name="T16" fmla="*/ 30 w 30"/>
                <a:gd name="T17" fmla="*/ 26 h 37"/>
                <a:gd name="T18" fmla="*/ 29 w 30"/>
                <a:gd name="T19" fmla="*/ 30 h 37"/>
                <a:gd name="T20" fmla="*/ 28 w 30"/>
                <a:gd name="T21" fmla="*/ 31 h 37"/>
                <a:gd name="T22" fmla="*/ 27 w 30"/>
                <a:gd name="T23" fmla="*/ 32 h 37"/>
                <a:gd name="T24" fmla="*/ 27 w 30"/>
                <a:gd name="T25" fmla="*/ 33 h 37"/>
                <a:gd name="T26" fmla="*/ 26 w 30"/>
                <a:gd name="T27" fmla="*/ 33 h 37"/>
                <a:gd name="T28" fmla="*/ 25 w 30"/>
                <a:gd name="T29" fmla="*/ 34 h 37"/>
                <a:gd name="T30" fmla="*/ 11 w 30"/>
                <a:gd name="T31" fmla="*/ 36 h 37"/>
                <a:gd name="T32" fmla="*/ 9 w 30"/>
                <a:gd name="T33" fmla="*/ 35 h 37"/>
                <a:gd name="T34" fmla="*/ 9 w 30"/>
                <a:gd name="T35" fmla="*/ 35 h 37"/>
                <a:gd name="T36" fmla="*/ 8 w 30"/>
                <a:gd name="T37" fmla="*/ 35 h 37"/>
                <a:gd name="T38" fmla="*/ 7 w 30"/>
                <a:gd name="T39" fmla="*/ 34 h 37"/>
                <a:gd name="T40" fmla="*/ 6 w 30"/>
                <a:gd name="T41" fmla="*/ 34 h 37"/>
                <a:gd name="T42" fmla="*/ 6 w 30"/>
                <a:gd name="T43" fmla="*/ 34 h 37"/>
                <a:gd name="T44" fmla="*/ 6 w 30"/>
                <a:gd name="T45" fmla="*/ 33 h 37"/>
                <a:gd name="T46" fmla="*/ 2 w 30"/>
                <a:gd name="T47" fmla="*/ 28 h 37"/>
                <a:gd name="T48" fmla="*/ 2 w 30"/>
                <a:gd name="T49" fmla="*/ 27 h 37"/>
                <a:gd name="T50" fmla="*/ 1 w 30"/>
                <a:gd name="T51" fmla="*/ 27 h 37"/>
                <a:gd name="T52" fmla="*/ 1 w 30"/>
                <a:gd name="T53" fmla="*/ 25 h 37"/>
                <a:gd name="T54" fmla="*/ 0 w 30"/>
                <a:gd name="T55" fmla="*/ 22 h 37"/>
                <a:gd name="T56" fmla="*/ 0 w 30"/>
                <a:gd name="T57" fmla="*/ 21 h 37"/>
                <a:gd name="T58" fmla="*/ 0 w 30"/>
                <a:gd name="T59" fmla="*/ 20 h 37"/>
                <a:gd name="T60" fmla="*/ 0 w 30"/>
                <a:gd name="T61" fmla="*/ 19 h 37"/>
                <a:gd name="T62" fmla="*/ 0 w 30"/>
                <a:gd name="T63" fmla="*/ 17 h 37"/>
                <a:gd name="T64" fmla="*/ 0 w 30"/>
                <a:gd name="T65" fmla="*/ 16 h 37"/>
                <a:gd name="T66" fmla="*/ 0 w 30"/>
                <a:gd name="T67" fmla="*/ 15 h 37"/>
                <a:gd name="T68" fmla="*/ 1 w 30"/>
                <a:gd name="T69" fmla="*/ 12 h 37"/>
                <a:gd name="T70" fmla="*/ 2 w 30"/>
                <a:gd name="T71" fmla="*/ 9 h 37"/>
                <a:gd name="T72" fmla="*/ 6 w 30"/>
                <a:gd name="T73" fmla="*/ 4 h 37"/>
                <a:gd name="T74" fmla="*/ 12 w 30"/>
                <a:gd name="T75" fmla="*/ 0 h 37"/>
                <a:gd name="T76" fmla="*/ 12 w 30"/>
                <a:gd name="T77" fmla="*/ 0 h 37"/>
                <a:gd name="T78" fmla="*/ 17 w 30"/>
                <a:gd name="T79" fmla="*/ 4 h 37"/>
                <a:gd name="T80" fmla="*/ 27 w 30"/>
                <a:gd name="T81" fmla="*/ 14 h 37"/>
                <a:gd name="T82" fmla="*/ 28 w 30"/>
                <a:gd name="T83" fmla="*/ 1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0" h="37">
                  <a:moveTo>
                    <a:pt x="28" y="17"/>
                  </a:move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9"/>
                    <a:pt x="29" y="19"/>
                    <a:pt x="29" y="20"/>
                  </a:cubicBezTo>
                  <a:cubicBezTo>
                    <a:pt x="30" y="20"/>
                    <a:pt x="30" y="21"/>
                    <a:pt x="30" y="21"/>
                  </a:cubicBezTo>
                  <a:cubicBezTo>
                    <a:pt x="30" y="22"/>
                    <a:pt x="30" y="23"/>
                    <a:pt x="30" y="23"/>
                  </a:cubicBezTo>
                  <a:cubicBezTo>
                    <a:pt x="30" y="24"/>
                    <a:pt x="30" y="25"/>
                    <a:pt x="30" y="26"/>
                  </a:cubicBezTo>
                  <a:cubicBezTo>
                    <a:pt x="30" y="27"/>
                    <a:pt x="30" y="29"/>
                    <a:pt x="29" y="30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8" y="31"/>
                    <a:pt x="28" y="32"/>
                    <a:pt x="27" y="32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4"/>
                    <a:pt x="25" y="34"/>
                  </a:cubicBezTo>
                  <a:cubicBezTo>
                    <a:pt x="22" y="36"/>
                    <a:pt x="15" y="37"/>
                    <a:pt x="11" y="36"/>
                  </a:cubicBezTo>
                  <a:cubicBezTo>
                    <a:pt x="11" y="36"/>
                    <a:pt x="10" y="36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8" y="35"/>
                    <a:pt x="8" y="35"/>
                  </a:cubicBezTo>
                  <a:cubicBezTo>
                    <a:pt x="8" y="35"/>
                    <a:pt x="7" y="34"/>
                    <a:pt x="7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6" y="33"/>
                    <a:pt x="6" y="33"/>
                  </a:cubicBezTo>
                  <a:cubicBezTo>
                    <a:pt x="4" y="31"/>
                    <a:pt x="3" y="30"/>
                    <a:pt x="2" y="28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5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0"/>
                  </a:cubicBezTo>
                  <a:cubicBezTo>
                    <a:pt x="0" y="20"/>
                    <a:pt x="0" y="19"/>
                    <a:pt x="0" y="19"/>
                  </a:cubicBezTo>
                  <a:cubicBezTo>
                    <a:pt x="0" y="18"/>
                    <a:pt x="0" y="17"/>
                    <a:pt x="0" y="17"/>
                  </a:cubicBezTo>
                  <a:cubicBezTo>
                    <a:pt x="0" y="17"/>
                    <a:pt x="0" y="16"/>
                    <a:pt x="0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1" y="13"/>
                    <a:pt x="1" y="12"/>
                  </a:cubicBezTo>
                  <a:cubicBezTo>
                    <a:pt x="1" y="11"/>
                    <a:pt x="2" y="10"/>
                    <a:pt x="2" y="9"/>
                  </a:cubicBezTo>
                  <a:cubicBezTo>
                    <a:pt x="3" y="7"/>
                    <a:pt x="4" y="5"/>
                    <a:pt x="6" y="4"/>
                  </a:cubicBezTo>
                  <a:cubicBezTo>
                    <a:pt x="7" y="2"/>
                    <a:pt x="10" y="1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1"/>
                    <a:pt x="15" y="3"/>
                    <a:pt x="17" y="4"/>
                  </a:cubicBezTo>
                  <a:cubicBezTo>
                    <a:pt x="21" y="6"/>
                    <a:pt x="24" y="10"/>
                    <a:pt x="27" y="14"/>
                  </a:cubicBezTo>
                  <a:cubicBezTo>
                    <a:pt x="27" y="15"/>
                    <a:pt x="28" y="16"/>
                    <a:pt x="28" y="17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9" name="íṣḻidê">
              <a:extLst>
                <a:ext uri="{FF2B5EF4-FFF2-40B4-BE49-F238E27FC236}">
                  <a16:creationId xmlns:a16="http://schemas.microsoft.com/office/drawing/2014/main" id="{71A537C5-67DD-41C8-B6A9-C1453E1470F5}"/>
                </a:ext>
              </a:extLst>
            </p:cNvPr>
            <p:cNvSpPr/>
            <p:nvPr/>
          </p:nvSpPr>
          <p:spPr bwMode="auto">
            <a:xfrm>
              <a:off x="4765425" y="5550943"/>
              <a:ext cx="139126" cy="156887"/>
            </a:xfrm>
            <a:custGeom>
              <a:avLst/>
              <a:gdLst>
                <a:gd name="T0" fmla="*/ 22 w 45"/>
                <a:gd name="T1" fmla="*/ 4 h 51"/>
                <a:gd name="T2" fmla="*/ 9 w 45"/>
                <a:gd name="T3" fmla="*/ 1 h 51"/>
                <a:gd name="T4" fmla="*/ 9 w 45"/>
                <a:gd name="T5" fmla="*/ 5 h 51"/>
                <a:gd name="T6" fmla="*/ 11 w 45"/>
                <a:gd name="T7" fmla="*/ 6 h 51"/>
                <a:gd name="T8" fmla="*/ 0 w 45"/>
                <a:gd name="T9" fmla="*/ 25 h 51"/>
                <a:gd name="T10" fmla="*/ 15 w 45"/>
                <a:gd name="T11" fmla="*/ 49 h 51"/>
                <a:gd name="T12" fmla="*/ 32 w 45"/>
                <a:gd name="T13" fmla="*/ 48 h 51"/>
                <a:gd name="T14" fmla="*/ 41 w 45"/>
                <a:gd name="T15" fmla="*/ 38 h 51"/>
                <a:gd name="T16" fmla="*/ 33 w 45"/>
                <a:gd name="T17" fmla="*/ 12 h 51"/>
                <a:gd name="T18" fmla="*/ 22 w 45"/>
                <a:gd name="T19" fmla="*/ 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51">
                  <a:moveTo>
                    <a:pt x="22" y="4"/>
                  </a:moveTo>
                  <a:cubicBezTo>
                    <a:pt x="18" y="2"/>
                    <a:pt x="13" y="0"/>
                    <a:pt x="9" y="1"/>
                  </a:cubicBezTo>
                  <a:cubicBezTo>
                    <a:pt x="7" y="2"/>
                    <a:pt x="7" y="5"/>
                    <a:pt x="9" y="5"/>
                  </a:cubicBezTo>
                  <a:cubicBezTo>
                    <a:pt x="10" y="6"/>
                    <a:pt x="10" y="6"/>
                    <a:pt x="11" y="6"/>
                  </a:cubicBezTo>
                  <a:cubicBezTo>
                    <a:pt x="5" y="9"/>
                    <a:pt x="1" y="17"/>
                    <a:pt x="0" y="25"/>
                  </a:cubicBezTo>
                  <a:cubicBezTo>
                    <a:pt x="0" y="35"/>
                    <a:pt x="4" y="46"/>
                    <a:pt x="15" y="49"/>
                  </a:cubicBezTo>
                  <a:cubicBezTo>
                    <a:pt x="20" y="51"/>
                    <a:pt x="27" y="50"/>
                    <a:pt x="32" y="48"/>
                  </a:cubicBezTo>
                  <a:cubicBezTo>
                    <a:pt x="36" y="47"/>
                    <a:pt x="40" y="43"/>
                    <a:pt x="41" y="38"/>
                  </a:cubicBezTo>
                  <a:cubicBezTo>
                    <a:pt x="45" y="29"/>
                    <a:pt x="39" y="18"/>
                    <a:pt x="33" y="12"/>
                  </a:cubicBezTo>
                  <a:cubicBezTo>
                    <a:pt x="30" y="8"/>
                    <a:pt x="26" y="5"/>
                    <a:pt x="22" y="4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0" name="îŝlíḑê">
              <a:extLst>
                <a:ext uri="{FF2B5EF4-FFF2-40B4-BE49-F238E27FC236}">
                  <a16:creationId xmlns:a16="http://schemas.microsoft.com/office/drawing/2014/main" id="{389886D9-63C5-4D57-A750-E8692BBE78D5}"/>
                </a:ext>
              </a:extLst>
            </p:cNvPr>
            <p:cNvSpPr/>
            <p:nvPr/>
          </p:nvSpPr>
          <p:spPr bwMode="auto">
            <a:xfrm>
              <a:off x="4528615" y="5465099"/>
              <a:ext cx="39962" cy="31082"/>
            </a:xfrm>
            <a:custGeom>
              <a:avLst/>
              <a:gdLst>
                <a:gd name="T0" fmla="*/ 10 w 13"/>
                <a:gd name="T1" fmla="*/ 10 h 10"/>
                <a:gd name="T2" fmla="*/ 10 w 13"/>
                <a:gd name="T3" fmla="*/ 10 h 10"/>
                <a:gd name="T4" fmla="*/ 6 w 13"/>
                <a:gd name="T5" fmla="*/ 10 h 10"/>
                <a:gd name="T6" fmla="*/ 1 w 13"/>
                <a:gd name="T7" fmla="*/ 8 h 10"/>
                <a:gd name="T8" fmla="*/ 6 w 13"/>
                <a:gd name="T9" fmla="*/ 0 h 10"/>
                <a:gd name="T10" fmla="*/ 6 w 13"/>
                <a:gd name="T11" fmla="*/ 0 h 10"/>
                <a:gd name="T12" fmla="*/ 10 w 13"/>
                <a:gd name="T13" fmla="*/ 2 h 10"/>
                <a:gd name="T14" fmla="*/ 11 w 13"/>
                <a:gd name="T15" fmla="*/ 3 h 10"/>
                <a:gd name="T16" fmla="*/ 12 w 13"/>
                <a:gd name="T17" fmla="*/ 4 h 10"/>
                <a:gd name="T18" fmla="*/ 12 w 13"/>
                <a:gd name="T19" fmla="*/ 4 h 10"/>
                <a:gd name="T20" fmla="*/ 10 w 13"/>
                <a:gd name="T2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0">
                  <a:moveTo>
                    <a:pt x="10" y="10"/>
                  </a:moveTo>
                  <a:cubicBezTo>
                    <a:pt x="10" y="10"/>
                    <a:pt x="10" y="10"/>
                    <a:pt x="10" y="10"/>
                  </a:cubicBezTo>
                  <a:cubicBezTo>
                    <a:pt x="9" y="10"/>
                    <a:pt x="7" y="10"/>
                    <a:pt x="6" y="10"/>
                  </a:cubicBezTo>
                  <a:cubicBezTo>
                    <a:pt x="4" y="10"/>
                    <a:pt x="2" y="9"/>
                    <a:pt x="1" y="8"/>
                  </a:cubicBezTo>
                  <a:cubicBezTo>
                    <a:pt x="0" y="5"/>
                    <a:pt x="4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1"/>
                    <a:pt x="9" y="2"/>
                    <a:pt x="10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3"/>
                    <a:pt x="12" y="4"/>
                  </a:cubicBezTo>
                  <a:cubicBezTo>
                    <a:pt x="12" y="4"/>
                    <a:pt x="12" y="5"/>
                    <a:pt x="12" y="4"/>
                  </a:cubicBezTo>
                  <a:cubicBezTo>
                    <a:pt x="13" y="7"/>
                    <a:pt x="12" y="9"/>
                    <a:pt x="10" y="10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1" name="ïṣ1îḍê">
              <a:extLst>
                <a:ext uri="{FF2B5EF4-FFF2-40B4-BE49-F238E27FC236}">
                  <a16:creationId xmlns:a16="http://schemas.microsoft.com/office/drawing/2014/main" id="{28284C3D-25BD-412C-AEEC-E70B1251A1C6}"/>
                </a:ext>
              </a:extLst>
            </p:cNvPr>
            <p:cNvSpPr/>
            <p:nvPr/>
          </p:nvSpPr>
          <p:spPr bwMode="auto">
            <a:xfrm>
              <a:off x="4516774" y="5450299"/>
              <a:ext cx="66603" cy="63643"/>
            </a:xfrm>
            <a:custGeom>
              <a:avLst/>
              <a:gdLst>
                <a:gd name="T0" fmla="*/ 10 w 22"/>
                <a:gd name="T1" fmla="*/ 3 h 21"/>
                <a:gd name="T2" fmla="*/ 7 w 22"/>
                <a:gd name="T3" fmla="*/ 2 h 21"/>
                <a:gd name="T4" fmla="*/ 2 w 22"/>
                <a:gd name="T5" fmla="*/ 15 h 21"/>
                <a:gd name="T6" fmla="*/ 16 w 22"/>
                <a:gd name="T7" fmla="*/ 19 h 21"/>
                <a:gd name="T8" fmla="*/ 21 w 22"/>
                <a:gd name="T9" fmla="*/ 9 h 21"/>
                <a:gd name="T10" fmla="*/ 10 w 22"/>
                <a:gd name="T11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1">
                  <a:moveTo>
                    <a:pt x="10" y="3"/>
                  </a:moveTo>
                  <a:cubicBezTo>
                    <a:pt x="9" y="2"/>
                    <a:pt x="8" y="2"/>
                    <a:pt x="7" y="2"/>
                  </a:cubicBezTo>
                  <a:cubicBezTo>
                    <a:pt x="4" y="5"/>
                    <a:pt x="0" y="9"/>
                    <a:pt x="2" y="15"/>
                  </a:cubicBezTo>
                  <a:cubicBezTo>
                    <a:pt x="3" y="20"/>
                    <a:pt x="11" y="21"/>
                    <a:pt x="16" y="19"/>
                  </a:cubicBezTo>
                  <a:cubicBezTo>
                    <a:pt x="20" y="18"/>
                    <a:pt x="22" y="13"/>
                    <a:pt x="21" y="9"/>
                  </a:cubicBezTo>
                  <a:cubicBezTo>
                    <a:pt x="20" y="4"/>
                    <a:pt x="14" y="0"/>
                    <a:pt x="10" y="3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2" name="îŝ1iḑé">
              <a:extLst>
                <a:ext uri="{FF2B5EF4-FFF2-40B4-BE49-F238E27FC236}">
                  <a16:creationId xmlns:a16="http://schemas.microsoft.com/office/drawing/2014/main" id="{410D07C3-40E1-4BCB-89C0-0B4923D9C8C0}"/>
                </a:ext>
              </a:extLst>
            </p:cNvPr>
            <p:cNvSpPr/>
            <p:nvPr/>
          </p:nvSpPr>
          <p:spPr bwMode="auto">
            <a:xfrm>
              <a:off x="7112804" y="2238564"/>
              <a:ext cx="293052" cy="313773"/>
            </a:xfrm>
            <a:custGeom>
              <a:avLst/>
              <a:gdLst>
                <a:gd name="T0" fmla="*/ 2 w 95"/>
                <a:gd name="T1" fmla="*/ 81 h 102"/>
                <a:gd name="T2" fmla="*/ 2 w 95"/>
                <a:gd name="T3" fmla="*/ 82 h 102"/>
                <a:gd name="T4" fmla="*/ 27 w 95"/>
                <a:gd name="T5" fmla="*/ 102 h 102"/>
                <a:gd name="T6" fmla="*/ 27 w 95"/>
                <a:gd name="T7" fmla="*/ 95 h 102"/>
                <a:gd name="T8" fmla="*/ 34 w 95"/>
                <a:gd name="T9" fmla="*/ 75 h 102"/>
                <a:gd name="T10" fmla="*/ 63 w 95"/>
                <a:gd name="T11" fmla="*/ 44 h 102"/>
                <a:gd name="T12" fmla="*/ 95 w 95"/>
                <a:gd name="T13" fmla="*/ 45 h 102"/>
                <a:gd name="T14" fmla="*/ 95 w 95"/>
                <a:gd name="T15" fmla="*/ 44 h 102"/>
                <a:gd name="T16" fmla="*/ 95 w 95"/>
                <a:gd name="T17" fmla="*/ 39 h 102"/>
                <a:gd name="T18" fmla="*/ 95 w 95"/>
                <a:gd name="T19" fmla="*/ 37 h 102"/>
                <a:gd name="T20" fmla="*/ 95 w 95"/>
                <a:gd name="T21" fmla="*/ 36 h 102"/>
                <a:gd name="T22" fmla="*/ 95 w 95"/>
                <a:gd name="T23" fmla="*/ 36 h 102"/>
                <a:gd name="T24" fmla="*/ 92 w 95"/>
                <a:gd name="T25" fmla="*/ 26 h 102"/>
                <a:gd name="T26" fmla="*/ 92 w 95"/>
                <a:gd name="T27" fmla="*/ 24 h 102"/>
                <a:gd name="T28" fmla="*/ 91 w 95"/>
                <a:gd name="T29" fmla="*/ 23 h 102"/>
                <a:gd name="T30" fmla="*/ 91 w 95"/>
                <a:gd name="T31" fmla="*/ 22 h 102"/>
                <a:gd name="T32" fmla="*/ 89 w 95"/>
                <a:gd name="T33" fmla="*/ 18 h 102"/>
                <a:gd name="T34" fmla="*/ 86 w 95"/>
                <a:gd name="T35" fmla="*/ 14 h 102"/>
                <a:gd name="T36" fmla="*/ 85 w 95"/>
                <a:gd name="T37" fmla="*/ 12 h 102"/>
                <a:gd name="T38" fmla="*/ 85 w 95"/>
                <a:gd name="T39" fmla="*/ 12 h 102"/>
                <a:gd name="T40" fmla="*/ 85 w 95"/>
                <a:gd name="T41" fmla="*/ 12 h 102"/>
                <a:gd name="T42" fmla="*/ 84 w 95"/>
                <a:gd name="T43" fmla="*/ 11 h 102"/>
                <a:gd name="T44" fmla="*/ 81 w 95"/>
                <a:gd name="T45" fmla="*/ 8 h 102"/>
                <a:gd name="T46" fmla="*/ 79 w 95"/>
                <a:gd name="T47" fmla="*/ 6 h 102"/>
                <a:gd name="T48" fmla="*/ 78 w 95"/>
                <a:gd name="T49" fmla="*/ 6 h 102"/>
                <a:gd name="T50" fmla="*/ 78 w 95"/>
                <a:gd name="T51" fmla="*/ 6 h 102"/>
                <a:gd name="T52" fmla="*/ 75 w 95"/>
                <a:gd name="T53" fmla="*/ 3 h 102"/>
                <a:gd name="T54" fmla="*/ 73 w 95"/>
                <a:gd name="T55" fmla="*/ 2 h 102"/>
                <a:gd name="T56" fmla="*/ 72 w 95"/>
                <a:gd name="T57" fmla="*/ 2 h 102"/>
                <a:gd name="T58" fmla="*/ 71 w 95"/>
                <a:gd name="T59" fmla="*/ 2 h 102"/>
                <a:gd name="T60" fmla="*/ 68 w 95"/>
                <a:gd name="T61" fmla="*/ 0 h 102"/>
                <a:gd name="T62" fmla="*/ 61 w 95"/>
                <a:gd name="T63" fmla="*/ 7 h 102"/>
                <a:gd name="T64" fmla="*/ 63 w 95"/>
                <a:gd name="T65" fmla="*/ 7 h 102"/>
                <a:gd name="T66" fmla="*/ 63 w 95"/>
                <a:gd name="T67" fmla="*/ 7 h 102"/>
                <a:gd name="T68" fmla="*/ 69 w 95"/>
                <a:gd name="T69" fmla="*/ 7 h 102"/>
                <a:gd name="T70" fmla="*/ 76 w 95"/>
                <a:gd name="T71" fmla="*/ 11 h 102"/>
                <a:gd name="T72" fmla="*/ 80 w 95"/>
                <a:gd name="T73" fmla="*/ 24 h 102"/>
                <a:gd name="T74" fmla="*/ 86 w 95"/>
                <a:gd name="T75" fmla="*/ 32 h 102"/>
                <a:gd name="T76" fmla="*/ 88 w 95"/>
                <a:gd name="T77" fmla="*/ 42 h 102"/>
                <a:gd name="T78" fmla="*/ 86 w 95"/>
                <a:gd name="T79" fmla="*/ 42 h 102"/>
                <a:gd name="T80" fmla="*/ 82 w 95"/>
                <a:gd name="T81" fmla="*/ 34 h 102"/>
                <a:gd name="T82" fmla="*/ 78 w 95"/>
                <a:gd name="T83" fmla="*/ 28 h 102"/>
                <a:gd name="T84" fmla="*/ 70 w 95"/>
                <a:gd name="T85" fmla="*/ 33 h 102"/>
                <a:gd name="T86" fmla="*/ 54 w 95"/>
                <a:gd name="T87" fmla="*/ 26 h 102"/>
                <a:gd name="T88" fmla="*/ 54 w 95"/>
                <a:gd name="T89" fmla="*/ 26 h 102"/>
                <a:gd name="T90" fmla="*/ 51 w 95"/>
                <a:gd name="T91" fmla="*/ 14 h 102"/>
                <a:gd name="T92" fmla="*/ 40 w 95"/>
                <a:gd name="T93" fmla="*/ 22 h 102"/>
                <a:gd name="T94" fmla="*/ 7 w 95"/>
                <a:gd name="T95" fmla="*/ 43 h 102"/>
                <a:gd name="T96" fmla="*/ 6 w 95"/>
                <a:gd name="T97" fmla="*/ 45 h 102"/>
                <a:gd name="T98" fmla="*/ 1 w 95"/>
                <a:gd name="T99" fmla="*/ 59 h 102"/>
                <a:gd name="T100" fmla="*/ 0 w 95"/>
                <a:gd name="T101" fmla="*/ 67 h 102"/>
                <a:gd name="T102" fmla="*/ 2 w 95"/>
                <a:gd name="T103" fmla="*/ 8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5" h="102">
                  <a:moveTo>
                    <a:pt x="2" y="81"/>
                  </a:moveTo>
                  <a:cubicBezTo>
                    <a:pt x="2" y="81"/>
                    <a:pt x="2" y="82"/>
                    <a:pt x="2" y="82"/>
                  </a:cubicBezTo>
                  <a:cubicBezTo>
                    <a:pt x="12" y="86"/>
                    <a:pt x="21" y="93"/>
                    <a:pt x="27" y="102"/>
                  </a:cubicBezTo>
                  <a:cubicBezTo>
                    <a:pt x="27" y="99"/>
                    <a:pt x="27" y="97"/>
                    <a:pt x="27" y="95"/>
                  </a:cubicBezTo>
                  <a:cubicBezTo>
                    <a:pt x="28" y="88"/>
                    <a:pt x="31" y="81"/>
                    <a:pt x="34" y="75"/>
                  </a:cubicBezTo>
                  <a:cubicBezTo>
                    <a:pt x="40" y="62"/>
                    <a:pt x="49" y="50"/>
                    <a:pt x="63" y="44"/>
                  </a:cubicBezTo>
                  <a:cubicBezTo>
                    <a:pt x="73" y="40"/>
                    <a:pt x="84" y="41"/>
                    <a:pt x="95" y="45"/>
                  </a:cubicBezTo>
                  <a:cubicBezTo>
                    <a:pt x="95" y="45"/>
                    <a:pt x="95" y="44"/>
                    <a:pt x="95" y="44"/>
                  </a:cubicBezTo>
                  <a:cubicBezTo>
                    <a:pt x="95" y="42"/>
                    <a:pt x="95" y="41"/>
                    <a:pt x="95" y="39"/>
                  </a:cubicBezTo>
                  <a:cubicBezTo>
                    <a:pt x="95" y="38"/>
                    <a:pt x="95" y="38"/>
                    <a:pt x="95" y="37"/>
                  </a:cubicBezTo>
                  <a:cubicBezTo>
                    <a:pt x="95" y="37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3"/>
                    <a:pt x="93" y="30"/>
                    <a:pt x="92" y="26"/>
                  </a:cubicBezTo>
                  <a:cubicBezTo>
                    <a:pt x="92" y="25"/>
                    <a:pt x="92" y="25"/>
                    <a:pt x="92" y="24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91" y="23"/>
                    <a:pt x="91" y="23"/>
                    <a:pt x="91" y="22"/>
                  </a:cubicBezTo>
                  <a:cubicBezTo>
                    <a:pt x="90" y="21"/>
                    <a:pt x="90" y="20"/>
                    <a:pt x="89" y="18"/>
                  </a:cubicBezTo>
                  <a:cubicBezTo>
                    <a:pt x="88" y="17"/>
                    <a:pt x="87" y="16"/>
                    <a:pt x="86" y="14"/>
                  </a:cubicBezTo>
                  <a:cubicBezTo>
                    <a:pt x="86" y="14"/>
                    <a:pt x="85" y="13"/>
                    <a:pt x="85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12"/>
                    <a:pt x="84" y="12"/>
                    <a:pt x="84" y="11"/>
                  </a:cubicBezTo>
                  <a:cubicBezTo>
                    <a:pt x="83" y="10"/>
                    <a:pt x="82" y="9"/>
                    <a:pt x="81" y="8"/>
                  </a:cubicBezTo>
                  <a:cubicBezTo>
                    <a:pt x="80" y="7"/>
                    <a:pt x="80" y="7"/>
                    <a:pt x="79" y="6"/>
                  </a:cubicBezTo>
                  <a:cubicBezTo>
                    <a:pt x="79" y="6"/>
                    <a:pt x="79" y="6"/>
                    <a:pt x="78" y="6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7" y="5"/>
                    <a:pt x="76" y="4"/>
                    <a:pt x="75" y="3"/>
                  </a:cubicBezTo>
                  <a:cubicBezTo>
                    <a:pt x="74" y="3"/>
                    <a:pt x="73" y="2"/>
                    <a:pt x="73" y="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2" y="2"/>
                    <a:pt x="72" y="2"/>
                    <a:pt x="71" y="2"/>
                  </a:cubicBezTo>
                  <a:cubicBezTo>
                    <a:pt x="71" y="1"/>
                    <a:pt x="70" y="1"/>
                    <a:pt x="68" y="0"/>
                  </a:cubicBezTo>
                  <a:cubicBezTo>
                    <a:pt x="66" y="3"/>
                    <a:pt x="63" y="5"/>
                    <a:pt x="61" y="7"/>
                  </a:cubicBezTo>
                  <a:cubicBezTo>
                    <a:pt x="61" y="7"/>
                    <a:pt x="62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5" y="7"/>
                    <a:pt x="67" y="7"/>
                    <a:pt x="69" y="7"/>
                  </a:cubicBezTo>
                  <a:cubicBezTo>
                    <a:pt x="71" y="8"/>
                    <a:pt x="74" y="9"/>
                    <a:pt x="76" y="11"/>
                  </a:cubicBezTo>
                  <a:cubicBezTo>
                    <a:pt x="79" y="14"/>
                    <a:pt x="81" y="19"/>
                    <a:pt x="80" y="24"/>
                  </a:cubicBezTo>
                  <a:cubicBezTo>
                    <a:pt x="82" y="26"/>
                    <a:pt x="84" y="29"/>
                    <a:pt x="86" y="32"/>
                  </a:cubicBezTo>
                  <a:cubicBezTo>
                    <a:pt x="88" y="35"/>
                    <a:pt x="89" y="38"/>
                    <a:pt x="88" y="42"/>
                  </a:cubicBezTo>
                  <a:cubicBezTo>
                    <a:pt x="88" y="43"/>
                    <a:pt x="87" y="43"/>
                    <a:pt x="86" y="42"/>
                  </a:cubicBezTo>
                  <a:cubicBezTo>
                    <a:pt x="84" y="40"/>
                    <a:pt x="83" y="37"/>
                    <a:pt x="82" y="34"/>
                  </a:cubicBezTo>
                  <a:cubicBezTo>
                    <a:pt x="81" y="32"/>
                    <a:pt x="80" y="30"/>
                    <a:pt x="78" y="28"/>
                  </a:cubicBezTo>
                  <a:cubicBezTo>
                    <a:pt x="76" y="31"/>
                    <a:pt x="73" y="33"/>
                    <a:pt x="70" y="33"/>
                  </a:cubicBezTo>
                  <a:cubicBezTo>
                    <a:pt x="63" y="34"/>
                    <a:pt x="58" y="31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1" y="23"/>
                    <a:pt x="50" y="18"/>
                    <a:pt x="51" y="14"/>
                  </a:cubicBezTo>
                  <a:cubicBezTo>
                    <a:pt x="47" y="17"/>
                    <a:pt x="44" y="20"/>
                    <a:pt x="40" y="22"/>
                  </a:cubicBezTo>
                  <a:cubicBezTo>
                    <a:pt x="29" y="30"/>
                    <a:pt x="19" y="37"/>
                    <a:pt x="7" y="43"/>
                  </a:cubicBezTo>
                  <a:cubicBezTo>
                    <a:pt x="7" y="44"/>
                    <a:pt x="6" y="45"/>
                    <a:pt x="6" y="45"/>
                  </a:cubicBezTo>
                  <a:cubicBezTo>
                    <a:pt x="4" y="49"/>
                    <a:pt x="2" y="54"/>
                    <a:pt x="1" y="59"/>
                  </a:cubicBezTo>
                  <a:cubicBezTo>
                    <a:pt x="1" y="62"/>
                    <a:pt x="0" y="64"/>
                    <a:pt x="0" y="67"/>
                  </a:cubicBezTo>
                  <a:cubicBezTo>
                    <a:pt x="0" y="72"/>
                    <a:pt x="1" y="76"/>
                    <a:pt x="2" y="81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3" name="ïš1iḑe">
              <a:extLst>
                <a:ext uri="{FF2B5EF4-FFF2-40B4-BE49-F238E27FC236}">
                  <a16:creationId xmlns:a16="http://schemas.microsoft.com/office/drawing/2014/main" id="{D6C14684-CDFE-4B44-B34B-955AC89DBACF}"/>
                </a:ext>
              </a:extLst>
            </p:cNvPr>
            <p:cNvSpPr/>
            <p:nvPr/>
          </p:nvSpPr>
          <p:spPr bwMode="auto">
            <a:xfrm>
              <a:off x="7203087" y="3691985"/>
              <a:ext cx="1184050" cy="793313"/>
            </a:xfrm>
            <a:custGeom>
              <a:avLst/>
              <a:gdLst>
                <a:gd name="T0" fmla="*/ 316 w 385"/>
                <a:gd name="T1" fmla="*/ 249 h 258"/>
                <a:gd name="T2" fmla="*/ 305 w 385"/>
                <a:gd name="T3" fmla="*/ 257 h 258"/>
                <a:gd name="T4" fmla="*/ 304 w 385"/>
                <a:gd name="T5" fmla="*/ 257 h 258"/>
                <a:gd name="T6" fmla="*/ 299 w 385"/>
                <a:gd name="T7" fmla="*/ 258 h 258"/>
                <a:gd name="T8" fmla="*/ 296 w 385"/>
                <a:gd name="T9" fmla="*/ 258 h 258"/>
                <a:gd name="T10" fmla="*/ 294 w 385"/>
                <a:gd name="T11" fmla="*/ 258 h 258"/>
                <a:gd name="T12" fmla="*/ 292 w 385"/>
                <a:gd name="T13" fmla="*/ 257 h 258"/>
                <a:gd name="T14" fmla="*/ 290 w 385"/>
                <a:gd name="T15" fmla="*/ 255 h 258"/>
                <a:gd name="T16" fmla="*/ 291 w 385"/>
                <a:gd name="T17" fmla="*/ 252 h 258"/>
                <a:gd name="T18" fmla="*/ 297 w 385"/>
                <a:gd name="T19" fmla="*/ 250 h 258"/>
                <a:gd name="T20" fmla="*/ 312 w 385"/>
                <a:gd name="T21" fmla="*/ 239 h 258"/>
                <a:gd name="T22" fmla="*/ 366 w 385"/>
                <a:gd name="T23" fmla="*/ 183 h 258"/>
                <a:gd name="T24" fmla="*/ 382 w 385"/>
                <a:gd name="T25" fmla="*/ 124 h 258"/>
                <a:gd name="T26" fmla="*/ 379 w 385"/>
                <a:gd name="T27" fmla="*/ 114 h 258"/>
                <a:gd name="T28" fmla="*/ 381 w 385"/>
                <a:gd name="T29" fmla="*/ 116 h 258"/>
                <a:gd name="T30" fmla="*/ 382 w 385"/>
                <a:gd name="T31" fmla="*/ 117 h 258"/>
                <a:gd name="T32" fmla="*/ 382 w 385"/>
                <a:gd name="T33" fmla="*/ 117 h 258"/>
                <a:gd name="T34" fmla="*/ 383 w 385"/>
                <a:gd name="T35" fmla="*/ 119 h 258"/>
                <a:gd name="T36" fmla="*/ 385 w 385"/>
                <a:gd name="T37" fmla="*/ 124 h 258"/>
                <a:gd name="T38" fmla="*/ 385 w 385"/>
                <a:gd name="T39" fmla="*/ 124 h 258"/>
                <a:gd name="T40" fmla="*/ 385 w 385"/>
                <a:gd name="T41" fmla="*/ 132 h 258"/>
                <a:gd name="T42" fmla="*/ 384 w 385"/>
                <a:gd name="T43" fmla="*/ 138 h 258"/>
                <a:gd name="T44" fmla="*/ 384 w 385"/>
                <a:gd name="T45" fmla="*/ 140 h 258"/>
                <a:gd name="T46" fmla="*/ 381 w 385"/>
                <a:gd name="T47" fmla="*/ 156 h 258"/>
                <a:gd name="T48" fmla="*/ 358 w 385"/>
                <a:gd name="T49" fmla="*/ 203 h 258"/>
                <a:gd name="T50" fmla="*/ 325 w 385"/>
                <a:gd name="T51" fmla="*/ 242 h 258"/>
                <a:gd name="T52" fmla="*/ 266 w 385"/>
                <a:gd name="T53" fmla="*/ 203 h 258"/>
                <a:gd name="T54" fmla="*/ 252 w 385"/>
                <a:gd name="T55" fmla="*/ 179 h 258"/>
                <a:gd name="T56" fmla="*/ 146 w 385"/>
                <a:gd name="T57" fmla="*/ 93 h 258"/>
                <a:gd name="T58" fmla="*/ 46 w 385"/>
                <a:gd name="T59" fmla="*/ 32 h 258"/>
                <a:gd name="T60" fmla="*/ 31 w 385"/>
                <a:gd name="T61" fmla="*/ 19 h 258"/>
                <a:gd name="T62" fmla="*/ 29 w 385"/>
                <a:gd name="T63" fmla="*/ 21 h 258"/>
                <a:gd name="T64" fmla="*/ 0 w 385"/>
                <a:gd name="T65" fmla="*/ 5 h 258"/>
                <a:gd name="T66" fmla="*/ 39 w 385"/>
                <a:gd name="T67" fmla="*/ 4 h 258"/>
                <a:gd name="T68" fmla="*/ 73 w 385"/>
                <a:gd name="T69" fmla="*/ 27 h 258"/>
                <a:gd name="T70" fmla="*/ 180 w 385"/>
                <a:gd name="T71" fmla="*/ 86 h 258"/>
                <a:gd name="T72" fmla="*/ 289 w 385"/>
                <a:gd name="T73" fmla="*/ 123 h 258"/>
                <a:gd name="T74" fmla="*/ 337 w 385"/>
                <a:gd name="T75" fmla="*/ 120 h 258"/>
                <a:gd name="T76" fmla="*/ 338 w 385"/>
                <a:gd name="T77" fmla="*/ 120 h 258"/>
                <a:gd name="T78" fmla="*/ 347 w 385"/>
                <a:gd name="T79" fmla="*/ 118 h 258"/>
                <a:gd name="T80" fmla="*/ 351 w 385"/>
                <a:gd name="T81" fmla="*/ 119 h 258"/>
                <a:gd name="T82" fmla="*/ 306 w 385"/>
                <a:gd name="T83" fmla="*/ 169 h 258"/>
                <a:gd name="T84" fmla="*/ 283 w 385"/>
                <a:gd name="T85" fmla="*/ 232 h 258"/>
                <a:gd name="T86" fmla="*/ 282 w 385"/>
                <a:gd name="T87" fmla="*/ 243 h 258"/>
                <a:gd name="T88" fmla="*/ 266 w 385"/>
                <a:gd name="T89" fmla="*/ 203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85" h="258">
                  <a:moveTo>
                    <a:pt x="316" y="249"/>
                  </a:moveTo>
                  <a:cubicBezTo>
                    <a:pt x="316" y="249"/>
                    <a:pt x="316" y="249"/>
                    <a:pt x="316" y="249"/>
                  </a:cubicBezTo>
                  <a:cubicBezTo>
                    <a:pt x="313" y="252"/>
                    <a:pt x="310" y="254"/>
                    <a:pt x="307" y="256"/>
                  </a:cubicBezTo>
                  <a:cubicBezTo>
                    <a:pt x="306" y="256"/>
                    <a:pt x="305" y="256"/>
                    <a:pt x="305" y="257"/>
                  </a:cubicBezTo>
                  <a:cubicBezTo>
                    <a:pt x="305" y="257"/>
                    <a:pt x="305" y="257"/>
                    <a:pt x="305" y="257"/>
                  </a:cubicBezTo>
                  <a:cubicBezTo>
                    <a:pt x="304" y="257"/>
                    <a:pt x="304" y="257"/>
                    <a:pt x="304" y="257"/>
                  </a:cubicBezTo>
                  <a:cubicBezTo>
                    <a:pt x="304" y="257"/>
                    <a:pt x="304" y="257"/>
                    <a:pt x="303" y="257"/>
                  </a:cubicBezTo>
                  <a:cubicBezTo>
                    <a:pt x="302" y="258"/>
                    <a:pt x="301" y="258"/>
                    <a:pt x="299" y="258"/>
                  </a:cubicBezTo>
                  <a:cubicBezTo>
                    <a:pt x="299" y="258"/>
                    <a:pt x="298" y="258"/>
                    <a:pt x="298" y="258"/>
                  </a:cubicBezTo>
                  <a:cubicBezTo>
                    <a:pt x="297" y="258"/>
                    <a:pt x="297" y="258"/>
                    <a:pt x="296" y="258"/>
                  </a:cubicBezTo>
                  <a:cubicBezTo>
                    <a:pt x="296" y="258"/>
                    <a:pt x="296" y="258"/>
                    <a:pt x="295" y="258"/>
                  </a:cubicBezTo>
                  <a:cubicBezTo>
                    <a:pt x="295" y="258"/>
                    <a:pt x="294" y="258"/>
                    <a:pt x="294" y="258"/>
                  </a:cubicBezTo>
                  <a:cubicBezTo>
                    <a:pt x="293" y="257"/>
                    <a:pt x="293" y="257"/>
                    <a:pt x="293" y="257"/>
                  </a:cubicBezTo>
                  <a:cubicBezTo>
                    <a:pt x="292" y="257"/>
                    <a:pt x="292" y="257"/>
                    <a:pt x="292" y="257"/>
                  </a:cubicBezTo>
                  <a:cubicBezTo>
                    <a:pt x="292" y="256"/>
                    <a:pt x="292" y="256"/>
                    <a:pt x="292" y="256"/>
                  </a:cubicBezTo>
                  <a:cubicBezTo>
                    <a:pt x="291" y="256"/>
                    <a:pt x="291" y="255"/>
                    <a:pt x="290" y="255"/>
                  </a:cubicBezTo>
                  <a:cubicBezTo>
                    <a:pt x="290" y="254"/>
                    <a:pt x="290" y="254"/>
                    <a:pt x="291" y="254"/>
                  </a:cubicBezTo>
                  <a:cubicBezTo>
                    <a:pt x="291" y="253"/>
                    <a:pt x="291" y="253"/>
                    <a:pt x="291" y="252"/>
                  </a:cubicBezTo>
                  <a:cubicBezTo>
                    <a:pt x="293" y="252"/>
                    <a:pt x="295" y="251"/>
                    <a:pt x="297" y="250"/>
                  </a:cubicBezTo>
                  <a:cubicBezTo>
                    <a:pt x="297" y="250"/>
                    <a:pt x="297" y="250"/>
                    <a:pt x="297" y="250"/>
                  </a:cubicBezTo>
                  <a:cubicBezTo>
                    <a:pt x="299" y="249"/>
                    <a:pt x="301" y="248"/>
                    <a:pt x="302" y="247"/>
                  </a:cubicBezTo>
                  <a:cubicBezTo>
                    <a:pt x="305" y="245"/>
                    <a:pt x="308" y="242"/>
                    <a:pt x="312" y="239"/>
                  </a:cubicBezTo>
                  <a:cubicBezTo>
                    <a:pt x="319" y="234"/>
                    <a:pt x="326" y="229"/>
                    <a:pt x="333" y="223"/>
                  </a:cubicBezTo>
                  <a:cubicBezTo>
                    <a:pt x="345" y="212"/>
                    <a:pt x="357" y="198"/>
                    <a:pt x="366" y="183"/>
                  </a:cubicBezTo>
                  <a:cubicBezTo>
                    <a:pt x="372" y="171"/>
                    <a:pt x="378" y="158"/>
                    <a:pt x="381" y="145"/>
                  </a:cubicBezTo>
                  <a:cubicBezTo>
                    <a:pt x="382" y="138"/>
                    <a:pt x="383" y="131"/>
                    <a:pt x="382" y="124"/>
                  </a:cubicBezTo>
                  <a:cubicBezTo>
                    <a:pt x="382" y="121"/>
                    <a:pt x="381" y="118"/>
                    <a:pt x="379" y="114"/>
                  </a:cubicBezTo>
                  <a:cubicBezTo>
                    <a:pt x="379" y="114"/>
                    <a:pt x="379" y="114"/>
                    <a:pt x="379" y="114"/>
                  </a:cubicBezTo>
                  <a:cubicBezTo>
                    <a:pt x="380" y="115"/>
                    <a:pt x="380" y="115"/>
                    <a:pt x="380" y="116"/>
                  </a:cubicBezTo>
                  <a:cubicBezTo>
                    <a:pt x="381" y="116"/>
                    <a:pt x="381" y="116"/>
                    <a:pt x="381" y="116"/>
                  </a:cubicBezTo>
                  <a:cubicBezTo>
                    <a:pt x="381" y="116"/>
                    <a:pt x="381" y="116"/>
                    <a:pt x="381" y="116"/>
                  </a:cubicBezTo>
                  <a:cubicBezTo>
                    <a:pt x="381" y="116"/>
                    <a:pt x="381" y="116"/>
                    <a:pt x="382" y="117"/>
                  </a:cubicBezTo>
                  <a:cubicBezTo>
                    <a:pt x="382" y="117"/>
                    <a:pt x="382" y="117"/>
                    <a:pt x="382" y="117"/>
                  </a:cubicBezTo>
                  <a:cubicBezTo>
                    <a:pt x="382" y="117"/>
                    <a:pt x="382" y="117"/>
                    <a:pt x="382" y="117"/>
                  </a:cubicBezTo>
                  <a:cubicBezTo>
                    <a:pt x="383" y="118"/>
                    <a:pt x="383" y="118"/>
                    <a:pt x="383" y="119"/>
                  </a:cubicBezTo>
                  <a:cubicBezTo>
                    <a:pt x="383" y="119"/>
                    <a:pt x="383" y="119"/>
                    <a:pt x="383" y="119"/>
                  </a:cubicBezTo>
                  <a:cubicBezTo>
                    <a:pt x="384" y="121"/>
                    <a:pt x="384" y="122"/>
                    <a:pt x="384" y="123"/>
                  </a:cubicBezTo>
                  <a:cubicBezTo>
                    <a:pt x="385" y="124"/>
                    <a:pt x="385" y="124"/>
                    <a:pt x="385" y="124"/>
                  </a:cubicBezTo>
                  <a:cubicBezTo>
                    <a:pt x="385" y="124"/>
                    <a:pt x="385" y="124"/>
                    <a:pt x="385" y="124"/>
                  </a:cubicBezTo>
                  <a:cubicBezTo>
                    <a:pt x="385" y="124"/>
                    <a:pt x="385" y="124"/>
                    <a:pt x="385" y="124"/>
                  </a:cubicBezTo>
                  <a:cubicBezTo>
                    <a:pt x="385" y="125"/>
                    <a:pt x="385" y="126"/>
                    <a:pt x="385" y="127"/>
                  </a:cubicBezTo>
                  <a:cubicBezTo>
                    <a:pt x="385" y="129"/>
                    <a:pt x="385" y="130"/>
                    <a:pt x="385" y="132"/>
                  </a:cubicBezTo>
                  <a:cubicBezTo>
                    <a:pt x="385" y="134"/>
                    <a:pt x="385" y="136"/>
                    <a:pt x="384" y="138"/>
                  </a:cubicBezTo>
                  <a:cubicBezTo>
                    <a:pt x="384" y="138"/>
                    <a:pt x="384" y="138"/>
                    <a:pt x="384" y="138"/>
                  </a:cubicBezTo>
                  <a:cubicBezTo>
                    <a:pt x="384" y="138"/>
                    <a:pt x="384" y="138"/>
                    <a:pt x="384" y="139"/>
                  </a:cubicBezTo>
                  <a:cubicBezTo>
                    <a:pt x="384" y="139"/>
                    <a:pt x="384" y="140"/>
                    <a:pt x="384" y="140"/>
                  </a:cubicBezTo>
                  <a:cubicBezTo>
                    <a:pt x="384" y="141"/>
                    <a:pt x="384" y="142"/>
                    <a:pt x="383" y="143"/>
                  </a:cubicBezTo>
                  <a:cubicBezTo>
                    <a:pt x="383" y="148"/>
                    <a:pt x="382" y="152"/>
                    <a:pt x="381" y="156"/>
                  </a:cubicBezTo>
                  <a:cubicBezTo>
                    <a:pt x="378" y="164"/>
                    <a:pt x="375" y="172"/>
                    <a:pt x="371" y="180"/>
                  </a:cubicBezTo>
                  <a:cubicBezTo>
                    <a:pt x="367" y="188"/>
                    <a:pt x="363" y="196"/>
                    <a:pt x="358" y="203"/>
                  </a:cubicBezTo>
                  <a:cubicBezTo>
                    <a:pt x="353" y="211"/>
                    <a:pt x="348" y="217"/>
                    <a:pt x="342" y="224"/>
                  </a:cubicBezTo>
                  <a:cubicBezTo>
                    <a:pt x="337" y="230"/>
                    <a:pt x="331" y="236"/>
                    <a:pt x="325" y="242"/>
                  </a:cubicBezTo>
                  <a:cubicBezTo>
                    <a:pt x="322" y="245"/>
                    <a:pt x="319" y="247"/>
                    <a:pt x="316" y="249"/>
                  </a:cubicBezTo>
                  <a:close/>
                  <a:moveTo>
                    <a:pt x="266" y="203"/>
                  </a:moveTo>
                  <a:cubicBezTo>
                    <a:pt x="266" y="203"/>
                    <a:pt x="266" y="203"/>
                    <a:pt x="266" y="203"/>
                  </a:cubicBezTo>
                  <a:cubicBezTo>
                    <a:pt x="262" y="194"/>
                    <a:pt x="258" y="186"/>
                    <a:pt x="252" y="179"/>
                  </a:cubicBezTo>
                  <a:cubicBezTo>
                    <a:pt x="247" y="170"/>
                    <a:pt x="241" y="163"/>
                    <a:pt x="235" y="157"/>
                  </a:cubicBezTo>
                  <a:cubicBezTo>
                    <a:pt x="209" y="130"/>
                    <a:pt x="178" y="111"/>
                    <a:pt x="146" y="93"/>
                  </a:cubicBezTo>
                  <a:cubicBezTo>
                    <a:pt x="130" y="82"/>
                    <a:pt x="113" y="73"/>
                    <a:pt x="96" y="63"/>
                  </a:cubicBezTo>
                  <a:cubicBezTo>
                    <a:pt x="79" y="53"/>
                    <a:pt x="63" y="42"/>
                    <a:pt x="46" y="32"/>
                  </a:cubicBezTo>
                  <a:cubicBezTo>
                    <a:pt x="43" y="30"/>
                    <a:pt x="41" y="28"/>
                    <a:pt x="38" y="26"/>
                  </a:cubicBezTo>
                  <a:cubicBezTo>
                    <a:pt x="35" y="24"/>
                    <a:pt x="33" y="22"/>
                    <a:pt x="31" y="19"/>
                  </a:cubicBezTo>
                  <a:cubicBezTo>
                    <a:pt x="30" y="18"/>
                    <a:pt x="28" y="19"/>
                    <a:pt x="29" y="20"/>
                  </a:cubicBezTo>
                  <a:cubicBezTo>
                    <a:pt x="29" y="20"/>
                    <a:pt x="29" y="21"/>
                    <a:pt x="29" y="21"/>
                  </a:cubicBezTo>
                  <a:cubicBezTo>
                    <a:pt x="25" y="18"/>
                    <a:pt x="20" y="15"/>
                    <a:pt x="16" y="13"/>
                  </a:cubicBezTo>
                  <a:cubicBezTo>
                    <a:pt x="11" y="10"/>
                    <a:pt x="5" y="7"/>
                    <a:pt x="0" y="5"/>
                  </a:cubicBezTo>
                  <a:cubicBezTo>
                    <a:pt x="10" y="3"/>
                    <a:pt x="20" y="1"/>
                    <a:pt x="30" y="0"/>
                  </a:cubicBezTo>
                  <a:cubicBezTo>
                    <a:pt x="33" y="1"/>
                    <a:pt x="36" y="2"/>
                    <a:pt x="39" y="4"/>
                  </a:cubicBezTo>
                  <a:cubicBezTo>
                    <a:pt x="42" y="6"/>
                    <a:pt x="46" y="9"/>
                    <a:pt x="50" y="11"/>
                  </a:cubicBezTo>
                  <a:cubicBezTo>
                    <a:pt x="58" y="16"/>
                    <a:pt x="66" y="22"/>
                    <a:pt x="73" y="27"/>
                  </a:cubicBezTo>
                  <a:cubicBezTo>
                    <a:pt x="91" y="38"/>
                    <a:pt x="109" y="47"/>
                    <a:pt x="127" y="57"/>
                  </a:cubicBezTo>
                  <a:cubicBezTo>
                    <a:pt x="144" y="66"/>
                    <a:pt x="162" y="77"/>
                    <a:pt x="180" y="86"/>
                  </a:cubicBezTo>
                  <a:cubicBezTo>
                    <a:pt x="199" y="95"/>
                    <a:pt x="217" y="103"/>
                    <a:pt x="237" y="109"/>
                  </a:cubicBezTo>
                  <a:cubicBezTo>
                    <a:pt x="254" y="116"/>
                    <a:pt x="271" y="121"/>
                    <a:pt x="289" y="123"/>
                  </a:cubicBezTo>
                  <a:cubicBezTo>
                    <a:pt x="298" y="124"/>
                    <a:pt x="308" y="124"/>
                    <a:pt x="316" y="123"/>
                  </a:cubicBezTo>
                  <a:cubicBezTo>
                    <a:pt x="323" y="123"/>
                    <a:pt x="330" y="122"/>
                    <a:pt x="337" y="120"/>
                  </a:cubicBezTo>
                  <a:cubicBezTo>
                    <a:pt x="337" y="120"/>
                    <a:pt x="337" y="120"/>
                    <a:pt x="337" y="120"/>
                  </a:cubicBezTo>
                  <a:cubicBezTo>
                    <a:pt x="337" y="120"/>
                    <a:pt x="338" y="120"/>
                    <a:pt x="338" y="120"/>
                  </a:cubicBezTo>
                  <a:cubicBezTo>
                    <a:pt x="337" y="120"/>
                    <a:pt x="339" y="119"/>
                    <a:pt x="339" y="119"/>
                  </a:cubicBezTo>
                  <a:cubicBezTo>
                    <a:pt x="342" y="119"/>
                    <a:pt x="344" y="119"/>
                    <a:pt x="347" y="118"/>
                  </a:cubicBezTo>
                  <a:cubicBezTo>
                    <a:pt x="350" y="117"/>
                    <a:pt x="353" y="117"/>
                    <a:pt x="356" y="116"/>
                  </a:cubicBezTo>
                  <a:cubicBezTo>
                    <a:pt x="354" y="117"/>
                    <a:pt x="352" y="118"/>
                    <a:pt x="351" y="119"/>
                  </a:cubicBezTo>
                  <a:cubicBezTo>
                    <a:pt x="344" y="123"/>
                    <a:pt x="338" y="128"/>
                    <a:pt x="333" y="133"/>
                  </a:cubicBezTo>
                  <a:cubicBezTo>
                    <a:pt x="322" y="143"/>
                    <a:pt x="313" y="156"/>
                    <a:pt x="306" y="169"/>
                  </a:cubicBezTo>
                  <a:cubicBezTo>
                    <a:pt x="299" y="182"/>
                    <a:pt x="293" y="195"/>
                    <a:pt x="289" y="208"/>
                  </a:cubicBezTo>
                  <a:cubicBezTo>
                    <a:pt x="287" y="216"/>
                    <a:pt x="285" y="224"/>
                    <a:pt x="283" y="232"/>
                  </a:cubicBezTo>
                  <a:cubicBezTo>
                    <a:pt x="283" y="235"/>
                    <a:pt x="283" y="238"/>
                    <a:pt x="282" y="241"/>
                  </a:cubicBezTo>
                  <a:cubicBezTo>
                    <a:pt x="282" y="242"/>
                    <a:pt x="282" y="242"/>
                    <a:pt x="282" y="243"/>
                  </a:cubicBezTo>
                  <a:cubicBezTo>
                    <a:pt x="280" y="238"/>
                    <a:pt x="279" y="234"/>
                    <a:pt x="277" y="229"/>
                  </a:cubicBezTo>
                  <a:cubicBezTo>
                    <a:pt x="273" y="221"/>
                    <a:pt x="270" y="212"/>
                    <a:pt x="266" y="203"/>
                  </a:cubicBezTo>
                  <a:close/>
                </a:path>
              </a:pathLst>
            </a:custGeom>
            <a:solidFill>
              <a:srgbClr val="FFD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4" name="íṧ1íḓe">
              <a:extLst>
                <a:ext uri="{FF2B5EF4-FFF2-40B4-BE49-F238E27FC236}">
                  <a16:creationId xmlns:a16="http://schemas.microsoft.com/office/drawing/2014/main" id="{A74FD463-4597-4114-AD4A-EB953E0A24A6}"/>
                </a:ext>
              </a:extLst>
            </p:cNvPr>
            <p:cNvSpPr/>
            <p:nvPr/>
          </p:nvSpPr>
          <p:spPr bwMode="auto">
            <a:xfrm>
              <a:off x="5820709" y="1482252"/>
              <a:ext cx="1616228" cy="999043"/>
            </a:xfrm>
            <a:custGeom>
              <a:avLst/>
              <a:gdLst>
                <a:gd name="T0" fmla="*/ 331 w 525"/>
                <a:gd name="T1" fmla="*/ 92 h 325"/>
                <a:gd name="T2" fmla="*/ 385 w 525"/>
                <a:gd name="T3" fmla="*/ 64 h 325"/>
                <a:gd name="T4" fmla="*/ 411 w 525"/>
                <a:gd name="T5" fmla="*/ 0 h 325"/>
                <a:gd name="T6" fmla="*/ 418 w 525"/>
                <a:gd name="T7" fmla="*/ 77 h 325"/>
                <a:gd name="T8" fmla="*/ 402 w 525"/>
                <a:gd name="T9" fmla="*/ 151 h 325"/>
                <a:gd name="T10" fmla="*/ 505 w 525"/>
                <a:gd name="T11" fmla="*/ 188 h 325"/>
                <a:gd name="T12" fmla="*/ 524 w 525"/>
                <a:gd name="T13" fmla="*/ 184 h 325"/>
                <a:gd name="T14" fmla="*/ 523 w 525"/>
                <a:gd name="T15" fmla="*/ 186 h 325"/>
                <a:gd name="T16" fmla="*/ 513 w 525"/>
                <a:gd name="T17" fmla="*/ 204 h 325"/>
                <a:gd name="T18" fmla="*/ 507 w 525"/>
                <a:gd name="T19" fmla="*/ 213 h 325"/>
                <a:gd name="T20" fmla="*/ 471 w 525"/>
                <a:gd name="T21" fmla="*/ 248 h 325"/>
                <a:gd name="T22" fmla="*/ 467 w 525"/>
                <a:gd name="T23" fmla="*/ 251 h 325"/>
                <a:gd name="T24" fmla="*/ 452 w 525"/>
                <a:gd name="T25" fmla="*/ 262 h 325"/>
                <a:gd name="T26" fmla="*/ 392 w 525"/>
                <a:gd name="T27" fmla="*/ 295 h 325"/>
                <a:gd name="T28" fmla="*/ 282 w 525"/>
                <a:gd name="T29" fmla="*/ 306 h 325"/>
                <a:gd name="T30" fmla="*/ 278 w 525"/>
                <a:gd name="T31" fmla="*/ 304 h 325"/>
                <a:gd name="T32" fmla="*/ 270 w 525"/>
                <a:gd name="T33" fmla="*/ 304 h 325"/>
                <a:gd name="T34" fmla="*/ 205 w 525"/>
                <a:gd name="T35" fmla="*/ 287 h 325"/>
                <a:gd name="T36" fmla="*/ 185 w 525"/>
                <a:gd name="T37" fmla="*/ 282 h 325"/>
                <a:gd name="T38" fmla="*/ 190 w 525"/>
                <a:gd name="T39" fmla="*/ 282 h 325"/>
                <a:gd name="T40" fmla="*/ 186 w 525"/>
                <a:gd name="T41" fmla="*/ 250 h 325"/>
                <a:gd name="T42" fmla="*/ 185 w 525"/>
                <a:gd name="T43" fmla="*/ 247 h 325"/>
                <a:gd name="T44" fmla="*/ 184 w 525"/>
                <a:gd name="T45" fmla="*/ 240 h 325"/>
                <a:gd name="T46" fmla="*/ 190 w 525"/>
                <a:gd name="T47" fmla="*/ 234 h 325"/>
                <a:gd name="T48" fmla="*/ 216 w 525"/>
                <a:gd name="T49" fmla="*/ 215 h 325"/>
                <a:gd name="T50" fmla="*/ 189 w 525"/>
                <a:gd name="T51" fmla="*/ 205 h 325"/>
                <a:gd name="T52" fmla="*/ 177 w 525"/>
                <a:gd name="T53" fmla="*/ 205 h 325"/>
                <a:gd name="T54" fmla="*/ 175 w 525"/>
                <a:gd name="T55" fmla="*/ 198 h 325"/>
                <a:gd name="T56" fmla="*/ 166 w 525"/>
                <a:gd name="T57" fmla="*/ 163 h 325"/>
                <a:gd name="T58" fmla="*/ 158 w 525"/>
                <a:gd name="T59" fmla="*/ 162 h 325"/>
                <a:gd name="T60" fmla="*/ 138 w 525"/>
                <a:gd name="T61" fmla="*/ 203 h 325"/>
                <a:gd name="T62" fmla="*/ 122 w 525"/>
                <a:gd name="T63" fmla="*/ 202 h 325"/>
                <a:gd name="T64" fmla="*/ 99 w 525"/>
                <a:gd name="T65" fmla="*/ 207 h 325"/>
                <a:gd name="T66" fmla="*/ 121 w 525"/>
                <a:gd name="T67" fmla="*/ 229 h 325"/>
                <a:gd name="T68" fmla="*/ 123 w 525"/>
                <a:gd name="T69" fmla="*/ 235 h 325"/>
                <a:gd name="T70" fmla="*/ 112 w 525"/>
                <a:gd name="T71" fmla="*/ 249 h 325"/>
                <a:gd name="T72" fmla="*/ 104 w 525"/>
                <a:gd name="T73" fmla="*/ 276 h 325"/>
                <a:gd name="T74" fmla="*/ 119 w 525"/>
                <a:gd name="T75" fmla="*/ 272 h 325"/>
                <a:gd name="T76" fmla="*/ 117 w 525"/>
                <a:gd name="T77" fmla="*/ 276 h 325"/>
                <a:gd name="T78" fmla="*/ 109 w 525"/>
                <a:gd name="T79" fmla="*/ 292 h 325"/>
                <a:gd name="T80" fmla="*/ 87 w 525"/>
                <a:gd name="T81" fmla="*/ 298 h 325"/>
                <a:gd name="T82" fmla="*/ 50 w 525"/>
                <a:gd name="T83" fmla="*/ 325 h 325"/>
                <a:gd name="T84" fmla="*/ 50 w 525"/>
                <a:gd name="T85" fmla="*/ 324 h 325"/>
                <a:gd name="T86" fmla="*/ 56 w 525"/>
                <a:gd name="T87" fmla="*/ 277 h 325"/>
                <a:gd name="T88" fmla="*/ 31 w 525"/>
                <a:gd name="T89" fmla="*/ 169 h 325"/>
                <a:gd name="T90" fmla="*/ 0 w 525"/>
                <a:gd name="T91" fmla="*/ 132 h 325"/>
                <a:gd name="T92" fmla="*/ 2 w 525"/>
                <a:gd name="T93" fmla="*/ 130 h 325"/>
                <a:gd name="T94" fmla="*/ 138 w 525"/>
                <a:gd name="T95" fmla="*/ 44 h 325"/>
                <a:gd name="T96" fmla="*/ 225 w 525"/>
                <a:gd name="T97" fmla="*/ 87 h 325"/>
                <a:gd name="T98" fmla="*/ 331 w 525"/>
                <a:gd name="T99" fmla="*/ 92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25" h="325">
                  <a:moveTo>
                    <a:pt x="331" y="92"/>
                  </a:moveTo>
                  <a:cubicBezTo>
                    <a:pt x="331" y="92"/>
                    <a:pt x="331" y="92"/>
                    <a:pt x="331" y="92"/>
                  </a:cubicBezTo>
                  <a:cubicBezTo>
                    <a:pt x="342" y="89"/>
                    <a:pt x="353" y="84"/>
                    <a:pt x="363" y="79"/>
                  </a:cubicBezTo>
                  <a:cubicBezTo>
                    <a:pt x="370" y="74"/>
                    <a:pt x="378" y="69"/>
                    <a:pt x="385" y="64"/>
                  </a:cubicBezTo>
                  <a:cubicBezTo>
                    <a:pt x="396" y="53"/>
                    <a:pt x="404" y="39"/>
                    <a:pt x="408" y="24"/>
                  </a:cubicBezTo>
                  <a:cubicBezTo>
                    <a:pt x="410" y="16"/>
                    <a:pt x="411" y="8"/>
                    <a:pt x="411" y="0"/>
                  </a:cubicBezTo>
                  <a:cubicBezTo>
                    <a:pt x="413" y="8"/>
                    <a:pt x="415" y="15"/>
                    <a:pt x="416" y="24"/>
                  </a:cubicBezTo>
                  <a:cubicBezTo>
                    <a:pt x="419" y="41"/>
                    <a:pt x="419" y="60"/>
                    <a:pt x="418" y="77"/>
                  </a:cubicBezTo>
                  <a:cubicBezTo>
                    <a:pt x="417" y="89"/>
                    <a:pt x="416" y="101"/>
                    <a:pt x="413" y="112"/>
                  </a:cubicBezTo>
                  <a:cubicBezTo>
                    <a:pt x="410" y="126"/>
                    <a:pt x="406" y="138"/>
                    <a:pt x="402" y="151"/>
                  </a:cubicBezTo>
                  <a:cubicBezTo>
                    <a:pt x="401" y="154"/>
                    <a:pt x="402" y="156"/>
                    <a:pt x="404" y="157"/>
                  </a:cubicBezTo>
                  <a:cubicBezTo>
                    <a:pt x="433" y="178"/>
                    <a:pt x="469" y="194"/>
                    <a:pt x="505" y="188"/>
                  </a:cubicBezTo>
                  <a:cubicBezTo>
                    <a:pt x="512" y="187"/>
                    <a:pt x="519" y="185"/>
                    <a:pt x="525" y="182"/>
                  </a:cubicBezTo>
                  <a:cubicBezTo>
                    <a:pt x="525" y="182"/>
                    <a:pt x="524" y="183"/>
                    <a:pt x="524" y="184"/>
                  </a:cubicBezTo>
                  <a:cubicBezTo>
                    <a:pt x="524" y="185"/>
                    <a:pt x="524" y="185"/>
                    <a:pt x="524" y="185"/>
                  </a:cubicBezTo>
                  <a:cubicBezTo>
                    <a:pt x="523" y="185"/>
                    <a:pt x="523" y="186"/>
                    <a:pt x="523" y="186"/>
                  </a:cubicBezTo>
                  <a:cubicBezTo>
                    <a:pt x="522" y="189"/>
                    <a:pt x="520" y="192"/>
                    <a:pt x="519" y="195"/>
                  </a:cubicBezTo>
                  <a:cubicBezTo>
                    <a:pt x="517" y="198"/>
                    <a:pt x="515" y="201"/>
                    <a:pt x="513" y="204"/>
                  </a:cubicBezTo>
                  <a:cubicBezTo>
                    <a:pt x="512" y="206"/>
                    <a:pt x="511" y="207"/>
                    <a:pt x="510" y="209"/>
                  </a:cubicBezTo>
                  <a:cubicBezTo>
                    <a:pt x="509" y="211"/>
                    <a:pt x="508" y="212"/>
                    <a:pt x="507" y="213"/>
                  </a:cubicBezTo>
                  <a:cubicBezTo>
                    <a:pt x="497" y="226"/>
                    <a:pt x="485" y="237"/>
                    <a:pt x="472" y="248"/>
                  </a:cubicBezTo>
                  <a:cubicBezTo>
                    <a:pt x="471" y="248"/>
                    <a:pt x="471" y="248"/>
                    <a:pt x="471" y="248"/>
                  </a:cubicBezTo>
                  <a:cubicBezTo>
                    <a:pt x="471" y="248"/>
                    <a:pt x="470" y="249"/>
                    <a:pt x="470" y="249"/>
                  </a:cubicBezTo>
                  <a:cubicBezTo>
                    <a:pt x="469" y="250"/>
                    <a:pt x="468" y="250"/>
                    <a:pt x="467" y="251"/>
                  </a:cubicBezTo>
                  <a:cubicBezTo>
                    <a:pt x="466" y="252"/>
                    <a:pt x="464" y="254"/>
                    <a:pt x="463" y="255"/>
                  </a:cubicBezTo>
                  <a:cubicBezTo>
                    <a:pt x="459" y="257"/>
                    <a:pt x="456" y="260"/>
                    <a:pt x="452" y="262"/>
                  </a:cubicBezTo>
                  <a:cubicBezTo>
                    <a:pt x="445" y="266"/>
                    <a:pt x="439" y="271"/>
                    <a:pt x="432" y="275"/>
                  </a:cubicBezTo>
                  <a:cubicBezTo>
                    <a:pt x="419" y="283"/>
                    <a:pt x="406" y="290"/>
                    <a:pt x="392" y="295"/>
                  </a:cubicBezTo>
                  <a:cubicBezTo>
                    <a:pt x="372" y="303"/>
                    <a:pt x="352" y="308"/>
                    <a:pt x="331" y="309"/>
                  </a:cubicBezTo>
                  <a:cubicBezTo>
                    <a:pt x="315" y="310"/>
                    <a:pt x="298" y="309"/>
                    <a:pt x="282" y="306"/>
                  </a:cubicBezTo>
                  <a:cubicBezTo>
                    <a:pt x="282" y="306"/>
                    <a:pt x="282" y="306"/>
                    <a:pt x="282" y="305"/>
                  </a:cubicBezTo>
                  <a:cubicBezTo>
                    <a:pt x="282" y="304"/>
                    <a:pt x="279" y="302"/>
                    <a:pt x="278" y="304"/>
                  </a:cubicBezTo>
                  <a:cubicBezTo>
                    <a:pt x="278" y="305"/>
                    <a:pt x="277" y="305"/>
                    <a:pt x="277" y="305"/>
                  </a:cubicBezTo>
                  <a:cubicBezTo>
                    <a:pt x="275" y="305"/>
                    <a:pt x="273" y="305"/>
                    <a:pt x="270" y="304"/>
                  </a:cubicBezTo>
                  <a:cubicBezTo>
                    <a:pt x="256" y="300"/>
                    <a:pt x="242" y="296"/>
                    <a:pt x="227" y="292"/>
                  </a:cubicBezTo>
                  <a:cubicBezTo>
                    <a:pt x="220" y="290"/>
                    <a:pt x="213" y="288"/>
                    <a:pt x="205" y="287"/>
                  </a:cubicBezTo>
                  <a:cubicBezTo>
                    <a:pt x="199" y="285"/>
                    <a:pt x="193" y="284"/>
                    <a:pt x="186" y="284"/>
                  </a:cubicBezTo>
                  <a:cubicBezTo>
                    <a:pt x="186" y="283"/>
                    <a:pt x="186" y="282"/>
                    <a:pt x="185" y="282"/>
                  </a:cubicBezTo>
                  <a:cubicBezTo>
                    <a:pt x="185" y="282"/>
                    <a:pt x="185" y="282"/>
                    <a:pt x="185" y="282"/>
                  </a:cubicBezTo>
                  <a:cubicBezTo>
                    <a:pt x="187" y="282"/>
                    <a:pt x="188" y="282"/>
                    <a:pt x="190" y="282"/>
                  </a:cubicBezTo>
                  <a:cubicBezTo>
                    <a:pt x="191" y="281"/>
                    <a:pt x="192" y="279"/>
                    <a:pt x="192" y="278"/>
                  </a:cubicBezTo>
                  <a:cubicBezTo>
                    <a:pt x="191" y="268"/>
                    <a:pt x="187" y="259"/>
                    <a:pt x="186" y="250"/>
                  </a:cubicBezTo>
                  <a:cubicBezTo>
                    <a:pt x="185" y="249"/>
                    <a:pt x="185" y="248"/>
                    <a:pt x="185" y="248"/>
                  </a:cubicBezTo>
                  <a:cubicBezTo>
                    <a:pt x="185" y="247"/>
                    <a:pt x="185" y="247"/>
                    <a:pt x="185" y="247"/>
                  </a:cubicBezTo>
                  <a:cubicBezTo>
                    <a:pt x="185" y="247"/>
                    <a:pt x="185" y="246"/>
                    <a:pt x="185" y="246"/>
                  </a:cubicBezTo>
                  <a:cubicBezTo>
                    <a:pt x="185" y="244"/>
                    <a:pt x="184" y="243"/>
                    <a:pt x="184" y="240"/>
                  </a:cubicBezTo>
                  <a:cubicBezTo>
                    <a:pt x="184" y="239"/>
                    <a:pt x="184" y="238"/>
                    <a:pt x="184" y="236"/>
                  </a:cubicBezTo>
                  <a:cubicBezTo>
                    <a:pt x="186" y="236"/>
                    <a:pt x="188" y="235"/>
                    <a:pt x="190" y="234"/>
                  </a:cubicBezTo>
                  <a:cubicBezTo>
                    <a:pt x="193" y="232"/>
                    <a:pt x="196" y="230"/>
                    <a:pt x="199" y="227"/>
                  </a:cubicBezTo>
                  <a:cubicBezTo>
                    <a:pt x="205" y="223"/>
                    <a:pt x="212" y="221"/>
                    <a:pt x="216" y="215"/>
                  </a:cubicBezTo>
                  <a:cubicBezTo>
                    <a:pt x="218" y="211"/>
                    <a:pt x="215" y="207"/>
                    <a:pt x="212" y="207"/>
                  </a:cubicBezTo>
                  <a:cubicBezTo>
                    <a:pt x="204" y="207"/>
                    <a:pt x="197" y="206"/>
                    <a:pt x="189" y="205"/>
                  </a:cubicBezTo>
                  <a:cubicBezTo>
                    <a:pt x="187" y="205"/>
                    <a:pt x="184" y="205"/>
                    <a:pt x="181" y="205"/>
                  </a:cubicBezTo>
                  <a:cubicBezTo>
                    <a:pt x="180" y="205"/>
                    <a:pt x="178" y="205"/>
                    <a:pt x="177" y="205"/>
                  </a:cubicBezTo>
                  <a:cubicBezTo>
                    <a:pt x="177" y="205"/>
                    <a:pt x="177" y="205"/>
                    <a:pt x="177" y="205"/>
                  </a:cubicBezTo>
                  <a:cubicBezTo>
                    <a:pt x="176" y="202"/>
                    <a:pt x="176" y="200"/>
                    <a:pt x="175" y="198"/>
                  </a:cubicBezTo>
                  <a:cubicBezTo>
                    <a:pt x="175" y="194"/>
                    <a:pt x="173" y="191"/>
                    <a:pt x="172" y="187"/>
                  </a:cubicBezTo>
                  <a:cubicBezTo>
                    <a:pt x="170" y="179"/>
                    <a:pt x="168" y="171"/>
                    <a:pt x="166" y="163"/>
                  </a:cubicBezTo>
                  <a:cubicBezTo>
                    <a:pt x="166" y="162"/>
                    <a:pt x="164" y="160"/>
                    <a:pt x="163" y="160"/>
                  </a:cubicBezTo>
                  <a:cubicBezTo>
                    <a:pt x="161" y="159"/>
                    <a:pt x="159" y="160"/>
                    <a:pt x="158" y="162"/>
                  </a:cubicBezTo>
                  <a:cubicBezTo>
                    <a:pt x="153" y="168"/>
                    <a:pt x="149" y="175"/>
                    <a:pt x="146" y="183"/>
                  </a:cubicBezTo>
                  <a:cubicBezTo>
                    <a:pt x="143" y="189"/>
                    <a:pt x="140" y="196"/>
                    <a:pt x="138" y="203"/>
                  </a:cubicBezTo>
                  <a:cubicBezTo>
                    <a:pt x="136" y="203"/>
                    <a:pt x="133" y="203"/>
                    <a:pt x="131" y="203"/>
                  </a:cubicBezTo>
                  <a:cubicBezTo>
                    <a:pt x="128" y="203"/>
                    <a:pt x="125" y="203"/>
                    <a:pt x="122" y="202"/>
                  </a:cubicBezTo>
                  <a:cubicBezTo>
                    <a:pt x="116" y="202"/>
                    <a:pt x="110" y="201"/>
                    <a:pt x="104" y="200"/>
                  </a:cubicBezTo>
                  <a:cubicBezTo>
                    <a:pt x="101" y="199"/>
                    <a:pt x="97" y="203"/>
                    <a:pt x="99" y="207"/>
                  </a:cubicBezTo>
                  <a:cubicBezTo>
                    <a:pt x="103" y="213"/>
                    <a:pt x="109" y="216"/>
                    <a:pt x="114" y="221"/>
                  </a:cubicBezTo>
                  <a:cubicBezTo>
                    <a:pt x="116" y="224"/>
                    <a:pt x="119" y="227"/>
                    <a:pt x="121" y="229"/>
                  </a:cubicBezTo>
                  <a:cubicBezTo>
                    <a:pt x="122" y="230"/>
                    <a:pt x="123" y="232"/>
                    <a:pt x="124" y="233"/>
                  </a:cubicBezTo>
                  <a:cubicBezTo>
                    <a:pt x="124" y="234"/>
                    <a:pt x="123" y="234"/>
                    <a:pt x="123" y="235"/>
                  </a:cubicBezTo>
                  <a:cubicBezTo>
                    <a:pt x="122" y="236"/>
                    <a:pt x="121" y="238"/>
                    <a:pt x="120" y="239"/>
                  </a:cubicBezTo>
                  <a:cubicBezTo>
                    <a:pt x="117" y="243"/>
                    <a:pt x="115" y="246"/>
                    <a:pt x="112" y="249"/>
                  </a:cubicBezTo>
                  <a:cubicBezTo>
                    <a:pt x="106" y="255"/>
                    <a:pt x="101" y="262"/>
                    <a:pt x="98" y="270"/>
                  </a:cubicBezTo>
                  <a:cubicBezTo>
                    <a:pt x="97" y="274"/>
                    <a:pt x="101" y="276"/>
                    <a:pt x="104" y="276"/>
                  </a:cubicBezTo>
                  <a:cubicBezTo>
                    <a:pt x="109" y="275"/>
                    <a:pt x="114" y="274"/>
                    <a:pt x="119" y="271"/>
                  </a:cubicBezTo>
                  <a:cubicBezTo>
                    <a:pt x="119" y="272"/>
                    <a:pt x="119" y="272"/>
                    <a:pt x="119" y="272"/>
                  </a:cubicBezTo>
                  <a:cubicBezTo>
                    <a:pt x="118" y="272"/>
                    <a:pt x="117" y="274"/>
                    <a:pt x="117" y="274"/>
                  </a:cubicBezTo>
                  <a:cubicBezTo>
                    <a:pt x="117" y="275"/>
                    <a:pt x="117" y="275"/>
                    <a:pt x="117" y="276"/>
                  </a:cubicBezTo>
                  <a:cubicBezTo>
                    <a:pt x="114" y="280"/>
                    <a:pt x="112" y="285"/>
                    <a:pt x="110" y="289"/>
                  </a:cubicBezTo>
                  <a:cubicBezTo>
                    <a:pt x="110" y="290"/>
                    <a:pt x="109" y="291"/>
                    <a:pt x="109" y="292"/>
                  </a:cubicBezTo>
                  <a:cubicBezTo>
                    <a:pt x="105" y="292"/>
                    <a:pt x="101" y="293"/>
                    <a:pt x="97" y="294"/>
                  </a:cubicBezTo>
                  <a:cubicBezTo>
                    <a:pt x="94" y="295"/>
                    <a:pt x="90" y="296"/>
                    <a:pt x="87" y="298"/>
                  </a:cubicBezTo>
                  <a:cubicBezTo>
                    <a:pt x="79" y="301"/>
                    <a:pt x="72" y="305"/>
                    <a:pt x="66" y="310"/>
                  </a:cubicBezTo>
                  <a:cubicBezTo>
                    <a:pt x="60" y="314"/>
                    <a:pt x="55" y="319"/>
                    <a:pt x="50" y="325"/>
                  </a:cubicBezTo>
                  <a:cubicBezTo>
                    <a:pt x="50" y="325"/>
                    <a:pt x="50" y="325"/>
                    <a:pt x="50" y="325"/>
                  </a:cubicBezTo>
                  <a:cubicBezTo>
                    <a:pt x="50" y="325"/>
                    <a:pt x="50" y="324"/>
                    <a:pt x="50" y="324"/>
                  </a:cubicBezTo>
                  <a:cubicBezTo>
                    <a:pt x="52" y="319"/>
                    <a:pt x="53" y="314"/>
                    <a:pt x="54" y="309"/>
                  </a:cubicBezTo>
                  <a:cubicBezTo>
                    <a:pt x="55" y="298"/>
                    <a:pt x="56" y="287"/>
                    <a:pt x="56" y="277"/>
                  </a:cubicBezTo>
                  <a:cubicBezTo>
                    <a:pt x="55" y="256"/>
                    <a:pt x="49" y="237"/>
                    <a:pt x="45" y="217"/>
                  </a:cubicBezTo>
                  <a:cubicBezTo>
                    <a:pt x="41" y="201"/>
                    <a:pt x="38" y="185"/>
                    <a:pt x="31" y="169"/>
                  </a:cubicBezTo>
                  <a:cubicBezTo>
                    <a:pt x="25" y="156"/>
                    <a:pt x="16" y="144"/>
                    <a:pt x="5" y="135"/>
                  </a:cubicBezTo>
                  <a:cubicBezTo>
                    <a:pt x="3" y="134"/>
                    <a:pt x="2" y="133"/>
                    <a:pt x="0" y="132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1" y="131"/>
                    <a:pt x="1" y="130"/>
                    <a:pt x="2" y="130"/>
                  </a:cubicBezTo>
                  <a:cubicBezTo>
                    <a:pt x="20" y="95"/>
                    <a:pt x="46" y="63"/>
                    <a:pt x="82" y="49"/>
                  </a:cubicBezTo>
                  <a:cubicBezTo>
                    <a:pt x="100" y="42"/>
                    <a:pt x="119" y="40"/>
                    <a:pt x="138" y="44"/>
                  </a:cubicBezTo>
                  <a:cubicBezTo>
                    <a:pt x="159" y="48"/>
                    <a:pt x="177" y="60"/>
                    <a:pt x="196" y="71"/>
                  </a:cubicBezTo>
                  <a:cubicBezTo>
                    <a:pt x="205" y="77"/>
                    <a:pt x="215" y="82"/>
                    <a:pt x="225" y="87"/>
                  </a:cubicBezTo>
                  <a:cubicBezTo>
                    <a:pt x="236" y="91"/>
                    <a:pt x="247" y="94"/>
                    <a:pt x="259" y="96"/>
                  </a:cubicBezTo>
                  <a:cubicBezTo>
                    <a:pt x="283" y="100"/>
                    <a:pt x="308" y="99"/>
                    <a:pt x="331" y="92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5" name="îṧlíḑê">
              <a:extLst>
                <a:ext uri="{FF2B5EF4-FFF2-40B4-BE49-F238E27FC236}">
                  <a16:creationId xmlns:a16="http://schemas.microsoft.com/office/drawing/2014/main" id="{317FB138-426B-4C48-A49A-DFB3E37CCADF}"/>
                </a:ext>
              </a:extLst>
            </p:cNvPr>
            <p:cNvSpPr/>
            <p:nvPr/>
          </p:nvSpPr>
          <p:spPr bwMode="auto">
            <a:xfrm>
              <a:off x="3818185" y="1624338"/>
              <a:ext cx="4326222" cy="4074612"/>
            </a:xfrm>
            <a:custGeom>
              <a:avLst/>
              <a:gdLst>
                <a:gd name="T0" fmla="*/ 1 w 1406"/>
                <a:gd name="T1" fmla="*/ 497 h 1326"/>
                <a:gd name="T2" fmla="*/ 217 w 1406"/>
                <a:gd name="T3" fmla="*/ 76 h 1326"/>
                <a:gd name="T4" fmla="*/ 274 w 1406"/>
                <a:gd name="T5" fmla="*/ 202 h 1326"/>
                <a:gd name="T6" fmla="*/ 174 w 1406"/>
                <a:gd name="T7" fmla="*/ 394 h 1326"/>
                <a:gd name="T8" fmla="*/ 137 w 1406"/>
                <a:gd name="T9" fmla="*/ 377 h 1326"/>
                <a:gd name="T10" fmla="*/ 90 w 1406"/>
                <a:gd name="T11" fmla="*/ 411 h 1326"/>
                <a:gd name="T12" fmla="*/ 57 w 1406"/>
                <a:gd name="T13" fmla="*/ 590 h 1326"/>
                <a:gd name="T14" fmla="*/ 1230 w 1406"/>
                <a:gd name="T15" fmla="*/ 983 h 1326"/>
                <a:gd name="T16" fmla="*/ 1206 w 1406"/>
                <a:gd name="T17" fmla="*/ 1086 h 1326"/>
                <a:gd name="T18" fmla="*/ 1166 w 1406"/>
                <a:gd name="T19" fmla="*/ 1155 h 1326"/>
                <a:gd name="T20" fmla="*/ 1078 w 1406"/>
                <a:gd name="T21" fmla="*/ 1244 h 1326"/>
                <a:gd name="T22" fmla="*/ 1067 w 1406"/>
                <a:gd name="T23" fmla="*/ 1254 h 1326"/>
                <a:gd name="T24" fmla="*/ 954 w 1406"/>
                <a:gd name="T25" fmla="*/ 1311 h 1326"/>
                <a:gd name="T26" fmla="*/ 958 w 1406"/>
                <a:gd name="T27" fmla="*/ 1191 h 1326"/>
                <a:gd name="T28" fmla="*/ 926 w 1406"/>
                <a:gd name="T29" fmla="*/ 1178 h 1326"/>
                <a:gd name="T30" fmla="*/ 856 w 1406"/>
                <a:gd name="T31" fmla="*/ 1137 h 1326"/>
                <a:gd name="T32" fmla="*/ 850 w 1406"/>
                <a:gd name="T33" fmla="*/ 1133 h 1326"/>
                <a:gd name="T34" fmla="*/ 868 w 1406"/>
                <a:gd name="T35" fmla="*/ 1118 h 1326"/>
                <a:gd name="T36" fmla="*/ 946 w 1406"/>
                <a:gd name="T37" fmla="*/ 1125 h 1326"/>
                <a:gd name="T38" fmla="*/ 990 w 1406"/>
                <a:gd name="T39" fmla="*/ 1144 h 1326"/>
                <a:gd name="T40" fmla="*/ 1040 w 1406"/>
                <a:gd name="T41" fmla="*/ 1153 h 1326"/>
                <a:gd name="T42" fmla="*/ 984 w 1406"/>
                <a:gd name="T43" fmla="*/ 1091 h 1326"/>
                <a:gd name="T44" fmla="*/ 1228 w 1406"/>
                <a:gd name="T45" fmla="*/ 947 h 1326"/>
                <a:gd name="T46" fmla="*/ 271 w 1406"/>
                <a:gd name="T47" fmla="*/ 1213 h 1326"/>
                <a:gd name="T48" fmla="*/ 257 w 1406"/>
                <a:gd name="T49" fmla="*/ 1211 h 1326"/>
                <a:gd name="T50" fmla="*/ 217 w 1406"/>
                <a:gd name="T51" fmla="*/ 1199 h 1326"/>
                <a:gd name="T52" fmla="*/ 180 w 1406"/>
                <a:gd name="T53" fmla="*/ 1177 h 1326"/>
                <a:gd name="T54" fmla="*/ 150 w 1406"/>
                <a:gd name="T55" fmla="*/ 1146 h 1326"/>
                <a:gd name="T56" fmla="*/ 127 w 1406"/>
                <a:gd name="T57" fmla="*/ 1107 h 1326"/>
                <a:gd name="T58" fmla="*/ 121 w 1406"/>
                <a:gd name="T59" fmla="*/ 1090 h 1326"/>
                <a:gd name="T60" fmla="*/ 114 w 1406"/>
                <a:gd name="T61" fmla="*/ 1059 h 1326"/>
                <a:gd name="T62" fmla="*/ 113 w 1406"/>
                <a:gd name="T63" fmla="*/ 1032 h 1326"/>
                <a:gd name="T64" fmla="*/ 168 w 1406"/>
                <a:gd name="T65" fmla="*/ 806 h 1326"/>
                <a:gd name="T66" fmla="*/ 1001 w 1406"/>
                <a:gd name="T67" fmla="*/ 412 h 1326"/>
                <a:gd name="T68" fmla="*/ 1250 w 1406"/>
                <a:gd name="T69" fmla="*/ 393 h 1326"/>
                <a:gd name="T70" fmla="*/ 1277 w 1406"/>
                <a:gd name="T71" fmla="*/ 385 h 1326"/>
                <a:gd name="T72" fmla="*/ 1271 w 1406"/>
                <a:gd name="T73" fmla="*/ 337 h 1326"/>
                <a:gd name="T74" fmla="*/ 1297 w 1406"/>
                <a:gd name="T75" fmla="*/ 344 h 1326"/>
                <a:gd name="T76" fmla="*/ 1354 w 1406"/>
                <a:gd name="T77" fmla="*/ 373 h 1326"/>
                <a:gd name="T78" fmla="*/ 1375 w 1406"/>
                <a:gd name="T79" fmla="*/ 388 h 1326"/>
                <a:gd name="T80" fmla="*/ 1394 w 1406"/>
                <a:gd name="T81" fmla="*/ 409 h 1326"/>
                <a:gd name="T82" fmla="*/ 1401 w 1406"/>
                <a:gd name="T83" fmla="*/ 421 h 1326"/>
                <a:gd name="T84" fmla="*/ 1405 w 1406"/>
                <a:gd name="T85" fmla="*/ 439 h 1326"/>
                <a:gd name="T86" fmla="*/ 1403 w 1406"/>
                <a:gd name="T87" fmla="*/ 467 h 1326"/>
                <a:gd name="T88" fmla="*/ 1393 w 1406"/>
                <a:gd name="T89" fmla="*/ 497 h 1326"/>
                <a:gd name="T90" fmla="*/ 1365 w 1406"/>
                <a:gd name="T91" fmla="*/ 543 h 1326"/>
                <a:gd name="T92" fmla="*/ 1298 w 1406"/>
                <a:gd name="T93" fmla="*/ 614 h 1326"/>
                <a:gd name="T94" fmla="*/ 1267 w 1406"/>
                <a:gd name="T95" fmla="*/ 630 h 1326"/>
                <a:gd name="T96" fmla="*/ 1192 w 1406"/>
                <a:gd name="T97" fmla="*/ 650 h 1326"/>
                <a:gd name="T98" fmla="*/ 1076 w 1406"/>
                <a:gd name="T99" fmla="*/ 670 h 1326"/>
                <a:gd name="T100" fmla="*/ 536 w 1406"/>
                <a:gd name="T101" fmla="*/ 853 h 1326"/>
                <a:gd name="T102" fmla="*/ 206 w 1406"/>
                <a:gd name="T103" fmla="*/ 1152 h 1326"/>
                <a:gd name="T104" fmla="*/ 222 w 1406"/>
                <a:gd name="T105" fmla="*/ 1174 h 1326"/>
                <a:gd name="T106" fmla="*/ 251 w 1406"/>
                <a:gd name="T107" fmla="*/ 1198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06" h="1326">
                  <a:moveTo>
                    <a:pt x="34" y="591"/>
                  </a:moveTo>
                  <a:cubicBezTo>
                    <a:pt x="34" y="591"/>
                    <a:pt x="34" y="591"/>
                    <a:pt x="34" y="591"/>
                  </a:cubicBezTo>
                  <a:cubicBezTo>
                    <a:pt x="27" y="581"/>
                    <a:pt x="20" y="568"/>
                    <a:pt x="14" y="556"/>
                  </a:cubicBezTo>
                  <a:cubicBezTo>
                    <a:pt x="9" y="545"/>
                    <a:pt x="6" y="530"/>
                    <a:pt x="3" y="517"/>
                  </a:cubicBezTo>
                  <a:cubicBezTo>
                    <a:pt x="2" y="510"/>
                    <a:pt x="1" y="504"/>
                    <a:pt x="1" y="497"/>
                  </a:cubicBezTo>
                  <a:cubicBezTo>
                    <a:pt x="0" y="490"/>
                    <a:pt x="0" y="483"/>
                    <a:pt x="0" y="475"/>
                  </a:cubicBezTo>
                  <a:cubicBezTo>
                    <a:pt x="1" y="459"/>
                    <a:pt x="3" y="443"/>
                    <a:pt x="6" y="427"/>
                  </a:cubicBezTo>
                  <a:cubicBezTo>
                    <a:pt x="12" y="393"/>
                    <a:pt x="24" y="361"/>
                    <a:pt x="37" y="329"/>
                  </a:cubicBezTo>
                  <a:cubicBezTo>
                    <a:pt x="65" y="266"/>
                    <a:pt x="103" y="206"/>
                    <a:pt x="144" y="152"/>
                  </a:cubicBezTo>
                  <a:cubicBezTo>
                    <a:pt x="166" y="124"/>
                    <a:pt x="190" y="98"/>
                    <a:pt x="217" y="76"/>
                  </a:cubicBezTo>
                  <a:cubicBezTo>
                    <a:pt x="244" y="53"/>
                    <a:pt x="273" y="33"/>
                    <a:pt x="302" y="14"/>
                  </a:cubicBezTo>
                  <a:cubicBezTo>
                    <a:pt x="308" y="10"/>
                    <a:pt x="315" y="5"/>
                    <a:pt x="321" y="0"/>
                  </a:cubicBezTo>
                  <a:cubicBezTo>
                    <a:pt x="315" y="30"/>
                    <a:pt x="305" y="60"/>
                    <a:pt x="297" y="90"/>
                  </a:cubicBezTo>
                  <a:cubicBezTo>
                    <a:pt x="286" y="124"/>
                    <a:pt x="276" y="158"/>
                    <a:pt x="267" y="192"/>
                  </a:cubicBezTo>
                  <a:cubicBezTo>
                    <a:pt x="265" y="197"/>
                    <a:pt x="269" y="203"/>
                    <a:pt x="274" y="202"/>
                  </a:cubicBezTo>
                  <a:cubicBezTo>
                    <a:pt x="338" y="198"/>
                    <a:pt x="405" y="201"/>
                    <a:pt x="466" y="226"/>
                  </a:cubicBezTo>
                  <a:cubicBezTo>
                    <a:pt x="467" y="226"/>
                    <a:pt x="469" y="228"/>
                    <a:pt x="471" y="228"/>
                  </a:cubicBezTo>
                  <a:cubicBezTo>
                    <a:pt x="413" y="243"/>
                    <a:pt x="359" y="274"/>
                    <a:pt x="307" y="304"/>
                  </a:cubicBezTo>
                  <a:cubicBezTo>
                    <a:pt x="280" y="319"/>
                    <a:pt x="253" y="334"/>
                    <a:pt x="228" y="352"/>
                  </a:cubicBezTo>
                  <a:cubicBezTo>
                    <a:pt x="208" y="364"/>
                    <a:pt x="190" y="378"/>
                    <a:pt x="174" y="394"/>
                  </a:cubicBezTo>
                  <a:cubicBezTo>
                    <a:pt x="170" y="393"/>
                    <a:pt x="166" y="391"/>
                    <a:pt x="162" y="390"/>
                  </a:cubicBezTo>
                  <a:cubicBezTo>
                    <a:pt x="161" y="390"/>
                    <a:pt x="160" y="390"/>
                    <a:pt x="160" y="389"/>
                  </a:cubicBezTo>
                  <a:cubicBezTo>
                    <a:pt x="155" y="384"/>
                    <a:pt x="148" y="379"/>
                    <a:pt x="140" y="378"/>
                  </a:cubicBezTo>
                  <a:cubicBezTo>
                    <a:pt x="139" y="378"/>
                    <a:pt x="139" y="378"/>
                    <a:pt x="138" y="378"/>
                  </a:cubicBezTo>
                  <a:cubicBezTo>
                    <a:pt x="138" y="378"/>
                    <a:pt x="138" y="378"/>
                    <a:pt x="137" y="377"/>
                  </a:cubicBezTo>
                  <a:cubicBezTo>
                    <a:pt x="136" y="376"/>
                    <a:pt x="135" y="377"/>
                    <a:pt x="134" y="378"/>
                  </a:cubicBezTo>
                  <a:cubicBezTo>
                    <a:pt x="129" y="379"/>
                    <a:pt x="124" y="381"/>
                    <a:pt x="119" y="384"/>
                  </a:cubicBezTo>
                  <a:cubicBezTo>
                    <a:pt x="112" y="388"/>
                    <a:pt x="106" y="393"/>
                    <a:pt x="100" y="399"/>
                  </a:cubicBezTo>
                  <a:cubicBezTo>
                    <a:pt x="98" y="401"/>
                    <a:pt x="95" y="404"/>
                    <a:pt x="93" y="406"/>
                  </a:cubicBezTo>
                  <a:cubicBezTo>
                    <a:pt x="92" y="408"/>
                    <a:pt x="91" y="409"/>
                    <a:pt x="90" y="411"/>
                  </a:cubicBezTo>
                  <a:cubicBezTo>
                    <a:pt x="88" y="413"/>
                    <a:pt x="88" y="415"/>
                    <a:pt x="86" y="417"/>
                  </a:cubicBezTo>
                  <a:cubicBezTo>
                    <a:pt x="85" y="417"/>
                    <a:pt x="85" y="418"/>
                    <a:pt x="86" y="419"/>
                  </a:cubicBezTo>
                  <a:cubicBezTo>
                    <a:pt x="77" y="432"/>
                    <a:pt x="69" y="448"/>
                    <a:pt x="63" y="463"/>
                  </a:cubicBezTo>
                  <a:cubicBezTo>
                    <a:pt x="55" y="490"/>
                    <a:pt x="52" y="519"/>
                    <a:pt x="52" y="547"/>
                  </a:cubicBezTo>
                  <a:cubicBezTo>
                    <a:pt x="53" y="561"/>
                    <a:pt x="54" y="576"/>
                    <a:pt x="57" y="590"/>
                  </a:cubicBezTo>
                  <a:cubicBezTo>
                    <a:pt x="59" y="600"/>
                    <a:pt x="62" y="611"/>
                    <a:pt x="67" y="620"/>
                  </a:cubicBezTo>
                  <a:cubicBezTo>
                    <a:pt x="66" y="619"/>
                    <a:pt x="64" y="618"/>
                    <a:pt x="63" y="617"/>
                  </a:cubicBezTo>
                  <a:cubicBezTo>
                    <a:pt x="52" y="611"/>
                    <a:pt x="43" y="602"/>
                    <a:pt x="34" y="591"/>
                  </a:cubicBezTo>
                  <a:close/>
                  <a:moveTo>
                    <a:pt x="1230" y="983"/>
                  </a:moveTo>
                  <a:cubicBezTo>
                    <a:pt x="1230" y="983"/>
                    <a:pt x="1230" y="983"/>
                    <a:pt x="1230" y="983"/>
                  </a:cubicBezTo>
                  <a:cubicBezTo>
                    <a:pt x="1228" y="1008"/>
                    <a:pt x="1223" y="1032"/>
                    <a:pt x="1216" y="1057"/>
                  </a:cubicBezTo>
                  <a:cubicBezTo>
                    <a:pt x="1215" y="1062"/>
                    <a:pt x="1213" y="1068"/>
                    <a:pt x="1211" y="1074"/>
                  </a:cubicBezTo>
                  <a:cubicBezTo>
                    <a:pt x="1210" y="1076"/>
                    <a:pt x="1209" y="1079"/>
                    <a:pt x="1208" y="1081"/>
                  </a:cubicBezTo>
                  <a:cubicBezTo>
                    <a:pt x="1208" y="1082"/>
                    <a:pt x="1207" y="1083"/>
                    <a:pt x="1207" y="1084"/>
                  </a:cubicBezTo>
                  <a:cubicBezTo>
                    <a:pt x="1207" y="1085"/>
                    <a:pt x="1206" y="1086"/>
                    <a:pt x="1206" y="1086"/>
                  </a:cubicBezTo>
                  <a:cubicBezTo>
                    <a:pt x="1206" y="1087"/>
                    <a:pt x="1206" y="1087"/>
                    <a:pt x="1205" y="1088"/>
                  </a:cubicBezTo>
                  <a:cubicBezTo>
                    <a:pt x="1201" y="1098"/>
                    <a:pt x="1196" y="1109"/>
                    <a:pt x="1190" y="1119"/>
                  </a:cubicBezTo>
                  <a:cubicBezTo>
                    <a:pt x="1185" y="1128"/>
                    <a:pt x="1178" y="1138"/>
                    <a:pt x="1172" y="1147"/>
                  </a:cubicBezTo>
                  <a:cubicBezTo>
                    <a:pt x="1170" y="1149"/>
                    <a:pt x="1169" y="1151"/>
                    <a:pt x="1167" y="1154"/>
                  </a:cubicBezTo>
                  <a:cubicBezTo>
                    <a:pt x="1167" y="1154"/>
                    <a:pt x="1166" y="1154"/>
                    <a:pt x="1166" y="1155"/>
                  </a:cubicBezTo>
                  <a:cubicBezTo>
                    <a:pt x="1166" y="1155"/>
                    <a:pt x="1166" y="1156"/>
                    <a:pt x="1166" y="1156"/>
                  </a:cubicBezTo>
                  <a:cubicBezTo>
                    <a:pt x="1165" y="1157"/>
                    <a:pt x="1164" y="1159"/>
                    <a:pt x="1163" y="1160"/>
                  </a:cubicBezTo>
                  <a:cubicBezTo>
                    <a:pt x="1159" y="1165"/>
                    <a:pt x="1155" y="1169"/>
                    <a:pt x="1152" y="1173"/>
                  </a:cubicBezTo>
                  <a:cubicBezTo>
                    <a:pt x="1137" y="1191"/>
                    <a:pt x="1121" y="1207"/>
                    <a:pt x="1104" y="1222"/>
                  </a:cubicBezTo>
                  <a:cubicBezTo>
                    <a:pt x="1095" y="1230"/>
                    <a:pt x="1087" y="1237"/>
                    <a:pt x="1078" y="1244"/>
                  </a:cubicBezTo>
                  <a:cubicBezTo>
                    <a:pt x="1076" y="1246"/>
                    <a:pt x="1074" y="1247"/>
                    <a:pt x="1072" y="1249"/>
                  </a:cubicBezTo>
                  <a:cubicBezTo>
                    <a:pt x="1072" y="1249"/>
                    <a:pt x="1071" y="1250"/>
                    <a:pt x="1070" y="1250"/>
                  </a:cubicBezTo>
                  <a:cubicBezTo>
                    <a:pt x="1070" y="1250"/>
                    <a:pt x="1070" y="1250"/>
                    <a:pt x="1070" y="1250"/>
                  </a:cubicBezTo>
                  <a:cubicBezTo>
                    <a:pt x="1070" y="1250"/>
                    <a:pt x="1070" y="1251"/>
                    <a:pt x="1070" y="1251"/>
                  </a:cubicBezTo>
                  <a:cubicBezTo>
                    <a:pt x="1069" y="1252"/>
                    <a:pt x="1068" y="1253"/>
                    <a:pt x="1067" y="1254"/>
                  </a:cubicBezTo>
                  <a:cubicBezTo>
                    <a:pt x="1062" y="1258"/>
                    <a:pt x="1056" y="1262"/>
                    <a:pt x="1051" y="1265"/>
                  </a:cubicBezTo>
                  <a:cubicBezTo>
                    <a:pt x="1034" y="1277"/>
                    <a:pt x="1016" y="1289"/>
                    <a:pt x="997" y="1300"/>
                  </a:cubicBezTo>
                  <a:cubicBezTo>
                    <a:pt x="989" y="1305"/>
                    <a:pt x="979" y="1310"/>
                    <a:pt x="970" y="1315"/>
                  </a:cubicBezTo>
                  <a:cubicBezTo>
                    <a:pt x="963" y="1319"/>
                    <a:pt x="956" y="1322"/>
                    <a:pt x="949" y="1326"/>
                  </a:cubicBezTo>
                  <a:cubicBezTo>
                    <a:pt x="951" y="1321"/>
                    <a:pt x="953" y="1316"/>
                    <a:pt x="954" y="1311"/>
                  </a:cubicBezTo>
                  <a:cubicBezTo>
                    <a:pt x="957" y="1302"/>
                    <a:pt x="958" y="1291"/>
                    <a:pt x="961" y="1281"/>
                  </a:cubicBezTo>
                  <a:cubicBezTo>
                    <a:pt x="964" y="1271"/>
                    <a:pt x="967" y="1262"/>
                    <a:pt x="970" y="1252"/>
                  </a:cubicBezTo>
                  <a:cubicBezTo>
                    <a:pt x="973" y="1242"/>
                    <a:pt x="977" y="1233"/>
                    <a:pt x="978" y="1223"/>
                  </a:cubicBezTo>
                  <a:cubicBezTo>
                    <a:pt x="979" y="1216"/>
                    <a:pt x="978" y="1209"/>
                    <a:pt x="974" y="1204"/>
                  </a:cubicBezTo>
                  <a:cubicBezTo>
                    <a:pt x="970" y="1198"/>
                    <a:pt x="965" y="1194"/>
                    <a:pt x="958" y="1191"/>
                  </a:cubicBezTo>
                  <a:cubicBezTo>
                    <a:pt x="951" y="1188"/>
                    <a:pt x="944" y="1186"/>
                    <a:pt x="936" y="1183"/>
                  </a:cubicBezTo>
                  <a:cubicBezTo>
                    <a:pt x="934" y="1182"/>
                    <a:pt x="932" y="1181"/>
                    <a:pt x="931" y="1180"/>
                  </a:cubicBezTo>
                  <a:cubicBezTo>
                    <a:pt x="930" y="1180"/>
                    <a:pt x="929" y="1180"/>
                    <a:pt x="928" y="1179"/>
                  </a:cubicBezTo>
                  <a:cubicBezTo>
                    <a:pt x="928" y="1179"/>
                    <a:pt x="928" y="1179"/>
                    <a:pt x="928" y="1179"/>
                  </a:cubicBezTo>
                  <a:cubicBezTo>
                    <a:pt x="927" y="1179"/>
                    <a:pt x="927" y="1179"/>
                    <a:pt x="926" y="1178"/>
                  </a:cubicBezTo>
                  <a:cubicBezTo>
                    <a:pt x="922" y="1177"/>
                    <a:pt x="919" y="1175"/>
                    <a:pt x="915" y="1173"/>
                  </a:cubicBezTo>
                  <a:cubicBezTo>
                    <a:pt x="899" y="1166"/>
                    <a:pt x="884" y="1157"/>
                    <a:pt x="870" y="1148"/>
                  </a:cubicBezTo>
                  <a:cubicBezTo>
                    <a:pt x="866" y="1145"/>
                    <a:pt x="863" y="1143"/>
                    <a:pt x="859" y="1140"/>
                  </a:cubicBezTo>
                  <a:cubicBezTo>
                    <a:pt x="859" y="1140"/>
                    <a:pt x="858" y="1139"/>
                    <a:pt x="857" y="1138"/>
                  </a:cubicBezTo>
                  <a:cubicBezTo>
                    <a:pt x="857" y="1138"/>
                    <a:pt x="856" y="1137"/>
                    <a:pt x="856" y="1137"/>
                  </a:cubicBezTo>
                  <a:cubicBezTo>
                    <a:pt x="855" y="1137"/>
                    <a:pt x="855" y="1137"/>
                    <a:pt x="855" y="1136"/>
                  </a:cubicBezTo>
                  <a:cubicBezTo>
                    <a:pt x="854" y="1136"/>
                    <a:pt x="853" y="1135"/>
                    <a:pt x="852" y="1135"/>
                  </a:cubicBezTo>
                  <a:cubicBezTo>
                    <a:pt x="852" y="1135"/>
                    <a:pt x="852" y="1135"/>
                    <a:pt x="852" y="1134"/>
                  </a:cubicBezTo>
                  <a:cubicBezTo>
                    <a:pt x="852" y="1134"/>
                    <a:pt x="852" y="1134"/>
                    <a:pt x="852" y="1134"/>
                  </a:cubicBezTo>
                  <a:cubicBezTo>
                    <a:pt x="851" y="1134"/>
                    <a:pt x="851" y="1133"/>
                    <a:pt x="850" y="1133"/>
                  </a:cubicBezTo>
                  <a:cubicBezTo>
                    <a:pt x="847" y="1130"/>
                    <a:pt x="844" y="1127"/>
                    <a:pt x="841" y="1124"/>
                  </a:cubicBezTo>
                  <a:cubicBezTo>
                    <a:pt x="839" y="1123"/>
                    <a:pt x="837" y="1121"/>
                    <a:pt x="836" y="1120"/>
                  </a:cubicBezTo>
                  <a:cubicBezTo>
                    <a:pt x="837" y="1120"/>
                    <a:pt x="838" y="1120"/>
                    <a:pt x="839" y="1120"/>
                  </a:cubicBezTo>
                  <a:cubicBezTo>
                    <a:pt x="842" y="1120"/>
                    <a:pt x="846" y="1120"/>
                    <a:pt x="849" y="1120"/>
                  </a:cubicBezTo>
                  <a:cubicBezTo>
                    <a:pt x="855" y="1120"/>
                    <a:pt x="861" y="1119"/>
                    <a:pt x="868" y="1118"/>
                  </a:cubicBezTo>
                  <a:cubicBezTo>
                    <a:pt x="880" y="1117"/>
                    <a:pt x="893" y="1115"/>
                    <a:pt x="906" y="1113"/>
                  </a:cubicBezTo>
                  <a:cubicBezTo>
                    <a:pt x="912" y="1112"/>
                    <a:pt x="918" y="1111"/>
                    <a:pt x="923" y="1109"/>
                  </a:cubicBezTo>
                  <a:cubicBezTo>
                    <a:pt x="924" y="1111"/>
                    <a:pt x="926" y="1113"/>
                    <a:pt x="927" y="1114"/>
                  </a:cubicBezTo>
                  <a:cubicBezTo>
                    <a:pt x="929" y="1116"/>
                    <a:pt x="931" y="1118"/>
                    <a:pt x="933" y="1120"/>
                  </a:cubicBezTo>
                  <a:cubicBezTo>
                    <a:pt x="937" y="1123"/>
                    <a:pt x="941" y="1126"/>
                    <a:pt x="946" y="1125"/>
                  </a:cubicBezTo>
                  <a:cubicBezTo>
                    <a:pt x="952" y="1125"/>
                    <a:pt x="956" y="1121"/>
                    <a:pt x="957" y="1116"/>
                  </a:cubicBezTo>
                  <a:cubicBezTo>
                    <a:pt x="958" y="1113"/>
                    <a:pt x="958" y="1111"/>
                    <a:pt x="957" y="1109"/>
                  </a:cubicBezTo>
                  <a:cubicBezTo>
                    <a:pt x="970" y="1115"/>
                    <a:pt x="981" y="1125"/>
                    <a:pt x="989" y="1138"/>
                  </a:cubicBezTo>
                  <a:cubicBezTo>
                    <a:pt x="990" y="1139"/>
                    <a:pt x="991" y="1141"/>
                    <a:pt x="993" y="1143"/>
                  </a:cubicBezTo>
                  <a:cubicBezTo>
                    <a:pt x="992" y="1143"/>
                    <a:pt x="991" y="1143"/>
                    <a:pt x="990" y="1144"/>
                  </a:cubicBezTo>
                  <a:cubicBezTo>
                    <a:pt x="987" y="1145"/>
                    <a:pt x="985" y="1147"/>
                    <a:pt x="984" y="1150"/>
                  </a:cubicBezTo>
                  <a:cubicBezTo>
                    <a:pt x="981" y="1154"/>
                    <a:pt x="980" y="1160"/>
                    <a:pt x="980" y="1166"/>
                  </a:cubicBezTo>
                  <a:cubicBezTo>
                    <a:pt x="982" y="1178"/>
                    <a:pt x="989" y="1189"/>
                    <a:pt x="1000" y="1193"/>
                  </a:cubicBezTo>
                  <a:cubicBezTo>
                    <a:pt x="1011" y="1197"/>
                    <a:pt x="1024" y="1192"/>
                    <a:pt x="1032" y="1183"/>
                  </a:cubicBezTo>
                  <a:cubicBezTo>
                    <a:pt x="1039" y="1175"/>
                    <a:pt x="1042" y="1164"/>
                    <a:pt x="1040" y="1153"/>
                  </a:cubicBezTo>
                  <a:cubicBezTo>
                    <a:pt x="1038" y="1144"/>
                    <a:pt x="1031" y="1137"/>
                    <a:pt x="1022" y="1135"/>
                  </a:cubicBezTo>
                  <a:cubicBezTo>
                    <a:pt x="1018" y="1134"/>
                    <a:pt x="1013" y="1134"/>
                    <a:pt x="1009" y="1135"/>
                  </a:cubicBezTo>
                  <a:cubicBezTo>
                    <a:pt x="1007" y="1127"/>
                    <a:pt x="1003" y="1120"/>
                    <a:pt x="999" y="1114"/>
                  </a:cubicBezTo>
                  <a:cubicBezTo>
                    <a:pt x="994" y="1106"/>
                    <a:pt x="990" y="1098"/>
                    <a:pt x="984" y="1091"/>
                  </a:cubicBezTo>
                  <a:cubicBezTo>
                    <a:pt x="984" y="1091"/>
                    <a:pt x="984" y="1091"/>
                    <a:pt x="984" y="1091"/>
                  </a:cubicBezTo>
                  <a:cubicBezTo>
                    <a:pt x="1028" y="1075"/>
                    <a:pt x="1072" y="1059"/>
                    <a:pt x="1114" y="1038"/>
                  </a:cubicBezTo>
                  <a:cubicBezTo>
                    <a:pt x="1133" y="1028"/>
                    <a:pt x="1151" y="1018"/>
                    <a:pt x="1168" y="1005"/>
                  </a:cubicBezTo>
                  <a:cubicBezTo>
                    <a:pt x="1184" y="994"/>
                    <a:pt x="1200" y="982"/>
                    <a:pt x="1213" y="968"/>
                  </a:cubicBezTo>
                  <a:cubicBezTo>
                    <a:pt x="1216" y="963"/>
                    <a:pt x="1220" y="959"/>
                    <a:pt x="1224" y="954"/>
                  </a:cubicBezTo>
                  <a:cubicBezTo>
                    <a:pt x="1225" y="952"/>
                    <a:pt x="1226" y="950"/>
                    <a:pt x="1228" y="947"/>
                  </a:cubicBezTo>
                  <a:cubicBezTo>
                    <a:pt x="1229" y="945"/>
                    <a:pt x="1230" y="943"/>
                    <a:pt x="1231" y="940"/>
                  </a:cubicBezTo>
                  <a:cubicBezTo>
                    <a:pt x="1231" y="942"/>
                    <a:pt x="1231" y="943"/>
                    <a:pt x="1231" y="945"/>
                  </a:cubicBezTo>
                  <a:cubicBezTo>
                    <a:pt x="1231" y="958"/>
                    <a:pt x="1230" y="970"/>
                    <a:pt x="1230" y="983"/>
                  </a:cubicBezTo>
                  <a:close/>
                  <a:moveTo>
                    <a:pt x="271" y="1213"/>
                  </a:moveTo>
                  <a:cubicBezTo>
                    <a:pt x="271" y="1213"/>
                    <a:pt x="271" y="1213"/>
                    <a:pt x="271" y="1213"/>
                  </a:cubicBezTo>
                  <a:cubicBezTo>
                    <a:pt x="270" y="1213"/>
                    <a:pt x="269" y="1213"/>
                    <a:pt x="267" y="1213"/>
                  </a:cubicBezTo>
                  <a:cubicBezTo>
                    <a:pt x="267" y="1213"/>
                    <a:pt x="267" y="1213"/>
                    <a:pt x="267" y="1213"/>
                  </a:cubicBezTo>
                  <a:cubicBezTo>
                    <a:pt x="267" y="1213"/>
                    <a:pt x="267" y="1213"/>
                    <a:pt x="267" y="1213"/>
                  </a:cubicBezTo>
                  <a:cubicBezTo>
                    <a:pt x="266" y="1212"/>
                    <a:pt x="266" y="1212"/>
                    <a:pt x="265" y="1212"/>
                  </a:cubicBezTo>
                  <a:cubicBezTo>
                    <a:pt x="262" y="1212"/>
                    <a:pt x="260" y="1211"/>
                    <a:pt x="257" y="1211"/>
                  </a:cubicBezTo>
                  <a:cubicBezTo>
                    <a:pt x="253" y="1210"/>
                    <a:pt x="249" y="1210"/>
                    <a:pt x="245" y="1209"/>
                  </a:cubicBezTo>
                  <a:cubicBezTo>
                    <a:pt x="237" y="1207"/>
                    <a:pt x="230" y="1205"/>
                    <a:pt x="223" y="1202"/>
                  </a:cubicBezTo>
                  <a:cubicBezTo>
                    <a:pt x="221" y="1201"/>
                    <a:pt x="219" y="1201"/>
                    <a:pt x="218" y="1200"/>
                  </a:cubicBezTo>
                  <a:cubicBezTo>
                    <a:pt x="217" y="1200"/>
                    <a:pt x="217" y="1200"/>
                    <a:pt x="217" y="1199"/>
                  </a:cubicBezTo>
                  <a:cubicBezTo>
                    <a:pt x="217" y="1199"/>
                    <a:pt x="217" y="1199"/>
                    <a:pt x="217" y="1199"/>
                  </a:cubicBezTo>
                  <a:cubicBezTo>
                    <a:pt x="216" y="1199"/>
                    <a:pt x="215" y="1198"/>
                    <a:pt x="214" y="1198"/>
                  </a:cubicBezTo>
                  <a:cubicBezTo>
                    <a:pt x="210" y="1196"/>
                    <a:pt x="207" y="1194"/>
                    <a:pt x="204" y="1192"/>
                  </a:cubicBezTo>
                  <a:cubicBezTo>
                    <a:pt x="197" y="1189"/>
                    <a:pt x="191" y="1185"/>
                    <a:pt x="184" y="1180"/>
                  </a:cubicBezTo>
                  <a:cubicBezTo>
                    <a:pt x="183" y="1179"/>
                    <a:pt x="181" y="1178"/>
                    <a:pt x="180" y="1177"/>
                  </a:cubicBezTo>
                  <a:cubicBezTo>
                    <a:pt x="180" y="1177"/>
                    <a:pt x="180" y="1177"/>
                    <a:pt x="180" y="1177"/>
                  </a:cubicBezTo>
                  <a:cubicBezTo>
                    <a:pt x="180" y="1177"/>
                    <a:pt x="180" y="1177"/>
                    <a:pt x="179" y="1176"/>
                  </a:cubicBezTo>
                  <a:cubicBezTo>
                    <a:pt x="179" y="1176"/>
                    <a:pt x="178" y="1175"/>
                    <a:pt x="177" y="1174"/>
                  </a:cubicBezTo>
                  <a:cubicBezTo>
                    <a:pt x="174" y="1172"/>
                    <a:pt x="171" y="1170"/>
                    <a:pt x="168" y="1167"/>
                  </a:cubicBezTo>
                  <a:cubicBezTo>
                    <a:pt x="163" y="1161"/>
                    <a:pt x="158" y="1156"/>
                    <a:pt x="153" y="1150"/>
                  </a:cubicBezTo>
                  <a:cubicBezTo>
                    <a:pt x="152" y="1149"/>
                    <a:pt x="151" y="1147"/>
                    <a:pt x="150" y="1146"/>
                  </a:cubicBezTo>
                  <a:cubicBezTo>
                    <a:pt x="150" y="1146"/>
                    <a:pt x="149" y="1145"/>
                    <a:pt x="149" y="1145"/>
                  </a:cubicBezTo>
                  <a:cubicBezTo>
                    <a:pt x="149" y="1144"/>
                    <a:pt x="148" y="1143"/>
                    <a:pt x="147" y="1142"/>
                  </a:cubicBezTo>
                  <a:cubicBezTo>
                    <a:pt x="145" y="1139"/>
                    <a:pt x="143" y="1136"/>
                    <a:pt x="141" y="1132"/>
                  </a:cubicBezTo>
                  <a:cubicBezTo>
                    <a:pt x="137" y="1125"/>
                    <a:pt x="133" y="1119"/>
                    <a:pt x="130" y="1112"/>
                  </a:cubicBezTo>
                  <a:cubicBezTo>
                    <a:pt x="129" y="1110"/>
                    <a:pt x="128" y="1108"/>
                    <a:pt x="127" y="1107"/>
                  </a:cubicBezTo>
                  <a:cubicBezTo>
                    <a:pt x="127" y="1106"/>
                    <a:pt x="127" y="1105"/>
                    <a:pt x="126" y="1104"/>
                  </a:cubicBezTo>
                  <a:cubicBezTo>
                    <a:pt x="126" y="1104"/>
                    <a:pt x="126" y="1104"/>
                    <a:pt x="126" y="1104"/>
                  </a:cubicBezTo>
                  <a:cubicBezTo>
                    <a:pt x="126" y="1104"/>
                    <a:pt x="126" y="1104"/>
                    <a:pt x="126" y="1104"/>
                  </a:cubicBezTo>
                  <a:cubicBezTo>
                    <a:pt x="126" y="1103"/>
                    <a:pt x="126" y="1103"/>
                    <a:pt x="126" y="1102"/>
                  </a:cubicBezTo>
                  <a:cubicBezTo>
                    <a:pt x="124" y="1098"/>
                    <a:pt x="123" y="1094"/>
                    <a:pt x="121" y="1090"/>
                  </a:cubicBezTo>
                  <a:cubicBezTo>
                    <a:pt x="120" y="1085"/>
                    <a:pt x="118" y="1080"/>
                    <a:pt x="117" y="1075"/>
                  </a:cubicBezTo>
                  <a:cubicBezTo>
                    <a:pt x="117" y="1072"/>
                    <a:pt x="116" y="1070"/>
                    <a:pt x="116" y="1067"/>
                  </a:cubicBezTo>
                  <a:cubicBezTo>
                    <a:pt x="115" y="1066"/>
                    <a:pt x="115" y="1064"/>
                    <a:pt x="115" y="1063"/>
                  </a:cubicBezTo>
                  <a:cubicBezTo>
                    <a:pt x="115" y="1063"/>
                    <a:pt x="115" y="1061"/>
                    <a:pt x="115" y="1062"/>
                  </a:cubicBezTo>
                  <a:cubicBezTo>
                    <a:pt x="115" y="1061"/>
                    <a:pt x="115" y="1060"/>
                    <a:pt x="114" y="1059"/>
                  </a:cubicBezTo>
                  <a:cubicBezTo>
                    <a:pt x="114" y="1059"/>
                    <a:pt x="114" y="1059"/>
                    <a:pt x="114" y="1059"/>
                  </a:cubicBezTo>
                  <a:cubicBezTo>
                    <a:pt x="114" y="1058"/>
                    <a:pt x="114" y="1057"/>
                    <a:pt x="114" y="1057"/>
                  </a:cubicBezTo>
                  <a:cubicBezTo>
                    <a:pt x="114" y="1056"/>
                    <a:pt x="114" y="1054"/>
                    <a:pt x="114" y="1053"/>
                  </a:cubicBezTo>
                  <a:cubicBezTo>
                    <a:pt x="114" y="1051"/>
                    <a:pt x="113" y="1049"/>
                    <a:pt x="113" y="1046"/>
                  </a:cubicBezTo>
                  <a:cubicBezTo>
                    <a:pt x="113" y="1042"/>
                    <a:pt x="113" y="1037"/>
                    <a:pt x="113" y="1032"/>
                  </a:cubicBezTo>
                  <a:cubicBezTo>
                    <a:pt x="113" y="1023"/>
                    <a:pt x="113" y="1014"/>
                    <a:pt x="114" y="1004"/>
                  </a:cubicBezTo>
                  <a:cubicBezTo>
                    <a:pt x="115" y="995"/>
                    <a:pt x="117" y="986"/>
                    <a:pt x="119" y="977"/>
                  </a:cubicBezTo>
                  <a:cubicBezTo>
                    <a:pt x="119" y="977"/>
                    <a:pt x="119" y="976"/>
                    <a:pt x="119" y="975"/>
                  </a:cubicBezTo>
                  <a:cubicBezTo>
                    <a:pt x="126" y="949"/>
                    <a:pt x="132" y="922"/>
                    <a:pt x="139" y="895"/>
                  </a:cubicBezTo>
                  <a:cubicBezTo>
                    <a:pt x="147" y="865"/>
                    <a:pt x="157" y="835"/>
                    <a:pt x="168" y="806"/>
                  </a:cubicBezTo>
                  <a:cubicBezTo>
                    <a:pt x="180" y="777"/>
                    <a:pt x="195" y="749"/>
                    <a:pt x="212" y="724"/>
                  </a:cubicBezTo>
                  <a:cubicBezTo>
                    <a:pt x="231" y="697"/>
                    <a:pt x="253" y="673"/>
                    <a:pt x="276" y="651"/>
                  </a:cubicBezTo>
                  <a:cubicBezTo>
                    <a:pt x="373" y="563"/>
                    <a:pt x="489" y="499"/>
                    <a:pt x="612" y="459"/>
                  </a:cubicBezTo>
                  <a:cubicBezTo>
                    <a:pt x="674" y="439"/>
                    <a:pt x="737" y="426"/>
                    <a:pt x="801" y="419"/>
                  </a:cubicBezTo>
                  <a:cubicBezTo>
                    <a:pt x="868" y="411"/>
                    <a:pt x="934" y="411"/>
                    <a:pt x="1001" y="412"/>
                  </a:cubicBezTo>
                  <a:cubicBezTo>
                    <a:pt x="1050" y="413"/>
                    <a:pt x="1099" y="413"/>
                    <a:pt x="1148" y="409"/>
                  </a:cubicBezTo>
                  <a:cubicBezTo>
                    <a:pt x="1172" y="407"/>
                    <a:pt x="1196" y="403"/>
                    <a:pt x="1219" y="398"/>
                  </a:cubicBezTo>
                  <a:cubicBezTo>
                    <a:pt x="1227" y="397"/>
                    <a:pt x="1235" y="395"/>
                    <a:pt x="1243" y="393"/>
                  </a:cubicBezTo>
                  <a:cubicBezTo>
                    <a:pt x="1243" y="395"/>
                    <a:pt x="1245" y="396"/>
                    <a:pt x="1247" y="395"/>
                  </a:cubicBezTo>
                  <a:cubicBezTo>
                    <a:pt x="1248" y="395"/>
                    <a:pt x="1249" y="394"/>
                    <a:pt x="1250" y="393"/>
                  </a:cubicBezTo>
                  <a:cubicBezTo>
                    <a:pt x="1251" y="393"/>
                    <a:pt x="1251" y="392"/>
                    <a:pt x="1252" y="391"/>
                  </a:cubicBezTo>
                  <a:cubicBezTo>
                    <a:pt x="1252" y="391"/>
                    <a:pt x="1252" y="391"/>
                    <a:pt x="1252" y="391"/>
                  </a:cubicBezTo>
                  <a:cubicBezTo>
                    <a:pt x="1257" y="390"/>
                    <a:pt x="1261" y="388"/>
                    <a:pt x="1265" y="387"/>
                  </a:cubicBezTo>
                  <a:cubicBezTo>
                    <a:pt x="1266" y="387"/>
                    <a:pt x="1266" y="387"/>
                    <a:pt x="1267" y="387"/>
                  </a:cubicBezTo>
                  <a:cubicBezTo>
                    <a:pt x="1270" y="387"/>
                    <a:pt x="1273" y="386"/>
                    <a:pt x="1277" y="385"/>
                  </a:cubicBezTo>
                  <a:cubicBezTo>
                    <a:pt x="1282" y="384"/>
                    <a:pt x="1287" y="382"/>
                    <a:pt x="1290" y="378"/>
                  </a:cubicBezTo>
                  <a:cubicBezTo>
                    <a:pt x="1291" y="378"/>
                    <a:pt x="1291" y="378"/>
                    <a:pt x="1291" y="378"/>
                  </a:cubicBezTo>
                  <a:cubicBezTo>
                    <a:pt x="1292" y="378"/>
                    <a:pt x="1292" y="377"/>
                    <a:pt x="1293" y="376"/>
                  </a:cubicBezTo>
                  <a:cubicBezTo>
                    <a:pt x="1302" y="365"/>
                    <a:pt x="1288" y="352"/>
                    <a:pt x="1280" y="344"/>
                  </a:cubicBezTo>
                  <a:cubicBezTo>
                    <a:pt x="1277" y="341"/>
                    <a:pt x="1274" y="339"/>
                    <a:pt x="1271" y="337"/>
                  </a:cubicBezTo>
                  <a:cubicBezTo>
                    <a:pt x="1270" y="336"/>
                    <a:pt x="1269" y="336"/>
                    <a:pt x="1269" y="335"/>
                  </a:cubicBezTo>
                  <a:cubicBezTo>
                    <a:pt x="1268" y="334"/>
                    <a:pt x="1268" y="332"/>
                    <a:pt x="1268" y="330"/>
                  </a:cubicBezTo>
                  <a:cubicBezTo>
                    <a:pt x="1268" y="330"/>
                    <a:pt x="1268" y="330"/>
                    <a:pt x="1269" y="331"/>
                  </a:cubicBezTo>
                  <a:cubicBezTo>
                    <a:pt x="1274" y="332"/>
                    <a:pt x="1279" y="334"/>
                    <a:pt x="1283" y="336"/>
                  </a:cubicBezTo>
                  <a:cubicBezTo>
                    <a:pt x="1288" y="339"/>
                    <a:pt x="1293" y="341"/>
                    <a:pt x="1297" y="344"/>
                  </a:cubicBezTo>
                  <a:cubicBezTo>
                    <a:pt x="1299" y="345"/>
                    <a:pt x="1301" y="346"/>
                    <a:pt x="1304" y="347"/>
                  </a:cubicBezTo>
                  <a:cubicBezTo>
                    <a:pt x="1306" y="348"/>
                    <a:pt x="1308" y="350"/>
                    <a:pt x="1310" y="350"/>
                  </a:cubicBezTo>
                  <a:cubicBezTo>
                    <a:pt x="1311" y="350"/>
                    <a:pt x="1311" y="350"/>
                    <a:pt x="1311" y="350"/>
                  </a:cubicBezTo>
                  <a:cubicBezTo>
                    <a:pt x="1313" y="350"/>
                    <a:pt x="1314" y="352"/>
                    <a:pt x="1316" y="353"/>
                  </a:cubicBezTo>
                  <a:cubicBezTo>
                    <a:pt x="1329" y="359"/>
                    <a:pt x="1341" y="366"/>
                    <a:pt x="1354" y="373"/>
                  </a:cubicBezTo>
                  <a:cubicBezTo>
                    <a:pt x="1360" y="377"/>
                    <a:pt x="1366" y="381"/>
                    <a:pt x="1371" y="386"/>
                  </a:cubicBezTo>
                  <a:cubicBezTo>
                    <a:pt x="1372" y="386"/>
                    <a:pt x="1373" y="387"/>
                    <a:pt x="1374" y="387"/>
                  </a:cubicBezTo>
                  <a:cubicBezTo>
                    <a:pt x="1374" y="388"/>
                    <a:pt x="1374" y="388"/>
                    <a:pt x="1374" y="388"/>
                  </a:cubicBezTo>
                  <a:cubicBezTo>
                    <a:pt x="1374" y="388"/>
                    <a:pt x="1374" y="388"/>
                    <a:pt x="1374" y="388"/>
                  </a:cubicBezTo>
                  <a:cubicBezTo>
                    <a:pt x="1374" y="388"/>
                    <a:pt x="1374" y="388"/>
                    <a:pt x="1375" y="388"/>
                  </a:cubicBezTo>
                  <a:cubicBezTo>
                    <a:pt x="1376" y="390"/>
                    <a:pt x="1378" y="391"/>
                    <a:pt x="1379" y="392"/>
                  </a:cubicBezTo>
                  <a:cubicBezTo>
                    <a:pt x="1381" y="394"/>
                    <a:pt x="1384" y="396"/>
                    <a:pt x="1386" y="399"/>
                  </a:cubicBezTo>
                  <a:cubicBezTo>
                    <a:pt x="1388" y="401"/>
                    <a:pt x="1390" y="403"/>
                    <a:pt x="1392" y="406"/>
                  </a:cubicBezTo>
                  <a:cubicBezTo>
                    <a:pt x="1392" y="406"/>
                    <a:pt x="1393" y="407"/>
                    <a:pt x="1393" y="407"/>
                  </a:cubicBezTo>
                  <a:cubicBezTo>
                    <a:pt x="1394" y="408"/>
                    <a:pt x="1394" y="409"/>
                    <a:pt x="1394" y="409"/>
                  </a:cubicBezTo>
                  <a:cubicBezTo>
                    <a:pt x="1395" y="411"/>
                    <a:pt x="1396" y="412"/>
                    <a:pt x="1397" y="413"/>
                  </a:cubicBezTo>
                  <a:cubicBezTo>
                    <a:pt x="1398" y="415"/>
                    <a:pt x="1399" y="417"/>
                    <a:pt x="1399" y="418"/>
                  </a:cubicBezTo>
                  <a:cubicBezTo>
                    <a:pt x="1400" y="419"/>
                    <a:pt x="1400" y="419"/>
                    <a:pt x="1400" y="420"/>
                  </a:cubicBezTo>
                  <a:cubicBezTo>
                    <a:pt x="1401" y="420"/>
                    <a:pt x="1401" y="421"/>
                    <a:pt x="1401" y="421"/>
                  </a:cubicBezTo>
                  <a:cubicBezTo>
                    <a:pt x="1401" y="421"/>
                    <a:pt x="1401" y="421"/>
                    <a:pt x="1401" y="421"/>
                  </a:cubicBezTo>
                  <a:cubicBezTo>
                    <a:pt x="1401" y="421"/>
                    <a:pt x="1401" y="421"/>
                    <a:pt x="1401" y="421"/>
                  </a:cubicBezTo>
                  <a:cubicBezTo>
                    <a:pt x="1402" y="424"/>
                    <a:pt x="1403" y="427"/>
                    <a:pt x="1404" y="431"/>
                  </a:cubicBezTo>
                  <a:cubicBezTo>
                    <a:pt x="1404" y="432"/>
                    <a:pt x="1404" y="434"/>
                    <a:pt x="1405" y="435"/>
                  </a:cubicBezTo>
                  <a:cubicBezTo>
                    <a:pt x="1405" y="435"/>
                    <a:pt x="1405" y="436"/>
                    <a:pt x="1405" y="436"/>
                  </a:cubicBezTo>
                  <a:cubicBezTo>
                    <a:pt x="1405" y="437"/>
                    <a:pt x="1405" y="438"/>
                    <a:pt x="1405" y="439"/>
                  </a:cubicBezTo>
                  <a:cubicBezTo>
                    <a:pt x="1405" y="442"/>
                    <a:pt x="1406" y="446"/>
                    <a:pt x="1406" y="449"/>
                  </a:cubicBezTo>
                  <a:cubicBezTo>
                    <a:pt x="1405" y="452"/>
                    <a:pt x="1405" y="456"/>
                    <a:pt x="1405" y="459"/>
                  </a:cubicBezTo>
                  <a:cubicBezTo>
                    <a:pt x="1405" y="459"/>
                    <a:pt x="1405" y="459"/>
                    <a:pt x="1405" y="460"/>
                  </a:cubicBezTo>
                  <a:cubicBezTo>
                    <a:pt x="1405" y="461"/>
                    <a:pt x="1405" y="461"/>
                    <a:pt x="1404" y="462"/>
                  </a:cubicBezTo>
                  <a:cubicBezTo>
                    <a:pt x="1404" y="464"/>
                    <a:pt x="1404" y="466"/>
                    <a:pt x="1403" y="467"/>
                  </a:cubicBezTo>
                  <a:cubicBezTo>
                    <a:pt x="1402" y="474"/>
                    <a:pt x="1400" y="481"/>
                    <a:pt x="1397" y="488"/>
                  </a:cubicBezTo>
                  <a:cubicBezTo>
                    <a:pt x="1397" y="489"/>
                    <a:pt x="1397" y="489"/>
                    <a:pt x="1396" y="490"/>
                  </a:cubicBezTo>
                  <a:cubicBezTo>
                    <a:pt x="1396" y="491"/>
                    <a:pt x="1396" y="491"/>
                    <a:pt x="1396" y="491"/>
                  </a:cubicBezTo>
                  <a:cubicBezTo>
                    <a:pt x="1396" y="491"/>
                    <a:pt x="1396" y="491"/>
                    <a:pt x="1396" y="491"/>
                  </a:cubicBezTo>
                  <a:cubicBezTo>
                    <a:pt x="1395" y="493"/>
                    <a:pt x="1394" y="495"/>
                    <a:pt x="1393" y="497"/>
                  </a:cubicBezTo>
                  <a:cubicBezTo>
                    <a:pt x="1392" y="500"/>
                    <a:pt x="1390" y="503"/>
                    <a:pt x="1388" y="506"/>
                  </a:cubicBezTo>
                  <a:cubicBezTo>
                    <a:pt x="1385" y="514"/>
                    <a:pt x="1381" y="520"/>
                    <a:pt x="1377" y="527"/>
                  </a:cubicBezTo>
                  <a:cubicBezTo>
                    <a:pt x="1375" y="530"/>
                    <a:pt x="1373" y="533"/>
                    <a:pt x="1370" y="536"/>
                  </a:cubicBezTo>
                  <a:cubicBezTo>
                    <a:pt x="1369" y="538"/>
                    <a:pt x="1368" y="540"/>
                    <a:pt x="1367" y="541"/>
                  </a:cubicBezTo>
                  <a:cubicBezTo>
                    <a:pt x="1367" y="542"/>
                    <a:pt x="1366" y="543"/>
                    <a:pt x="1365" y="543"/>
                  </a:cubicBezTo>
                  <a:cubicBezTo>
                    <a:pt x="1365" y="543"/>
                    <a:pt x="1365" y="543"/>
                    <a:pt x="1365" y="544"/>
                  </a:cubicBezTo>
                  <a:cubicBezTo>
                    <a:pt x="1365" y="544"/>
                    <a:pt x="1365" y="544"/>
                    <a:pt x="1364" y="545"/>
                  </a:cubicBezTo>
                  <a:cubicBezTo>
                    <a:pt x="1355" y="557"/>
                    <a:pt x="1345" y="568"/>
                    <a:pt x="1335" y="580"/>
                  </a:cubicBezTo>
                  <a:cubicBezTo>
                    <a:pt x="1325" y="590"/>
                    <a:pt x="1315" y="599"/>
                    <a:pt x="1305" y="608"/>
                  </a:cubicBezTo>
                  <a:cubicBezTo>
                    <a:pt x="1303" y="610"/>
                    <a:pt x="1301" y="612"/>
                    <a:pt x="1298" y="614"/>
                  </a:cubicBezTo>
                  <a:cubicBezTo>
                    <a:pt x="1296" y="615"/>
                    <a:pt x="1294" y="616"/>
                    <a:pt x="1292" y="618"/>
                  </a:cubicBezTo>
                  <a:cubicBezTo>
                    <a:pt x="1288" y="620"/>
                    <a:pt x="1283" y="623"/>
                    <a:pt x="1279" y="625"/>
                  </a:cubicBezTo>
                  <a:cubicBezTo>
                    <a:pt x="1277" y="626"/>
                    <a:pt x="1274" y="627"/>
                    <a:pt x="1272" y="628"/>
                  </a:cubicBezTo>
                  <a:cubicBezTo>
                    <a:pt x="1271" y="628"/>
                    <a:pt x="1270" y="629"/>
                    <a:pt x="1269" y="629"/>
                  </a:cubicBezTo>
                  <a:cubicBezTo>
                    <a:pt x="1268" y="630"/>
                    <a:pt x="1268" y="630"/>
                    <a:pt x="1267" y="630"/>
                  </a:cubicBezTo>
                  <a:cubicBezTo>
                    <a:pt x="1267" y="630"/>
                    <a:pt x="1267" y="630"/>
                    <a:pt x="1267" y="630"/>
                  </a:cubicBezTo>
                  <a:cubicBezTo>
                    <a:pt x="1267" y="630"/>
                    <a:pt x="1266" y="630"/>
                    <a:pt x="1266" y="631"/>
                  </a:cubicBezTo>
                  <a:cubicBezTo>
                    <a:pt x="1257" y="635"/>
                    <a:pt x="1247" y="638"/>
                    <a:pt x="1238" y="641"/>
                  </a:cubicBezTo>
                  <a:cubicBezTo>
                    <a:pt x="1228" y="644"/>
                    <a:pt x="1218" y="645"/>
                    <a:pt x="1208" y="647"/>
                  </a:cubicBezTo>
                  <a:cubicBezTo>
                    <a:pt x="1203" y="648"/>
                    <a:pt x="1197" y="649"/>
                    <a:pt x="1192" y="650"/>
                  </a:cubicBezTo>
                  <a:cubicBezTo>
                    <a:pt x="1190" y="650"/>
                    <a:pt x="1187" y="651"/>
                    <a:pt x="1184" y="652"/>
                  </a:cubicBezTo>
                  <a:cubicBezTo>
                    <a:pt x="1183" y="652"/>
                    <a:pt x="1182" y="653"/>
                    <a:pt x="1181" y="653"/>
                  </a:cubicBezTo>
                  <a:cubicBezTo>
                    <a:pt x="1181" y="653"/>
                    <a:pt x="1180" y="653"/>
                    <a:pt x="1179" y="653"/>
                  </a:cubicBezTo>
                  <a:cubicBezTo>
                    <a:pt x="1179" y="653"/>
                    <a:pt x="1179" y="653"/>
                    <a:pt x="1178" y="653"/>
                  </a:cubicBezTo>
                  <a:cubicBezTo>
                    <a:pt x="1144" y="658"/>
                    <a:pt x="1110" y="663"/>
                    <a:pt x="1076" y="670"/>
                  </a:cubicBezTo>
                  <a:cubicBezTo>
                    <a:pt x="1008" y="682"/>
                    <a:pt x="941" y="697"/>
                    <a:pt x="874" y="714"/>
                  </a:cubicBezTo>
                  <a:cubicBezTo>
                    <a:pt x="810" y="730"/>
                    <a:pt x="748" y="750"/>
                    <a:pt x="688" y="776"/>
                  </a:cubicBezTo>
                  <a:cubicBezTo>
                    <a:pt x="688" y="776"/>
                    <a:pt x="687" y="776"/>
                    <a:pt x="687" y="776"/>
                  </a:cubicBezTo>
                  <a:cubicBezTo>
                    <a:pt x="686" y="775"/>
                    <a:pt x="685" y="776"/>
                    <a:pt x="685" y="777"/>
                  </a:cubicBezTo>
                  <a:cubicBezTo>
                    <a:pt x="634" y="799"/>
                    <a:pt x="584" y="825"/>
                    <a:pt x="536" y="853"/>
                  </a:cubicBezTo>
                  <a:cubicBezTo>
                    <a:pt x="483" y="884"/>
                    <a:pt x="432" y="918"/>
                    <a:pt x="383" y="956"/>
                  </a:cubicBezTo>
                  <a:cubicBezTo>
                    <a:pt x="359" y="974"/>
                    <a:pt x="335" y="994"/>
                    <a:pt x="312" y="1014"/>
                  </a:cubicBezTo>
                  <a:cubicBezTo>
                    <a:pt x="292" y="1032"/>
                    <a:pt x="271" y="1049"/>
                    <a:pt x="252" y="1069"/>
                  </a:cubicBezTo>
                  <a:cubicBezTo>
                    <a:pt x="230" y="1091"/>
                    <a:pt x="212" y="1117"/>
                    <a:pt x="205" y="1148"/>
                  </a:cubicBezTo>
                  <a:cubicBezTo>
                    <a:pt x="204" y="1150"/>
                    <a:pt x="205" y="1151"/>
                    <a:pt x="206" y="1152"/>
                  </a:cubicBezTo>
                  <a:cubicBezTo>
                    <a:pt x="205" y="1154"/>
                    <a:pt x="206" y="1155"/>
                    <a:pt x="206" y="1156"/>
                  </a:cubicBezTo>
                  <a:cubicBezTo>
                    <a:pt x="208" y="1159"/>
                    <a:pt x="210" y="1162"/>
                    <a:pt x="212" y="1165"/>
                  </a:cubicBezTo>
                  <a:cubicBezTo>
                    <a:pt x="214" y="1168"/>
                    <a:pt x="216" y="1171"/>
                    <a:pt x="218" y="1173"/>
                  </a:cubicBezTo>
                  <a:cubicBezTo>
                    <a:pt x="219" y="1174"/>
                    <a:pt x="221" y="1174"/>
                    <a:pt x="222" y="1173"/>
                  </a:cubicBezTo>
                  <a:cubicBezTo>
                    <a:pt x="222" y="1173"/>
                    <a:pt x="222" y="1173"/>
                    <a:pt x="222" y="1174"/>
                  </a:cubicBezTo>
                  <a:cubicBezTo>
                    <a:pt x="222" y="1174"/>
                    <a:pt x="223" y="1174"/>
                    <a:pt x="223" y="1174"/>
                  </a:cubicBezTo>
                  <a:cubicBezTo>
                    <a:pt x="223" y="1176"/>
                    <a:pt x="223" y="1177"/>
                    <a:pt x="223" y="1178"/>
                  </a:cubicBezTo>
                  <a:cubicBezTo>
                    <a:pt x="223" y="1181"/>
                    <a:pt x="226" y="1183"/>
                    <a:pt x="229" y="1182"/>
                  </a:cubicBezTo>
                  <a:cubicBezTo>
                    <a:pt x="230" y="1182"/>
                    <a:pt x="230" y="1182"/>
                    <a:pt x="230" y="1182"/>
                  </a:cubicBezTo>
                  <a:cubicBezTo>
                    <a:pt x="236" y="1188"/>
                    <a:pt x="244" y="1193"/>
                    <a:pt x="251" y="1198"/>
                  </a:cubicBezTo>
                  <a:cubicBezTo>
                    <a:pt x="259" y="1202"/>
                    <a:pt x="268" y="1206"/>
                    <a:pt x="276" y="1210"/>
                  </a:cubicBezTo>
                  <a:cubicBezTo>
                    <a:pt x="282" y="1212"/>
                    <a:pt x="288" y="1214"/>
                    <a:pt x="294" y="1216"/>
                  </a:cubicBezTo>
                  <a:cubicBezTo>
                    <a:pt x="286" y="1215"/>
                    <a:pt x="279" y="1214"/>
                    <a:pt x="271" y="1213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6" name="íśľídè">
              <a:extLst>
                <a:ext uri="{FF2B5EF4-FFF2-40B4-BE49-F238E27FC236}">
                  <a16:creationId xmlns:a16="http://schemas.microsoft.com/office/drawing/2014/main" id="{5FC099B3-2794-4245-8659-D7563127A05A}"/>
                </a:ext>
              </a:extLst>
            </p:cNvPr>
            <p:cNvSpPr/>
            <p:nvPr/>
          </p:nvSpPr>
          <p:spPr bwMode="auto">
            <a:xfrm>
              <a:off x="3818185" y="2506455"/>
              <a:ext cx="4326222" cy="3192495"/>
            </a:xfrm>
            <a:custGeom>
              <a:avLst/>
              <a:gdLst>
                <a:gd name="T0" fmla="*/ 1211 w 1406"/>
                <a:gd name="T1" fmla="*/ 787 h 1039"/>
                <a:gd name="T2" fmla="*/ 1205 w 1406"/>
                <a:gd name="T3" fmla="*/ 801 h 1039"/>
                <a:gd name="T4" fmla="*/ 1166 w 1406"/>
                <a:gd name="T5" fmla="*/ 868 h 1039"/>
                <a:gd name="T6" fmla="*/ 1104 w 1406"/>
                <a:gd name="T7" fmla="*/ 935 h 1039"/>
                <a:gd name="T8" fmla="*/ 1070 w 1406"/>
                <a:gd name="T9" fmla="*/ 963 h 1039"/>
                <a:gd name="T10" fmla="*/ 997 w 1406"/>
                <a:gd name="T11" fmla="*/ 1013 h 1039"/>
                <a:gd name="T12" fmla="*/ 959 w 1406"/>
                <a:gd name="T13" fmla="*/ 1002 h 1039"/>
                <a:gd name="T14" fmla="*/ 1224 w 1406"/>
                <a:gd name="T15" fmla="*/ 667 h 1039"/>
                <a:gd name="T16" fmla="*/ 1230 w 1406"/>
                <a:gd name="T17" fmla="*/ 696 h 1039"/>
                <a:gd name="T18" fmla="*/ 1238 w 1406"/>
                <a:gd name="T19" fmla="*/ 107 h 1039"/>
                <a:gd name="T20" fmla="*/ 1178 w 1406"/>
                <a:gd name="T21" fmla="*/ 366 h 1039"/>
                <a:gd name="T22" fmla="*/ 1192 w 1406"/>
                <a:gd name="T23" fmla="*/ 363 h 1039"/>
                <a:gd name="T24" fmla="*/ 1267 w 1406"/>
                <a:gd name="T25" fmla="*/ 343 h 1039"/>
                <a:gd name="T26" fmla="*/ 1279 w 1406"/>
                <a:gd name="T27" fmla="*/ 338 h 1039"/>
                <a:gd name="T28" fmla="*/ 1335 w 1406"/>
                <a:gd name="T29" fmla="*/ 293 h 1039"/>
                <a:gd name="T30" fmla="*/ 1367 w 1406"/>
                <a:gd name="T31" fmla="*/ 254 h 1039"/>
                <a:gd name="T32" fmla="*/ 1393 w 1406"/>
                <a:gd name="T33" fmla="*/ 210 h 1039"/>
                <a:gd name="T34" fmla="*/ 1397 w 1406"/>
                <a:gd name="T35" fmla="*/ 201 h 1039"/>
                <a:gd name="T36" fmla="*/ 1405 w 1406"/>
                <a:gd name="T37" fmla="*/ 172 h 1039"/>
                <a:gd name="T38" fmla="*/ 1405 w 1406"/>
                <a:gd name="T39" fmla="*/ 148 h 1039"/>
                <a:gd name="T40" fmla="*/ 1401 w 1406"/>
                <a:gd name="T41" fmla="*/ 134 h 1039"/>
                <a:gd name="T42" fmla="*/ 1394 w 1406"/>
                <a:gd name="T43" fmla="*/ 122 h 1039"/>
                <a:gd name="T44" fmla="*/ 1379 w 1406"/>
                <a:gd name="T45" fmla="*/ 105 h 1039"/>
                <a:gd name="T46" fmla="*/ 1374 w 1406"/>
                <a:gd name="T47" fmla="*/ 100 h 1039"/>
                <a:gd name="T48" fmla="*/ 1311 w 1406"/>
                <a:gd name="T49" fmla="*/ 63 h 1039"/>
                <a:gd name="T50" fmla="*/ 1283 w 1406"/>
                <a:gd name="T51" fmla="*/ 49 h 1039"/>
                <a:gd name="T52" fmla="*/ 1271 w 1406"/>
                <a:gd name="T53" fmla="*/ 50 h 1039"/>
                <a:gd name="T54" fmla="*/ 1290 w 1406"/>
                <a:gd name="T55" fmla="*/ 91 h 1039"/>
                <a:gd name="T56" fmla="*/ 1252 w 1406"/>
                <a:gd name="T57" fmla="*/ 104 h 1039"/>
                <a:gd name="T58" fmla="*/ 285 w 1406"/>
                <a:gd name="T59" fmla="*/ 750 h 1039"/>
                <a:gd name="T60" fmla="*/ 168 w 1406"/>
                <a:gd name="T61" fmla="*/ 519 h 1039"/>
                <a:gd name="T62" fmla="*/ 114 w 1406"/>
                <a:gd name="T63" fmla="*/ 717 h 1039"/>
                <a:gd name="T64" fmla="*/ 114 w 1406"/>
                <a:gd name="T65" fmla="*/ 770 h 1039"/>
                <a:gd name="T66" fmla="*/ 115 w 1406"/>
                <a:gd name="T67" fmla="*/ 776 h 1039"/>
                <a:gd name="T68" fmla="*/ 126 w 1406"/>
                <a:gd name="T69" fmla="*/ 815 h 1039"/>
                <a:gd name="T70" fmla="*/ 127 w 1406"/>
                <a:gd name="T71" fmla="*/ 820 h 1039"/>
                <a:gd name="T72" fmla="*/ 149 w 1406"/>
                <a:gd name="T73" fmla="*/ 858 h 1039"/>
                <a:gd name="T74" fmla="*/ 177 w 1406"/>
                <a:gd name="T75" fmla="*/ 887 h 1039"/>
                <a:gd name="T76" fmla="*/ 184 w 1406"/>
                <a:gd name="T77" fmla="*/ 893 h 1039"/>
                <a:gd name="T78" fmla="*/ 217 w 1406"/>
                <a:gd name="T79" fmla="*/ 912 h 1039"/>
                <a:gd name="T80" fmla="*/ 257 w 1406"/>
                <a:gd name="T81" fmla="*/ 924 h 1039"/>
                <a:gd name="T82" fmla="*/ 267 w 1406"/>
                <a:gd name="T83" fmla="*/ 926 h 1039"/>
                <a:gd name="T84" fmla="*/ 276 w 1406"/>
                <a:gd name="T85" fmla="*/ 923 h 1039"/>
                <a:gd name="T86" fmla="*/ 223 w 1406"/>
                <a:gd name="T87" fmla="*/ 891 h 1039"/>
                <a:gd name="T88" fmla="*/ 218 w 1406"/>
                <a:gd name="T89" fmla="*/ 886 h 1039"/>
                <a:gd name="T90" fmla="*/ 205 w 1406"/>
                <a:gd name="T91" fmla="*/ 861 h 1039"/>
                <a:gd name="T92" fmla="*/ 95 w 1406"/>
                <a:gd name="T93" fmla="*/ 118 h 1039"/>
                <a:gd name="T94" fmla="*/ 86 w 1406"/>
                <a:gd name="T95" fmla="*/ 132 h 1039"/>
                <a:gd name="T96" fmla="*/ 67 w 1406"/>
                <a:gd name="T97" fmla="*/ 333 h 1039"/>
                <a:gd name="T98" fmla="*/ 14 w 1406"/>
                <a:gd name="T99" fmla="*/ 269 h 1039"/>
                <a:gd name="T100" fmla="*/ 6 w 1406"/>
                <a:gd name="T101" fmla="*/ 140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06" h="1039">
                  <a:moveTo>
                    <a:pt x="1230" y="696"/>
                  </a:moveTo>
                  <a:cubicBezTo>
                    <a:pt x="1230" y="696"/>
                    <a:pt x="1230" y="696"/>
                    <a:pt x="1230" y="696"/>
                  </a:cubicBezTo>
                  <a:cubicBezTo>
                    <a:pt x="1228" y="721"/>
                    <a:pt x="1223" y="745"/>
                    <a:pt x="1216" y="770"/>
                  </a:cubicBezTo>
                  <a:cubicBezTo>
                    <a:pt x="1215" y="775"/>
                    <a:pt x="1213" y="781"/>
                    <a:pt x="1211" y="787"/>
                  </a:cubicBezTo>
                  <a:cubicBezTo>
                    <a:pt x="1210" y="789"/>
                    <a:pt x="1209" y="792"/>
                    <a:pt x="1208" y="794"/>
                  </a:cubicBezTo>
                  <a:cubicBezTo>
                    <a:pt x="1208" y="795"/>
                    <a:pt x="1207" y="796"/>
                    <a:pt x="1207" y="797"/>
                  </a:cubicBezTo>
                  <a:cubicBezTo>
                    <a:pt x="1207" y="798"/>
                    <a:pt x="1206" y="799"/>
                    <a:pt x="1206" y="799"/>
                  </a:cubicBezTo>
                  <a:cubicBezTo>
                    <a:pt x="1206" y="800"/>
                    <a:pt x="1206" y="800"/>
                    <a:pt x="1205" y="801"/>
                  </a:cubicBezTo>
                  <a:cubicBezTo>
                    <a:pt x="1201" y="811"/>
                    <a:pt x="1196" y="822"/>
                    <a:pt x="1190" y="832"/>
                  </a:cubicBezTo>
                  <a:cubicBezTo>
                    <a:pt x="1185" y="841"/>
                    <a:pt x="1178" y="851"/>
                    <a:pt x="1172" y="860"/>
                  </a:cubicBezTo>
                  <a:cubicBezTo>
                    <a:pt x="1170" y="862"/>
                    <a:pt x="1169" y="864"/>
                    <a:pt x="1167" y="867"/>
                  </a:cubicBezTo>
                  <a:cubicBezTo>
                    <a:pt x="1167" y="867"/>
                    <a:pt x="1166" y="867"/>
                    <a:pt x="1166" y="868"/>
                  </a:cubicBezTo>
                  <a:cubicBezTo>
                    <a:pt x="1166" y="868"/>
                    <a:pt x="1166" y="869"/>
                    <a:pt x="1166" y="869"/>
                  </a:cubicBezTo>
                  <a:cubicBezTo>
                    <a:pt x="1165" y="870"/>
                    <a:pt x="1164" y="872"/>
                    <a:pt x="1163" y="873"/>
                  </a:cubicBezTo>
                  <a:cubicBezTo>
                    <a:pt x="1159" y="878"/>
                    <a:pt x="1155" y="882"/>
                    <a:pt x="1152" y="886"/>
                  </a:cubicBezTo>
                  <a:cubicBezTo>
                    <a:pt x="1137" y="904"/>
                    <a:pt x="1121" y="920"/>
                    <a:pt x="1104" y="935"/>
                  </a:cubicBezTo>
                  <a:cubicBezTo>
                    <a:pt x="1095" y="943"/>
                    <a:pt x="1087" y="950"/>
                    <a:pt x="1078" y="957"/>
                  </a:cubicBezTo>
                  <a:cubicBezTo>
                    <a:pt x="1076" y="959"/>
                    <a:pt x="1074" y="960"/>
                    <a:pt x="1072" y="962"/>
                  </a:cubicBezTo>
                  <a:cubicBezTo>
                    <a:pt x="1072" y="962"/>
                    <a:pt x="1071" y="963"/>
                    <a:pt x="1070" y="963"/>
                  </a:cubicBezTo>
                  <a:cubicBezTo>
                    <a:pt x="1070" y="963"/>
                    <a:pt x="1070" y="963"/>
                    <a:pt x="1070" y="963"/>
                  </a:cubicBezTo>
                  <a:cubicBezTo>
                    <a:pt x="1070" y="963"/>
                    <a:pt x="1070" y="964"/>
                    <a:pt x="1070" y="964"/>
                  </a:cubicBezTo>
                  <a:cubicBezTo>
                    <a:pt x="1069" y="965"/>
                    <a:pt x="1068" y="966"/>
                    <a:pt x="1067" y="967"/>
                  </a:cubicBezTo>
                  <a:cubicBezTo>
                    <a:pt x="1062" y="971"/>
                    <a:pt x="1056" y="975"/>
                    <a:pt x="1051" y="978"/>
                  </a:cubicBezTo>
                  <a:cubicBezTo>
                    <a:pt x="1034" y="990"/>
                    <a:pt x="1016" y="1002"/>
                    <a:pt x="997" y="1013"/>
                  </a:cubicBezTo>
                  <a:cubicBezTo>
                    <a:pt x="989" y="1018"/>
                    <a:pt x="979" y="1023"/>
                    <a:pt x="970" y="1028"/>
                  </a:cubicBezTo>
                  <a:cubicBezTo>
                    <a:pt x="963" y="1032"/>
                    <a:pt x="956" y="1035"/>
                    <a:pt x="949" y="1039"/>
                  </a:cubicBezTo>
                  <a:cubicBezTo>
                    <a:pt x="951" y="1034"/>
                    <a:pt x="953" y="1029"/>
                    <a:pt x="954" y="1024"/>
                  </a:cubicBezTo>
                  <a:cubicBezTo>
                    <a:pt x="956" y="1017"/>
                    <a:pt x="957" y="1009"/>
                    <a:pt x="959" y="1002"/>
                  </a:cubicBezTo>
                  <a:cubicBezTo>
                    <a:pt x="1163" y="895"/>
                    <a:pt x="1173" y="792"/>
                    <a:pt x="1152" y="729"/>
                  </a:cubicBezTo>
                  <a:cubicBezTo>
                    <a:pt x="1158" y="726"/>
                    <a:pt x="1163" y="722"/>
                    <a:pt x="1168" y="718"/>
                  </a:cubicBezTo>
                  <a:cubicBezTo>
                    <a:pt x="1184" y="707"/>
                    <a:pt x="1200" y="695"/>
                    <a:pt x="1213" y="681"/>
                  </a:cubicBezTo>
                  <a:cubicBezTo>
                    <a:pt x="1216" y="676"/>
                    <a:pt x="1220" y="672"/>
                    <a:pt x="1224" y="667"/>
                  </a:cubicBezTo>
                  <a:cubicBezTo>
                    <a:pt x="1225" y="665"/>
                    <a:pt x="1226" y="663"/>
                    <a:pt x="1228" y="660"/>
                  </a:cubicBezTo>
                  <a:cubicBezTo>
                    <a:pt x="1229" y="658"/>
                    <a:pt x="1230" y="656"/>
                    <a:pt x="1231" y="653"/>
                  </a:cubicBezTo>
                  <a:cubicBezTo>
                    <a:pt x="1231" y="655"/>
                    <a:pt x="1231" y="656"/>
                    <a:pt x="1231" y="658"/>
                  </a:cubicBezTo>
                  <a:cubicBezTo>
                    <a:pt x="1231" y="671"/>
                    <a:pt x="1230" y="683"/>
                    <a:pt x="1230" y="696"/>
                  </a:cubicBezTo>
                  <a:close/>
                  <a:moveTo>
                    <a:pt x="1238" y="107"/>
                  </a:moveTo>
                  <a:cubicBezTo>
                    <a:pt x="1240" y="107"/>
                    <a:pt x="1241" y="108"/>
                    <a:pt x="1243" y="108"/>
                  </a:cubicBezTo>
                  <a:cubicBezTo>
                    <a:pt x="1243" y="107"/>
                    <a:pt x="1243" y="107"/>
                    <a:pt x="1243" y="106"/>
                  </a:cubicBezTo>
                  <a:lnTo>
                    <a:pt x="1238" y="107"/>
                  </a:lnTo>
                  <a:close/>
                  <a:moveTo>
                    <a:pt x="1248" y="108"/>
                  </a:moveTo>
                  <a:cubicBezTo>
                    <a:pt x="1278" y="110"/>
                    <a:pt x="1314" y="118"/>
                    <a:pt x="1326" y="139"/>
                  </a:cubicBezTo>
                  <a:cubicBezTo>
                    <a:pt x="1345" y="174"/>
                    <a:pt x="1331" y="285"/>
                    <a:pt x="1160" y="369"/>
                  </a:cubicBezTo>
                  <a:cubicBezTo>
                    <a:pt x="1166" y="368"/>
                    <a:pt x="1172" y="367"/>
                    <a:pt x="1178" y="366"/>
                  </a:cubicBezTo>
                  <a:cubicBezTo>
                    <a:pt x="1179" y="366"/>
                    <a:pt x="1179" y="366"/>
                    <a:pt x="1179" y="366"/>
                  </a:cubicBezTo>
                  <a:cubicBezTo>
                    <a:pt x="1180" y="366"/>
                    <a:pt x="1181" y="366"/>
                    <a:pt x="1181" y="366"/>
                  </a:cubicBezTo>
                  <a:cubicBezTo>
                    <a:pt x="1182" y="366"/>
                    <a:pt x="1183" y="365"/>
                    <a:pt x="1184" y="365"/>
                  </a:cubicBezTo>
                  <a:cubicBezTo>
                    <a:pt x="1187" y="364"/>
                    <a:pt x="1190" y="363"/>
                    <a:pt x="1192" y="363"/>
                  </a:cubicBezTo>
                  <a:cubicBezTo>
                    <a:pt x="1197" y="362"/>
                    <a:pt x="1203" y="361"/>
                    <a:pt x="1208" y="360"/>
                  </a:cubicBezTo>
                  <a:cubicBezTo>
                    <a:pt x="1218" y="358"/>
                    <a:pt x="1228" y="357"/>
                    <a:pt x="1238" y="354"/>
                  </a:cubicBezTo>
                  <a:cubicBezTo>
                    <a:pt x="1247" y="351"/>
                    <a:pt x="1257" y="348"/>
                    <a:pt x="1266" y="344"/>
                  </a:cubicBezTo>
                  <a:cubicBezTo>
                    <a:pt x="1266" y="343"/>
                    <a:pt x="1267" y="343"/>
                    <a:pt x="1267" y="343"/>
                  </a:cubicBezTo>
                  <a:cubicBezTo>
                    <a:pt x="1267" y="343"/>
                    <a:pt x="1267" y="343"/>
                    <a:pt x="1267" y="343"/>
                  </a:cubicBezTo>
                  <a:cubicBezTo>
                    <a:pt x="1268" y="343"/>
                    <a:pt x="1268" y="343"/>
                    <a:pt x="1269" y="342"/>
                  </a:cubicBezTo>
                  <a:cubicBezTo>
                    <a:pt x="1270" y="342"/>
                    <a:pt x="1271" y="341"/>
                    <a:pt x="1272" y="341"/>
                  </a:cubicBezTo>
                  <a:cubicBezTo>
                    <a:pt x="1274" y="340"/>
                    <a:pt x="1277" y="339"/>
                    <a:pt x="1279" y="338"/>
                  </a:cubicBezTo>
                  <a:cubicBezTo>
                    <a:pt x="1283" y="336"/>
                    <a:pt x="1288" y="333"/>
                    <a:pt x="1292" y="331"/>
                  </a:cubicBezTo>
                  <a:cubicBezTo>
                    <a:pt x="1294" y="329"/>
                    <a:pt x="1296" y="328"/>
                    <a:pt x="1298" y="327"/>
                  </a:cubicBezTo>
                  <a:cubicBezTo>
                    <a:pt x="1301" y="325"/>
                    <a:pt x="1303" y="323"/>
                    <a:pt x="1305" y="321"/>
                  </a:cubicBezTo>
                  <a:cubicBezTo>
                    <a:pt x="1315" y="312"/>
                    <a:pt x="1325" y="303"/>
                    <a:pt x="1335" y="293"/>
                  </a:cubicBezTo>
                  <a:cubicBezTo>
                    <a:pt x="1345" y="281"/>
                    <a:pt x="1355" y="270"/>
                    <a:pt x="1364" y="258"/>
                  </a:cubicBezTo>
                  <a:cubicBezTo>
                    <a:pt x="1365" y="257"/>
                    <a:pt x="1365" y="257"/>
                    <a:pt x="1365" y="257"/>
                  </a:cubicBezTo>
                  <a:cubicBezTo>
                    <a:pt x="1365" y="256"/>
                    <a:pt x="1365" y="256"/>
                    <a:pt x="1365" y="256"/>
                  </a:cubicBezTo>
                  <a:cubicBezTo>
                    <a:pt x="1366" y="256"/>
                    <a:pt x="1367" y="255"/>
                    <a:pt x="1367" y="254"/>
                  </a:cubicBezTo>
                  <a:cubicBezTo>
                    <a:pt x="1368" y="253"/>
                    <a:pt x="1369" y="251"/>
                    <a:pt x="1370" y="249"/>
                  </a:cubicBezTo>
                  <a:cubicBezTo>
                    <a:pt x="1373" y="246"/>
                    <a:pt x="1375" y="243"/>
                    <a:pt x="1377" y="240"/>
                  </a:cubicBezTo>
                  <a:cubicBezTo>
                    <a:pt x="1381" y="233"/>
                    <a:pt x="1385" y="227"/>
                    <a:pt x="1388" y="219"/>
                  </a:cubicBezTo>
                  <a:cubicBezTo>
                    <a:pt x="1390" y="216"/>
                    <a:pt x="1392" y="213"/>
                    <a:pt x="1393" y="210"/>
                  </a:cubicBezTo>
                  <a:cubicBezTo>
                    <a:pt x="1394" y="208"/>
                    <a:pt x="1395" y="206"/>
                    <a:pt x="1396" y="204"/>
                  </a:cubicBezTo>
                  <a:cubicBezTo>
                    <a:pt x="1396" y="204"/>
                    <a:pt x="1396" y="204"/>
                    <a:pt x="1396" y="204"/>
                  </a:cubicBezTo>
                  <a:cubicBezTo>
                    <a:pt x="1396" y="203"/>
                    <a:pt x="1396" y="203"/>
                    <a:pt x="1396" y="203"/>
                  </a:cubicBezTo>
                  <a:cubicBezTo>
                    <a:pt x="1397" y="202"/>
                    <a:pt x="1397" y="202"/>
                    <a:pt x="1397" y="201"/>
                  </a:cubicBezTo>
                  <a:cubicBezTo>
                    <a:pt x="1400" y="194"/>
                    <a:pt x="1402" y="187"/>
                    <a:pt x="1403" y="180"/>
                  </a:cubicBezTo>
                  <a:cubicBezTo>
                    <a:pt x="1404" y="179"/>
                    <a:pt x="1404" y="177"/>
                    <a:pt x="1404" y="175"/>
                  </a:cubicBezTo>
                  <a:cubicBezTo>
                    <a:pt x="1405" y="174"/>
                    <a:pt x="1405" y="174"/>
                    <a:pt x="1405" y="173"/>
                  </a:cubicBezTo>
                  <a:cubicBezTo>
                    <a:pt x="1405" y="172"/>
                    <a:pt x="1405" y="172"/>
                    <a:pt x="1405" y="172"/>
                  </a:cubicBezTo>
                  <a:cubicBezTo>
                    <a:pt x="1405" y="169"/>
                    <a:pt x="1405" y="165"/>
                    <a:pt x="1406" y="162"/>
                  </a:cubicBezTo>
                  <a:cubicBezTo>
                    <a:pt x="1406" y="159"/>
                    <a:pt x="1405" y="155"/>
                    <a:pt x="1405" y="152"/>
                  </a:cubicBezTo>
                  <a:cubicBezTo>
                    <a:pt x="1405" y="151"/>
                    <a:pt x="1405" y="150"/>
                    <a:pt x="1405" y="149"/>
                  </a:cubicBezTo>
                  <a:cubicBezTo>
                    <a:pt x="1405" y="149"/>
                    <a:pt x="1405" y="148"/>
                    <a:pt x="1405" y="148"/>
                  </a:cubicBezTo>
                  <a:cubicBezTo>
                    <a:pt x="1404" y="147"/>
                    <a:pt x="1404" y="145"/>
                    <a:pt x="1404" y="144"/>
                  </a:cubicBezTo>
                  <a:cubicBezTo>
                    <a:pt x="1403" y="140"/>
                    <a:pt x="1402" y="137"/>
                    <a:pt x="1401" y="134"/>
                  </a:cubicBezTo>
                  <a:cubicBezTo>
                    <a:pt x="1401" y="134"/>
                    <a:pt x="1401" y="134"/>
                    <a:pt x="1401" y="134"/>
                  </a:cubicBezTo>
                  <a:cubicBezTo>
                    <a:pt x="1401" y="134"/>
                    <a:pt x="1401" y="134"/>
                    <a:pt x="1401" y="134"/>
                  </a:cubicBezTo>
                  <a:cubicBezTo>
                    <a:pt x="1401" y="134"/>
                    <a:pt x="1401" y="133"/>
                    <a:pt x="1400" y="133"/>
                  </a:cubicBezTo>
                  <a:cubicBezTo>
                    <a:pt x="1400" y="132"/>
                    <a:pt x="1400" y="132"/>
                    <a:pt x="1399" y="131"/>
                  </a:cubicBezTo>
                  <a:cubicBezTo>
                    <a:pt x="1399" y="130"/>
                    <a:pt x="1398" y="128"/>
                    <a:pt x="1397" y="126"/>
                  </a:cubicBezTo>
                  <a:cubicBezTo>
                    <a:pt x="1396" y="125"/>
                    <a:pt x="1395" y="124"/>
                    <a:pt x="1394" y="122"/>
                  </a:cubicBezTo>
                  <a:cubicBezTo>
                    <a:pt x="1394" y="122"/>
                    <a:pt x="1394" y="121"/>
                    <a:pt x="1393" y="120"/>
                  </a:cubicBezTo>
                  <a:cubicBezTo>
                    <a:pt x="1393" y="120"/>
                    <a:pt x="1392" y="119"/>
                    <a:pt x="1392" y="119"/>
                  </a:cubicBezTo>
                  <a:cubicBezTo>
                    <a:pt x="1390" y="116"/>
                    <a:pt x="1388" y="114"/>
                    <a:pt x="1386" y="112"/>
                  </a:cubicBezTo>
                  <a:cubicBezTo>
                    <a:pt x="1384" y="109"/>
                    <a:pt x="1381" y="107"/>
                    <a:pt x="1379" y="105"/>
                  </a:cubicBezTo>
                  <a:cubicBezTo>
                    <a:pt x="1378" y="104"/>
                    <a:pt x="1376" y="103"/>
                    <a:pt x="1375" y="101"/>
                  </a:cubicBezTo>
                  <a:cubicBezTo>
                    <a:pt x="1374" y="101"/>
                    <a:pt x="1374" y="101"/>
                    <a:pt x="1374" y="101"/>
                  </a:cubicBezTo>
                  <a:cubicBezTo>
                    <a:pt x="1374" y="101"/>
                    <a:pt x="1374" y="101"/>
                    <a:pt x="1374" y="101"/>
                  </a:cubicBezTo>
                  <a:cubicBezTo>
                    <a:pt x="1374" y="100"/>
                    <a:pt x="1374" y="100"/>
                    <a:pt x="1374" y="100"/>
                  </a:cubicBezTo>
                  <a:cubicBezTo>
                    <a:pt x="1373" y="100"/>
                    <a:pt x="1372" y="99"/>
                    <a:pt x="1371" y="99"/>
                  </a:cubicBezTo>
                  <a:cubicBezTo>
                    <a:pt x="1366" y="94"/>
                    <a:pt x="1360" y="90"/>
                    <a:pt x="1354" y="86"/>
                  </a:cubicBezTo>
                  <a:cubicBezTo>
                    <a:pt x="1341" y="79"/>
                    <a:pt x="1329" y="72"/>
                    <a:pt x="1316" y="66"/>
                  </a:cubicBezTo>
                  <a:cubicBezTo>
                    <a:pt x="1314" y="65"/>
                    <a:pt x="1313" y="63"/>
                    <a:pt x="1311" y="63"/>
                  </a:cubicBezTo>
                  <a:cubicBezTo>
                    <a:pt x="1311" y="63"/>
                    <a:pt x="1311" y="63"/>
                    <a:pt x="1310" y="63"/>
                  </a:cubicBezTo>
                  <a:cubicBezTo>
                    <a:pt x="1308" y="63"/>
                    <a:pt x="1306" y="61"/>
                    <a:pt x="1304" y="60"/>
                  </a:cubicBezTo>
                  <a:cubicBezTo>
                    <a:pt x="1301" y="59"/>
                    <a:pt x="1299" y="58"/>
                    <a:pt x="1297" y="57"/>
                  </a:cubicBezTo>
                  <a:cubicBezTo>
                    <a:pt x="1293" y="54"/>
                    <a:pt x="1288" y="52"/>
                    <a:pt x="1283" y="49"/>
                  </a:cubicBezTo>
                  <a:cubicBezTo>
                    <a:pt x="1279" y="47"/>
                    <a:pt x="1274" y="45"/>
                    <a:pt x="1269" y="44"/>
                  </a:cubicBezTo>
                  <a:cubicBezTo>
                    <a:pt x="1268" y="43"/>
                    <a:pt x="1268" y="43"/>
                    <a:pt x="1268" y="43"/>
                  </a:cubicBezTo>
                  <a:cubicBezTo>
                    <a:pt x="1268" y="45"/>
                    <a:pt x="1268" y="47"/>
                    <a:pt x="1269" y="48"/>
                  </a:cubicBezTo>
                  <a:cubicBezTo>
                    <a:pt x="1269" y="49"/>
                    <a:pt x="1270" y="49"/>
                    <a:pt x="1271" y="50"/>
                  </a:cubicBezTo>
                  <a:cubicBezTo>
                    <a:pt x="1274" y="52"/>
                    <a:pt x="1277" y="54"/>
                    <a:pt x="1280" y="57"/>
                  </a:cubicBezTo>
                  <a:cubicBezTo>
                    <a:pt x="1288" y="65"/>
                    <a:pt x="1302" y="78"/>
                    <a:pt x="1293" y="89"/>
                  </a:cubicBezTo>
                  <a:cubicBezTo>
                    <a:pt x="1292" y="90"/>
                    <a:pt x="1292" y="91"/>
                    <a:pt x="1291" y="91"/>
                  </a:cubicBezTo>
                  <a:cubicBezTo>
                    <a:pt x="1291" y="91"/>
                    <a:pt x="1291" y="91"/>
                    <a:pt x="1290" y="91"/>
                  </a:cubicBezTo>
                  <a:cubicBezTo>
                    <a:pt x="1287" y="95"/>
                    <a:pt x="1282" y="97"/>
                    <a:pt x="1277" y="98"/>
                  </a:cubicBezTo>
                  <a:cubicBezTo>
                    <a:pt x="1273" y="99"/>
                    <a:pt x="1270" y="100"/>
                    <a:pt x="1267" y="100"/>
                  </a:cubicBezTo>
                  <a:cubicBezTo>
                    <a:pt x="1266" y="100"/>
                    <a:pt x="1266" y="100"/>
                    <a:pt x="1265" y="100"/>
                  </a:cubicBezTo>
                  <a:cubicBezTo>
                    <a:pt x="1261" y="101"/>
                    <a:pt x="1257" y="103"/>
                    <a:pt x="1252" y="104"/>
                  </a:cubicBezTo>
                  <a:cubicBezTo>
                    <a:pt x="1252" y="104"/>
                    <a:pt x="1252" y="104"/>
                    <a:pt x="1252" y="104"/>
                  </a:cubicBezTo>
                  <a:cubicBezTo>
                    <a:pt x="1251" y="105"/>
                    <a:pt x="1251" y="106"/>
                    <a:pt x="1250" y="106"/>
                  </a:cubicBezTo>
                  <a:cubicBezTo>
                    <a:pt x="1249" y="107"/>
                    <a:pt x="1249" y="108"/>
                    <a:pt x="1248" y="108"/>
                  </a:cubicBezTo>
                  <a:close/>
                  <a:moveTo>
                    <a:pt x="285" y="750"/>
                  </a:moveTo>
                  <a:cubicBezTo>
                    <a:pt x="250" y="737"/>
                    <a:pt x="214" y="710"/>
                    <a:pt x="197" y="657"/>
                  </a:cubicBezTo>
                  <a:cubicBezTo>
                    <a:pt x="176" y="591"/>
                    <a:pt x="216" y="475"/>
                    <a:pt x="258" y="382"/>
                  </a:cubicBezTo>
                  <a:cubicBezTo>
                    <a:pt x="241" y="399"/>
                    <a:pt x="226" y="417"/>
                    <a:pt x="212" y="437"/>
                  </a:cubicBezTo>
                  <a:cubicBezTo>
                    <a:pt x="195" y="462"/>
                    <a:pt x="180" y="490"/>
                    <a:pt x="168" y="519"/>
                  </a:cubicBezTo>
                  <a:cubicBezTo>
                    <a:pt x="157" y="548"/>
                    <a:pt x="147" y="578"/>
                    <a:pt x="139" y="608"/>
                  </a:cubicBezTo>
                  <a:cubicBezTo>
                    <a:pt x="132" y="635"/>
                    <a:pt x="126" y="662"/>
                    <a:pt x="119" y="688"/>
                  </a:cubicBezTo>
                  <a:cubicBezTo>
                    <a:pt x="119" y="689"/>
                    <a:pt x="119" y="690"/>
                    <a:pt x="119" y="690"/>
                  </a:cubicBezTo>
                  <a:cubicBezTo>
                    <a:pt x="117" y="699"/>
                    <a:pt x="115" y="708"/>
                    <a:pt x="114" y="717"/>
                  </a:cubicBezTo>
                  <a:cubicBezTo>
                    <a:pt x="113" y="727"/>
                    <a:pt x="113" y="736"/>
                    <a:pt x="113" y="745"/>
                  </a:cubicBezTo>
                  <a:cubicBezTo>
                    <a:pt x="113" y="750"/>
                    <a:pt x="113" y="755"/>
                    <a:pt x="113" y="759"/>
                  </a:cubicBezTo>
                  <a:cubicBezTo>
                    <a:pt x="113" y="762"/>
                    <a:pt x="114" y="764"/>
                    <a:pt x="114" y="766"/>
                  </a:cubicBezTo>
                  <a:cubicBezTo>
                    <a:pt x="114" y="767"/>
                    <a:pt x="114" y="769"/>
                    <a:pt x="114" y="770"/>
                  </a:cubicBezTo>
                  <a:cubicBezTo>
                    <a:pt x="114" y="770"/>
                    <a:pt x="114" y="771"/>
                    <a:pt x="114" y="772"/>
                  </a:cubicBezTo>
                  <a:cubicBezTo>
                    <a:pt x="114" y="772"/>
                    <a:pt x="114" y="772"/>
                    <a:pt x="114" y="772"/>
                  </a:cubicBezTo>
                  <a:cubicBezTo>
                    <a:pt x="115" y="773"/>
                    <a:pt x="115" y="774"/>
                    <a:pt x="115" y="775"/>
                  </a:cubicBezTo>
                  <a:cubicBezTo>
                    <a:pt x="115" y="774"/>
                    <a:pt x="115" y="776"/>
                    <a:pt x="115" y="776"/>
                  </a:cubicBezTo>
                  <a:cubicBezTo>
                    <a:pt x="115" y="777"/>
                    <a:pt x="115" y="779"/>
                    <a:pt x="116" y="780"/>
                  </a:cubicBezTo>
                  <a:cubicBezTo>
                    <a:pt x="116" y="783"/>
                    <a:pt x="117" y="785"/>
                    <a:pt x="117" y="788"/>
                  </a:cubicBezTo>
                  <a:cubicBezTo>
                    <a:pt x="118" y="793"/>
                    <a:pt x="120" y="798"/>
                    <a:pt x="121" y="803"/>
                  </a:cubicBezTo>
                  <a:cubicBezTo>
                    <a:pt x="123" y="807"/>
                    <a:pt x="124" y="811"/>
                    <a:pt x="126" y="815"/>
                  </a:cubicBezTo>
                  <a:cubicBezTo>
                    <a:pt x="126" y="816"/>
                    <a:pt x="126" y="816"/>
                    <a:pt x="126" y="817"/>
                  </a:cubicBezTo>
                  <a:cubicBezTo>
                    <a:pt x="126" y="817"/>
                    <a:pt x="126" y="817"/>
                    <a:pt x="126" y="817"/>
                  </a:cubicBezTo>
                  <a:cubicBezTo>
                    <a:pt x="126" y="817"/>
                    <a:pt x="126" y="817"/>
                    <a:pt x="126" y="817"/>
                  </a:cubicBezTo>
                  <a:cubicBezTo>
                    <a:pt x="127" y="818"/>
                    <a:pt x="127" y="819"/>
                    <a:pt x="127" y="820"/>
                  </a:cubicBezTo>
                  <a:cubicBezTo>
                    <a:pt x="128" y="821"/>
                    <a:pt x="129" y="823"/>
                    <a:pt x="130" y="825"/>
                  </a:cubicBezTo>
                  <a:cubicBezTo>
                    <a:pt x="133" y="832"/>
                    <a:pt x="137" y="838"/>
                    <a:pt x="141" y="845"/>
                  </a:cubicBezTo>
                  <a:cubicBezTo>
                    <a:pt x="143" y="849"/>
                    <a:pt x="145" y="852"/>
                    <a:pt x="147" y="855"/>
                  </a:cubicBezTo>
                  <a:cubicBezTo>
                    <a:pt x="148" y="856"/>
                    <a:pt x="149" y="857"/>
                    <a:pt x="149" y="858"/>
                  </a:cubicBezTo>
                  <a:cubicBezTo>
                    <a:pt x="149" y="858"/>
                    <a:pt x="150" y="859"/>
                    <a:pt x="150" y="859"/>
                  </a:cubicBezTo>
                  <a:cubicBezTo>
                    <a:pt x="151" y="860"/>
                    <a:pt x="152" y="862"/>
                    <a:pt x="153" y="863"/>
                  </a:cubicBezTo>
                  <a:cubicBezTo>
                    <a:pt x="158" y="869"/>
                    <a:pt x="163" y="874"/>
                    <a:pt x="168" y="880"/>
                  </a:cubicBezTo>
                  <a:cubicBezTo>
                    <a:pt x="171" y="883"/>
                    <a:pt x="174" y="885"/>
                    <a:pt x="177" y="887"/>
                  </a:cubicBezTo>
                  <a:cubicBezTo>
                    <a:pt x="178" y="888"/>
                    <a:pt x="179" y="889"/>
                    <a:pt x="179" y="889"/>
                  </a:cubicBezTo>
                  <a:cubicBezTo>
                    <a:pt x="180" y="890"/>
                    <a:pt x="180" y="890"/>
                    <a:pt x="180" y="890"/>
                  </a:cubicBezTo>
                  <a:cubicBezTo>
                    <a:pt x="180" y="890"/>
                    <a:pt x="180" y="890"/>
                    <a:pt x="180" y="890"/>
                  </a:cubicBezTo>
                  <a:cubicBezTo>
                    <a:pt x="181" y="891"/>
                    <a:pt x="183" y="892"/>
                    <a:pt x="184" y="893"/>
                  </a:cubicBezTo>
                  <a:cubicBezTo>
                    <a:pt x="191" y="898"/>
                    <a:pt x="197" y="902"/>
                    <a:pt x="204" y="905"/>
                  </a:cubicBezTo>
                  <a:cubicBezTo>
                    <a:pt x="207" y="907"/>
                    <a:pt x="210" y="909"/>
                    <a:pt x="214" y="911"/>
                  </a:cubicBezTo>
                  <a:cubicBezTo>
                    <a:pt x="215" y="911"/>
                    <a:pt x="216" y="912"/>
                    <a:pt x="217" y="912"/>
                  </a:cubicBezTo>
                  <a:cubicBezTo>
                    <a:pt x="217" y="912"/>
                    <a:pt x="217" y="912"/>
                    <a:pt x="217" y="912"/>
                  </a:cubicBezTo>
                  <a:cubicBezTo>
                    <a:pt x="217" y="913"/>
                    <a:pt x="217" y="913"/>
                    <a:pt x="218" y="913"/>
                  </a:cubicBezTo>
                  <a:cubicBezTo>
                    <a:pt x="219" y="914"/>
                    <a:pt x="221" y="914"/>
                    <a:pt x="223" y="915"/>
                  </a:cubicBezTo>
                  <a:cubicBezTo>
                    <a:pt x="230" y="918"/>
                    <a:pt x="237" y="920"/>
                    <a:pt x="245" y="922"/>
                  </a:cubicBezTo>
                  <a:cubicBezTo>
                    <a:pt x="249" y="923"/>
                    <a:pt x="253" y="923"/>
                    <a:pt x="257" y="924"/>
                  </a:cubicBezTo>
                  <a:cubicBezTo>
                    <a:pt x="260" y="924"/>
                    <a:pt x="262" y="925"/>
                    <a:pt x="265" y="925"/>
                  </a:cubicBezTo>
                  <a:cubicBezTo>
                    <a:pt x="266" y="925"/>
                    <a:pt x="266" y="925"/>
                    <a:pt x="267" y="926"/>
                  </a:cubicBezTo>
                  <a:cubicBezTo>
                    <a:pt x="267" y="926"/>
                    <a:pt x="267" y="926"/>
                    <a:pt x="267" y="926"/>
                  </a:cubicBezTo>
                  <a:cubicBezTo>
                    <a:pt x="267" y="926"/>
                    <a:pt x="267" y="926"/>
                    <a:pt x="267" y="926"/>
                  </a:cubicBezTo>
                  <a:cubicBezTo>
                    <a:pt x="269" y="926"/>
                    <a:pt x="270" y="926"/>
                    <a:pt x="271" y="926"/>
                  </a:cubicBezTo>
                  <a:cubicBezTo>
                    <a:pt x="271" y="926"/>
                    <a:pt x="271" y="926"/>
                    <a:pt x="271" y="926"/>
                  </a:cubicBezTo>
                  <a:cubicBezTo>
                    <a:pt x="279" y="927"/>
                    <a:pt x="286" y="928"/>
                    <a:pt x="294" y="929"/>
                  </a:cubicBezTo>
                  <a:cubicBezTo>
                    <a:pt x="288" y="927"/>
                    <a:pt x="282" y="925"/>
                    <a:pt x="276" y="923"/>
                  </a:cubicBezTo>
                  <a:cubicBezTo>
                    <a:pt x="268" y="919"/>
                    <a:pt x="259" y="915"/>
                    <a:pt x="251" y="911"/>
                  </a:cubicBezTo>
                  <a:cubicBezTo>
                    <a:pt x="244" y="906"/>
                    <a:pt x="236" y="901"/>
                    <a:pt x="230" y="895"/>
                  </a:cubicBezTo>
                  <a:cubicBezTo>
                    <a:pt x="229" y="895"/>
                    <a:pt x="229" y="895"/>
                    <a:pt x="229" y="895"/>
                  </a:cubicBezTo>
                  <a:cubicBezTo>
                    <a:pt x="226" y="896"/>
                    <a:pt x="223" y="894"/>
                    <a:pt x="223" y="891"/>
                  </a:cubicBezTo>
                  <a:cubicBezTo>
                    <a:pt x="223" y="890"/>
                    <a:pt x="223" y="889"/>
                    <a:pt x="223" y="887"/>
                  </a:cubicBezTo>
                  <a:cubicBezTo>
                    <a:pt x="223" y="887"/>
                    <a:pt x="222" y="887"/>
                    <a:pt x="222" y="887"/>
                  </a:cubicBezTo>
                  <a:cubicBezTo>
                    <a:pt x="222" y="886"/>
                    <a:pt x="222" y="886"/>
                    <a:pt x="222" y="886"/>
                  </a:cubicBezTo>
                  <a:cubicBezTo>
                    <a:pt x="221" y="887"/>
                    <a:pt x="219" y="887"/>
                    <a:pt x="218" y="886"/>
                  </a:cubicBezTo>
                  <a:cubicBezTo>
                    <a:pt x="216" y="884"/>
                    <a:pt x="214" y="881"/>
                    <a:pt x="212" y="878"/>
                  </a:cubicBezTo>
                  <a:cubicBezTo>
                    <a:pt x="210" y="875"/>
                    <a:pt x="208" y="872"/>
                    <a:pt x="206" y="869"/>
                  </a:cubicBezTo>
                  <a:cubicBezTo>
                    <a:pt x="206" y="868"/>
                    <a:pt x="205" y="867"/>
                    <a:pt x="206" y="865"/>
                  </a:cubicBezTo>
                  <a:cubicBezTo>
                    <a:pt x="205" y="864"/>
                    <a:pt x="204" y="863"/>
                    <a:pt x="205" y="861"/>
                  </a:cubicBezTo>
                  <a:cubicBezTo>
                    <a:pt x="212" y="830"/>
                    <a:pt x="230" y="804"/>
                    <a:pt x="252" y="782"/>
                  </a:cubicBezTo>
                  <a:cubicBezTo>
                    <a:pt x="262" y="771"/>
                    <a:pt x="274" y="760"/>
                    <a:pt x="285" y="750"/>
                  </a:cubicBezTo>
                  <a:close/>
                  <a:moveTo>
                    <a:pt x="58" y="0"/>
                  </a:moveTo>
                  <a:cubicBezTo>
                    <a:pt x="54" y="45"/>
                    <a:pt x="62" y="89"/>
                    <a:pt x="95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2" y="121"/>
                    <a:pt x="91" y="122"/>
                    <a:pt x="90" y="124"/>
                  </a:cubicBezTo>
                  <a:cubicBezTo>
                    <a:pt x="88" y="126"/>
                    <a:pt x="88" y="128"/>
                    <a:pt x="86" y="130"/>
                  </a:cubicBezTo>
                  <a:cubicBezTo>
                    <a:pt x="85" y="130"/>
                    <a:pt x="85" y="131"/>
                    <a:pt x="86" y="132"/>
                  </a:cubicBezTo>
                  <a:cubicBezTo>
                    <a:pt x="77" y="145"/>
                    <a:pt x="69" y="161"/>
                    <a:pt x="63" y="176"/>
                  </a:cubicBezTo>
                  <a:cubicBezTo>
                    <a:pt x="55" y="203"/>
                    <a:pt x="52" y="232"/>
                    <a:pt x="52" y="260"/>
                  </a:cubicBezTo>
                  <a:cubicBezTo>
                    <a:pt x="53" y="274"/>
                    <a:pt x="54" y="289"/>
                    <a:pt x="57" y="303"/>
                  </a:cubicBezTo>
                  <a:cubicBezTo>
                    <a:pt x="59" y="313"/>
                    <a:pt x="62" y="324"/>
                    <a:pt x="67" y="333"/>
                  </a:cubicBezTo>
                  <a:cubicBezTo>
                    <a:pt x="66" y="332"/>
                    <a:pt x="64" y="331"/>
                    <a:pt x="63" y="330"/>
                  </a:cubicBezTo>
                  <a:cubicBezTo>
                    <a:pt x="52" y="324"/>
                    <a:pt x="43" y="315"/>
                    <a:pt x="34" y="304"/>
                  </a:cubicBezTo>
                  <a:cubicBezTo>
                    <a:pt x="34" y="304"/>
                    <a:pt x="34" y="304"/>
                    <a:pt x="34" y="304"/>
                  </a:cubicBezTo>
                  <a:cubicBezTo>
                    <a:pt x="27" y="294"/>
                    <a:pt x="20" y="281"/>
                    <a:pt x="14" y="269"/>
                  </a:cubicBezTo>
                  <a:cubicBezTo>
                    <a:pt x="9" y="258"/>
                    <a:pt x="6" y="243"/>
                    <a:pt x="3" y="230"/>
                  </a:cubicBezTo>
                  <a:cubicBezTo>
                    <a:pt x="2" y="223"/>
                    <a:pt x="1" y="217"/>
                    <a:pt x="1" y="210"/>
                  </a:cubicBezTo>
                  <a:cubicBezTo>
                    <a:pt x="0" y="203"/>
                    <a:pt x="0" y="196"/>
                    <a:pt x="0" y="188"/>
                  </a:cubicBezTo>
                  <a:cubicBezTo>
                    <a:pt x="1" y="172"/>
                    <a:pt x="3" y="156"/>
                    <a:pt x="6" y="140"/>
                  </a:cubicBezTo>
                  <a:cubicBezTo>
                    <a:pt x="12" y="106"/>
                    <a:pt x="24" y="74"/>
                    <a:pt x="37" y="42"/>
                  </a:cubicBezTo>
                  <a:cubicBezTo>
                    <a:pt x="44" y="28"/>
                    <a:pt x="51" y="14"/>
                    <a:pt x="58" y="0"/>
                  </a:cubicBezTo>
                  <a:close/>
                </a:path>
              </a:pathLst>
            </a:custGeom>
            <a:solidFill>
              <a:srgbClr val="FD92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7" name="íṧľíḍe">
              <a:extLst>
                <a:ext uri="{FF2B5EF4-FFF2-40B4-BE49-F238E27FC236}">
                  <a16:creationId xmlns:a16="http://schemas.microsoft.com/office/drawing/2014/main" id="{5F0B7E9C-CD18-4AFB-8BAE-C7F07374D39A}"/>
                </a:ext>
              </a:extLst>
            </p:cNvPr>
            <p:cNvSpPr/>
            <p:nvPr/>
          </p:nvSpPr>
          <p:spPr bwMode="auto">
            <a:xfrm>
              <a:off x="5820709" y="1793065"/>
              <a:ext cx="1616228" cy="688229"/>
            </a:xfrm>
            <a:custGeom>
              <a:avLst/>
              <a:gdLst>
                <a:gd name="T0" fmla="*/ 19 w 525"/>
                <a:gd name="T1" fmla="*/ 0 h 224"/>
                <a:gd name="T2" fmla="*/ 120 w 525"/>
                <a:gd name="T3" fmla="*/ 127 h 224"/>
                <a:gd name="T4" fmla="*/ 121 w 525"/>
                <a:gd name="T5" fmla="*/ 128 h 224"/>
                <a:gd name="T6" fmla="*/ 124 w 525"/>
                <a:gd name="T7" fmla="*/ 132 h 224"/>
                <a:gd name="T8" fmla="*/ 123 w 525"/>
                <a:gd name="T9" fmla="*/ 134 h 224"/>
                <a:gd name="T10" fmla="*/ 120 w 525"/>
                <a:gd name="T11" fmla="*/ 138 h 224"/>
                <a:gd name="T12" fmla="*/ 112 w 525"/>
                <a:gd name="T13" fmla="*/ 148 h 224"/>
                <a:gd name="T14" fmla="*/ 98 w 525"/>
                <a:gd name="T15" fmla="*/ 169 h 224"/>
                <a:gd name="T16" fmla="*/ 104 w 525"/>
                <a:gd name="T17" fmla="*/ 175 h 224"/>
                <a:gd name="T18" fmla="*/ 119 w 525"/>
                <a:gd name="T19" fmla="*/ 170 h 224"/>
                <a:gd name="T20" fmla="*/ 119 w 525"/>
                <a:gd name="T21" fmla="*/ 171 h 224"/>
                <a:gd name="T22" fmla="*/ 117 w 525"/>
                <a:gd name="T23" fmla="*/ 173 h 224"/>
                <a:gd name="T24" fmla="*/ 117 w 525"/>
                <a:gd name="T25" fmla="*/ 175 h 224"/>
                <a:gd name="T26" fmla="*/ 110 w 525"/>
                <a:gd name="T27" fmla="*/ 188 h 224"/>
                <a:gd name="T28" fmla="*/ 109 w 525"/>
                <a:gd name="T29" fmla="*/ 191 h 224"/>
                <a:gd name="T30" fmla="*/ 97 w 525"/>
                <a:gd name="T31" fmla="*/ 193 h 224"/>
                <a:gd name="T32" fmla="*/ 87 w 525"/>
                <a:gd name="T33" fmla="*/ 197 h 224"/>
                <a:gd name="T34" fmla="*/ 66 w 525"/>
                <a:gd name="T35" fmla="*/ 209 h 224"/>
                <a:gd name="T36" fmla="*/ 50 w 525"/>
                <a:gd name="T37" fmla="*/ 224 h 224"/>
                <a:gd name="T38" fmla="*/ 50 w 525"/>
                <a:gd name="T39" fmla="*/ 224 h 224"/>
                <a:gd name="T40" fmla="*/ 50 w 525"/>
                <a:gd name="T41" fmla="*/ 223 h 224"/>
                <a:gd name="T42" fmla="*/ 54 w 525"/>
                <a:gd name="T43" fmla="*/ 208 h 224"/>
                <a:gd name="T44" fmla="*/ 56 w 525"/>
                <a:gd name="T45" fmla="*/ 176 h 224"/>
                <a:gd name="T46" fmla="*/ 45 w 525"/>
                <a:gd name="T47" fmla="*/ 116 h 224"/>
                <a:gd name="T48" fmla="*/ 31 w 525"/>
                <a:gd name="T49" fmla="*/ 68 h 224"/>
                <a:gd name="T50" fmla="*/ 5 w 525"/>
                <a:gd name="T51" fmla="*/ 34 h 224"/>
                <a:gd name="T52" fmla="*/ 0 w 525"/>
                <a:gd name="T53" fmla="*/ 31 h 224"/>
                <a:gd name="T54" fmla="*/ 0 w 525"/>
                <a:gd name="T55" fmla="*/ 30 h 224"/>
                <a:gd name="T56" fmla="*/ 2 w 525"/>
                <a:gd name="T57" fmla="*/ 29 h 224"/>
                <a:gd name="T58" fmla="*/ 19 w 525"/>
                <a:gd name="T59" fmla="*/ 0 h 224"/>
                <a:gd name="T60" fmla="*/ 186 w 525"/>
                <a:gd name="T61" fmla="*/ 152 h 224"/>
                <a:gd name="T62" fmla="*/ 302 w 525"/>
                <a:gd name="T63" fmla="*/ 168 h 224"/>
                <a:gd name="T64" fmla="*/ 525 w 525"/>
                <a:gd name="T65" fmla="*/ 81 h 224"/>
                <a:gd name="T66" fmla="*/ 524 w 525"/>
                <a:gd name="T67" fmla="*/ 83 h 224"/>
                <a:gd name="T68" fmla="*/ 524 w 525"/>
                <a:gd name="T69" fmla="*/ 84 h 224"/>
                <a:gd name="T70" fmla="*/ 523 w 525"/>
                <a:gd name="T71" fmla="*/ 85 h 224"/>
                <a:gd name="T72" fmla="*/ 519 w 525"/>
                <a:gd name="T73" fmla="*/ 94 h 224"/>
                <a:gd name="T74" fmla="*/ 513 w 525"/>
                <a:gd name="T75" fmla="*/ 103 h 224"/>
                <a:gd name="T76" fmla="*/ 510 w 525"/>
                <a:gd name="T77" fmla="*/ 108 h 224"/>
                <a:gd name="T78" fmla="*/ 507 w 525"/>
                <a:gd name="T79" fmla="*/ 112 h 224"/>
                <a:gd name="T80" fmla="*/ 472 w 525"/>
                <a:gd name="T81" fmla="*/ 147 h 224"/>
                <a:gd name="T82" fmla="*/ 471 w 525"/>
                <a:gd name="T83" fmla="*/ 147 h 224"/>
                <a:gd name="T84" fmla="*/ 470 w 525"/>
                <a:gd name="T85" fmla="*/ 148 h 224"/>
                <a:gd name="T86" fmla="*/ 467 w 525"/>
                <a:gd name="T87" fmla="*/ 150 h 224"/>
                <a:gd name="T88" fmla="*/ 463 w 525"/>
                <a:gd name="T89" fmla="*/ 154 h 224"/>
                <a:gd name="T90" fmla="*/ 452 w 525"/>
                <a:gd name="T91" fmla="*/ 161 h 224"/>
                <a:gd name="T92" fmla="*/ 432 w 525"/>
                <a:gd name="T93" fmla="*/ 174 h 224"/>
                <a:gd name="T94" fmla="*/ 392 w 525"/>
                <a:gd name="T95" fmla="*/ 194 h 224"/>
                <a:gd name="T96" fmla="*/ 331 w 525"/>
                <a:gd name="T97" fmla="*/ 208 h 224"/>
                <a:gd name="T98" fmla="*/ 282 w 525"/>
                <a:gd name="T99" fmla="*/ 205 h 224"/>
                <a:gd name="T100" fmla="*/ 282 w 525"/>
                <a:gd name="T101" fmla="*/ 204 h 224"/>
                <a:gd name="T102" fmla="*/ 278 w 525"/>
                <a:gd name="T103" fmla="*/ 203 h 224"/>
                <a:gd name="T104" fmla="*/ 277 w 525"/>
                <a:gd name="T105" fmla="*/ 204 h 224"/>
                <a:gd name="T106" fmla="*/ 270 w 525"/>
                <a:gd name="T107" fmla="*/ 203 h 224"/>
                <a:gd name="T108" fmla="*/ 227 w 525"/>
                <a:gd name="T109" fmla="*/ 191 h 224"/>
                <a:gd name="T110" fmla="*/ 205 w 525"/>
                <a:gd name="T111" fmla="*/ 186 h 224"/>
                <a:gd name="T112" fmla="*/ 186 w 525"/>
                <a:gd name="T113" fmla="*/ 183 h 224"/>
                <a:gd name="T114" fmla="*/ 185 w 525"/>
                <a:gd name="T115" fmla="*/ 181 h 224"/>
                <a:gd name="T116" fmla="*/ 185 w 525"/>
                <a:gd name="T117" fmla="*/ 181 h 224"/>
                <a:gd name="T118" fmla="*/ 190 w 525"/>
                <a:gd name="T119" fmla="*/ 181 h 224"/>
                <a:gd name="T120" fmla="*/ 192 w 525"/>
                <a:gd name="T121" fmla="*/ 177 h 224"/>
                <a:gd name="T122" fmla="*/ 186 w 525"/>
                <a:gd name="T123" fmla="*/ 15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5" h="224">
                  <a:moveTo>
                    <a:pt x="19" y="0"/>
                  </a:moveTo>
                  <a:cubicBezTo>
                    <a:pt x="62" y="57"/>
                    <a:pt x="50" y="92"/>
                    <a:pt x="120" y="127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22" y="129"/>
                    <a:pt x="123" y="131"/>
                    <a:pt x="124" y="132"/>
                  </a:cubicBezTo>
                  <a:cubicBezTo>
                    <a:pt x="124" y="133"/>
                    <a:pt x="123" y="133"/>
                    <a:pt x="123" y="134"/>
                  </a:cubicBezTo>
                  <a:cubicBezTo>
                    <a:pt x="122" y="135"/>
                    <a:pt x="121" y="137"/>
                    <a:pt x="120" y="138"/>
                  </a:cubicBezTo>
                  <a:cubicBezTo>
                    <a:pt x="117" y="142"/>
                    <a:pt x="115" y="145"/>
                    <a:pt x="112" y="148"/>
                  </a:cubicBezTo>
                  <a:cubicBezTo>
                    <a:pt x="106" y="154"/>
                    <a:pt x="101" y="161"/>
                    <a:pt x="98" y="169"/>
                  </a:cubicBezTo>
                  <a:cubicBezTo>
                    <a:pt x="97" y="173"/>
                    <a:pt x="101" y="175"/>
                    <a:pt x="104" y="175"/>
                  </a:cubicBezTo>
                  <a:cubicBezTo>
                    <a:pt x="109" y="174"/>
                    <a:pt x="114" y="173"/>
                    <a:pt x="119" y="170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8" y="171"/>
                    <a:pt x="117" y="173"/>
                    <a:pt x="117" y="173"/>
                  </a:cubicBezTo>
                  <a:cubicBezTo>
                    <a:pt x="117" y="174"/>
                    <a:pt x="117" y="174"/>
                    <a:pt x="117" y="175"/>
                  </a:cubicBezTo>
                  <a:cubicBezTo>
                    <a:pt x="114" y="179"/>
                    <a:pt x="112" y="184"/>
                    <a:pt x="110" y="188"/>
                  </a:cubicBezTo>
                  <a:cubicBezTo>
                    <a:pt x="110" y="189"/>
                    <a:pt x="109" y="190"/>
                    <a:pt x="109" y="191"/>
                  </a:cubicBezTo>
                  <a:cubicBezTo>
                    <a:pt x="105" y="191"/>
                    <a:pt x="101" y="192"/>
                    <a:pt x="97" y="193"/>
                  </a:cubicBezTo>
                  <a:cubicBezTo>
                    <a:pt x="94" y="194"/>
                    <a:pt x="90" y="195"/>
                    <a:pt x="87" y="197"/>
                  </a:cubicBezTo>
                  <a:cubicBezTo>
                    <a:pt x="79" y="200"/>
                    <a:pt x="72" y="204"/>
                    <a:pt x="66" y="209"/>
                  </a:cubicBezTo>
                  <a:cubicBezTo>
                    <a:pt x="60" y="213"/>
                    <a:pt x="55" y="218"/>
                    <a:pt x="50" y="224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0" y="224"/>
                    <a:pt x="50" y="223"/>
                    <a:pt x="50" y="223"/>
                  </a:cubicBezTo>
                  <a:cubicBezTo>
                    <a:pt x="52" y="218"/>
                    <a:pt x="53" y="213"/>
                    <a:pt x="54" y="208"/>
                  </a:cubicBezTo>
                  <a:cubicBezTo>
                    <a:pt x="55" y="197"/>
                    <a:pt x="56" y="186"/>
                    <a:pt x="56" y="176"/>
                  </a:cubicBezTo>
                  <a:cubicBezTo>
                    <a:pt x="55" y="155"/>
                    <a:pt x="49" y="136"/>
                    <a:pt x="45" y="116"/>
                  </a:cubicBezTo>
                  <a:cubicBezTo>
                    <a:pt x="41" y="100"/>
                    <a:pt x="38" y="84"/>
                    <a:pt x="31" y="68"/>
                  </a:cubicBezTo>
                  <a:cubicBezTo>
                    <a:pt x="25" y="55"/>
                    <a:pt x="16" y="43"/>
                    <a:pt x="5" y="34"/>
                  </a:cubicBezTo>
                  <a:cubicBezTo>
                    <a:pt x="3" y="33"/>
                    <a:pt x="2" y="32"/>
                    <a:pt x="0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29"/>
                    <a:pt x="2" y="29"/>
                  </a:cubicBezTo>
                  <a:cubicBezTo>
                    <a:pt x="7" y="19"/>
                    <a:pt x="13" y="9"/>
                    <a:pt x="19" y="0"/>
                  </a:cubicBezTo>
                  <a:close/>
                  <a:moveTo>
                    <a:pt x="186" y="152"/>
                  </a:moveTo>
                  <a:cubicBezTo>
                    <a:pt x="223" y="162"/>
                    <a:pt x="263" y="168"/>
                    <a:pt x="302" y="168"/>
                  </a:cubicBezTo>
                  <a:cubicBezTo>
                    <a:pt x="406" y="168"/>
                    <a:pt x="510" y="124"/>
                    <a:pt x="525" y="81"/>
                  </a:cubicBezTo>
                  <a:cubicBezTo>
                    <a:pt x="525" y="81"/>
                    <a:pt x="524" y="82"/>
                    <a:pt x="524" y="83"/>
                  </a:cubicBezTo>
                  <a:cubicBezTo>
                    <a:pt x="524" y="84"/>
                    <a:pt x="524" y="84"/>
                    <a:pt x="524" y="84"/>
                  </a:cubicBezTo>
                  <a:cubicBezTo>
                    <a:pt x="523" y="84"/>
                    <a:pt x="523" y="85"/>
                    <a:pt x="523" y="85"/>
                  </a:cubicBezTo>
                  <a:cubicBezTo>
                    <a:pt x="522" y="88"/>
                    <a:pt x="520" y="91"/>
                    <a:pt x="519" y="94"/>
                  </a:cubicBezTo>
                  <a:cubicBezTo>
                    <a:pt x="517" y="97"/>
                    <a:pt x="515" y="100"/>
                    <a:pt x="513" y="103"/>
                  </a:cubicBezTo>
                  <a:cubicBezTo>
                    <a:pt x="512" y="105"/>
                    <a:pt x="511" y="106"/>
                    <a:pt x="510" y="108"/>
                  </a:cubicBezTo>
                  <a:cubicBezTo>
                    <a:pt x="509" y="110"/>
                    <a:pt x="508" y="111"/>
                    <a:pt x="507" y="112"/>
                  </a:cubicBezTo>
                  <a:cubicBezTo>
                    <a:pt x="497" y="125"/>
                    <a:pt x="485" y="136"/>
                    <a:pt x="472" y="147"/>
                  </a:cubicBezTo>
                  <a:cubicBezTo>
                    <a:pt x="471" y="147"/>
                    <a:pt x="471" y="147"/>
                    <a:pt x="471" y="147"/>
                  </a:cubicBezTo>
                  <a:cubicBezTo>
                    <a:pt x="471" y="147"/>
                    <a:pt x="470" y="148"/>
                    <a:pt x="470" y="148"/>
                  </a:cubicBezTo>
                  <a:cubicBezTo>
                    <a:pt x="469" y="149"/>
                    <a:pt x="468" y="149"/>
                    <a:pt x="467" y="150"/>
                  </a:cubicBezTo>
                  <a:cubicBezTo>
                    <a:pt x="466" y="151"/>
                    <a:pt x="464" y="153"/>
                    <a:pt x="463" y="154"/>
                  </a:cubicBezTo>
                  <a:cubicBezTo>
                    <a:pt x="459" y="156"/>
                    <a:pt x="456" y="159"/>
                    <a:pt x="452" y="161"/>
                  </a:cubicBezTo>
                  <a:cubicBezTo>
                    <a:pt x="445" y="165"/>
                    <a:pt x="439" y="170"/>
                    <a:pt x="432" y="174"/>
                  </a:cubicBezTo>
                  <a:cubicBezTo>
                    <a:pt x="419" y="182"/>
                    <a:pt x="406" y="189"/>
                    <a:pt x="392" y="194"/>
                  </a:cubicBezTo>
                  <a:cubicBezTo>
                    <a:pt x="372" y="202"/>
                    <a:pt x="352" y="207"/>
                    <a:pt x="331" y="208"/>
                  </a:cubicBezTo>
                  <a:cubicBezTo>
                    <a:pt x="315" y="209"/>
                    <a:pt x="298" y="208"/>
                    <a:pt x="282" y="205"/>
                  </a:cubicBezTo>
                  <a:cubicBezTo>
                    <a:pt x="282" y="205"/>
                    <a:pt x="282" y="205"/>
                    <a:pt x="282" y="204"/>
                  </a:cubicBezTo>
                  <a:cubicBezTo>
                    <a:pt x="282" y="203"/>
                    <a:pt x="279" y="201"/>
                    <a:pt x="278" y="203"/>
                  </a:cubicBezTo>
                  <a:cubicBezTo>
                    <a:pt x="278" y="204"/>
                    <a:pt x="277" y="204"/>
                    <a:pt x="277" y="204"/>
                  </a:cubicBezTo>
                  <a:cubicBezTo>
                    <a:pt x="275" y="204"/>
                    <a:pt x="273" y="204"/>
                    <a:pt x="270" y="203"/>
                  </a:cubicBezTo>
                  <a:cubicBezTo>
                    <a:pt x="256" y="199"/>
                    <a:pt x="242" y="195"/>
                    <a:pt x="227" y="191"/>
                  </a:cubicBezTo>
                  <a:cubicBezTo>
                    <a:pt x="220" y="189"/>
                    <a:pt x="213" y="187"/>
                    <a:pt x="205" y="186"/>
                  </a:cubicBezTo>
                  <a:cubicBezTo>
                    <a:pt x="199" y="184"/>
                    <a:pt x="193" y="183"/>
                    <a:pt x="186" y="183"/>
                  </a:cubicBezTo>
                  <a:cubicBezTo>
                    <a:pt x="186" y="182"/>
                    <a:pt x="186" y="181"/>
                    <a:pt x="185" y="181"/>
                  </a:cubicBezTo>
                  <a:cubicBezTo>
                    <a:pt x="185" y="181"/>
                    <a:pt x="185" y="181"/>
                    <a:pt x="185" y="181"/>
                  </a:cubicBezTo>
                  <a:cubicBezTo>
                    <a:pt x="187" y="181"/>
                    <a:pt x="188" y="181"/>
                    <a:pt x="190" y="181"/>
                  </a:cubicBezTo>
                  <a:cubicBezTo>
                    <a:pt x="191" y="180"/>
                    <a:pt x="192" y="178"/>
                    <a:pt x="192" y="177"/>
                  </a:cubicBezTo>
                  <a:cubicBezTo>
                    <a:pt x="191" y="168"/>
                    <a:pt x="188" y="160"/>
                    <a:pt x="186" y="152"/>
                  </a:cubicBezTo>
                  <a:close/>
                </a:path>
              </a:pathLst>
            </a:custGeom>
            <a:solidFill>
              <a:srgbClr val="DE2F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8" name="ïś1iḍè">
              <a:extLst>
                <a:ext uri="{FF2B5EF4-FFF2-40B4-BE49-F238E27FC236}">
                  <a16:creationId xmlns:a16="http://schemas.microsoft.com/office/drawing/2014/main" id="{AC1FA69B-85FE-422E-987D-5F56C5D535FC}"/>
                </a:ext>
              </a:extLst>
            </p:cNvPr>
            <p:cNvSpPr/>
            <p:nvPr/>
          </p:nvSpPr>
          <p:spPr bwMode="auto">
            <a:xfrm>
              <a:off x="4670701" y="4190766"/>
              <a:ext cx="2368100" cy="1716872"/>
            </a:xfrm>
            <a:custGeom>
              <a:avLst/>
              <a:gdLst>
                <a:gd name="T0" fmla="*/ 271 w 770"/>
                <a:gd name="T1" fmla="*/ 541 h 559"/>
                <a:gd name="T2" fmla="*/ 172 w 770"/>
                <a:gd name="T3" fmla="*/ 428 h 559"/>
                <a:gd name="T4" fmla="*/ 219 w 770"/>
                <a:gd name="T5" fmla="*/ 477 h 559"/>
                <a:gd name="T6" fmla="*/ 534 w 770"/>
                <a:gd name="T7" fmla="*/ 467 h 559"/>
                <a:gd name="T8" fmla="*/ 753 w 770"/>
                <a:gd name="T9" fmla="*/ 56 h 559"/>
                <a:gd name="T10" fmla="*/ 746 w 770"/>
                <a:gd name="T11" fmla="*/ 74 h 559"/>
                <a:gd name="T12" fmla="*/ 732 w 770"/>
                <a:gd name="T13" fmla="*/ 131 h 559"/>
                <a:gd name="T14" fmla="*/ 722 w 770"/>
                <a:gd name="T15" fmla="*/ 126 h 559"/>
                <a:gd name="T16" fmla="*/ 714 w 770"/>
                <a:gd name="T17" fmla="*/ 141 h 559"/>
                <a:gd name="T18" fmla="*/ 722 w 770"/>
                <a:gd name="T19" fmla="*/ 82 h 559"/>
                <a:gd name="T20" fmla="*/ 734 w 770"/>
                <a:gd name="T21" fmla="*/ 31 h 559"/>
                <a:gd name="T22" fmla="*/ 755 w 770"/>
                <a:gd name="T23" fmla="*/ 62 h 559"/>
                <a:gd name="T24" fmla="*/ 685 w 770"/>
                <a:gd name="T25" fmla="*/ 14 h 559"/>
                <a:gd name="T26" fmla="*/ 669 w 770"/>
                <a:gd name="T27" fmla="*/ 2 h 559"/>
                <a:gd name="T28" fmla="*/ 663 w 770"/>
                <a:gd name="T29" fmla="*/ 136 h 559"/>
                <a:gd name="T30" fmla="*/ 638 w 770"/>
                <a:gd name="T31" fmla="*/ 140 h 559"/>
                <a:gd name="T32" fmla="*/ 679 w 770"/>
                <a:gd name="T33" fmla="*/ 122 h 559"/>
                <a:gd name="T34" fmla="*/ 575 w 770"/>
                <a:gd name="T35" fmla="*/ 138 h 559"/>
                <a:gd name="T36" fmla="*/ 577 w 770"/>
                <a:gd name="T37" fmla="*/ 99 h 559"/>
                <a:gd name="T38" fmla="*/ 601 w 770"/>
                <a:gd name="T39" fmla="*/ 77 h 559"/>
                <a:gd name="T40" fmla="*/ 603 w 770"/>
                <a:gd name="T41" fmla="*/ 131 h 559"/>
                <a:gd name="T42" fmla="*/ 587 w 770"/>
                <a:gd name="T43" fmla="*/ 169 h 559"/>
                <a:gd name="T44" fmla="*/ 312 w 770"/>
                <a:gd name="T45" fmla="*/ 54 h 559"/>
                <a:gd name="T46" fmla="*/ 294 w 770"/>
                <a:gd name="T47" fmla="*/ 30 h 559"/>
                <a:gd name="T48" fmla="*/ 242 w 770"/>
                <a:gd name="T49" fmla="*/ 45 h 559"/>
                <a:gd name="T50" fmla="*/ 237 w 770"/>
                <a:gd name="T51" fmla="*/ 106 h 559"/>
                <a:gd name="T52" fmla="*/ 236 w 770"/>
                <a:gd name="T53" fmla="*/ 137 h 559"/>
                <a:gd name="T54" fmla="*/ 243 w 770"/>
                <a:gd name="T55" fmla="*/ 200 h 559"/>
                <a:gd name="T56" fmla="*/ 231 w 770"/>
                <a:gd name="T57" fmla="*/ 158 h 559"/>
                <a:gd name="T58" fmla="*/ 202 w 770"/>
                <a:gd name="T59" fmla="*/ 130 h 559"/>
                <a:gd name="T60" fmla="*/ 248 w 770"/>
                <a:gd name="T61" fmla="*/ 266 h 559"/>
                <a:gd name="T62" fmla="*/ 226 w 770"/>
                <a:gd name="T63" fmla="*/ 233 h 559"/>
                <a:gd name="T64" fmla="*/ 248 w 770"/>
                <a:gd name="T65" fmla="*/ 266 h 559"/>
                <a:gd name="T66" fmla="*/ 197 w 770"/>
                <a:gd name="T67" fmla="*/ 298 h 559"/>
                <a:gd name="T68" fmla="*/ 207 w 770"/>
                <a:gd name="T69" fmla="*/ 268 h 559"/>
                <a:gd name="T70" fmla="*/ 192 w 770"/>
                <a:gd name="T71" fmla="*/ 271 h 559"/>
                <a:gd name="T72" fmla="*/ 236 w 770"/>
                <a:gd name="T73" fmla="*/ 340 h 559"/>
                <a:gd name="T74" fmla="*/ 217 w 770"/>
                <a:gd name="T75" fmla="*/ 299 h 559"/>
                <a:gd name="T76" fmla="*/ 237 w 770"/>
                <a:gd name="T77" fmla="*/ 344 h 559"/>
                <a:gd name="T78" fmla="*/ 446 w 770"/>
                <a:gd name="T79" fmla="*/ 379 h 559"/>
                <a:gd name="T80" fmla="*/ 472 w 770"/>
                <a:gd name="T81" fmla="*/ 386 h 559"/>
                <a:gd name="T82" fmla="*/ 438 w 770"/>
                <a:gd name="T83" fmla="*/ 377 h 559"/>
                <a:gd name="T84" fmla="*/ 601 w 770"/>
                <a:gd name="T85" fmla="*/ 351 h 559"/>
                <a:gd name="T86" fmla="*/ 621 w 770"/>
                <a:gd name="T87" fmla="*/ 346 h 559"/>
                <a:gd name="T88" fmla="*/ 682 w 770"/>
                <a:gd name="T89" fmla="*/ 374 h 559"/>
                <a:gd name="T90" fmla="*/ 686 w 770"/>
                <a:gd name="T91" fmla="*/ 378 h 559"/>
                <a:gd name="T92" fmla="*/ 624 w 770"/>
                <a:gd name="T93" fmla="*/ 396 h 559"/>
                <a:gd name="T94" fmla="*/ 672 w 770"/>
                <a:gd name="T95" fmla="*/ 369 h 559"/>
                <a:gd name="T96" fmla="*/ 142 w 770"/>
                <a:gd name="T97" fmla="*/ 121 h 559"/>
                <a:gd name="T98" fmla="*/ 66 w 770"/>
                <a:gd name="T99" fmla="*/ 216 h 559"/>
                <a:gd name="T100" fmla="*/ 71 w 770"/>
                <a:gd name="T101" fmla="*/ 171 h 559"/>
                <a:gd name="T102" fmla="*/ 5 w 770"/>
                <a:gd name="T103" fmla="*/ 232 h 559"/>
                <a:gd name="T104" fmla="*/ 433 w 770"/>
                <a:gd name="T105" fmla="*/ 487 h 559"/>
                <a:gd name="T106" fmla="*/ 500 w 770"/>
                <a:gd name="T107" fmla="*/ 420 h 559"/>
                <a:gd name="T108" fmla="*/ 346 w 770"/>
                <a:gd name="T109" fmla="*/ 401 h 559"/>
                <a:gd name="T110" fmla="*/ 355 w 770"/>
                <a:gd name="T111" fmla="*/ 418 h 559"/>
                <a:gd name="T112" fmla="*/ 200 w 770"/>
                <a:gd name="T113" fmla="*/ 359 h 559"/>
                <a:gd name="T114" fmla="*/ 184 w 770"/>
                <a:gd name="T115" fmla="*/ 369 h 559"/>
                <a:gd name="T116" fmla="*/ 314 w 770"/>
                <a:gd name="T117" fmla="*/ 443 h 559"/>
                <a:gd name="T118" fmla="*/ 354 w 770"/>
                <a:gd name="T119" fmla="*/ 494 h 559"/>
                <a:gd name="T120" fmla="*/ 204 w 770"/>
                <a:gd name="T121" fmla="*/ 376 h 559"/>
                <a:gd name="T122" fmla="*/ 192 w 770"/>
                <a:gd name="T123" fmla="*/ 403 h 559"/>
                <a:gd name="T124" fmla="*/ 204 w 770"/>
                <a:gd name="T125" fmla="*/ 376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0" h="559">
                  <a:moveTo>
                    <a:pt x="549" y="498"/>
                  </a:moveTo>
                  <a:cubicBezTo>
                    <a:pt x="549" y="498"/>
                    <a:pt x="549" y="498"/>
                    <a:pt x="549" y="498"/>
                  </a:cubicBezTo>
                  <a:cubicBezTo>
                    <a:pt x="534" y="514"/>
                    <a:pt x="511" y="521"/>
                    <a:pt x="491" y="530"/>
                  </a:cubicBezTo>
                  <a:cubicBezTo>
                    <a:pt x="468" y="540"/>
                    <a:pt x="443" y="548"/>
                    <a:pt x="418" y="553"/>
                  </a:cubicBezTo>
                  <a:cubicBezTo>
                    <a:pt x="393" y="557"/>
                    <a:pt x="367" y="559"/>
                    <a:pt x="342" y="557"/>
                  </a:cubicBezTo>
                  <a:cubicBezTo>
                    <a:pt x="318" y="555"/>
                    <a:pt x="293" y="551"/>
                    <a:pt x="271" y="541"/>
                  </a:cubicBezTo>
                  <a:cubicBezTo>
                    <a:pt x="250" y="533"/>
                    <a:pt x="230" y="520"/>
                    <a:pt x="213" y="506"/>
                  </a:cubicBezTo>
                  <a:cubicBezTo>
                    <a:pt x="194" y="491"/>
                    <a:pt x="177" y="474"/>
                    <a:pt x="161" y="456"/>
                  </a:cubicBezTo>
                  <a:cubicBezTo>
                    <a:pt x="153" y="446"/>
                    <a:pt x="146" y="436"/>
                    <a:pt x="139" y="426"/>
                  </a:cubicBezTo>
                  <a:cubicBezTo>
                    <a:pt x="132" y="417"/>
                    <a:pt x="127" y="408"/>
                    <a:pt x="121" y="399"/>
                  </a:cubicBezTo>
                  <a:cubicBezTo>
                    <a:pt x="129" y="396"/>
                    <a:pt x="138" y="393"/>
                    <a:pt x="146" y="389"/>
                  </a:cubicBezTo>
                  <a:cubicBezTo>
                    <a:pt x="151" y="404"/>
                    <a:pt x="162" y="416"/>
                    <a:pt x="172" y="428"/>
                  </a:cubicBezTo>
                  <a:cubicBezTo>
                    <a:pt x="183" y="441"/>
                    <a:pt x="193" y="455"/>
                    <a:pt x="204" y="467"/>
                  </a:cubicBezTo>
                  <a:cubicBezTo>
                    <a:pt x="204" y="471"/>
                    <a:pt x="204" y="474"/>
                    <a:pt x="204" y="478"/>
                  </a:cubicBezTo>
                  <a:cubicBezTo>
                    <a:pt x="204" y="480"/>
                    <a:pt x="205" y="481"/>
                    <a:pt x="206" y="482"/>
                  </a:cubicBezTo>
                  <a:cubicBezTo>
                    <a:pt x="208" y="484"/>
                    <a:pt x="210" y="483"/>
                    <a:pt x="212" y="481"/>
                  </a:cubicBezTo>
                  <a:cubicBezTo>
                    <a:pt x="213" y="480"/>
                    <a:pt x="215" y="479"/>
                    <a:pt x="217" y="478"/>
                  </a:cubicBezTo>
                  <a:cubicBezTo>
                    <a:pt x="217" y="477"/>
                    <a:pt x="218" y="477"/>
                    <a:pt x="219" y="477"/>
                  </a:cubicBezTo>
                  <a:cubicBezTo>
                    <a:pt x="230" y="486"/>
                    <a:pt x="242" y="495"/>
                    <a:pt x="255" y="502"/>
                  </a:cubicBezTo>
                  <a:cubicBezTo>
                    <a:pt x="269" y="510"/>
                    <a:pt x="284" y="517"/>
                    <a:pt x="299" y="521"/>
                  </a:cubicBezTo>
                  <a:cubicBezTo>
                    <a:pt x="330" y="531"/>
                    <a:pt x="363" y="534"/>
                    <a:pt x="395" y="531"/>
                  </a:cubicBezTo>
                  <a:cubicBezTo>
                    <a:pt x="427" y="529"/>
                    <a:pt x="459" y="519"/>
                    <a:pt x="488" y="503"/>
                  </a:cubicBezTo>
                  <a:cubicBezTo>
                    <a:pt x="496" y="498"/>
                    <a:pt x="504" y="493"/>
                    <a:pt x="512" y="488"/>
                  </a:cubicBezTo>
                  <a:cubicBezTo>
                    <a:pt x="520" y="481"/>
                    <a:pt x="528" y="475"/>
                    <a:pt x="534" y="467"/>
                  </a:cubicBezTo>
                  <a:cubicBezTo>
                    <a:pt x="535" y="468"/>
                    <a:pt x="535" y="469"/>
                    <a:pt x="535" y="469"/>
                  </a:cubicBezTo>
                  <a:cubicBezTo>
                    <a:pt x="541" y="478"/>
                    <a:pt x="546" y="488"/>
                    <a:pt x="551" y="496"/>
                  </a:cubicBezTo>
                  <a:cubicBezTo>
                    <a:pt x="550" y="497"/>
                    <a:pt x="549" y="497"/>
                    <a:pt x="549" y="498"/>
                  </a:cubicBezTo>
                  <a:close/>
                  <a:moveTo>
                    <a:pt x="755" y="62"/>
                  </a:moveTo>
                  <a:cubicBezTo>
                    <a:pt x="755" y="62"/>
                    <a:pt x="755" y="62"/>
                    <a:pt x="755" y="62"/>
                  </a:cubicBezTo>
                  <a:cubicBezTo>
                    <a:pt x="755" y="60"/>
                    <a:pt x="754" y="58"/>
                    <a:pt x="753" y="56"/>
                  </a:cubicBezTo>
                  <a:cubicBezTo>
                    <a:pt x="751" y="54"/>
                    <a:pt x="748" y="52"/>
                    <a:pt x="746" y="51"/>
                  </a:cubicBezTo>
                  <a:cubicBezTo>
                    <a:pt x="743" y="50"/>
                    <a:pt x="740" y="48"/>
                    <a:pt x="737" y="49"/>
                  </a:cubicBezTo>
                  <a:cubicBezTo>
                    <a:pt x="738" y="48"/>
                    <a:pt x="736" y="46"/>
                    <a:pt x="735" y="46"/>
                  </a:cubicBezTo>
                  <a:cubicBezTo>
                    <a:pt x="730" y="50"/>
                    <a:pt x="727" y="55"/>
                    <a:pt x="727" y="61"/>
                  </a:cubicBezTo>
                  <a:cubicBezTo>
                    <a:pt x="727" y="67"/>
                    <a:pt x="731" y="72"/>
                    <a:pt x="736" y="74"/>
                  </a:cubicBezTo>
                  <a:cubicBezTo>
                    <a:pt x="740" y="75"/>
                    <a:pt x="743" y="75"/>
                    <a:pt x="746" y="74"/>
                  </a:cubicBezTo>
                  <a:cubicBezTo>
                    <a:pt x="748" y="74"/>
                    <a:pt x="750" y="73"/>
                    <a:pt x="752" y="72"/>
                  </a:cubicBezTo>
                  <a:cubicBezTo>
                    <a:pt x="749" y="80"/>
                    <a:pt x="747" y="88"/>
                    <a:pt x="744" y="96"/>
                  </a:cubicBezTo>
                  <a:cubicBezTo>
                    <a:pt x="743" y="100"/>
                    <a:pt x="742" y="104"/>
                    <a:pt x="741" y="108"/>
                  </a:cubicBezTo>
                  <a:cubicBezTo>
                    <a:pt x="739" y="112"/>
                    <a:pt x="738" y="116"/>
                    <a:pt x="736" y="119"/>
                  </a:cubicBezTo>
                  <a:cubicBezTo>
                    <a:pt x="736" y="120"/>
                    <a:pt x="736" y="121"/>
                    <a:pt x="736" y="122"/>
                  </a:cubicBezTo>
                  <a:cubicBezTo>
                    <a:pt x="734" y="124"/>
                    <a:pt x="733" y="128"/>
                    <a:pt x="732" y="131"/>
                  </a:cubicBezTo>
                  <a:cubicBezTo>
                    <a:pt x="732" y="134"/>
                    <a:pt x="732" y="137"/>
                    <a:pt x="733" y="140"/>
                  </a:cubicBezTo>
                  <a:cubicBezTo>
                    <a:pt x="733" y="140"/>
                    <a:pt x="733" y="140"/>
                    <a:pt x="733" y="140"/>
                  </a:cubicBezTo>
                  <a:cubicBezTo>
                    <a:pt x="733" y="140"/>
                    <a:pt x="732" y="140"/>
                    <a:pt x="732" y="140"/>
                  </a:cubicBezTo>
                  <a:cubicBezTo>
                    <a:pt x="730" y="138"/>
                    <a:pt x="728" y="136"/>
                    <a:pt x="727" y="134"/>
                  </a:cubicBezTo>
                  <a:cubicBezTo>
                    <a:pt x="726" y="132"/>
                    <a:pt x="726" y="129"/>
                    <a:pt x="726" y="127"/>
                  </a:cubicBezTo>
                  <a:cubicBezTo>
                    <a:pt x="726" y="124"/>
                    <a:pt x="722" y="124"/>
                    <a:pt x="722" y="126"/>
                  </a:cubicBezTo>
                  <a:cubicBezTo>
                    <a:pt x="721" y="128"/>
                    <a:pt x="721" y="130"/>
                    <a:pt x="721" y="132"/>
                  </a:cubicBezTo>
                  <a:cubicBezTo>
                    <a:pt x="721" y="135"/>
                    <a:pt x="721" y="138"/>
                    <a:pt x="720" y="141"/>
                  </a:cubicBezTo>
                  <a:cubicBezTo>
                    <a:pt x="720" y="143"/>
                    <a:pt x="720" y="145"/>
                    <a:pt x="720" y="146"/>
                  </a:cubicBezTo>
                  <a:cubicBezTo>
                    <a:pt x="720" y="146"/>
                    <a:pt x="719" y="146"/>
                    <a:pt x="719" y="145"/>
                  </a:cubicBezTo>
                  <a:cubicBezTo>
                    <a:pt x="717" y="144"/>
                    <a:pt x="716" y="143"/>
                    <a:pt x="714" y="142"/>
                  </a:cubicBezTo>
                  <a:cubicBezTo>
                    <a:pt x="714" y="142"/>
                    <a:pt x="714" y="142"/>
                    <a:pt x="714" y="141"/>
                  </a:cubicBezTo>
                  <a:cubicBezTo>
                    <a:pt x="714" y="139"/>
                    <a:pt x="714" y="139"/>
                    <a:pt x="714" y="139"/>
                  </a:cubicBezTo>
                  <a:cubicBezTo>
                    <a:pt x="714" y="136"/>
                    <a:pt x="714" y="135"/>
                    <a:pt x="715" y="131"/>
                  </a:cubicBezTo>
                  <a:cubicBezTo>
                    <a:pt x="715" y="130"/>
                    <a:pt x="715" y="129"/>
                    <a:pt x="716" y="128"/>
                  </a:cubicBezTo>
                  <a:cubicBezTo>
                    <a:pt x="716" y="125"/>
                    <a:pt x="716" y="123"/>
                    <a:pt x="717" y="121"/>
                  </a:cubicBezTo>
                  <a:cubicBezTo>
                    <a:pt x="717" y="117"/>
                    <a:pt x="717" y="112"/>
                    <a:pt x="718" y="108"/>
                  </a:cubicBezTo>
                  <a:cubicBezTo>
                    <a:pt x="719" y="99"/>
                    <a:pt x="721" y="91"/>
                    <a:pt x="722" y="82"/>
                  </a:cubicBezTo>
                  <a:cubicBezTo>
                    <a:pt x="723" y="73"/>
                    <a:pt x="724" y="65"/>
                    <a:pt x="724" y="56"/>
                  </a:cubicBezTo>
                  <a:cubicBezTo>
                    <a:pt x="724" y="52"/>
                    <a:pt x="724" y="47"/>
                    <a:pt x="724" y="42"/>
                  </a:cubicBezTo>
                  <a:cubicBezTo>
                    <a:pt x="724" y="40"/>
                    <a:pt x="723" y="38"/>
                    <a:pt x="723" y="36"/>
                  </a:cubicBezTo>
                  <a:cubicBezTo>
                    <a:pt x="723" y="34"/>
                    <a:pt x="722" y="33"/>
                    <a:pt x="722" y="31"/>
                  </a:cubicBezTo>
                  <a:cubicBezTo>
                    <a:pt x="723" y="31"/>
                    <a:pt x="724" y="31"/>
                    <a:pt x="726" y="31"/>
                  </a:cubicBezTo>
                  <a:cubicBezTo>
                    <a:pt x="728" y="31"/>
                    <a:pt x="731" y="31"/>
                    <a:pt x="734" y="31"/>
                  </a:cubicBezTo>
                  <a:cubicBezTo>
                    <a:pt x="738" y="31"/>
                    <a:pt x="742" y="30"/>
                    <a:pt x="746" y="29"/>
                  </a:cubicBezTo>
                  <a:cubicBezTo>
                    <a:pt x="754" y="28"/>
                    <a:pt x="763" y="26"/>
                    <a:pt x="770" y="24"/>
                  </a:cubicBezTo>
                  <a:cubicBezTo>
                    <a:pt x="770" y="25"/>
                    <a:pt x="769" y="27"/>
                    <a:pt x="769" y="29"/>
                  </a:cubicBezTo>
                  <a:cubicBezTo>
                    <a:pt x="767" y="33"/>
                    <a:pt x="766" y="36"/>
                    <a:pt x="764" y="40"/>
                  </a:cubicBezTo>
                  <a:cubicBezTo>
                    <a:pt x="762" y="44"/>
                    <a:pt x="760" y="49"/>
                    <a:pt x="758" y="53"/>
                  </a:cubicBezTo>
                  <a:cubicBezTo>
                    <a:pt x="757" y="56"/>
                    <a:pt x="756" y="59"/>
                    <a:pt x="755" y="62"/>
                  </a:cubicBezTo>
                  <a:close/>
                  <a:moveTo>
                    <a:pt x="687" y="6"/>
                  </a:moveTo>
                  <a:cubicBezTo>
                    <a:pt x="687" y="6"/>
                    <a:pt x="687" y="6"/>
                    <a:pt x="687" y="6"/>
                  </a:cubicBezTo>
                  <a:cubicBezTo>
                    <a:pt x="686" y="8"/>
                    <a:pt x="686" y="12"/>
                    <a:pt x="686" y="14"/>
                  </a:cubicBezTo>
                  <a:cubicBezTo>
                    <a:pt x="686" y="14"/>
                    <a:pt x="686" y="14"/>
                    <a:pt x="686" y="14"/>
                  </a:cubicBezTo>
                  <a:cubicBezTo>
                    <a:pt x="685" y="14"/>
                    <a:pt x="685" y="14"/>
                    <a:pt x="685" y="14"/>
                  </a:cubicBezTo>
                  <a:cubicBezTo>
                    <a:pt x="685" y="14"/>
                    <a:pt x="685" y="14"/>
                    <a:pt x="685" y="14"/>
                  </a:cubicBezTo>
                  <a:cubicBezTo>
                    <a:pt x="684" y="14"/>
                    <a:pt x="684" y="13"/>
                    <a:pt x="683" y="14"/>
                  </a:cubicBezTo>
                  <a:cubicBezTo>
                    <a:pt x="680" y="13"/>
                    <a:pt x="676" y="13"/>
                    <a:pt x="673" y="14"/>
                  </a:cubicBezTo>
                  <a:cubicBezTo>
                    <a:pt x="672" y="14"/>
                    <a:pt x="670" y="14"/>
                    <a:pt x="669" y="14"/>
                  </a:cubicBezTo>
                  <a:cubicBezTo>
                    <a:pt x="668" y="11"/>
                    <a:pt x="667" y="8"/>
                    <a:pt x="665" y="5"/>
                  </a:cubicBezTo>
                  <a:cubicBezTo>
                    <a:pt x="664" y="3"/>
                    <a:pt x="662" y="1"/>
                    <a:pt x="661" y="0"/>
                  </a:cubicBezTo>
                  <a:cubicBezTo>
                    <a:pt x="664" y="0"/>
                    <a:pt x="667" y="1"/>
                    <a:pt x="669" y="2"/>
                  </a:cubicBezTo>
                  <a:cubicBezTo>
                    <a:pt x="675" y="3"/>
                    <a:pt x="681" y="4"/>
                    <a:pt x="688" y="5"/>
                  </a:cubicBezTo>
                  <a:cubicBezTo>
                    <a:pt x="687" y="6"/>
                    <a:pt x="687" y="6"/>
                    <a:pt x="687" y="6"/>
                  </a:cubicBezTo>
                  <a:close/>
                  <a:moveTo>
                    <a:pt x="677" y="143"/>
                  </a:moveTo>
                  <a:cubicBezTo>
                    <a:pt x="677" y="143"/>
                    <a:pt x="677" y="143"/>
                    <a:pt x="677" y="143"/>
                  </a:cubicBezTo>
                  <a:cubicBezTo>
                    <a:pt x="675" y="142"/>
                    <a:pt x="673" y="142"/>
                    <a:pt x="672" y="141"/>
                  </a:cubicBezTo>
                  <a:cubicBezTo>
                    <a:pt x="669" y="140"/>
                    <a:pt x="666" y="138"/>
                    <a:pt x="663" y="136"/>
                  </a:cubicBezTo>
                  <a:cubicBezTo>
                    <a:pt x="661" y="133"/>
                    <a:pt x="658" y="130"/>
                    <a:pt x="656" y="127"/>
                  </a:cubicBezTo>
                  <a:cubicBezTo>
                    <a:pt x="654" y="125"/>
                    <a:pt x="650" y="127"/>
                    <a:pt x="650" y="129"/>
                  </a:cubicBezTo>
                  <a:cubicBezTo>
                    <a:pt x="650" y="133"/>
                    <a:pt x="650" y="137"/>
                    <a:pt x="651" y="142"/>
                  </a:cubicBezTo>
                  <a:cubicBezTo>
                    <a:pt x="651" y="144"/>
                    <a:pt x="652" y="147"/>
                    <a:pt x="653" y="149"/>
                  </a:cubicBezTo>
                  <a:cubicBezTo>
                    <a:pt x="648" y="147"/>
                    <a:pt x="642" y="145"/>
                    <a:pt x="636" y="143"/>
                  </a:cubicBezTo>
                  <a:cubicBezTo>
                    <a:pt x="637" y="142"/>
                    <a:pt x="637" y="142"/>
                    <a:pt x="638" y="140"/>
                  </a:cubicBezTo>
                  <a:cubicBezTo>
                    <a:pt x="639" y="137"/>
                    <a:pt x="640" y="134"/>
                    <a:pt x="642" y="131"/>
                  </a:cubicBezTo>
                  <a:cubicBezTo>
                    <a:pt x="643" y="128"/>
                    <a:pt x="644" y="125"/>
                    <a:pt x="644" y="122"/>
                  </a:cubicBezTo>
                  <a:cubicBezTo>
                    <a:pt x="644" y="120"/>
                    <a:pt x="645" y="117"/>
                    <a:pt x="645" y="115"/>
                  </a:cubicBezTo>
                  <a:cubicBezTo>
                    <a:pt x="645" y="115"/>
                    <a:pt x="645" y="114"/>
                    <a:pt x="644" y="114"/>
                  </a:cubicBezTo>
                  <a:cubicBezTo>
                    <a:pt x="648" y="115"/>
                    <a:pt x="652" y="116"/>
                    <a:pt x="656" y="117"/>
                  </a:cubicBezTo>
                  <a:cubicBezTo>
                    <a:pt x="664" y="119"/>
                    <a:pt x="671" y="121"/>
                    <a:pt x="679" y="122"/>
                  </a:cubicBezTo>
                  <a:cubicBezTo>
                    <a:pt x="679" y="126"/>
                    <a:pt x="679" y="129"/>
                    <a:pt x="678" y="133"/>
                  </a:cubicBezTo>
                  <a:cubicBezTo>
                    <a:pt x="677" y="136"/>
                    <a:pt x="677" y="139"/>
                    <a:pt x="677" y="143"/>
                  </a:cubicBezTo>
                  <a:close/>
                  <a:moveTo>
                    <a:pt x="587" y="169"/>
                  </a:moveTo>
                  <a:cubicBezTo>
                    <a:pt x="587" y="169"/>
                    <a:pt x="587" y="169"/>
                    <a:pt x="587" y="169"/>
                  </a:cubicBezTo>
                  <a:cubicBezTo>
                    <a:pt x="587" y="167"/>
                    <a:pt x="587" y="166"/>
                    <a:pt x="586" y="164"/>
                  </a:cubicBezTo>
                  <a:cubicBezTo>
                    <a:pt x="584" y="155"/>
                    <a:pt x="579" y="147"/>
                    <a:pt x="575" y="138"/>
                  </a:cubicBezTo>
                  <a:cubicBezTo>
                    <a:pt x="573" y="134"/>
                    <a:pt x="570" y="129"/>
                    <a:pt x="568" y="125"/>
                  </a:cubicBezTo>
                  <a:cubicBezTo>
                    <a:pt x="569" y="122"/>
                    <a:pt x="570" y="119"/>
                    <a:pt x="570" y="116"/>
                  </a:cubicBezTo>
                  <a:cubicBezTo>
                    <a:pt x="571" y="113"/>
                    <a:pt x="571" y="110"/>
                    <a:pt x="573" y="107"/>
                  </a:cubicBezTo>
                  <a:cubicBezTo>
                    <a:pt x="573" y="105"/>
                    <a:pt x="574" y="103"/>
                    <a:pt x="575" y="101"/>
                  </a:cubicBezTo>
                  <a:cubicBezTo>
                    <a:pt x="576" y="101"/>
                    <a:pt x="576" y="101"/>
                    <a:pt x="576" y="100"/>
                  </a:cubicBezTo>
                  <a:cubicBezTo>
                    <a:pt x="577" y="100"/>
                    <a:pt x="577" y="100"/>
                    <a:pt x="577" y="99"/>
                  </a:cubicBezTo>
                  <a:cubicBezTo>
                    <a:pt x="579" y="99"/>
                    <a:pt x="580" y="98"/>
                    <a:pt x="582" y="97"/>
                  </a:cubicBezTo>
                  <a:cubicBezTo>
                    <a:pt x="587" y="94"/>
                    <a:pt x="590" y="89"/>
                    <a:pt x="592" y="83"/>
                  </a:cubicBezTo>
                  <a:cubicBezTo>
                    <a:pt x="593" y="80"/>
                    <a:pt x="594" y="77"/>
                    <a:pt x="594" y="74"/>
                  </a:cubicBezTo>
                  <a:cubicBezTo>
                    <a:pt x="595" y="73"/>
                    <a:pt x="595" y="72"/>
                    <a:pt x="595" y="71"/>
                  </a:cubicBezTo>
                  <a:cubicBezTo>
                    <a:pt x="596" y="72"/>
                    <a:pt x="597" y="73"/>
                    <a:pt x="598" y="74"/>
                  </a:cubicBezTo>
                  <a:cubicBezTo>
                    <a:pt x="599" y="75"/>
                    <a:pt x="600" y="76"/>
                    <a:pt x="601" y="77"/>
                  </a:cubicBezTo>
                  <a:cubicBezTo>
                    <a:pt x="601" y="77"/>
                    <a:pt x="602" y="78"/>
                    <a:pt x="603" y="79"/>
                  </a:cubicBezTo>
                  <a:cubicBezTo>
                    <a:pt x="602" y="83"/>
                    <a:pt x="602" y="88"/>
                    <a:pt x="603" y="92"/>
                  </a:cubicBezTo>
                  <a:cubicBezTo>
                    <a:pt x="603" y="93"/>
                    <a:pt x="603" y="93"/>
                    <a:pt x="603" y="93"/>
                  </a:cubicBezTo>
                  <a:cubicBezTo>
                    <a:pt x="603" y="94"/>
                    <a:pt x="604" y="95"/>
                    <a:pt x="604" y="95"/>
                  </a:cubicBezTo>
                  <a:cubicBezTo>
                    <a:pt x="607" y="97"/>
                    <a:pt x="610" y="98"/>
                    <a:pt x="612" y="100"/>
                  </a:cubicBezTo>
                  <a:cubicBezTo>
                    <a:pt x="609" y="110"/>
                    <a:pt x="607" y="121"/>
                    <a:pt x="603" y="131"/>
                  </a:cubicBezTo>
                  <a:cubicBezTo>
                    <a:pt x="601" y="137"/>
                    <a:pt x="599" y="144"/>
                    <a:pt x="597" y="150"/>
                  </a:cubicBezTo>
                  <a:cubicBezTo>
                    <a:pt x="595" y="152"/>
                    <a:pt x="594" y="155"/>
                    <a:pt x="593" y="158"/>
                  </a:cubicBezTo>
                  <a:cubicBezTo>
                    <a:pt x="592" y="161"/>
                    <a:pt x="590" y="163"/>
                    <a:pt x="588" y="166"/>
                  </a:cubicBezTo>
                  <a:cubicBezTo>
                    <a:pt x="587" y="167"/>
                    <a:pt x="588" y="168"/>
                    <a:pt x="589" y="169"/>
                  </a:cubicBezTo>
                  <a:cubicBezTo>
                    <a:pt x="588" y="169"/>
                    <a:pt x="588" y="169"/>
                    <a:pt x="588" y="169"/>
                  </a:cubicBezTo>
                  <a:cubicBezTo>
                    <a:pt x="587" y="169"/>
                    <a:pt x="587" y="169"/>
                    <a:pt x="587" y="169"/>
                  </a:cubicBezTo>
                  <a:close/>
                  <a:moveTo>
                    <a:pt x="312" y="15"/>
                  </a:moveTo>
                  <a:cubicBezTo>
                    <a:pt x="312" y="15"/>
                    <a:pt x="312" y="15"/>
                    <a:pt x="312" y="15"/>
                  </a:cubicBezTo>
                  <a:cubicBezTo>
                    <a:pt x="313" y="19"/>
                    <a:pt x="316" y="24"/>
                    <a:pt x="320" y="26"/>
                  </a:cubicBezTo>
                  <a:cubicBezTo>
                    <a:pt x="320" y="26"/>
                    <a:pt x="320" y="26"/>
                    <a:pt x="320" y="26"/>
                  </a:cubicBezTo>
                  <a:cubicBezTo>
                    <a:pt x="318" y="30"/>
                    <a:pt x="318" y="35"/>
                    <a:pt x="316" y="39"/>
                  </a:cubicBezTo>
                  <a:cubicBezTo>
                    <a:pt x="315" y="44"/>
                    <a:pt x="314" y="50"/>
                    <a:pt x="312" y="54"/>
                  </a:cubicBezTo>
                  <a:cubicBezTo>
                    <a:pt x="309" y="64"/>
                    <a:pt x="305" y="73"/>
                    <a:pt x="302" y="83"/>
                  </a:cubicBezTo>
                  <a:cubicBezTo>
                    <a:pt x="299" y="93"/>
                    <a:pt x="297" y="103"/>
                    <a:pt x="293" y="113"/>
                  </a:cubicBezTo>
                  <a:cubicBezTo>
                    <a:pt x="292" y="116"/>
                    <a:pt x="291" y="119"/>
                    <a:pt x="290" y="122"/>
                  </a:cubicBezTo>
                  <a:cubicBezTo>
                    <a:pt x="291" y="120"/>
                    <a:pt x="291" y="117"/>
                    <a:pt x="291" y="115"/>
                  </a:cubicBezTo>
                  <a:cubicBezTo>
                    <a:pt x="292" y="105"/>
                    <a:pt x="294" y="96"/>
                    <a:pt x="295" y="87"/>
                  </a:cubicBezTo>
                  <a:cubicBezTo>
                    <a:pt x="297" y="68"/>
                    <a:pt x="298" y="49"/>
                    <a:pt x="294" y="30"/>
                  </a:cubicBezTo>
                  <a:cubicBezTo>
                    <a:pt x="294" y="27"/>
                    <a:pt x="293" y="24"/>
                    <a:pt x="292" y="21"/>
                  </a:cubicBezTo>
                  <a:cubicBezTo>
                    <a:pt x="291" y="20"/>
                    <a:pt x="291" y="18"/>
                    <a:pt x="291" y="17"/>
                  </a:cubicBezTo>
                  <a:cubicBezTo>
                    <a:pt x="298" y="13"/>
                    <a:pt x="305" y="9"/>
                    <a:pt x="313" y="5"/>
                  </a:cubicBezTo>
                  <a:cubicBezTo>
                    <a:pt x="312" y="8"/>
                    <a:pt x="311" y="11"/>
                    <a:pt x="312" y="15"/>
                  </a:cubicBezTo>
                  <a:close/>
                  <a:moveTo>
                    <a:pt x="242" y="45"/>
                  </a:moveTo>
                  <a:cubicBezTo>
                    <a:pt x="242" y="45"/>
                    <a:pt x="242" y="45"/>
                    <a:pt x="242" y="45"/>
                  </a:cubicBezTo>
                  <a:cubicBezTo>
                    <a:pt x="242" y="46"/>
                    <a:pt x="242" y="47"/>
                    <a:pt x="242" y="48"/>
                  </a:cubicBezTo>
                  <a:cubicBezTo>
                    <a:pt x="243" y="51"/>
                    <a:pt x="243" y="53"/>
                    <a:pt x="243" y="56"/>
                  </a:cubicBezTo>
                  <a:cubicBezTo>
                    <a:pt x="243" y="60"/>
                    <a:pt x="243" y="65"/>
                    <a:pt x="243" y="70"/>
                  </a:cubicBezTo>
                  <a:cubicBezTo>
                    <a:pt x="243" y="82"/>
                    <a:pt x="243" y="93"/>
                    <a:pt x="244" y="104"/>
                  </a:cubicBezTo>
                  <a:cubicBezTo>
                    <a:pt x="244" y="106"/>
                    <a:pt x="244" y="109"/>
                    <a:pt x="244" y="112"/>
                  </a:cubicBezTo>
                  <a:cubicBezTo>
                    <a:pt x="242" y="110"/>
                    <a:pt x="240" y="107"/>
                    <a:pt x="237" y="106"/>
                  </a:cubicBezTo>
                  <a:cubicBezTo>
                    <a:pt x="234" y="105"/>
                    <a:pt x="230" y="105"/>
                    <a:pt x="227" y="105"/>
                  </a:cubicBezTo>
                  <a:cubicBezTo>
                    <a:pt x="224" y="105"/>
                    <a:pt x="220" y="106"/>
                    <a:pt x="218" y="108"/>
                  </a:cubicBezTo>
                  <a:cubicBezTo>
                    <a:pt x="217" y="110"/>
                    <a:pt x="217" y="111"/>
                    <a:pt x="218" y="111"/>
                  </a:cubicBezTo>
                  <a:cubicBezTo>
                    <a:pt x="216" y="114"/>
                    <a:pt x="215" y="117"/>
                    <a:pt x="214" y="120"/>
                  </a:cubicBezTo>
                  <a:cubicBezTo>
                    <a:pt x="214" y="125"/>
                    <a:pt x="217" y="131"/>
                    <a:pt x="221" y="134"/>
                  </a:cubicBezTo>
                  <a:cubicBezTo>
                    <a:pt x="225" y="138"/>
                    <a:pt x="231" y="139"/>
                    <a:pt x="236" y="137"/>
                  </a:cubicBezTo>
                  <a:cubicBezTo>
                    <a:pt x="239" y="136"/>
                    <a:pt x="243" y="133"/>
                    <a:pt x="245" y="130"/>
                  </a:cubicBezTo>
                  <a:cubicBezTo>
                    <a:pt x="245" y="132"/>
                    <a:pt x="245" y="135"/>
                    <a:pt x="245" y="137"/>
                  </a:cubicBezTo>
                  <a:cubicBezTo>
                    <a:pt x="245" y="148"/>
                    <a:pt x="245" y="159"/>
                    <a:pt x="244" y="170"/>
                  </a:cubicBezTo>
                  <a:cubicBezTo>
                    <a:pt x="244" y="176"/>
                    <a:pt x="243" y="182"/>
                    <a:pt x="243" y="187"/>
                  </a:cubicBezTo>
                  <a:cubicBezTo>
                    <a:pt x="243" y="190"/>
                    <a:pt x="243" y="193"/>
                    <a:pt x="243" y="196"/>
                  </a:cubicBezTo>
                  <a:cubicBezTo>
                    <a:pt x="243" y="197"/>
                    <a:pt x="243" y="198"/>
                    <a:pt x="243" y="200"/>
                  </a:cubicBezTo>
                  <a:cubicBezTo>
                    <a:pt x="243" y="200"/>
                    <a:pt x="243" y="201"/>
                    <a:pt x="243" y="201"/>
                  </a:cubicBezTo>
                  <a:cubicBezTo>
                    <a:pt x="238" y="202"/>
                    <a:pt x="233" y="203"/>
                    <a:pt x="228" y="205"/>
                  </a:cubicBezTo>
                  <a:cubicBezTo>
                    <a:pt x="228" y="203"/>
                    <a:pt x="229" y="201"/>
                    <a:pt x="229" y="199"/>
                  </a:cubicBezTo>
                  <a:cubicBezTo>
                    <a:pt x="233" y="189"/>
                    <a:pt x="236" y="178"/>
                    <a:pt x="234" y="166"/>
                  </a:cubicBezTo>
                  <a:cubicBezTo>
                    <a:pt x="233" y="164"/>
                    <a:pt x="232" y="161"/>
                    <a:pt x="231" y="159"/>
                  </a:cubicBezTo>
                  <a:cubicBezTo>
                    <a:pt x="231" y="159"/>
                    <a:pt x="231" y="159"/>
                    <a:pt x="231" y="158"/>
                  </a:cubicBezTo>
                  <a:cubicBezTo>
                    <a:pt x="230" y="156"/>
                    <a:pt x="228" y="155"/>
                    <a:pt x="227" y="153"/>
                  </a:cubicBezTo>
                  <a:cubicBezTo>
                    <a:pt x="224" y="150"/>
                    <a:pt x="221" y="147"/>
                    <a:pt x="217" y="145"/>
                  </a:cubicBezTo>
                  <a:cubicBezTo>
                    <a:pt x="213" y="142"/>
                    <a:pt x="208" y="139"/>
                    <a:pt x="203" y="137"/>
                  </a:cubicBezTo>
                  <a:cubicBezTo>
                    <a:pt x="203" y="137"/>
                    <a:pt x="203" y="137"/>
                    <a:pt x="203" y="137"/>
                  </a:cubicBezTo>
                  <a:cubicBezTo>
                    <a:pt x="203" y="136"/>
                    <a:pt x="203" y="135"/>
                    <a:pt x="203" y="135"/>
                  </a:cubicBezTo>
                  <a:cubicBezTo>
                    <a:pt x="202" y="133"/>
                    <a:pt x="202" y="131"/>
                    <a:pt x="202" y="130"/>
                  </a:cubicBezTo>
                  <a:cubicBezTo>
                    <a:pt x="201" y="126"/>
                    <a:pt x="200" y="123"/>
                    <a:pt x="200" y="120"/>
                  </a:cubicBezTo>
                  <a:cubicBezTo>
                    <a:pt x="199" y="113"/>
                    <a:pt x="199" y="106"/>
                    <a:pt x="199" y="99"/>
                  </a:cubicBezTo>
                  <a:cubicBezTo>
                    <a:pt x="199" y="93"/>
                    <a:pt x="199" y="86"/>
                    <a:pt x="200" y="79"/>
                  </a:cubicBezTo>
                  <a:cubicBezTo>
                    <a:pt x="201" y="76"/>
                    <a:pt x="201" y="73"/>
                    <a:pt x="202" y="70"/>
                  </a:cubicBezTo>
                  <a:cubicBezTo>
                    <a:pt x="215" y="62"/>
                    <a:pt x="228" y="54"/>
                    <a:pt x="242" y="45"/>
                  </a:cubicBezTo>
                  <a:close/>
                  <a:moveTo>
                    <a:pt x="248" y="266"/>
                  </a:moveTo>
                  <a:cubicBezTo>
                    <a:pt x="248" y="266"/>
                    <a:pt x="248" y="266"/>
                    <a:pt x="248" y="266"/>
                  </a:cubicBezTo>
                  <a:cubicBezTo>
                    <a:pt x="248" y="269"/>
                    <a:pt x="247" y="271"/>
                    <a:pt x="247" y="274"/>
                  </a:cubicBezTo>
                  <a:cubicBezTo>
                    <a:pt x="246" y="272"/>
                    <a:pt x="245" y="270"/>
                    <a:pt x="244" y="268"/>
                  </a:cubicBezTo>
                  <a:cubicBezTo>
                    <a:pt x="241" y="263"/>
                    <a:pt x="238" y="258"/>
                    <a:pt x="235" y="253"/>
                  </a:cubicBezTo>
                  <a:cubicBezTo>
                    <a:pt x="233" y="249"/>
                    <a:pt x="230" y="245"/>
                    <a:pt x="228" y="240"/>
                  </a:cubicBezTo>
                  <a:cubicBezTo>
                    <a:pt x="228" y="238"/>
                    <a:pt x="227" y="236"/>
                    <a:pt x="226" y="233"/>
                  </a:cubicBezTo>
                  <a:cubicBezTo>
                    <a:pt x="226" y="232"/>
                    <a:pt x="226" y="231"/>
                    <a:pt x="226" y="230"/>
                  </a:cubicBezTo>
                  <a:cubicBezTo>
                    <a:pt x="226" y="230"/>
                    <a:pt x="226" y="230"/>
                    <a:pt x="225" y="229"/>
                  </a:cubicBezTo>
                  <a:cubicBezTo>
                    <a:pt x="226" y="229"/>
                    <a:pt x="226" y="229"/>
                    <a:pt x="227" y="229"/>
                  </a:cubicBezTo>
                  <a:cubicBezTo>
                    <a:pt x="232" y="230"/>
                    <a:pt x="237" y="231"/>
                    <a:pt x="242" y="231"/>
                  </a:cubicBezTo>
                  <a:cubicBezTo>
                    <a:pt x="249" y="232"/>
                    <a:pt x="256" y="232"/>
                    <a:pt x="264" y="230"/>
                  </a:cubicBezTo>
                  <a:cubicBezTo>
                    <a:pt x="256" y="241"/>
                    <a:pt x="250" y="253"/>
                    <a:pt x="248" y="266"/>
                  </a:cubicBezTo>
                  <a:close/>
                  <a:moveTo>
                    <a:pt x="189" y="275"/>
                  </a:moveTo>
                  <a:cubicBezTo>
                    <a:pt x="189" y="275"/>
                    <a:pt x="189" y="275"/>
                    <a:pt x="189" y="275"/>
                  </a:cubicBezTo>
                  <a:cubicBezTo>
                    <a:pt x="189" y="276"/>
                    <a:pt x="190" y="276"/>
                    <a:pt x="190" y="276"/>
                  </a:cubicBezTo>
                  <a:cubicBezTo>
                    <a:pt x="192" y="281"/>
                    <a:pt x="197" y="285"/>
                    <a:pt x="202" y="289"/>
                  </a:cubicBezTo>
                  <a:cubicBezTo>
                    <a:pt x="200" y="292"/>
                    <a:pt x="199" y="295"/>
                    <a:pt x="198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192" y="295"/>
                    <a:pt x="186" y="292"/>
                    <a:pt x="180" y="291"/>
                  </a:cubicBezTo>
                  <a:cubicBezTo>
                    <a:pt x="182" y="287"/>
                    <a:pt x="185" y="284"/>
                    <a:pt x="187" y="280"/>
                  </a:cubicBezTo>
                  <a:cubicBezTo>
                    <a:pt x="188" y="278"/>
                    <a:pt x="189" y="277"/>
                    <a:pt x="189" y="275"/>
                  </a:cubicBezTo>
                  <a:close/>
                  <a:moveTo>
                    <a:pt x="201" y="255"/>
                  </a:moveTo>
                  <a:cubicBezTo>
                    <a:pt x="201" y="255"/>
                    <a:pt x="201" y="255"/>
                    <a:pt x="201" y="255"/>
                  </a:cubicBezTo>
                  <a:cubicBezTo>
                    <a:pt x="202" y="260"/>
                    <a:pt x="203" y="265"/>
                    <a:pt x="207" y="268"/>
                  </a:cubicBezTo>
                  <a:cubicBezTo>
                    <a:pt x="206" y="270"/>
                    <a:pt x="206" y="271"/>
                    <a:pt x="206" y="273"/>
                  </a:cubicBezTo>
                  <a:cubicBezTo>
                    <a:pt x="205" y="273"/>
                    <a:pt x="205" y="273"/>
                    <a:pt x="205" y="273"/>
                  </a:cubicBezTo>
                  <a:cubicBezTo>
                    <a:pt x="204" y="273"/>
                    <a:pt x="203" y="273"/>
                    <a:pt x="202" y="273"/>
                  </a:cubicBezTo>
                  <a:cubicBezTo>
                    <a:pt x="201" y="273"/>
                    <a:pt x="200" y="272"/>
                    <a:pt x="200" y="272"/>
                  </a:cubicBezTo>
                  <a:cubicBezTo>
                    <a:pt x="197" y="272"/>
                    <a:pt x="195" y="271"/>
                    <a:pt x="192" y="271"/>
                  </a:cubicBezTo>
                  <a:cubicBezTo>
                    <a:pt x="192" y="271"/>
                    <a:pt x="192" y="271"/>
                    <a:pt x="192" y="271"/>
                  </a:cubicBezTo>
                  <a:cubicBezTo>
                    <a:pt x="193" y="268"/>
                    <a:pt x="195" y="265"/>
                    <a:pt x="197" y="262"/>
                  </a:cubicBezTo>
                  <a:cubicBezTo>
                    <a:pt x="198" y="260"/>
                    <a:pt x="200" y="258"/>
                    <a:pt x="201" y="255"/>
                  </a:cubicBezTo>
                  <a:close/>
                  <a:moveTo>
                    <a:pt x="237" y="344"/>
                  </a:moveTo>
                  <a:cubicBezTo>
                    <a:pt x="237" y="344"/>
                    <a:pt x="237" y="344"/>
                    <a:pt x="237" y="344"/>
                  </a:cubicBezTo>
                  <a:cubicBezTo>
                    <a:pt x="237" y="344"/>
                    <a:pt x="237" y="344"/>
                    <a:pt x="237" y="344"/>
                  </a:cubicBezTo>
                  <a:cubicBezTo>
                    <a:pt x="236" y="342"/>
                    <a:pt x="236" y="341"/>
                    <a:pt x="236" y="340"/>
                  </a:cubicBezTo>
                  <a:cubicBezTo>
                    <a:pt x="236" y="338"/>
                    <a:pt x="235" y="336"/>
                    <a:pt x="235" y="335"/>
                  </a:cubicBezTo>
                  <a:cubicBezTo>
                    <a:pt x="234" y="331"/>
                    <a:pt x="232" y="329"/>
                    <a:pt x="230" y="325"/>
                  </a:cubicBezTo>
                  <a:cubicBezTo>
                    <a:pt x="226" y="319"/>
                    <a:pt x="221" y="314"/>
                    <a:pt x="216" y="310"/>
                  </a:cubicBezTo>
                  <a:cubicBezTo>
                    <a:pt x="213" y="308"/>
                    <a:pt x="210" y="306"/>
                    <a:pt x="206" y="304"/>
                  </a:cubicBezTo>
                  <a:cubicBezTo>
                    <a:pt x="210" y="302"/>
                    <a:pt x="213" y="299"/>
                    <a:pt x="216" y="295"/>
                  </a:cubicBezTo>
                  <a:cubicBezTo>
                    <a:pt x="216" y="297"/>
                    <a:pt x="216" y="298"/>
                    <a:pt x="217" y="299"/>
                  </a:cubicBezTo>
                  <a:cubicBezTo>
                    <a:pt x="218" y="300"/>
                    <a:pt x="219" y="302"/>
                    <a:pt x="220" y="303"/>
                  </a:cubicBezTo>
                  <a:cubicBezTo>
                    <a:pt x="221" y="306"/>
                    <a:pt x="223" y="309"/>
                    <a:pt x="225" y="312"/>
                  </a:cubicBezTo>
                  <a:cubicBezTo>
                    <a:pt x="229" y="318"/>
                    <a:pt x="234" y="324"/>
                    <a:pt x="238" y="330"/>
                  </a:cubicBezTo>
                  <a:cubicBezTo>
                    <a:pt x="243" y="336"/>
                    <a:pt x="248" y="341"/>
                    <a:pt x="253" y="346"/>
                  </a:cubicBezTo>
                  <a:cubicBezTo>
                    <a:pt x="254" y="348"/>
                    <a:pt x="255" y="349"/>
                    <a:pt x="256" y="350"/>
                  </a:cubicBezTo>
                  <a:cubicBezTo>
                    <a:pt x="249" y="348"/>
                    <a:pt x="243" y="346"/>
                    <a:pt x="237" y="344"/>
                  </a:cubicBezTo>
                  <a:close/>
                  <a:moveTo>
                    <a:pt x="438" y="377"/>
                  </a:moveTo>
                  <a:cubicBezTo>
                    <a:pt x="438" y="377"/>
                    <a:pt x="438" y="377"/>
                    <a:pt x="438" y="377"/>
                  </a:cubicBezTo>
                  <a:cubicBezTo>
                    <a:pt x="439" y="374"/>
                    <a:pt x="439" y="370"/>
                    <a:pt x="440" y="367"/>
                  </a:cubicBezTo>
                  <a:cubicBezTo>
                    <a:pt x="442" y="368"/>
                    <a:pt x="444" y="370"/>
                    <a:pt x="446" y="371"/>
                  </a:cubicBezTo>
                  <a:cubicBezTo>
                    <a:pt x="446" y="372"/>
                    <a:pt x="446" y="373"/>
                    <a:pt x="446" y="375"/>
                  </a:cubicBezTo>
                  <a:cubicBezTo>
                    <a:pt x="445" y="376"/>
                    <a:pt x="446" y="377"/>
                    <a:pt x="446" y="379"/>
                  </a:cubicBezTo>
                  <a:cubicBezTo>
                    <a:pt x="446" y="379"/>
                    <a:pt x="446" y="380"/>
                    <a:pt x="447" y="380"/>
                  </a:cubicBezTo>
                  <a:cubicBezTo>
                    <a:pt x="447" y="380"/>
                    <a:pt x="447" y="380"/>
                    <a:pt x="447" y="381"/>
                  </a:cubicBezTo>
                  <a:cubicBezTo>
                    <a:pt x="449" y="381"/>
                    <a:pt x="452" y="381"/>
                    <a:pt x="454" y="382"/>
                  </a:cubicBezTo>
                  <a:cubicBezTo>
                    <a:pt x="457" y="383"/>
                    <a:pt x="459" y="383"/>
                    <a:pt x="462" y="384"/>
                  </a:cubicBezTo>
                  <a:cubicBezTo>
                    <a:pt x="464" y="384"/>
                    <a:pt x="467" y="385"/>
                    <a:pt x="469" y="385"/>
                  </a:cubicBezTo>
                  <a:cubicBezTo>
                    <a:pt x="470" y="386"/>
                    <a:pt x="471" y="386"/>
                    <a:pt x="472" y="386"/>
                  </a:cubicBezTo>
                  <a:cubicBezTo>
                    <a:pt x="476" y="387"/>
                    <a:pt x="479" y="388"/>
                    <a:pt x="483" y="389"/>
                  </a:cubicBezTo>
                  <a:cubicBezTo>
                    <a:pt x="493" y="392"/>
                    <a:pt x="503" y="394"/>
                    <a:pt x="514" y="395"/>
                  </a:cubicBezTo>
                  <a:cubicBezTo>
                    <a:pt x="515" y="396"/>
                    <a:pt x="515" y="396"/>
                    <a:pt x="516" y="396"/>
                  </a:cubicBezTo>
                  <a:cubicBezTo>
                    <a:pt x="492" y="394"/>
                    <a:pt x="467" y="392"/>
                    <a:pt x="443" y="389"/>
                  </a:cubicBezTo>
                  <a:cubicBezTo>
                    <a:pt x="441" y="388"/>
                    <a:pt x="438" y="388"/>
                    <a:pt x="435" y="388"/>
                  </a:cubicBezTo>
                  <a:cubicBezTo>
                    <a:pt x="437" y="384"/>
                    <a:pt x="438" y="381"/>
                    <a:pt x="438" y="377"/>
                  </a:cubicBezTo>
                  <a:close/>
                  <a:moveTo>
                    <a:pt x="621" y="347"/>
                  </a:moveTo>
                  <a:cubicBezTo>
                    <a:pt x="621" y="347"/>
                    <a:pt x="621" y="347"/>
                    <a:pt x="621" y="347"/>
                  </a:cubicBezTo>
                  <a:cubicBezTo>
                    <a:pt x="618" y="350"/>
                    <a:pt x="615" y="353"/>
                    <a:pt x="612" y="356"/>
                  </a:cubicBezTo>
                  <a:cubicBezTo>
                    <a:pt x="608" y="361"/>
                    <a:pt x="603" y="364"/>
                    <a:pt x="598" y="367"/>
                  </a:cubicBezTo>
                  <a:cubicBezTo>
                    <a:pt x="598" y="366"/>
                    <a:pt x="598" y="365"/>
                    <a:pt x="598" y="364"/>
                  </a:cubicBezTo>
                  <a:cubicBezTo>
                    <a:pt x="599" y="359"/>
                    <a:pt x="600" y="355"/>
                    <a:pt x="601" y="351"/>
                  </a:cubicBezTo>
                  <a:cubicBezTo>
                    <a:pt x="601" y="347"/>
                    <a:pt x="602" y="344"/>
                    <a:pt x="603" y="341"/>
                  </a:cubicBezTo>
                  <a:cubicBezTo>
                    <a:pt x="603" y="341"/>
                    <a:pt x="603" y="340"/>
                    <a:pt x="603" y="340"/>
                  </a:cubicBezTo>
                  <a:cubicBezTo>
                    <a:pt x="604" y="339"/>
                    <a:pt x="604" y="339"/>
                    <a:pt x="604" y="339"/>
                  </a:cubicBezTo>
                  <a:cubicBezTo>
                    <a:pt x="604" y="338"/>
                    <a:pt x="604" y="338"/>
                    <a:pt x="605" y="337"/>
                  </a:cubicBezTo>
                  <a:cubicBezTo>
                    <a:pt x="605" y="337"/>
                    <a:pt x="605" y="337"/>
                    <a:pt x="605" y="336"/>
                  </a:cubicBezTo>
                  <a:cubicBezTo>
                    <a:pt x="611" y="340"/>
                    <a:pt x="616" y="343"/>
                    <a:pt x="621" y="346"/>
                  </a:cubicBezTo>
                  <a:cubicBezTo>
                    <a:pt x="621" y="346"/>
                    <a:pt x="621" y="346"/>
                    <a:pt x="621" y="347"/>
                  </a:cubicBezTo>
                  <a:close/>
                  <a:moveTo>
                    <a:pt x="672" y="369"/>
                  </a:moveTo>
                  <a:cubicBezTo>
                    <a:pt x="672" y="369"/>
                    <a:pt x="672" y="369"/>
                    <a:pt x="672" y="369"/>
                  </a:cubicBezTo>
                  <a:cubicBezTo>
                    <a:pt x="672" y="369"/>
                    <a:pt x="672" y="369"/>
                    <a:pt x="672" y="369"/>
                  </a:cubicBezTo>
                  <a:cubicBezTo>
                    <a:pt x="673" y="369"/>
                    <a:pt x="673" y="369"/>
                    <a:pt x="673" y="369"/>
                  </a:cubicBezTo>
                  <a:cubicBezTo>
                    <a:pt x="676" y="370"/>
                    <a:pt x="679" y="372"/>
                    <a:pt x="682" y="374"/>
                  </a:cubicBezTo>
                  <a:cubicBezTo>
                    <a:pt x="682" y="374"/>
                    <a:pt x="682" y="374"/>
                    <a:pt x="682" y="374"/>
                  </a:cubicBezTo>
                  <a:cubicBezTo>
                    <a:pt x="683" y="374"/>
                    <a:pt x="683" y="375"/>
                    <a:pt x="683" y="375"/>
                  </a:cubicBezTo>
                  <a:cubicBezTo>
                    <a:pt x="684" y="376"/>
                    <a:pt x="684" y="376"/>
                    <a:pt x="685" y="376"/>
                  </a:cubicBezTo>
                  <a:cubicBezTo>
                    <a:pt x="685" y="377"/>
                    <a:pt x="685" y="377"/>
                    <a:pt x="685" y="377"/>
                  </a:cubicBezTo>
                  <a:cubicBezTo>
                    <a:pt x="685" y="377"/>
                    <a:pt x="685" y="377"/>
                    <a:pt x="685" y="377"/>
                  </a:cubicBezTo>
                  <a:cubicBezTo>
                    <a:pt x="685" y="377"/>
                    <a:pt x="686" y="378"/>
                    <a:pt x="686" y="378"/>
                  </a:cubicBezTo>
                  <a:cubicBezTo>
                    <a:pt x="686" y="379"/>
                    <a:pt x="686" y="379"/>
                    <a:pt x="686" y="379"/>
                  </a:cubicBezTo>
                  <a:cubicBezTo>
                    <a:pt x="686" y="379"/>
                    <a:pt x="687" y="380"/>
                    <a:pt x="687" y="380"/>
                  </a:cubicBezTo>
                  <a:cubicBezTo>
                    <a:pt x="687" y="381"/>
                    <a:pt x="687" y="382"/>
                    <a:pt x="687" y="382"/>
                  </a:cubicBezTo>
                  <a:cubicBezTo>
                    <a:pt x="687" y="383"/>
                    <a:pt x="687" y="384"/>
                    <a:pt x="687" y="385"/>
                  </a:cubicBezTo>
                  <a:cubicBezTo>
                    <a:pt x="666" y="393"/>
                    <a:pt x="644" y="396"/>
                    <a:pt x="621" y="397"/>
                  </a:cubicBezTo>
                  <a:cubicBezTo>
                    <a:pt x="622" y="396"/>
                    <a:pt x="623" y="396"/>
                    <a:pt x="624" y="396"/>
                  </a:cubicBezTo>
                  <a:cubicBezTo>
                    <a:pt x="630" y="393"/>
                    <a:pt x="635" y="390"/>
                    <a:pt x="640" y="386"/>
                  </a:cubicBezTo>
                  <a:cubicBezTo>
                    <a:pt x="644" y="382"/>
                    <a:pt x="648" y="378"/>
                    <a:pt x="651" y="373"/>
                  </a:cubicBezTo>
                  <a:cubicBezTo>
                    <a:pt x="653" y="370"/>
                    <a:pt x="654" y="366"/>
                    <a:pt x="655" y="362"/>
                  </a:cubicBezTo>
                  <a:cubicBezTo>
                    <a:pt x="658" y="363"/>
                    <a:pt x="661" y="364"/>
                    <a:pt x="665" y="366"/>
                  </a:cubicBezTo>
                  <a:cubicBezTo>
                    <a:pt x="666" y="366"/>
                    <a:pt x="668" y="367"/>
                    <a:pt x="669" y="368"/>
                  </a:cubicBezTo>
                  <a:cubicBezTo>
                    <a:pt x="670" y="368"/>
                    <a:pt x="671" y="368"/>
                    <a:pt x="672" y="369"/>
                  </a:cubicBezTo>
                  <a:close/>
                  <a:moveTo>
                    <a:pt x="152" y="105"/>
                  </a:moveTo>
                  <a:cubicBezTo>
                    <a:pt x="152" y="105"/>
                    <a:pt x="152" y="105"/>
                    <a:pt x="152" y="105"/>
                  </a:cubicBezTo>
                  <a:cubicBezTo>
                    <a:pt x="152" y="105"/>
                    <a:pt x="152" y="105"/>
                    <a:pt x="152" y="105"/>
                  </a:cubicBezTo>
                  <a:cubicBezTo>
                    <a:pt x="152" y="108"/>
                    <a:pt x="153" y="112"/>
                    <a:pt x="154" y="115"/>
                  </a:cubicBezTo>
                  <a:cubicBezTo>
                    <a:pt x="154" y="118"/>
                    <a:pt x="155" y="120"/>
                    <a:pt x="157" y="123"/>
                  </a:cubicBezTo>
                  <a:cubicBezTo>
                    <a:pt x="152" y="122"/>
                    <a:pt x="147" y="121"/>
                    <a:pt x="142" y="121"/>
                  </a:cubicBezTo>
                  <a:cubicBezTo>
                    <a:pt x="138" y="121"/>
                    <a:pt x="134" y="121"/>
                    <a:pt x="130" y="121"/>
                  </a:cubicBezTo>
                  <a:cubicBezTo>
                    <a:pt x="138" y="115"/>
                    <a:pt x="145" y="110"/>
                    <a:pt x="152" y="105"/>
                  </a:cubicBezTo>
                  <a:close/>
                  <a:moveTo>
                    <a:pt x="71" y="171"/>
                  </a:moveTo>
                  <a:cubicBezTo>
                    <a:pt x="71" y="171"/>
                    <a:pt x="71" y="171"/>
                    <a:pt x="71" y="171"/>
                  </a:cubicBezTo>
                  <a:cubicBezTo>
                    <a:pt x="71" y="177"/>
                    <a:pt x="70" y="181"/>
                    <a:pt x="70" y="186"/>
                  </a:cubicBezTo>
                  <a:cubicBezTo>
                    <a:pt x="69" y="196"/>
                    <a:pt x="68" y="206"/>
                    <a:pt x="66" y="216"/>
                  </a:cubicBezTo>
                  <a:cubicBezTo>
                    <a:pt x="65" y="224"/>
                    <a:pt x="64" y="232"/>
                    <a:pt x="62" y="240"/>
                  </a:cubicBezTo>
                  <a:cubicBezTo>
                    <a:pt x="61" y="238"/>
                    <a:pt x="61" y="235"/>
                    <a:pt x="60" y="232"/>
                  </a:cubicBezTo>
                  <a:cubicBezTo>
                    <a:pt x="58" y="226"/>
                    <a:pt x="56" y="220"/>
                    <a:pt x="55" y="214"/>
                  </a:cubicBezTo>
                  <a:cubicBezTo>
                    <a:pt x="53" y="204"/>
                    <a:pt x="54" y="193"/>
                    <a:pt x="52" y="184"/>
                  </a:cubicBezTo>
                  <a:cubicBezTo>
                    <a:pt x="58" y="178"/>
                    <a:pt x="64" y="173"/>
                    <a:pt x="71" y="167"/>
                  </a:cubicBezTo>
                  <a:cubicBezTo>
                    <a:pt x="71" y="169"/>
                    <a:pt x="71" y="170"/>
                    <a:pt x="71" y="171"/>
                  </a:cubicBezTo>
                  <a:close/>
                  <a:moveTo>
                    <a:pt x="17" y="213"/>
                  </a:moveTo>
                  <a:cubicBezTo>
                    <a:pt x="17" y="213"/>
                    <a:pt x="17" y="213"/>
                    <a:pt x="17" y="213"/>
                  </a:cubicBezTo>
                  <a:cubicBezTo>
                    <a:pt x="18" y="220"/>
                    <a:pt x="19" y="226"/>
                    <a:pt x="21" y="232"/>
                  </a:cubicBezTo>
                  <a:cubicBezTo>
                    <a:pt x="23" y="238"/>
                    <a:pt x="25" y="243"/>
                    <a:pt x="27" y="248"/>
                  </a:cubicBezTo>
                  <a:cubicBezTo>
                    <a:pt x="27" y="249"/>
                    <a:pt x="27" y="250"/>
                    <a:pt x="28" y="251"/>
                  </a:cubicBezTo>
                  <a:cubicBezTo>
                    <a:pt x="20" y="245"/>
                    <a:pt x="13" y="239"/>
                    <a:pt x="5" y="232"/>
                  </a:cubicBezTo>
                  <a:cubicBezTo>
                    <a:pt x="3" y="231"/>
                    <a:pt x="2" y="229"/>
                    <a:pt x="0" y="228"/>
                  </a:cubicBezTo>
                  <a:cubicBezTo>
                    <a:pt x="6" y="223"/>
                    <a:pt x="11" y="218"/>
                    <a:pt x="17" y="213"/>
                  </a:cubicBezTo>
                  <a:close/>
                  <a:moveTo>
                    <a:pt x="501" y="451"/>
                  </a:moveTo>
                  <a:cubicBezTo>
                    <a:pt x="501" y="451"/>
                    <a:pt x="501" y="451"/>
                    <a:pt x="501" y="451"/>
                  </a:cubicBezTo>
                  <a:cubicBezTo>
                    <a:pt x="495" y="456"/>
                    <a:pt x="488" y="459"/>
                    <a:pt x="480" y="463"/>
                  </a:cubicBezTo>
                  <a:cubicBezTo>
                    <a:pt x="465" y="470"/>
                    <a:pt x="449" y="480"/>
                    <a:pt x="433" y="487"/>
                  </a:cubicBezTo>
                  <a:cubicBezTo>
                    <a:pt x="429" y="489"/>
                    <a:pt x="424" y="490"/>
                    <a:pt x="421" y="492"/>
                  </a:cubicBezTo>
                  <a:cubicBezTo>
                    <a:pt x="421" y="492"/>
                    <a:pt x="421" y="492"/>
                    <a:pt x="421" y="492"/>
                  </a:cubicBezTo>
                  <a:cubicBezTo>
                    <a:pt x="424" y="489"/>
                    <a:pt x="428" y="485"/>
                    <a:pt x="432" y="481"/>
                  </a:cubicBezTo>
                  <a:cubicBezTo>
                    <a:pt x="446" y="470"/>
                    <a:pt x="460" y="460"/>
                    <a:pt x="473" y="448"/>
                  </a:cubicBezTo>
                  <a:cubicBezTo>
                    <a:pt x="479" y="443"/>
                    <a:pt x="484" y="439"/>
                    <a:pt x="489" y="434"/>
                  </a:cubicBezTo>
                  <a:cubicBezTo>
                    <a:pt x="493" y="429"/>
                    <a:pt x="496" y="425"/>
                    <a:pt x="500" y="420"/>
                  </a:cubicBezTo>
                  <a:cubicBezTo>
                    <a:pt x="503" y="420"/>
                    <a:pt x="506" y="420"/>
                    <a:pt x="509" y="420"/>
                  </a:cubicBezTo>
                  <a:cubicBezTo>
                    <a:pt x="512" y="426"/>
                    <a:pt x="515" y="432"/>
                    <a:pt x="518" y="437"/>
                  </a:cubicBezTo>
                  <a:cubicBezTo>
                    <a:pt x="513" y="443"/>
                    <a:pt x="507" y="448"/>
                    <a:pt x="501" y="451"/>
                  </a:cubicBezTo>
                  <a:close/>
                  <a:moveTo>
                    <a:pt x="344" y="402"/>
                  </a:moveTo>
                  <a:cubicBezTo>
                    <a:pt x="344" y="402"/>
                    <a:pt x="344" y="402"/>
                    <a:pt x="344" y="402"/>
                  </a:cubicBezTo>
                  <a:cubicBezTo>
                    <a:pt x="344" y="402"/>
                    <a:pt x="345" y="401"/>
                    <a:pt x="346" y="401"/>
                  </a:cubicBezTo>
                  <a:cubicBezTo>
                    <a:pt x="348" y="402"/>
                    <a:pt x="351" y="403"/>
                    <a:pt x="354" y="403"/>
                  </a:cubicBezTo>
                  <a:cubicBezTo>
                    <a:pt x="355" y="403"/>
                    <a:pt x="356" y="404"/>
                    <a:pt x="357" y="404"/>
                  </a:cubicBezTo>
                  <a:cubicBezTo>
                    <a:pt x="357" y="405"/>
                    <a:pt x="357" y="406"/>
                    <a:pt x="358" y="408"/>
                  </a:cubicBezTo>
                  <a:cubicBezTo>
                    <a:pt x="358" y="411"/>
                    <a:pt x="359" y="414"/>
                    <a:pt x="360" y="418"/>
                  </a:cubicBezTo>
                  <a:cubicBezTo>
                    <a:pt x="360" y="418"/>
                    <a:pt x="360" y="418"/>
                    <a:pt x="360" y="418"/>
                  </a:cubicBezTo>
                  <a:cubicBezTo>
                    <a:pt x="359" y="418"/>
                    <a:pt x="357" y="418"/>
                    <a:pt x="355" y="418"/>
                  </a:cubicBezTo>
                  <a:cubicBezTo>
                    <a:pt x="352" y="418"/>
                    <a:pt x="349" y="417"/>
                    <a:pt x="346" y="416"/>
                  </a:cubicBezTo>
                  <a:cubicBezTo>
                    <a:pt x="343" y="415"/>
                    <a:pt x="340" y="414"/>
                    <a:pt x="337" y="412"/>
                  </a:cubicBezTo>
                  <a:cubicBezTo>
                    <a:pt x="336" y="411"/>
                    <a:pt x="335" y="410"/>
                    <a:pt x="334" y="410"/>
                  </a:cubicBezTo>
                  <a:cubicBezTo>
                    <a:pt x="337" y="407"/>
                    <a:pt x="340" y="405"/>
                    <a:pt x="344" y="402"/>
                  </a:cubicBezTo>
                  <a:close/>
                  <a:moveTo>
                    <a:pt x="200" y="359"/>
                  </a:moveTo>
                  <a:cubicBezTo>
                    <a:pt x="200" y="359"/>
                    <a:pt x="200" y="359"/>
                    <a:pt x="200" y="359"/>
                  </a:cubicBezTo>
                  <a:cubicBezTo>
                    <a:pt x="202" y="360"/>
                    <a:pt x="203" y="360"/>
                    <a:pt x="204" y="361"/>
                  </a:cubicBezTo>
                  <a:cubicBezTo>
                    <a:pt x="204" y="362"/>
                    <a:pt x="204" y="363"/>
                    <a:pt x="204" y="364"/>
                  </a:cubicBezTo>
                  <a:cubicBezTo>
                    <a:pt x="204" y="365"/>
                    <a:pt x="204" y="366"/>
                    <a:pt x="204" y="367"/>
                  </a:cubicBezTo>
                  <a:cubicBezTo>
                    <a:pt x="202" y="368"/>
                    <a:pt x="201" y="368"/>
                    <a:pt x="200" y="368"/>
                  </a:cubicBezTo>
                  <a:cubicBezTo>
                    <a:pt x="197" y="369"/>
                    <a:pt x="193" y="369"/>
                    <a:pt x="189" y="369"/>
                  </a:cubicBezTo>
                  <a:cubicBezTo>
                    <a:pt x="188" y="369"/>
                    <a:pt x="186" y="369"/>
                    <a:pt x="184" y="369"/>
                  </a:cubicBezTo>
                  <a:cubicBezTo>
                    <a:pt x="185" y="368"/>
                    <a:pt x="186" y="368"/>
                    <a:pt x="187" y="367"/>
                  </a:cubicBezTo>
                  <a:cubicBezTo>
                    <a:pt x="191" y="365"/>
                    <a:pt x="195" y="364"/>
                    <a:pt x="199" y="361"/>
                  </a:cubicBezTo>
                  <a:cubicBezTo>
                    <a:pt x="200" y="361"/>
                    <a:pt x="200" y="360"/>
                    <a:pt x="200" y="359"/>
                  </a:cubicBezTo>
                  <a:close/>
                  <a:moveTo>
                    <a:pt x="300" y="435"/>
                  </a:moveTo>
                  <a:cubicBezTo>
                    <a:pt x="300" y="435"/>
                    <a:pt x="300" y="435"/>
                    <a:pt x="300" y="435"/>
                  </a:cubicBezTo>
                  <a:cubicBezTo>
                    <a:pt x="305" y="438"/>
                    <a:pt x="310" y="441"/>
                    <a:pt x="314" y="443"/>
                  </a:cubicBezTo>
                  <a:cubicBezTo>
                    <a:pt x="321" y="447"/>
                    <a:pt x="326" y="451"/>
                    <a:pt x="333" y="455"/>
                  </a:cubicBezTo>
                  <a:cubicBezTo>
                    <a:pt x="345" y="462"/>
                    <a:pt x="359" y="468"/>
                    <a:pt x="373" y="466"/>
                  </a:cubicBezTo>
                  <a:cubicBezTo>
                    <a:pt x="373" y="466"/>
                    <a:pt x="374" y="466"/>
                    <a:pt x="375" y="466"/>
                  </a:cubicBezTo>
                  <a:cubicBezTo>
                    <a:pt x="377" y="476"/>
                    <a:pt x="378" y="486"/>
                    <a:pt x="380" y="496"/>
                  </a:cubicBezTo>
                  <a:cubicBezTo>
                    <a:pt x="376" y="496"/>
                    <a:pt x="372" y="496"/>
                    <a:pt x="368" y="495"/>
                  </a:cubicBezTo>
                  <a:cubicBezTo>
                    <a:pt x="363" y="495"/>
                    <a:pt x="359" y="495"/>
                    <a:pt x="354" y="494"/>
                  </a:cubicBezTo>
                  <a:cubicBezTo>
                    <a:pt x="345" y="493"/>
                    <a:pt x="336" y="490"/>
                    <a:pt x="327" y="488"/>
                  </a:cubicBezTo>
                  <a:cubicBezTo>
                    <a:pt x="309" y="481"/>
                    <a:pt x="292" y="473"/>
                    <a:pt x="275" y="463"/>
                  </a:cubicBezTo>
                  <a:cubicBezTo>
                    <a:pt x="272" y="461"/>
                    <a:pt x="269" y="459"/>
                    <a:pt x="265" y="457"/>
                  </a:cubicBezTo>
                  <a:cubicBezTo>
                    <a:pt x="273" y="452"/>
                    <a:pt x="279" y="448"/>
                    <a:pt x="287" y="444"/>
                  </a:cubicBezTo>
                  <a:cubicBezTo>
                    <a:pt x="292" y="441"/>
                    <a:pt x="296" y="438"/>
                    <a:pt x="300" y="435"/>
                  </a:cubicBezTo>
                  <a:close/>
                  <a:moveTo>
                    <a:pt x="204" y="376"/>
                  </a:moveTo>
                  <a:cubicBezTo>
                    <a:pt x="204" y="376"/>
                    <a:pt x="204" y="376"/>
                    <a:pt x="204" y="376"/>
                  </a:cubicBezTo>
                  <a:cubicBezTo>
                    <a:pt x="204" y="379"/>
                    <a:pt x="204" y="383"/>
                    <a:pt x="204" y="386"/>
                  </a:cubicBezTo>
                  <a:cubicBezTo>
                    <a:pt x="205" y="396"/>
                    <a:pt x="205" y="405"/>
                    <a:pt x="205" y="415"/>
                  </a:cubicBezTo>
                  <a:cubicBezTo>
                    <a:pt x="205" y="414"/>
                    <a:pt x="204" y="414"/>
                    <a:pt x="204" y="413"/>
                  </a:cubicBezTo>
                  <a:cubicBezTo>
                    <a:pt x="201" y="412"/>
                    <a:pt x="200" y="410"/>
                    <a:pt x="197" y="408"/>
                  </a:cubicBezTo>
                  <a:cubicBezTo>
                    <a:pt x="195" y="407"/>
                    <a:pt x="193" y="405"/>
                    <a:pt x="192" y="403"/>
                  </a:cubicBezTo>
                  <a:cubicBezTo>
                    <a:pt x="188" y="399"/>
                    <a:pt x="186" y="393"/>
                    <a:pt x="184" y="387"/>
                  </a:cubicBezTo>
                  <a:cubicBezTo>
                    <a:pt x="183" y="385"/>
                    <a:pt x="182" y="382"/>
                    <a:pt x="180" y="379"/>
                  </a:cubicBezTo>
                  <a:cubicBezTo>
                    <a:pt x="180" y="378"/>
                    <a:pt x="179" y="377"/>
                    <a:pt x="178" y="376"/>
                  </a:cubicBezTo>
                  <a:cubicBezTo>
                    <a:pt x="182" y="376"/>
                    <a:pt x="186" y="377"/>
                    <a:pt x="189" y="377"/>
                  </a:cubicBezTo>
                  <a:cubicBezTo>
                    <a:pt x="193" y="377"/>
                    <a:pt x="197" y="377"/>
                    <a:pt x="201" y="376"/>
                  </a:cubicBezTo>
                  <a:cubicBezTo>
                    <a:pt x="202" y="376"/>
                    <a:pt x="203" y="376"/>
                    <a:pt x="204" y="376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9" name="ïŝ1íďé">
              <a:extLst>
                <a:ext uri="{FF2B5EF4-FFF2-40B4-BE49-F238E27FC236}">
                  <a16:creationId xmlns:a16="http://schemas.microsoft.com/office/drawing/2014/main" id="{0E0448CB-D151-40C2-9403-5569CE1FB906}"/>
                </a:ext>
              </a:extLst>
            </p:cNvPr>
            <p:cNvSpPr/>
            <p:nvPr/>
          </p:nvSpPr>
          <p:spPr bwMode="auto">
            <a:xfrm>
              <a:off x="4867549" y="5167607"/>
              <a:ext cx="1710952" cy="583145"/>
            </a:xfrm>
            <a:custGeom>
              <a:avLst/>
              <a:gdLst>
                <a:gd name="T0" fmla="*/ 22 w 556"/>
                <a:gd name="T1" fmla="*/ 85 h 190"/>
                <a:gd name="T2" fmla="*/ 22 w 556"/>
                <a:gd name="T3" fmla="*/ 85 h 190"/>
                <a:gd name="T4" fmla="*/ 0 w 556"/>
                <a:gd name="T5" fmla="*/ 93 h 190"/>
                <a:gd name="T6" fmla="*/ 1 w 556"/>
                <a:gd name="T7" fmla="*/ 41 h 190"/>
                <a:gd name="T8" fmla="*/ 1 w 556"/>
                <a:gd name="T9" fmla="*/ 11 h 190"/>
                <a:gd name="T10" fmla="*/ 0 w 556"/>
                <a:gd name="T11" fmla="*/ 0 h 190"/>
                <a:gd name="T12" fmla="*/ 4 w 556"/>
                <a:gd name="T13" fmla="*/ 1 h 190"/>
                <a:gd name="T14" fmla="*/ 17 w 556"/>
                <a:gd name="T15" fmla="*/ 5 h 190"/>
                <a:gd name="T16" fmla="*/ 46 w 556"/>
                <a:gd name="T17" fmla="*/ 15 h 190"/>
                <a:gd name="T18" fmla="*/ 76 w 556"/>
                <a:gd name="T19" fmla="*/ 23 h 190"/>
                <a:gd name="T20" fmla="*/ 90 w 556"/>
                <a:gd name="T21" fmla="*/ 27 h 190"/>
                <a:gd name="T22" fmla="*/ 94 w 556"/>
                <a:gd name="T23" fmla="*/ 28 h 190"/>
                <a:gd name="T24" fmla="*/ 125 w 556"/>
                <a:gd name="T25" fmla="*/ 38 h 190"/>
                <a:gd name="T26" fmla="*/ 118 w 556"/>
                <a:gd name="T27" fmla="*/ 41 h 190"/>
                <a:gd name="T28" fmla="*/ 105 w 556"/>
                <a:gd name="T29" fmla="*/ 48 h 190"/>
                <a:gd name="T30" fmla="*/ 79 w 556"/>
                <a:gd name="T31" fmla="*/ 62 h 190"/>
                <a:gd name="T32" fmla="*/ 51 w 556"/>
                <a:gd name="T33" fmla="*/ 73 h 190"/>
                <a:gd name="T34" fmla="*/ 22 w 556"/>
                <a:gd name="T35" fmla="*/ 85 h 190"/>
                <a:gd name="T36" fmla="*/ 537 w 556"/>
                <a:gd name="T37" fmla="*/ 139 h 190"/>
                <a:gd name="T38" fmla="*/ 537 w 556"/>
                <a:gd name="T39" fmla="*/ 139 h 190"/>
                <a:gd name="T40" fmla="*/ 505 w 556"/>
                <a:gd name="T41" fmla="*/ 190 h 190"/>
                <a:gd name="T42" fmla="*/ 479 w 556"/>
                <a:gd name="T43" fmla="*/ 147 h 190"/>
                <a:gd name="T44" fmla="*/ 451 w 556"/>
                <a:gd name="T45" fmla="*/ 102 h 190"/>
                <a:gd name="T46" fmla="*/ 451 w 556"/>
                <a:gd name="T47" fmla="*/ 102 h 190"/>
                <a:gd name="T48" fmla="*/ 460 w 556"/>
                <a:gd name="T49" fmla="*/ 107 h 190"/>
                <a:gd name="T50" fmla="*/ 474 w 556"/>
                <a:gd name="T51" fmla="*/ 109 h 190"/>
                <a:gd name="T52" fmla="*/ 500 w 556"/>
                <a:gd name="T53" fmla="*/ 110 h 190"/>
                <a:gd name="T54" fmla="*/ 528 w 556"/>
                <a:gd name="T55" fmla="*/ 110 h 190"/>
                <a:gd name="T56" fmla="*/ 556 w 556"/>
                <a:gd name="T57" fmla="*/ 110 h 190"/>
                <a:gd name="T58" fmla="*/ 556 w 556"/>
                <a:gd name="T59" fmla="*/ 110 h 190"/>
                <a:gd name="T60" fmla="*/ 553 w 556"/>
                <a:gd name="T61" fmla="*/ 115 h 190"/>
                <a:gd name="T62" fmla="*/ 537 w 556"/>
                <a:gd name="T63" fmla="*/ 13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56" h="190">
                  <a:moveTo>
                    <a:pt x="22" y="85"/>
                  </a:moveTo>
                  <a:cubicBezTo>
                    <a:pt x="22" y="85"/>
                    <a:pt x="22" y="85"/>
                    <a:pt x="22" y="85"/>
                  </a:cubicBezTo>
                  <a:cubicBezTo>
                    <a:pt x="14" y="88"/>
                    <a:pt x="7" y="91"/>
                    <a:pt x="0" y="93"/>
                  </a:cubicBezTo>
                  <a:cubicBezTo>
                    <a:pt x="0" y="76"/>
                    <a:pt x="1" y="58"/>
                    <a:pt x="1" y="41"/>
                  </a:cubicBezTo>
                  <a:cubicBezTo>
                    <a:pt x="1" y="31"/>
                    <a:pt x="1" y="21"/>
                    <a:pt x="1" y="11"/>
                  </a:cubicBezTo>
                  <a:cubicBezTo>
                    <a:pt x="1" y="7"/>
                    <a:pt x="1" y="3"/>
                    <a:pt x="0" y="0"/>
                  </a:cubicBezTo>
                  <a:cubicBezTo>
                    <a:pt x="2" y="0"/>
                    <a:pt x="3" y="1"/>
                    <a:pt x="4" y="1"/>
                  </a:cubicBezTo>
                  <a:cubicBezTo>
                    <a:pt x="9" y="3"/>
                    <a:pt x="13" y="4"/>
                    <a:pt x="17" y="5"/>
                  </a:cubicBezTo>
                  <a:cubicBezTo>
                    <a:pt x="27" y="8"/>
                    <a:pt x="37" y="12"/>
                    <a:pt x="46" y="15"/>
                  </a:cubicBezTo>
                  <a:cubicBezTo>
                    <a:pt x="56" y="18"/>
                    <a:pt x="66" y="21"/>
                    <a:pt x="76" y="23"/>
                  </a:cubicBezTo>
                  <a:cubicBezTo>
                    <a:pt x="81" y="25"/>
                    <a:pt x="86" y="26"/>
                    <a:pt x="90" y="27"/>
                  </a:cubicBezTo>
                  <a:cubicBezTo>
                    <a:pt x="91" y="27"/>
                    <a:pt x="93" y="28"/>
                    <a:pt x="94" y="28"/>
                  </a:cubicBezTo>
                  <a:cubicBezTo>
                    <a:pt x="104" y="32"/>
                    <a:pt x="114" y="35"/>
                    <a:pt x="125" y="38"/>
                  </a:cubicBezTo>
                  <a:cubicBezTo>
                    <a:pt x="123" y="39"/>
                    <a:pt x="120" y="40"/>
                    <a:pt x="118" y="41"/>
                  </a:cubicBezTo>
                  <a:cubicBezTo>
                    <a:pt x="114" y="43"/>
                    <a:pt x="110" y="46"/>
                    <a:pt x="105" y="48"/>
                  </a:cubicBezTo>
                  <a:cubicBezTo>
                    <a:pt x="96" y="53"/>
                    <a:pt x="87" y="57"/>
                    <a:pt x="79" y="62"/>
                  </a:cubicBezTo>
                  <a:cubicBezTo>
                    <a:pt x="70" y="66"/>
                    <a:pt x="60" y="69"/>
                    <a:pt x="51" y="73"/>
                  </a:cubicBezTo>
                  <a:cubicBezTo>
                    <a:pt x="41" y="77"/>
                    <a:pt x="31" y="81"/>
                    <a:pt x="22" y="85"/>
                  </a:cubicBezTo>
                  <a:close/>
                  <a:moveTo>
                    <a:pt x="537" y="139"/>
                  </a:moveTo>
                  <a:cubicBezTo>
                    <a:pt x="537" y="139"/>
                    <a:pt x="537" y="139"/>
                    <a:pt x="537" y="139"/>
                  </a:cubicBezTo>
                  <a:cubicBezTo>
                    <a:pt x="526" y="156"/>
                    <a:pt x="515" y="173"/>
                    <a:pt x="505" y="190"/>
                  </a:cubicBezTo>
                  <a:cubicBezTo>
                    <a:pt x="496" y="176"/>
                    <a:pt x="487" y="161"/>
                    <a:pt x="479" y="147"/>
                  </a:cubicBezTo>
                  <a:cubicBezTo>
                    <a:pt x="470" y="132"/>
                    <a:pt x="460" y="117"/>
                    <a:pt x="451" y="102"/>
                  </a:cubicBezTo>
                  <a:cubicBezTo>
                    <a:pt x="451" y="102"/>
                    <a:pt x="451" y="102"/>
                    <a:pt x="451" y="102"/>
                  </a:cubicBezTo>
                  <a:cubicBezTo>
                    <a:pt x="454" y="105"/>
                    <a:pt x="457" y="106"/>
                    <a:pt x="460" y="107"/>
                  </a:cubicBezTo>
                  <a:cubicBezTo>
                    <a:pt x="465" y="108"/>
                    <a:pt x="469" y="109"/>
                    <a:pt x="474" y="109"/>
                  </a:cubicBezTo>
                  <a:cubicBezTo>
                    <a:pt x="482" y="110"/>
                    <a:pt x="491" y="110"/>
                    <a:pt x="500" y="110"/>
                  </a:cubicBezTo>
                  <a:cubicBezTo>
                    <a:pt x="509" y="110"/>
                    <a:pt x="519" y="110"/>
                    <a:pt x="528" y="110"/>
                  </a:cubicBezTo>
                  <a:cubicBezTo>
                    <a:pt x="537" y="110"/>
                    <a:pt x="547" y="110"/>
                    <a:pt x="556" y="110"/>
                  </a:cubicBezTo>
                  <a:cubicBezTo>
                    <a:pt x="556" y="110"/>
                    <a:pt x="556" y="110"/>
                    <a:pt x="556" y="110"/>
                  </a:cubicBezTo>
                  <a:cubicBezTo>
                    <a:pt x="555" y="112"/>
                    <a:pt x="554" y="113"/>
                    <a:pt x="553" y="115"/>
                  </a:cubicBezTo>
                  <a:cubicBezTo>
                    <a:pt x="548" y="122"/>
                    <a:pt x="542" y="130"/>
                    <a:pt x="537" y="139"/>
                  </a:cubicBezTo>
                  <a:close/>
                </a:path>
              </a:pathLst>
            </a:custGeom>
            <a:solidFill>
              <a:srgbClr val="FFD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0" name="îṡḻïḋé">
              <a:extLst>
                <a:ext uri="{FF2B5EF4-FFF2-40B4-BE49-F238E27FC236}">
                  <a16:creationId xmlns:a16="http://schemas.microsoft.com/office/drawing/2014/main" id="{E820483F-248A-4E54-B654-CA616180BF6A}"/>
                </a:ext>
              </a:extLst>
            </p:cNvPr>
            <p:cNvSpPr/>
            <p:nvPr/>
          </p:nvSpPr>
          <p:spPr bwMode="auto">
            <a:xfrm>
              <a:off x="7343693" y="3916954"/>
              <a:ext cx="236810" cy="174647"/>
            </a:xfrm>
            <a:custGeom>
              <a:avLst/>
              <a:gdLst>
                <a:gd name="T0" fmla="*/ 72 w 77"/>
                <a:gd name="T1" fmla="*/ 45 h 57"/>
                <a:gd name="T2" fmla="*/ 72 w 77"/>
                <a:gd name="T3" fmla="*/ 45 h 57"/>
                <a:gd name="T4" fmla="*/ 77 w 77"/>
                <a:gd name="T5" fmla="*/ 50 h 57"/>
                <a:gd name="T6" fmla="*/ 73 w 77"/>
                <a:gd name="T7" fmla="*/ 57 h 57"/>
                <a:gd name="T8" fmla="*/ 71 w 77"/>
                <a:gd name="T9" fmla="*/ 57 h 57"/>
                <a:gd name="T10" fmla="*/ 61 w 77"/>
                <a:gd name="T11" fmla="*/ 50 h 57"/>
                <a:gd name="T12" fmla="*/ 72 w 77"/>
                <a:gd name="T13" fmla="*/ 45 h 57"/>
                <a:gd name="T14" fmla="*/ 16 w 77"/>
                <a:gd name="T15" fmla="*/ 14 h 57"/>
                <a:gd name="T16" fmla="*/ 16 w 77"/>
                <a:gd name="T17" fmla="*/ 14 h 57"/>
                <a:gd name="T18" fmla="*/ 15 w 77"/>
                <a:gd name="T19" fmla="*/ 17 h 57"/>
                <a:gd name="T20" fmla="*/ 0 w 77"/>
                <a:gd name="T21" fmla="*/ 9 h 57"/>
                <a:gd name="T22" fmla="*/ 16 w 77"/>
                <a:gd name="T23" fmla="*/ 5 h 57"/>
                <a:gd name="T24" fmla="*/ 16 w 77"/>
                <a:gd name="T25" fmla="*/ 14 h 57"/>
                <a:gd name="T26" fmla="*/ 46 w 77"/>
                <a:gd name="T27" fmla="*/ 36 h 57"/>
                <a:gd name="T28" fmla="*/ 46 w 77"/>
                <a:gd name="T29" fmla="*/ 36 h 57"/>
                <a:gd name="T30" fmla="*/ 46 w 77"/>
                <a:gd name="T31" fmla="*/ 37 h 57"/>
                <a:gd name="T32" fmla="*/ 39 w 77"/>
                <a:gd name="T33" fmla="*/ 33 h 57"/>
                <a:gd name="T34" fmla="*/ 35 w 77"/>
                <a:gd name="T35" fmla="*/ 31 h 57"/>
                <a:gd name="T36" fmla="*/ 36 w 77"/>
                <a:gd name="T37" fmla="*/ 29 h 57"/>
                <a:gd name="T38" fmla="*/ 42 w 77"/>
                <a:gd name="T39" fmla="*/ 22 h 57"/>
                <a:gd name="T40" fmla="*/ 48 w 77"/>
                <a:gd name="T41" fmla="*/ 22 h 57"/>
                <a:gd name="T42" fmla="*/ 49 w 77"/>
                <a:gd name="T43" fmla="*/ 24 h 57"/>
                <a:gd name="T44" fmla="*/ 49 w 77"/>
                <a:gd name="T45" fmla="*/ 25 h 57"/>
                <a:gd name="T46" fmla="*/ 49 w 77"/>
                <a:gd name="T47" fmla="*/ 28 h 57"/>
                <a:gd name="T48" fmla="*/ 47 w 77"/>
                <a:gd name="T49" fmla="*/ 32 h 57"/>
                <a:gd name="T50" fmla="*/ 46 w 77"/>
                <a:gd name="T51" fmla="*/ 3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7" h="57"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5" y="46"/>
                    <a:pt x="77" y="48"/>
                    <a:pt x="77" y="50"/>
                  </a:cubicBezTo>
                  <a:cubicBezTo>
                    <a:pt x="77" y="53"/>
                    <a:pt x="75" y="55"/>
                    <a:pt x="73" y="57"/>
                  </a:cubicBezTo>
                  <a:cubicBezTo>
                    <a:pt x="72" y="57"/>
                    <a:pt x="72" y="57"/>
                    <a:pt x="71" y="57"/>
                  </a:cubicBezTo>
                  <a:cubicBezTo>
                    <a:pt x="69" y="54"/>
                    <a:pt x="65" y="52"/>
                    <a:pt x="61" y="50"/>
                  </a:cubicBezTo>
                  <a:cubicBezTo>
                    <a:pt x="63" y="46"/>
                    <a:pt x="68" y="44"/>
                    <a:pt x="72" y="45"/>
                  </a:cubicBezTo>
                  <a:close/>
                  <a:moveTo>
                    <a:pt x="16" y="14"/>
                  </a:moveTo>
                  <a:cubicBezTo>
                    <a:pt x="16" y="14"/>
                    <a:pt x="16" y="14"/>
                    <a:pt x="16" y="14"/>
                  </a:cubicBezTo>
                  <a:cubicBezTo>
                    <a:pt x="16" y="15"/>
                    <a:pt x="16" y="16"/>
                    <a:pt x="15" y="17"/>
                  </a:cubicBezTo>
                  <a:cubicBezTo>
                    <a:pt x="11" y="13"/>
                    <a:pt x="6" y="10"/>
                    <a:pt x="0" y="9"/>
                  </a:cubicBezTo>
                  <a:cubicBezTo>
                    <a:pt x="4" y="4"/>
                    <a:pt x="11" y="0"/>
                    <a:pt x="16" y="5"/>
                  </a:cubicBezTo>
                  <a:cubicBezTo>
                    <a:pt x="18" y="7"/>
                    <a:pt x="17" y="11"/>
                    <a:pt x="16" y="14"/>
                  </a:cubicBezTo>
                  <a:close/>
                  <a:moveTo>
                    <a:pt x="46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4" y="35"/>
                    <a:pt x="42" y="34"/>
                    <a:pt x="39" y="33"/>
                  </a:cubicBezTo>
                  <a:cubicBezTo>
                    <a:pt x="38" y="32"/>
                    <a:pt x="36" y="32"/>
                    <a:pt x="35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37" y="27"/>
                    <a:pt x="39" y="24"/>
                    <a:pt x="42" y="22"/>
                  </a:cubicBezTo>
                  <a:cubicBezTo>
                    <a:pt x="44" y="21"/>
                    <a:pt x="46" y="20"/>
                    <a:pt x="48" y="22"/>
                  </a:cubicBezTo>
                  <a:cubicBezTo>
                    <a:pt x="48" y="22"/>
                    <a:pt x="49" y="23"/>
                    <a:pt x="49" y="24"/>
                  </a:cubicBezTo>
                  <a:cubicBezTo>
                    <a:pt x="49" y="24"/>
                    <a:pt x="49" y="25"/>
                    <a:pt x="49" y="25"/>
                  </a:cubicBezTo>
                  <a:cubicBezTo>
                    <a:pt x="49" y="26"/>
                    <a:pt x="49" y="27"/>
                    <a:pt x="49" y="28"/>
                  </a:cubicBezTo>
                  <a:cubicBezTo>
                    <a:pt x="48" y="29"/>
                    <a:pt x="48" y="31"/>
                    <a:pt x="47" y="32"/>
                  </a:cubicBezTo>
                  <a:cubicBezTo>
                    <a:pt x="47" y="33"/>
                    <a:pt x="46" y="35"/>
                    <a:pt x="46" y="36"/>
                  </a:cubicBezTo>
                  <a:close/>
                </a:path>
              </a:pathLst>
            </a:custGeom>
            <a:solidFill>
              <a:srgbClr val="FFD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1" name="íś1iḑè">
              <a:extLst>
                <a:ext uri="{FF2B5EF4-FFF2-40B4-BE49-F238E27FC236}">
                  <a16:creationId xmlns:a16="http://schemas.microsoft.com/office/drawing/2014/main" id="{41E31AF3-69E9-4F7C-BB92-6BA70E26F310}"/>
                </a:ext>
              </a:extLst>
            </p:cNvPr>
            <p:cNvSpPr/>
            <p:nvPr/>
          </p:nvSpPr>
          <p:spPr bwMode="auto">
            <a:xfrm>
              <a:off x="7402896" y="3950996"/>
              <a:ext cx="8880" cy="35521"/>
            </a:xfrm>
            <a:custGeom>
              <a:avLst/>
              <a:gdLst>
                <a:gd name="T0" fmla="*/ 3 w 3"/>
                <a:gd name="T1" fmla="*/ 0 h 12"/>
                <a:gd name="T2" fmla="*/ 3 w 3"/>
                <a:gd name="T3" fmla="*/ 0 h 12"/>
                <a:gd name="T4" fmla="*/ 1 w 3"/>
                <a:gd name="T5" fmla="*/ 12 h 12"/>
                <a:gd name="T6" fmla="*/ 0 w 3"/>
                <a:gd name="T7" fmla="*/ 10 h 12"/>
                <a:gd name="T8" fmla="*/ 2 w 3"/>
                <a:gd name="T9" fmla="*/ 4 h 12"/>
                <a:gd name="T10" fmla="*/ 3 w 3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2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4"/>
                    <a:pt x="2" y="8"/>
                    <a:pt x="1" y="12"/>
                  </a:cubicBezTo>
                  <a:cubicBezTo>
                    <a:pt x="1" y="11"/>
                    <a:pt x="0" y="11"/>
                    <a:pt x="0" y="10"/>
                  </a:cubicBezTo>
                  <a:cubicBezTo>
                    <a:pt x="1" y="8"/>
                    <a:pt x="2" y="6"/>
                    <a:pt x="2" y="4"/>
                  </a:cubicBezTo>
                  <a:cubicBezTo>
                    <a:pt x="3" y="3"/>
                    <a:pt x="3" y="2"/>
                    <a:pt x="3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2" name="íṡḻîḑê">
              <a:extLst>
                <a:ext uri="{FF2B5EF4-FFF2-40B4-BE49-F238E27FC236}">
                  <a16:creationId xmlns:a16="http://schemas.microsoft.com/office/drawing/2014/main" id="{992A7078-9AA5-401C-B660-A2F6F75A5AC0}"/>
                </a:ext>
              </a:extLst>
            </p:cNvPr>
            <p:cNvSpPr/>
            <p:nvPr/>
          </p:nvSpPr>
          <p:spPr bwMode="auto">
            <a:xfrm>
              <a:off x="6097481" y="5096564"/>
              <a:ext cx="378896" cy="85844"/>
            </a:xfrm>
            <a:custGeom>
              <a:avLst/>
              <a:gdLst>
                <a:gd name="T0" fmla="*/ 105 w 123"/>
                <a:gd name="T1" fmla="*/ 27 h 28"/>
                <a:gd name="T2" fmla="*/ 105 w 123"/>
                <a:gd name="T3" fmla="*/ 27 h 28"/>
                <a:gd name="T4" fmla="*/ 73 w 123"/>
                <a:gd name="T5" fmla="*/ 25 h 28"/>
                <a:gd name="T6" fmla="*/ 41 w 123"/>
                <a:gd name="T7" fmla="*/ 21 h 28"/>
                <a:gd name="T8" fmla="*/ 26 w 123"/>
                <a:gd name="T9" fmla="*/ 17 h 28"/>
                <a:gd name="T10" fmla="*/ 11 w 123"/>
                <a:gd name="T11" fmla="*/ 13 h 28"/>
                <a:gd name="T12" fmla="*/ 0 w 123"/>
                <a:gd name="T13" fmla="*/ 8 h 28"/>
                <a:gd name="T14" fmla="*/ 1 w 123"/>
                <a:gd name="T15" fmla="*/ 0 h 28"/>
                <a:gd name="T16" fmla="*/ 16 w 123"/>
                <a:gd name="T17" fmla="*/ 8 h 28"/>
                <a:gd name="T18" fmla="*/ 40 w 123"/>
                <a:gd name="T19" fmla="*/ 14 h 28"/>
                <a:gd name="T20" fmla="*/ 69 w 123"/>
                <a:gd name="T21" fmla="*/ 20 h 28"/>
                <a:gd name="T22" fmla="*/ 100 w 123"/>
                <a:gd name="T23" fmla="*/ 23 h 28"/>
                <a:gd name="T24" fmla="*/ 109 w 123"/>
                <a:gd name="T25" fmla="*/ 23 h 28"/>
                <a:gd name="T26" fmla="*/ 113 w 123"/>
                <a:gd name="T27" fmla="*/ 24 h 28"/>
                <a:gd name="T28" fmla="*/ 117 w 123"/>
                <a:gd name="T29" fmla="*/ 24 h 28"/>
                <a:gd name="T30" fmla="*/ 121 w 123"/>
                <a:gd name="T31" fmla="*/ 27 h 28"/>
                <a:gd name="T32" fmla="*/ 123 w 123"/>
                <a:gd name="T33" fmla="*/ 28 h 28"/>
                <a:gd name="T34" fmla="*/ 105 w 123"/>
                <a:gd name="T3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28">
                  <a:moveTo>
                    <a:pt x="105" y="27"/>
                  </a:moveTo>
                  <a:cubicBezTo>
                    <a:pt x="105" y="27"/>
                    <a:pt x="105" y="27"/>
                    <a:pt x="105" y="27"/>
                  </a:cubicBezTo>
                  <a:cubicBezTo>
                    <a:pt x="94" y="27"/>
                    <a:pt x="84" y="26"/>
                    <a:pt x="73" y="25"/>
                  </a:cubicBezTo>
                  <a:cubicBezTo>
                    <a:pt x="62" y="24"/>
                    <a:pt x="52" y="23"/>
                    <a:pt x="41" y="21"/>
                  </a:cubicBezTo>
                  <a:cubicBezTo>
                    <a:pt x="36" y="20"/>
                    <a:pt x="31" y="19"/>
                    <a:pt x="26" y="17"/>
                  </a:cubicBezTo>
                  <a:cubicBezTo>
                    <a:pt x="21" y="16"/>
                    <a:pt x="16" y="15"/>
                    <a:pt x="11" y="13"/>
                  </a:cubicBezTo>
                  <a:cubicBezTo>
                    <a:pt x="8" y="11"/>
                    <a:pt x="4" y="9"/>
                    <a:pt x="0" y="8"/>
                  </a:cubicBezTo>
                  <a:cubicBezTo>
                    <a:pt x="1" y="6"/>
                    <a:pt x="1" y="3"/>
                    <a:pt x="1" y="0"/>
                  </a:cubicBezTo>
                  <a:cubicBezTo>
                    <a:pt x="6" y="4"/>
                    <a:pt x="10" y="6"/>
                    <a:pt x="16" y="8"/>
                  </a:cubicBezTo>
                  <a:cubicBezTo>
                    <a:pt x="24" y="11"/>
                    <a:pt x="32" y="13"/>
                    <a:pt x="40" y="14"/>
                  </a:cubicBezTo>
                  <a:cubicBezTo>
                    <a:pt x="50" y="17"/>
                    <a:pt x="59" y="19"/>
                    <a:pt x="69" y="20"/>
                  </a:cubicBezTo>
                  <a:cubicBezTo>
                    <a:pt x="79" y="21"/>
                    <a:pt x="89" y="22"/>
                    <a:pt x="100" y="23"/>
                  </a:cubicBezTo>
                  <a:cubicBezTo>
                    <a:pt x="103" y="24"/>
                    <a:pt x="106" y="24"/>
                    <a:pt x="109" y="23"/>
                  </a:cubicBezTo>
                  <a:cubicBezTo>
                    <a:pt x="110" y="24"/>
                    <a:pt x="111" y="24"/>
                    <a:pt x="113" y="24"/>
                  </a:cubicBezTo>
                  <a:cubicBezTo>
                    <a:pt x="114" y="24"/>
                    <a:pt x="116" y="24"/>
                    <a:pt x="117" y="24"/>
                  </a:cubicBezTo>
                  <a:cubicBezTo>
                    <a:pt x="119" y="25"/>
                    <a:pt x="120" y="26"/>
                    <a:pt x="121" y="27"/>
                  </a:cubicBezTo>
                  <a:cubicBezTo>
                    <a:pt x="122" y="28"/>
                    <a:pt x="122" y="28"/>
                    <a:pt x="123" y="28"/>
                  </a:cubicBezTo>
                  <a:cubicBezTo>
                    <a:pt x="117" y="28"/>
                    <a:pt x="111" y="28"/>
                    <a:pt x="105" y="27"/>
                  </a:cubicBezTo>
                  <a:close/>
                </a:path>
              </a:pathLst>
            </a:custGeom>
            <a:solidFill>
              <a:srgbClr val="FEEB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3" name="îSľïḓè">
              <a:extLst>
                <a:ext uri="{FF2B5EF4-FFF2-40B4-BE49-F238E27FC236}">
                  <a16:creationId xmlns:a16="http://schemas.microsoft.com/office/drawing/2014/main" id="{63DC2AA8-5D7C-47D7-AA30-FFE561EF5491}"/>
                </a:ext>
              </a:extLst>
            </p:cNvPr>
            <p:cNvSpPr/>
            <p:nvPr/>
          </p:nvSpPr>
          <p:spPr bwMode="auto">
            <a:xfrm>
              <a:off x="5341169" y="4528220"/>
              <a:ext cx="76963" cy="71043"/>
            </a:xfrm>
            <a:custGeom>
              <a:avLst/>
              <a:gdLst>
                <a:gd name="T0" fmla="*/ 4 w 25"/>
                <a:gd name="T1" fmla="*/ 1 h 23"/>
                <a:gd name="T2" fmla="*/ 4 w 25"/>
                <a:gd name="T3" fmla="*/ 1 h 23"/>
                <a:gd name="T4" fmla="*/ 10 w 25"/>
                <a:gd name="T5" fmla="*/ 1 h 23"/>
                <a:gd name="T6" fmla="*/ 18 w 25"/>
                <a:gd name="T7" fmla="*/ 2 h 23"/>
                <a:gd name="T8" fmla="*/ 23 w 25"/>
                <a:gd name="T9" fmla="*/ 7 h 23"/>
                <a:gd name="T10" fmla="*/ 24 w 25"/>
                <a:gd name="T11" fmla="*/ 13 h 23"/>
                <a:gd name="T12" fmla="*/ 18 w 25"/>
                <a:gd name="T13" fmla="*/ 21 h 23"/>
                <a:gd name="T14" fmla="*/ 11 w 25"/>
                <a:gd name="T15" fmla="*/ 23 h 23"/>
                <a:gd name="T16" fmla="*/ 6 w 25"/>
                <a:gd name="T17" fmla="*/ 20 h 23"/>
                <a:gd name="T18" fmla="*/ 2 w 25"/>
                <a:gd name="T19" fmla="*/ 15 h 23"/>
                <a:gd name="T20" fmla="*/ 4 w 25"/>
                <a:gd name="T21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3"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6" y="1"/>
                    <a:pt x="7" y="0"/>
                    <a:pt x="10" y="1"/>
                  </a:cubicBezTo>
                  <a:cubicBezTo>
                    <a:pt x="12" y="1"/>
                    <a:pt x="15" y="1"/>
                    <a:pt x="18" y="2"/>
                  </a:cubicBezTo>
                  <a:cubicBezTo>
                    <a:pt x="20" y="3"/>
                    <a:pt x="22" y="5"/>
                    <a:pt x="23" y="7"/>
                  </a:cubicBezTo>
                  <a:cubicBezTo>
                    <a:pt x="25" y="9"/>
                    <a:pt x="25" y="11"/>
                    <a:pt x="24" y="13"/>
                  </a:cubicBezTo>
                  <a:cubicBezTo>
                    <a:pt x="23" y="16"/>
                    <a:pt x="21" y="19"/>
                    <a:pt x="18" y="21"/>
                  </a:cubicBezTo>
                  <a:cubicBezTo>
                    <a:pt x="16" y="22"/>
                    <a:pt x="14" y="23"/>
                    <a:pt x="11" y="23"/>
                  </a:cubicBezTo>
                  <a:cubicBezTo>
                    <a:pt x="10" y="23"/>
                    <a:pt x="7" y="22"/>
                    <a:pt x="6" y="20"/>
                  </a:cubicBezTo>
                  <a:cubicBezTo>
                    <a:pt x="4" y="19"/>
                    <a:pt x="3" y="17"/>
                    <a:pt x="2" y="15"/>
                  </a:cubicBezTo>
                  <a:cubicBezTo>
                    <a:pt x="0" y="10"/>
                    <a:pt x="1" y="5"/>
                    <a:pt x="4" y="1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4" name="iṡliḍê">
              <a:extLst>
                <a:ext uri="{FF2B5EF4-FFF2-40B4-BE49-F238E27FC236}">
                  <a16:creationId xmlns:a16="http://schemas.microsoft.com/office/drawing/2014/main" id="{E41B0DBE-1541-483F-AE06-2824EC839A9B}"/>
                </a:ext>
              </a:extLst>
            </p:cNvPr>
            <p:cNvSpPr/>
            <p:nvPr/>
          </p:nvSpPr>
          <p:spPr bwMode="auto">
            <a:xfrm>
              <a:off x="5937634" y="4036840"/>
              <a:ext cx="510622" cy="291573"/>
            </a:xfrm>
            <a:custGeom>
              <a:avLst/>
              <a:gdLst>
                <a:gd name="T0" fmla="*/ 15 w 166"/>
                <a:gd name="T1" fmla="*/ 0 h 95"/>
                <a:gd name="T2" fmla="*/ 28 w 166"/>
                <a:gd name="T3" fmla="*/ 15 h 95"/>
                <a:gd name="T4" fmla="*/ 40 w 166"/>
                <a:gd name="T5" fmla="*/ 30 h 95"/>
                <a:gd name="T6" fmla="*/ 33 w 166"/>
                <a:gd name="T7" fmla="*/ 30 h 95"/>
                <a:gd name="T8" fmla="*/ 18 w 166"/>
                <a:gd name="T9" fmla="*/ 10 h 95"/>
                <a:gd name="T10" fmla="*/ 15 w 166"/>
                <a:gd name="T11" fmla="*/ 0 h 95"/>
                <a:gd name="T12" fmla="*/ 6 w 166"/>
                <a:gd name="T13" fmla="*/ 45 h 95"/>
                <a:gd name="T14" fmla="*/ 3 w 166"/>
                <a:gd name="T15" fmla="*/ 44 h 95"/>
                <a:gd name="T16" fmla="*/ 2 w 166"/>
                <a:gd name="T17" fmla="*/ 43 h 95"/>
                <a:gd name="T18" fmla="*/ 1 w 166"/>
                <a:gd name="T19" fmla="*/ 42 h 95"/>
                <a:gd name="T20" fmla="*/ 1 w 166"/>
                <a:gd name="T21" fmla="*/ 42 h 95"/>
                <a:gd name="T22" fmla="*/ 0 w 166"/>
                <a:gd name="T23" fmla="*/ 40 h 95"/>
                <a:gd name="T24" fmla="*/ 1 w 166"/>
                <a:gd name="T25" fmla="*/ 38 h 95"/>
                <a:gd name="T26" fmla="*/ 1 w 166"/>
                <a:gd name="T27" fmla="*/ 37 h 95"/>
                <a:gd name="T28" fmla="*/ 2 w 166"/>
                <a:gd name="T29" fmla="*/ 36 h 95"/>
                <a:gd name="T30" fmla="*/ 4 w 166"/>
                <a:gd name="T31" fmla="*/ 35 h 95"/>
                <a:gd name="T32" fmla="*/ 15 w 166"/>
                <a:gd name="T33" fmla="*/ 34 h 95"/>
                <a:gd name="T34" fmla="*/ 20 w 166"/>
                <a:gd name="T35" fmla="*/ 33 h 95"/>
                <a:gd name="T36" fmla="*/ 33 w 166"/>
                <a:gd name="T37" fmla="*/ 36 h 95"/>
                <a:gd name="T38" fmla="*/ 76 w 166"/>
                <a:gd name="T39" fmla="*/ 38 h 95"/>
                <a:gd name="T40" fmla="*/ 158 w 166"/>
                <a:gd name="T41" fmla="*/ 42 h 95"/>
                <a:gd name="T42" fmla="*/ 164 w 166"/>
                <a:gd name="T43" fmla="*/ 43 h 95"/>
                <a:gd name="T44" fmla="*/ 158 w 166"/>
                <a:gd name="T45" fmla="*/ 44 h 95"/>
                <a:gd name="T46" fmla="*/ 109 w 166"/>
                <a:gd name="T47" fmla="*/ 42 h 95"/>
                <a:gd name="T48" fmla="*/ 46 w 166"/>
                <a:gd name="T49" fmla="*/ 40 h 95"/>
                <a:gd name="T50" fmla="*/ 29 w 166"/>
                <a:gd name="T51" fmla="*/ 44 h 95"/>
                <a:gd name="T52" fmla="*/ 12 w 166"/>
                <a:gd name="T53" fmla="*/ 46 h 95"/>
                <a:gd name="T54" fmla="*/ 10 w 166"/>
                <a:gd name="T55" fmla="*/ 46 h 95"/>
                <a:gd name="T56" fmla="*/ 6 w 166"/>
                <a:gd name="T57" fmla="*/ 45 h 95"/>
                <a:gd name="T58" fmla="*/ 49 w 166"/>
                <a:gd name="T59" fmla="*/ 47 h 95"/>
                <a:gd name="T60" fmla="*/ 59 w 166"/>
                <a:gd name="T61" fmla="*/ 57 h 95"/>
                <a:gd name="T62" fmla="*/ 84 w 166"/>
                <a:gd name="T63" fmla="*/ 78 h 95"/>
                <a:gd name="T64" fmla="*/ 92 w 166"/>
                <a:gd name="T65" fmla="*/ 84 h 95"/>
                <a:gd name="T66" fmla="*/ 93 w 166"/>
                <a:gd name="T67" fmla="*/ 86 h 95"/>
                <a:gd name="T68" fmla="*/ 94 w 166"/>
                <a:gd name="T69" fmla="*/ 87 h 95"/>
                <a:gd name="T70" fmla="*/ 95 w 166"/>
                <a:gd name="T71" fmla="*/ 89 h 95"/>
                <a:gd name="T72" fmla="*/ 95 w 166"/>
                <a:gd name="T73" fmla="*/ 91 h 95"/>
                <a:gd name="T74" fmla="*/ 95 w 166"/>
                <a:gd name="T75" fmla="*/ 92 h 95"/>
                <a:gd name="T76" fmla="*/ 95 w 166"/>
                <a:gd name="T77" fmla="*/ 93 h 95"/>
                <a:gd name="T78" fmla="*/ 95 w 166"/>
                <a:gd name="T79" fmla="*/ 94 h 95"/>
                <a:gd name="T80" fmla="*/ 94 w 166"/>
                <a:gd name="T81" fmla="*/ 94 h 95"/>
                <a:gd name="T82" fmla="*/ 92 w 166"/>
                <a:gd name="T83" fmla="*/ 95 h 95"/>
                <a:gd name="T84" fmla="*/ 91 w 166"/>
                <a:gd name="T85" fmla="*/ 95 h 95"/>
                <a:gd name="T86" fmla="*/ 88 w 166"/>
                <a:gd name="T87" fmla="*/ 95 h 95"/>
                <a:gd name="T88" fmla="*/ 84 w 166"/>
                <a:gd name="T89" fmla="*/ 95 h 95"/>
                <a:gd name="T90" fmla="*/ 79 w 166"/>
                <a:gd name="T91" fmla="*/ 93 h 95"/>
                <a:gd name="T92" fmla="*/ 78 w 166"/>
                <a:gd name="T93" fmla="*/ 93 h 95"/>
                <a:gd name="T94" fmla="*/ 58 w 166"/>
                <a:gd name="T95" fmla="*/ 63 h 95"/>
                <a:gd name="T96" fmla="*/ 47 w 166"/>
                <a:gd name="T97" fmla="*/ 48 h 95"/>
                <a:gd name="T98" fmla="*/ 49 w 166"/>
                <a:gd name="T99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95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7" y="2"/>
                    <a:pt x="18" y="3"/>
                    <a:pt x="19" y="4"/>
                  </a:cubicBezTo>
                  <a:cubicBezTo>
                    <a:pt x="22" y="8"/>
                    <a:pt x="25" y="11"/>
                    <a:pt x="28" y="15"/>
                  </a:cubicBezTo>
                  <a:cubicBezTo>
                    <a:pt x="30" y="18"/>
                    <a:pt x="33" y="22"/>
                    <a:pt x="35" y="25"/>
                  </a:cubicBezTo>
                  <a:cubicBezTo>
                    <a:pt x="37" y="27"/>
                    <a:pt x="38" y="28"/>
                    <a:pt x="40" y="30"/>
                  </a:cubicBezTo>
                  <a:cubicBezTo>
                    <a:pt x="40" y="30"/>
                    <a:pt x="40" y="31"/>
                    <a:pt x="40" y="31"/>
                  </a:cubicBezTo>
                  <a:cubicBezTo>
                    <a:pt x="38" y="31"/>
                    <a:pt x="35" y="31"/>
                    <a:pt x="33" y="30"/>
                  </a:cubicBezTo>
                  <a:cubicBezTo>
                    <a:pt x="31" y="27"/>
                    <a:pt x="29" y="24"/>
                    <a:pt x="26" y="21"/>
                  </a:cubicBezTo>
                  <a:cubicBezTo>
                    <a:pt x="24" y="18"/>
                    <a:pt x="21" y="14"/>
                    <a:pt x="18" y="10"/>
                  </a:cubicBezTo>
                  <a:cubicBezTo>
                    <a:pt x="15" y="8"/>
                    <a:pt x="13" y="5"/>
                    <a:pt x="11" y="2"/>
                  </a:cubicBezTo>
                  <a:cubicBezTo>
                    <a:pt x="12" y="1"/>
                    <a:pt x="14" y="1"/>
                    <a:pt x="15" y="0"/>
                  </a:cubicBezTo>
                  <a:close/>
                  <a:moveTo>
                    <a:pt x="6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5" y="45"/>
                    <a:pt x="5" y="45"/>
                  </a:cubicBezTo>
                  <a:cubicBezTo>
                    <a:pt x="4" y="44"/>
                    <a:pt x="4" y="44"/>
                    <a:pt x="3" y="44"/>
                  </a:cubicBezTo>
                  <a:cubicBezTo>
                    <a:pt x="3" y="43"/>
                    <a:pt x="3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0" y="41"/>
                    <a:pt x="0" y="4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39"/>
                    <a:pt x="0" y="39"/>
                  </a:cubicBezTo>
                  <a:cubicBezTo>
                    <a:pt x="0" y="39"/>
                    <a:pt x="0" y="39"/>
                    <a:pt x="1" y="38"/>
                  </a:cubicBezTo>
                  <a:cubicBezTo>
                    <a:pt x="0" y="39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2" y="37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3" y="36"/>
                  </a:cubicBezTo>
                  <a:cubicBezTo>
                    <a:pt x="3" y="36"/>
                    <a:pt x="3" y="36"/>
                    <a:pt x="4" y="35"/>
                  </a:cubicBezTo>
                  <a:cubicBezTo>
                    <a:pt x="5" y="34"/>
                    <a:pt x="8" y="34"/>
                    <a:pt x="11" y="34"/>
                  </a:cubicBezTo>
                  <a:cubicBezTo>
                    <a:pt x="12" y="34"/>
                    <a:pt x="13" y="34"/>
                    <a:pt x="15" y="34"/>
                  </a:cubicBezTo>
                  <a:cubicBezTo>
                    <a:pt x="16" y="34"/>
                    <a:pt x="18" y="33"/>
                    <a:pt x="19" y="34"/>
                  </a:cubicBezTo>
                  <a:cubicBezTo>
                    <a:pt x="20" y="34"/>
                    <a:pt x="20" y="33"/>
                    <a:pt x="20" y="33"/>
                  </a:cubicBezTo>
                  <a:cubicBezTo>
                    <a:pt x="24" y="34"/>
                    <a:pt x="28" y="35"/>
                    <a:pt x="32" y="35"/>
                  </a:cubicBezTo>
                  <a:cubicBezTo>
                    <a:pt x="32" y="36"/>
                    <a:pt x="33" y="36"/>
                    <a:pt x="33" y="36"/>
                  </a:cubicBezTo>
                  <a:cubicBezTo>
                    <a:pt x="37" y="36"/>
                    <a:pt x="41" y="36"/>
                    <a:pt x="45" y="37"/>
                  </a:cubicBezTo>
                  <a:cubicBezTo>
                    <a:pt x="56" y="37"/>
                    <a:pt x="66" y="38"/>
                    <a:pt x="76" y="38"/>
                  </a:cubicBezTo>
                  <a:cubicBezTo>
                    <a:pt x="97" y="38"/>
                    <a:pt x="119" y="39"/>
                    <a:pt x="140" y="40"/>
                  </a:cubicBezTo>
                  <a:cubicBezTo>
                    <a:pt x="146" y="41"/>
                    <a:pt x="152" y="41"/>
                    <a:pt x="158" y="42"/>
                  </a:cubicBezTo>
                  <a:cubicBezTo>
                    <a:pt x="159" y="42"/>
                    <a:pt x="160" y="42"/>
                    <a:pt x="161" y="42"/>
                  </a:cubicBezTo>
                  <a:cubicBezTo>
                    <a:pt x="162" y="42"/>
                    <a:pt x="163" y="43"/>
                    <a:pt x="164" y="43"/>
                  </a:cubicBezTo>
                  <a:cubicBezTo>
                    <a:pt x="165" y="43"/>
                    <a:pt x="166" y="44"/>
                    <a:pt x="166" y="44"/>
                  </a:cubicBezTo>
                  <a:cubicBezTo>
                    <a:pt x="163" y="44"/>
                    <a:pt x="160" y="44"/>
                    <a:pt x="158" y="44"/>
                  </a:cubicBezTo>
                  <a:cubicBezTo>
                    <a:pt x="153" y="44"/>
                    <a:pt x="147" y="43"/>
                    <a:pt x="142" y="43"/>
                  </a:cubicBezTo>
                  <a:cubicBezTo>
                    <a:pt x="131" y="43"/>
                    <a:pt x="120" y="42"/>
                    <a:pt x="109" y="42"/>
                  </a:cubicBezTo>
                  <a:cubicBezTo>
                    <a:pt x="99" y="41"/>
                    <a:pt x="88" y="41"/>
                    <a:pt x="78" y="40"/>
                  </a:cubicBezTo>
                  <a:cubicBezTo>
                    <a:pt x="67" y="40"/>
                    <a:pt x="57" y="39"/>
                    <a:pt x="46" y="40"/>
                  </a:cubicBezTo>
                  <a:cubicBezTo>
                    <a:pt x="41" y="40"/>
                    <a:pt x="37" y="41"/>
                    <a:pt x="32" y="43"/>
                  </a:cubicBezTo>
                  <a:cubicBezTo>
                    <a:pt x="31" y="43"/>
                    <a:pt x="30" y="44"/>
                    <a:pt x="29" y="44"/>
                  </a:cubicBezTo>
                  <a:cubicBezTo>
                    <a:pt x="26" y="44"/>
                    <a:pt x="23" y="45"/>
                    <a:pt x="20" y="46"/>
                  </a:cubicBezTo>
                  <a:cubicBezTo>
                    <a:pt x="17" y="46"/>
                    <a:pt x="14" y="47"/>
                    <a:pt x="12" y="46"/>
                  </a:cubicBezTo>
                  <a:cubicBezTo>
                    <a:pt x="11" y="46"/>
                    <a:pt x="10" y="46"/>
                    <a:pt x="10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8" y="46"/>
                    <a:pt x="7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lose/>
                  <a:moveTo>
                    <a:pt x="49" y="47"/>
                  </a:moveTo>
                  <a:cubicBezTo>
                    <a:pt x="49" y="47"/>
                    <a:pt x="49" y="47"/>
                    <a:pt x="49" y="47"/>
                  </a:cubicBezTo>
                  <a:cubicBezTo>
                    <a:pt x="49" y="47"/>
                    <a:pt x="49" y="47"/>
                    <a:pt x="50" y="47"/>
                  </a:cubicBezTo>
                  <a:cubicBezTo>
                    <a:pt x="52" y="51"/>
                    <a:pt x="56" y="54"/>
                    <a:pt x="59" y="57"/>
                  </a:cubicBezTo>
                  <a:cubicBezTo>
                    <a:pt x="62" y="60"/>
                    <a:pt x="65" y="64"/>
                    <a:pt x="69" y="67"/>
                  </a:cubicBezTo>
                  <a:cubicBezTo>
                    <a:pt x="74" y="72"/>
                    <a:pt x="80" y="75"/>
                    <a:pt x="84" y="78"/>
                  </a:cubicBezTo>
                  <a:cubicBezTo>
                    <a:pt x="86" y="79"/>
                    <a:pt x="87" y="80"/>
                    <a:pt x="88" y="81"/>
                  </a:cubicBezTo>
                  <a:cubicBezTo>
                    <a:pt x="89" y="82"/>
                    <a:pt x="90" y="83"/>
                    <a:pt x="92" y="84"/>
                  </a:cubicBezTo>
                  <a:cubicBezTo>
                    <a:pt x="92" y="85"/>
                    <a:pt x="93" y="86"/>
                    <a:pt x="93" y="86"/>
                  </a:cubicBezTo>
                  <a:cubicBezTo>
                    <a:pt x="93" y="86"/>
                    <a:pt x="93" y="86"/>
                    <a:pt x="93" y="86"/>
                  </a:cubicBezTo>
                  <a:cubicBezTo>
                    <a:pt x="93" y="86"/>
                    <a:pt x="93" y="86"/>
                    <a:pt x="93" y="86"/>
                  </a:cubicBezTo>
                  <a:cubicBezTo>
                    <a:pt x="94" y="87"/>
                    <a:pt x="94" y="87"/>
                    <a:pt x="94" y="87"/>
                  </a:cubicBezTo>
                  <a:cubicBezTo>
                    <a:pt x="94" y="88"/>
                    <a:pt x="94" y="88"/>
                    <a:pt x="95" y="89"/>
                  </a:cubicBezTo>
                  <a:cubicBezTo>
                    <a:pt x="95" y="89"/>
                    <a:pt x="95" y="89"/>
                    <a:pt x="95" y="89"/>
                  </a:cubicBezTo>
                  <a:cubicBezTo>
                    <a:pt x="95" y="90"/>
                    <a:pt x="95" y="90"/>
                    <a:pt x="95" y="91"/>
                  </a:cubicBezTo>
                  <a:cubicBezTo>
                    <a:pt x="95" y="91"/>
                    <a:pt x="95" y="91"/>
                    <a:pt x="95" y="91"/>
                  </a:cubicBezTo>
                  <a:cubicBezTo>
                    <a:pt x="95" y="91"/>
                    <a:pt x="95" y="91"/>
                    <a:pt x="95" y="91"/>
                  </a:cubicBezTo>
                  <a:cubicBezTo>
                    <a:pt x="95" y="91"/>
                    <a:pt x="95" y="91"/>
                    <a:pt x="95" y="92"/>
                  </a:cubicBezTo>
                  <a:cubicBezTo>
                    <a:pt x="95" y="92"/>
                    <a:pt x="95" y="92"/>
                    <a:pt x="95" y="92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4" y="94"/>
                    <a:pt x="94" y="94"/>
                    <a:pt x="94" y="94"/>
                  </a:cubicBezTo>
                  <a:cubicBezTo>
                    <a:pt x="94" y="95"/>
                    <a:pt x="94" y="95"/>
                    <a:pt x="93" y="95"/>
                  </a:cubicBezTo>
                  <a:cubicBezTo>
                    <a:pt x="94" y="95"/>
                    <a:pt x="92" y="95"/>
                    <a:pt x="92" y="95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91" y="95"/>
                    <a:pt x="91" y="95"/>
                    <a:pt x="91" y="95"/>
                  </a:cubicBezTo>
                  <a:cubicBezTo>
                    <a:pt x="90" y="95"/>
                    <a:pt x="90" y="95"/>
                    <a:pt x="89" y="9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7" y="95"/>
                    <a:pt x="86" y="95"/>
                    <a:pt x="86" y="95"/>
                  </a:cubicBezTo>
                  <a:cubicBezTo>
                    <a:pt x="85" y="95"/>
                    <a:pt x="84" y="95"/>
                    <a:pt x="84" y="95"/>
                  </a:cubicBezTo>
                  <a:cubicBezTo>
                    <a:pt x="83" y="94"/>
                    <a:pt x="82" y="94"/>
                    <a:pt x="81" y="94"/>
                  </a:cubicBezTo>
                  <a:cubicBezTo>
                    <a:pt x="80" y="93"/>
                    <a:pt x="80" y="93"/>
                    <a:pt x="79" y="93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79" y="93"/>
                    <a:pt x="79" y="93"/>
                    <a:pt x="78" y="93"/>
                  </a:cubicBezTo>
                  <a:cubicBezTo>
                    <a:pt x="73" y="90"/>
                    <a:pt x="70" y="86"/>
                    <a:pt x="68" y="81"/>
                  </a:cubicBezTo>
                  <a:cubicBezTo>
                    <a:pt x="64" y="75"/>
                    <a:pt x="61" y="69"/>
                    <a:pt x="58" y="63"/>
                  </a:cubicBezTo>
                  <a:cubicBezTo>
                    <a:pt x="55" y="60"/>
                    <a:pt x="53" y="57"/>
                    <a:pt x="50" y="53"/>
                  </a:cubicBezTo>
                  <a:cubicBezTo>
                    <a:pt x="49" y="52"/>
                    <a:pt x="48" y="50"/>
                    <a:pt x="47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7" y="48"/>
                    <a:pt x="48" y="47"/>
                    <a:pt x="49" y="47"/>
                  </a:cubicBezTo>
                  <a:close/>
                </a:path>
              </a:pathLst>
            </a:custGeom>
            <a:solidFill>
              <a:srgbClr val="DBA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5" name="î$ľîḓé">
              <a:extLst>
                <a:ext uri="{FF2B5EF4-FFF2-40B4-BE49-F238E27FC236}">
                  <a16:creationId xmlns:a16="http://schemas.microsoft.com/office/drawing/2014/main" id="{6563E8C7-E577-4776-BDD0-6EB67DCF311A}"/>
                </a:ext>
              </a:extLst>
            </p:cNvPr>
            <p:cNvSpPr/>
            <p:nvPr/>
          </p:nvSpPr>
          <p:spPr bwMode="auto">
            <a:xfrm>
              <a:off x="6042718" y="3897714"/>
              <a:ext cx="793313" cy="293052"/>
            </a:xfrm>
            <a:custGeom>
              <a:avLst/>
              <a:gdLst>
                <a:gd name="T0" fmla="*/ 10 w 258"/>
                <a:gd name="T1" fmla="*/ 34 h 95"/>
                <a:gd name="T2" fmla="*/ 10 w 258"/>
                <a:gd name="T3" fmla="*/ 34 h 95"/>
                <a:gd name="T4" fmla="*/ 12 w 258"/>
                <a:gd name="T5" fmla="*/ 41 h 95"/>
                <a:gd name="T6" fmla="*/ 5 w 258"/>
                <a:gd name="T7" fmla="*/ 39 h 95"/>
                <a:gd name="T8" fmla="*/ 0 w 258"/>
                <a:gd name="T9" fmla="*/ 38 h 95"/>
                <a:gd name="T10" fmla="*/ 10 w 258"/>
                <a:gd name="T11" fmla="*/ 34 h 95"/>
                <a:gd name="T12" fmla="*/ 241 w 258"/>
                <a:gd name="T13" fmla="*/ 92 h 95"/>
                <a:gd name="T14" fmla="*/ 241 w 258"/>
                <a:gd name="T15" fmla="*/ 92 h 95"/>
                <a:gd name="T16" fmla="*/ 241 w 258"/>
                <a:gd name="T17" fmla="*/ 92 h 95"/>
                <a:gd name="T18" fmla="*/ 240 w 258"/>
                <a:gd name="T19" fmla="*/ 88 h 95"/>
                <a:gd name="T20" fmla="*/ 237 w 258"/>
                <a:gd name="T21" fmla="*/ 79 h 95"/>
                <a:gd name="T22" fmla="*/ 231 w 258"/>
                <a:gd name="T23" fmla="*/ 58 h 95"/>
                <a:gd name="T24" fmla="*/ 229 w 258"/>
                <a:gd name="T25" fmla="*/ 38 h 95"/>
                <a:gd name="T26" fmla="*/ 232 w 258"/>
                <a:gd name="T27" fmla="*/ 24 h 95"/>
                <a:gd name="T28" fmla="*/ 249 w 258"/>
                <a:gd name="T29" fmla="*/ 27 h 95"/>
                <a:gd name="T30" fmla="*/ 251 w 258"/>
                <a:gd name="T31" fmla="*/ 49 h 95"/>
                <a:gd name="T32" fmla="*/ 255 w 258"/>
                <a:gd name="T33" fmla="*/ 62 h 95"/>
                <a:gd name="T34" fmla="*/ 258 w 258"/>
                <a:gd name="T35" fmla="*/ 68 h 95"/>
                <a:gd name="T36" fmla="*/ 257 w 258"/>
                <a:gd name="T37" fmla="*/ 71 h 95"/>
                <a:gd name="T38" fmla="*/ 256 w 258"/>
                <a:gd name="T39" fmla="*/ 95 h 95"/>
                <a:gd name="T40" fmla="*/ 241 w 258"/>
                <a:gd name="T41" fmla="*/ 92 h 95"/>
                <a:gd name="T42" fmla="*/ 143 w 258"/>
                <a:gd name="T43" fmla="*/ 66 h 95"/>
                <a:gd name="T44" fmla="*/ 141 w 258"/>
                <a:gd name="T45" fmla="*/ 59 h 95"/>
                <a:gd name="T46" fmla="*/ 139 w 258"/>
                <a:gd name="T47" fmla="*/ 50 h 95"/>
                <a:gd name="T48" fmla="*/ 134 w 258"/>
                <a:gd name="T49" fmla="*/ 31 h 95"/>
                <a:gd name="T50" fmla="*/ 133 w 258"/>
                <a:gd name="T51" fmla="*/ 0 h 95"/>
                <a:gd name="T52" fmla="*/ 139 w 258"/>
                <a:gd name="T53" fmla="*/ 2 h 95"/>
                <a:gd name="T54" fmla="*/ 163 w 258"/>
                <a:gd name="T55" fmla="*/ 8 h 95"/>
                <a:gd name="T56" fmla="*/ 160 w 258"/>
                <a:gd name="T57" fmla="*/ 23 h 95"/>
                <a:gd name="T58" fmla="*/ 162 w 258"/>
                <a:gd name="T59" fmla="*/ 45 h 95"/>
                <a:gd name="T60" fmla="*/ 167 w 258"/>
                <a:gd name="T61" fmla="*/ 67 h 95"/>
                <a:gd name="T62" fmla="*/ 170 w 258"/>
                <a:gd name="T63" fmla="*/ 75 h 95"/>
                <a:gd name="T64" fmla="*/ 166 w 258"/>
                <a:gd name="T65" fmla="*/ 75 h 95"/>
                <a:gd name="T66" fmla="*/ 145 w 258"/>
                <a:gd name="T67" fmla="*/ 70 h 95"/>
                <a:gd name="T68" fmla="*/ 143 w 258"/>
                <a:gd name="T69" fmla="*/ 66 h 95"/>
                <a:gd name="T70" fmla="*/ 72 w 258"/>
                <a:gd name="T71" fmla="*/ 27 h 95"/>
                <a:gd name="T72" fmla="*/ 72 w 258"/>
                <a:gd name="T73" fmla="*/ 27 h 95"/>
                <a:gd name="T74" fmla="*/ 75 w 258"/>
                <a:gd name="T75" fmla="*/ 45 h 95"/>
                <a:gd name="T76" fmla="*/ 78 w 258"/>
                <a:gd name="T77" fmla="*/ 57 h 95"/>
                <a:gd name="T78" fmla="*/ 69 w 258"/>
                <a:gd name="T79" fmla="*/ 55 h 95"/>
                <a:gd name="T80" fmla="*/ 54 w 258"/>
                <a:gd name="T81" fmla="*/ 50 h 95"/>
                <a:gd name="T82" fmla="*/ 52 w 258"/>
                <a:gd name="T83" fmla="*/ 45 h 95"/>
                <a:gd name="T84" fmla="*/ 49 w 258"/>
                <a:gd name="T85" fmla="*/ 35 h 95"/>
                <a:gd name="T86" fmla="*/ 46 w 258"/>
                <a:gd name="T87" fmla="*/ 25 h 95"/>
                <a:gd name="T88" fmla="*/ 46 w 258"/>
                <a:gd name="T89" fmla="*/ 21 h 95"/>
                <a:gd name="T90" fmla="*/ 68 w 258"/>
                <a:gd name="T91" fmla="*/ 13 h 95"/>
                <a:gd name="T92" fmla="*/ 70 w 258"/>
                <a:gd name="T93" fmla="*/ 12 h 95"/>
                <a:gd name="T94" fmla="*/ 72 w 258"/>
                <a:gd name="T95" fmla="*/ 2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8" h="95">
                  <a:moveTo>
                    <a:pt x="10" y="34"/>
                  </a:moveTo>
                  <a:cubicBezTo>
                    <a:pt x="10" y="34"/>
                    <a:pt x="10" y="34"/>
                    <a:pt x="10" y="34"/>
                  </a:cubicBezTo>
                  <a:cubicBezTo>
                    <a:pt x="10" y="36"/>
                    <a:pt x="11" y="39"/>
                    <a:pt x="12" y="41"/>
                  </a:cubicBezTo>
                  <a:cubicBezTo>
                    <a:pt x="10" y="40"/>
                    <a:pt x="7" y="40"/>
                    <a:pt x="5" y="39"/>
                  </a:cubicBezTo>
                  <a:cubicBezTo>
                    <a:pt x="4" y="39"/>
                    <a:pt x="2" y="38"/>
                    <a:pt x="0" y="38"/>
                  </a:cubicBezTo>
                  <a:cubicBezTo>
                    <a:pt x="3" y="36"/>
                    <a:pt x="7" y="35"/>
                    <a:pt x="10" y="34"/>
                  </a:cubicBezTo>
                  <a:close/>
                  <a:moveTo>
                    <a:pt x="241" y="92"/>
                  </a:moveTo>
                  <a:cubicBezTo>
                    <a:pt x="241" y="92"/>
                    <a:pt x="241" y="92"/>
                    <a:pt x="241" y="92"/>
                  </a:cubicBezTo>
                  <a:cubicBezTo>
                    <a:pt x="241" y="92"/>
                    <a:pt x="241" y="92"/>
                    <a:pt x="241" y="92"/>
                  </a:cubicBezTo>
                  <a:cubicBezTo>
                    <a:pt x="241" y="90"/>
                    <a:pt x="241" y="89"/>
                    <a:pt x="240" y="88"/>
                  </a:cubicBezTo>
                  <a:cubicBezTo>
                    <a:pt x="239" y="85"/>
                    <a:pt x="238" y="82"/>
                    <a:pt x="237" y="79"/>
                  </a:cubicBezTo>
                  <a:cubicBezTo>
                    <a:pt x="235" y="72"/>
                    <a:pt x="233" y="65"/>
                    <a:pt x="231" y="58"/>
                  </a:cubicBezTo>
                  <a:cubicBezTo>
                    <a:pt x="230" y="52"/>
                    <a:pt x="229" y="44"/>
                    <a:pt x="229" y="38"/>
                  </a:cubicBezTo>
                  <a:cubicBezTo>
                    <a:pt x="230" y="33"/>
                    <a:pt x="230" y="28"/>
                    <a:pt x="232" y="24"/>
                  </a:cubicBezTo>
                  <a:cubicBezTo>
                    <a:pt x="238" y="25"/>
                    <a:pt x="244" y="26"/>
                    <a:pt x="249" y="27"/>
                  </a:cubicBezTo>
                  <a:cubicBezTo>
                    <a:pt x="247" y="34"/>
                    <a:pt x="249" y="41"/>
                    <a:pt x="251" y="49"/>
                  </a:cubicBezTo>
                  <a:cubicBezTo>
                    <a:pt x="252" y="53"/>
                    <a:pt x="254" y="58"/>
                    <a:pt x="255" y="62"/>
                  </a:cubicBezTo>
                  <a:cubicBezTo>
                    <a:pt x="256" y="64"/>
                    <a:pt x="257" y="66"/>
                    <a:pt x="258" y="68"/>
                  </a:cubicBezTo>
                  <a:cubicBezTo>
                    <a:pt x="257" y="69"/>
                    <a:pt x="257" y="70"/>
                    <a:pt x="257" y="71"/>
                  </a:cubicBezTo>
                  <a:cubicBezTo>
                    <a:pt x="256" y="79"/>
                    <a:pt x="255" y="87"/>
                    <a:pt x="256" y="95"/>
                  </a:cubicBezTo>
                  <a:cubicBezTo>
                    <a:pt x="251" y="94"/>
                    <a:pt x="247" y="93"/>
                    <a:pt x="241" y="92"/>
                  </a:cubicBezTo>
                  <a:close/>
                  <a:moveTo>
                    <a:pt x="143" y="66"/>
                  </a:moveTo>
                  <a:cubicBezTo>
                    <a:pt x="143" y="63"/>
                    <a:pt x="142" y="61"/>
                    <a:pt x="141" y="59"/>
                  </a:cubicBezTo>
                  <a:cubicBezTo>
                    <a:pt x="141" y="56"/>
                    <a:pt x="140" y="53"/>
                    <a:pt x="139" y="50"/>
                  </a:cubicBezTo>
                  <a:cubicBezTo>
                    <a:pt x="137" y="44"/>
                    <a:pt x="135" y="37"/>
                    <a:pt x="134" y="31"/>
                  </a:cubicBezTo>
                  <a:cubicBezTo>
                    <a:pt x="132" y="21"/>
                    <a:pt x="130" y="9"/>
                    <a:pt x="133" y="0"/>
                  </a:cubicBezTo>
                  <a:cubicBezTo>
                    <a:pt x="135" y="0"/>
                    <a:pt x="137" y="1"/>
                    <a:pt x="139" y="2"/>
                  </a:cubicBezTo>
                  <a:cubicBezTo>
                    <a:pt x="147" y="4"/>
                    <a:pt x="154" y="6"/>
                    <a:pt x="163" y="8"/>
                  </a:cubicBezTo>
                  <a:cubicBezTo>
                    <a:pt x="161" y="13"/>
                    <a:pt x="160" y="18"/>
                    <a:pt x="160" y="23"/>
                  </a:cubicBezTo>
                  <a:cubicBezTo>
                    <a:pt x="160" y="30"/>
                    <a:pt x="161" y="38"/>
                    <a:pt x="162" y="45"/>
                  </a:cubicBezTo>
                  <a:cubicBezTo>
                    <a:pt x="163" y="53"/>
                    <a:pt x="165" y="60"/>
                    <a:pt x="167" y="67"/>
                  </a:cubicBezTo>
                  <a:cubicBezTo>
                    <a:pt x="168" y="70"/>
                    <a:pt x="169" y="73"/>
                    <a:pt x="170" y="75"/>
                  </a:cubicBezTo>
                  <a:cubicBezTo>
                    <a:pt x="169" y="75"/>
                    <a:pt x="167" y="75"/>
                    <a:pt x="166" y="75"/>
                  </a:cubicBezTo>
                  <a:cubicBezTo>
                    <a:pt x="159" y="73"/>
                    <a:pt x="152" y="72"/>
                    <a:pt x="145" y="70"/>
                  </a:cubicBezTo>
                  <a:cubicBezTo>
                    <a:pt x="144" y="69"/>
                    <a:pt x="144" y="67"/>
                    <a:pt x="143" y="66"/>
                  </a:cubicBezTo>
                  <a:close/>
                  <a:moveTo>
                    <a:pt x="72" y="27"/>
                  </a:moveTo>
                  <a:cubicBezTo>
                    <a:pt x="72" y="27"/>
                    <a:pt x="72" y="27"/>
                    <a:pt x="72" y="27"/>
                  </a:cubicBezTo>
                  <a:cubicBezTo>
                    <a:pt x="73" y="33"/>
                    <a:pt x="74" y="39"/>
                    <a:pt x="75" y="45"/>
                  </a:cubicBezTo>
                  <a:cubicBezTo>
                    <a:pt x="76" y="49"/>
                    <a:pt x="77" y="53"/>
                    <a:pt x="78" y="57"/>
                  </a:cubicBezTo>
                  <a:cubicBezTo>
                    <a:pt x="75" y="56"/>
                    <a:pt x="72" y="56"/>
                    <a:pt x="69" y="55"/>
                  </a:cubicBezTo>
                  <a:cubicBezTo>
                    <a:pt x="64" y="53"/>
                    <a:pt x="59" y="52"/>
                    <a:pt x="54" y="50"/>
                  </a:cubicBezTo>
                  <a:cubicBezTo>
                    <a:pt x="53" y="49"/>
                    <a:pt x="53" y="47"/>
                    <a:pt x="52" y="45"/>
                  </a:cubicBezTo>
                  <a:cubicBezTo>
                    <a:pt x="51" y="42"/>
                    <a:pt x="50" y="39"/>
                    <a:pt x="49" y="35"/>
                  </a:cubicBezTo>
                  <a:cubicBezTo>
                    <a:pt x="48" y="32"/>
                    <a:pt x="47" y="29"/>
                    <a:pt x="46" y="25"/>
                  </a:cubicBezTo>
                  <a:cubicBezTo>
                    <a:pt x="46" y="24"/>
                    <a:pt x="46" y="22"/>
                    <a:pt x="46" y="21"/>
                  </a:cubicBezTo>
                  <a:cubicBezTo>
                    <a:pt x="53" y="18"/>
                    <a:pt x="61" y="15"/>
                    <a:pt x="68" y="13"/>
                  </a:cubicBezTo>
                  <a:cubicBezTo>
                    <a:pt x="69" y="13"/>
                    <a:pt x="70" y="12"/>
                    <a:pt x="70" y="12"/>
                  </a:cubicBezTo>
                  <a:cubicBezTo>
                    <a:pt x="70" y="18"/>
                    <a:pt x="71" y="22"/>
                    <a:pt x="72" y="27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6" name="íṣļîďe">
              <a:extLst>
                <a:ext uri="{FF2B5EF4-FFF2-40B4-BE49-F238E27FC236}">
                  <a16:creationId xmlns:a16="http://schemas.microsoft.com/office/drawing/2014/main" id="{2AD377EF-57AC-4224-820A-E3B56968E939}"/>
                </a:ext>
              </a:extLst>
            </p:cNvPr>
            <p:cNvSpPr/>
            <p:nvPr/>
          </p:nvSpPr>
          <p:spPr bwMode="auto">
            <a:xfrm>
              <a:off x="6085640" y="3903634"/>
              <a:ext cx="787393" cy="250131"/>
            </a:xfrm>
            <a:custGeom>
              <a:avLst/>
              <a:gdLst>
                <a:gd name="T0" fmla="*/ 11 w 256"/>
                <a:gd name="T1" fmla="*/ 26 h 81"/>
                <a:gd name="T2" fmla="*/ 11 w 256"/>
                <a:gd name="T3" fmla="*/ 26 h 81"/>
                <a:gd name="T4" fmla="*/ 14 w 256"/>
                <a:gd name="T5" fmla="*/ 35 h 81"/>
                <a:gd name="T6" fmla="*/ 17 w 256"/>
                <a:gd name="T7" fmla="*/ 41 h 81"/>
                <a:gd name="T8" fmla="*/ 18 w 256"/>
                <a:gd name="T9" fmla="*/ 43 h 81"/>
                <a:gd name="T10" fmla="*/ 18 w 256"/>
                <a:gd name="T11" fmla="*/ 43 h 81"/>
                <a:gd name="T12" fmla="*/ 15 w 256"/>
                <a:gd name="T13" fmla="*/ 44 h 81"/>
                <a:gd name="T14" fmla="*/ 6 w 256"/>
                <a:gd name="T15" fmla="*/ 41 h 81"/>
                <a:gd name="T16" fmla="*/ 0 w 256"/>
                <a:gd name="T17" fmla="*/ 39 h 81"/>
                <a:gd name="T18" fmla="*/ 0 w 256"/>
                <a:gd name="T19" fmla="*/ 31 h 81"/>
                <a:gd name="T20" fmla="*/ 11 w 256"/>
                <a:gd name="T21" fmla="*/ 26 h 81"/>
                <a:gd name="T22" fmla="*/ 255 w 256"/>
                <a:gd name="T23" fmla="*/ 29 h 81"/>
                <a:gd name="T24" fmla="*/ 255 w 256"/>
                <a:gd name="T25" fmla="*/ 29 h 81"/>
                <a:gd name="T26" fmla="*/ 251 w 256"/>
                <a:gd name="T27" fmla="*/ 39 h 81"/>
                <a:gd name="T28" fmla="*/ 246 w 256"/>
                <a:gd name="T29" fmla="*/ 56 h 81"/>
                <a:gd name="T30" fmla="*/ 242 w 256"/>
                <a:gd name="T31" fmla="*/ 46 h 81"/>
                <a:gd name="T32" fmla="*/ 239 w 256"/>
                <a:gd name="T33" fmla="*/ 33 h 81"/>
                <a:gd name="T34" fmla="*/ 239 w 256"/>
                <a:gd name="T35" fmla="*/ 26 h 81"/>
                <a:gd name="T36" fmla="*/ 251 w 256"/>
                <a:gd name="T37" fmla="*/ 28 h 81"/>
                <a:gd name="T38" fmla="*/ 256 w 256"/>
                <a:gd name="T39" fmla="*/ 29 h 81"/>
                <a:gd name="T40" fmla="*/ 255 w 256"/>
                <a:gd name="T41" fmla="*/ 29 h 81"/>
                <a:gd name="T42" fmla="*/ 161 w 256"/>
                <a:gd name="T43" fmla="*/ 74 h 81"/>
                <a:gd name="T44" fmla="*/ 161 w 256"/>
                <a:gd name="T45" fmla="*/ 74 h 81"/>
                <a:gd name="T46" fmla="*/ 159 w 256"/>
                <a:gd name="T47" fmla="*/ 64 h 81"/>
                <a:gd name="T48" fmla="*/ 154 w 256"/>
                <a:gd name="T49" fmla="*/ 43 h 81"/>
                <a:gd name="T50" fmla="*/ 153 w 256"/>
                <a:gd name="T51" fmla="*/ 7 h 81"/>
                <a:gd name="T52" fmla="*/ 154 w 256"/>
                <a:gd name="T53" fmla="*/ 7 h 81"/>
                <a:gd name="T54" fmla="*/ 182 w 256"/>
                <a:gd name="T55" fmla="*/ 14 h 81"/>
                <a:gd name="T56" fmla="*/ 180 w 256"/>
                <a:gd name="T57" fmla="*/ 20 h 81"/>
                <a:gd name="T58" fmla="*/ 179 w 256"/>
                <a:gd name="T59" fmla="*/ 30 h 81"/>
                <a:gd name="T60" fmla="*/ 182 w 256"/>
                <a:gd name="T61" fmla="*/ 53 h 81"/>
                <a:gd name="T62" fmla="*/ 188 w 256"/>
                <a:gd name="T63" fmla="*/ 74 h 81"/>
                <a:gd name="T64" fmla="*/ 190 w 256"/>
                <a:gd name="T65" fmla="*/ 81 h 81"/>
                <a:gd name="T66" fmla="*/ 184 w 256"/>
                <a:gd name="T67" fmla="*/ 79 h 81"/>
                <a:gd name="T68" fmla="*/ 161 w 256"/>
                <a:gd name="T69" fmla="*/ 75 h 81"/>
                <a:gd name="T70" fmla="*/ 161 w 256"/>
                <a:gd name="T71" fmla="*/ 74 h 81"/>
                <a:gd name="T72" fmla="*/ 86 w 256"/>
                <a:gd name="T73" fmla="*/ 16 h 81"/>
                <a:gd name="T74" fmla="*/ 86 w 256"/>
                <a:gd name="T75" fmla="*/ 16 h 81"/>
                <a:gd name="T76" fmla="*/ 90 w 256"/>
                <a:gd name="T77" fmla="*/ 52 h 81"/>
                <a:gd name="T78" fmla="*/ 92 w 256"/>
                <a:gd name="T79" fmla="*/ 61 h 81"/>
                <a:gd name="T80" fmla="*/ 87 w 256"/>
                <a:gd name="T81" fmla="*/ 60 h 81"/>
                <a:gd name="T82" fmla="*/ 78 w 256"/>
                <a:gd name="T83" fmla="*/ 58 h 81"/>
                <a:gd name="T84" fmla="*/ 69 w 256"/>
                <a:gd name="T85" fmla="*/ 56 h 81"/>
                <a:gd name="T86" fmla="*/ 68 w 256"/>
                <a:gd name="T87" fmla="*/ 50 h 81"/>
                <a:gd name="T88" fmla="*/ 64 w 256"/>
                <a:gd name="T89" fmla="*/ 33 h 81"/>
                <a:gd name="T90" fmla="*/ 61 w 256"/>
                <a:gd name="T91" fmla="*/ 17 h 81"/>
                <a:gd name="T92" fmla="*/ 60 w 256"/>
                <a:gd name="T93" fmla="*/ 10 h 81"/>
                <a:gd name="T94" fmla="*/ 60 w 256"/>
                <a:gd name="T95" fmla="*/ 9 h 81"/>
                <a:gd name="T96" fmla="*/ 87 w 256"/>
                <a:gd name="T97" fmla="*/ 0 h 81"/>
                <a:gd name="T98" fmla="*/ 87 w 256"/>
                <a:gd name="T99" fmla="*/ 1 h 81"/>
                <a:gd name="T100" fmla="*/ 86 w 256"/>
                <a:gd name="T101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6" h="81">
                  <a:moveTo>
                    <a:pt x="11" y="26"/>
                  </a:moveTo>
                  <a:cubicBezTo>
                    <a:pt x="11" y="26"/>
                    <a:pt x="11" y="26"/>
                    <a:pt x="11" y="26"/>
                  </a:cubicBezTo>
                  <a:cubicBezTo>
                    <a:pt x="11" y="29"/>
                    <a:pt x="12" y="32"/>
                    <a:pt x="14" y="35"/>
                  </a:cubicBezTo>
                  <a:cubicBezTo>
                    <a:pt x="15" y="37"/>
                    <a:pt x="16" y="39"/>
                    <a:pt x="17" y="41"/>
                  </a:cubicBezTo>
                  <a:cubicBezTo>
                    <a:pt x="17" y="42"/>
                    <a:pt x="17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7" y="43"/>
                    <a:pt x="16" y="43"/>
                    <a:pt x="15" y="44"/>
                  </a:cubicBezTo>
                  <a:cubicBezTo>
                    <a:pt x="12" y="43"/>
                    <a:pt x="9" y="42"/>
                    <a:pt x="6" y="41"/>
                  </a:cubicBezTo>
                  <a:cubicBezTo>
                    <a:pt x="4" y="40"/>
                    <a:pt x="2" y="40"/>
                    <a:pt x="0" y="39"/>
                  </a:cubicBezTo>
                  <a:cubicBezTo>
                    <a:pt x="0" y="36"/>
                    <a:pt x="0" y="33"/>
                    <a:pt x="0" y="31"/>
                  </a:cubicBezTo>
                  <a:cubicBezTo>
                    <a:pt x="4" y="29"/>
                    <a:pt x="7" y="28"/>
                    <a:pt x="11" y="26"/>
                  </a:cubicBezTo>
                  <a:close/>
                  <a:moveTo>
                    <a:pt x="255" y="29"/>
                  </a:moveTo>
                  <a:cubicBezTo>
                    <a:pt x="255" y="29"/>
                    <a:pt x="255" y="29"/>
                    <a:pt x="255" y="29"/>
                  </a:cubicBezTo>
                  <a:cubicBezTo>
                    <a:pt x="253" y="32"/>
                    <a:pt x="252" y="36"/>
                    <a:pt x="251" y="39"/>
                  </a:cubicBezTo>
                  <a:cubicBezTo>
                    <a:pt x="249" y="45"/>
                    <a:pt x="247" y="50"/>
                    <a:pt x="246" y="56"/>
                  </a:cubicBezTo>
                  <a:cubicBezTo>
                    <a:pt x="245" y="53"/>
                    <a:pt x="243" y="49"/>
                    <a:pt x="242" y="46"/>
                  </a:cubicBezTo>
                  <a:cubicBezTo>
                    <a:pt x="241" y="42"/>
                    <a:pt x="240" y="38"/>
                    <a:pt x="239" y="33"/>
                  </a:cubicBezTo>
                  <a:cubicBezTo>
                    <a:pt x="239" y="31"/>
                    <a:pt x="239" y="29"/>
                    <a:pt x="239" y="26"/>
                  </a:cubicBezTo>
                  <a:cubicBezTo>
                    <a:pt x="243" y="27"/>
                    <a:pt x="247" y="28"/>
                    <a:pt x="251" y="28"/>
                  </a:cubicBezTo>
                  <a:cubicBezTo>
                    <a:pt x="253" y="29"/>
                    <a:pt x="254" y="29"/>
                    <a:pt x="256" y="29"/>
                  </a:cubicBezTo>
                  <a:cubicBezTo>
                    <a:pt x="255" y="29"/>
                    <a:pt x="255" y="29"/>
                    <a:pt x="255" y="29"/>
                  </a:cubicBezTo>
                  <a:close/>
                  <a:moveTo>
                    <a:pt x="161" y="74"/>
                  </a:moveTo>
                  <a:cubicBezTo>
                    <a:pt x="161" y="74"/>
                    <a:pt x="161" y="74"/>
                    <a:pt x="161" y="74"/>
                  </a:cubicBezTo>
                  <a:cubicBezTo>
                    <a:pt x="160" y="71"/>
                    <a:pt x="160" y="68"/>
                    <a:pt x="159" y="64"/>
                  </a:cubicBezTo>
                  <a:cubicBezTo>
                    <a:pt x="157" y="57"/>
                    <a:pt x="155" y="50"/>
                    <a:pt x="154" y="43"/>
                  </a:cubicBezTo>
                  <a:cubicBezTo>
                    <a:pt x="152" y="31"/>
                    <a:pt x="150" y="19"/>
                    <a:pt x="153" y="7"/>
                  </a:cubicBezTo>
                  <a:cubicBezTo>
                    <a:pt x="154" y="7"/>
                    <a:pt x="154" y="7"/>
                    <a:pt x="154" y="7"/>
                  </a:cubicBezTo>
                  <a:cubicBezTo>
                    <a:pt x="163" y="10"/>
                    <a:pt x="172" y="12"/>
                    <a:pt x="182" y="14"/>
                  </a:cubicBezTo>
                  <a:cubicBezTo>
                    <a:pt x="181" y="16"/>
                    <a:pt x="181" y="18"/>
                    <a:pt x="180" y="20"/>
                  </a:cubicBezTo>
                  <a:cubicBezTo>
                    <a:pt x="180" y="23"/>
                    <a:pt x="180" y="27"/>
                    <a:pt x="179" y="30"/>
                  </a:cubicBezTo>
                  <a:cubicBezTo>
                    <a:pt x="179" y="37"/>
                    <a:pt x="180" y="45"/>
                    <a:pt x="182" y="53"/>
                  </a:cubicBezTo>
                  <a:cubicBezTo>
                    <a:pt x="183" y="60"/>
                    <a:pt x="185" y="67"/>
                    <a:pt x="188" y="74"/>
                  </a:cubicBezTo>
                  <a:cubicBezTo>
                    <a:pt x="188" y="77"/>
                    <a:pt x="189" y="79"/>
                    <a:pt x="190" y="81"/>
                  </a:cubicBezTo>
                  <a:cubicBezTo>
                    <a:pt x="188" y="80"/>
                    <a:pt x="186" y="80"/>
                    <a:pt x="184" y="79"/>
                  </a:cubicBezTo>
                  <a:cubicBezTo>
                    <a:pt x="176" y="78"/>
                    <a:pt x="169" y="77"/>
                    <a:pt x="161" y="75"/>
                  </a:cubicBezTo>
                  <a:cubicBezTo>
                    <a:pt x="161" y="74"/>
                    <a:pt x="161" y="74"/>
                    <a:pt x="161" y="74"/>
                  </a:cubicBezTo>
                  <a:close/>
                  <a:moveTo>
                    <a:pt x="86" y="16"/>
                  </a:moveTo>
                  <a:cubicBezTo>
                    <a:pt x="86" y="16"/>
                    <a:pt x="86" y="16"/>
                    <a:pt x="86" y="16"/>
                  </a:cubicBezTo>
                  <a:cubicBezTo>
                    <a:pt x="86" y="27"/>
                    <a:pt x="88" y="39"/>
                    <a:pt x="90" y="52"/>
                  </a:cubicBezTo>
                  <a:cubicBezTo>
                    <a:pt x="91" y="55"/>
                    <a:pt x="92" y="58"/>
                    <a:pt x="92" y="61"/>
                  </a:cubicBezTo>
                  <a:cubicBezTo>
                    <a:pt x="91" y="60"/>
                    <a:pt x="89" y="60"/>
                    <a:pt x="87" y="60"/>
                  </a:cubicBezTo>
                  <a:cubicBezTo>
                    <a:pt x="84" y="59"/>
                    <a:pt x="81" y="59"/>
                    <a:pt x="78" y="58"/>
                  </a:cubicBezTo>
                  <a:cubicBezTo>
                    <a:pt x="75" y="57"/>
                    <a:pt x="72" y="56"/>
                    <a:pt x="69" y="56"/>
                  </a:cubicBezTo>
                  <a:cubicBezTo>
                    <a:pt x="69" y="54"/>
                    <a:pt x="68" y="52"/>
                    <a:pt x="68" y="50"/>
                  </a:cubicBezTo>
                  <a:cubicBezTo>
                    <a:pt x="66" y="44"/>
                    <a:pt x="65" y="39"/>
                    <a:pt x="64" y="33"/>
                  </a:cubicBezTo>
                  <a:cubicBezTo>
                    <a:pt x="62" y="28"/>
                    <a:pt x="61" y="22"/>
                    <a:pt x="61" y="17"/>
                  </a:cubicBezTo>
                  <a:cubicBezTo>
                    <a:pt x="60" y="14"/>
                    <a:pt x="60" y="12"/>
                    <a:pt x="60" y="10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9" y="6"/>
                    <a:pt x="78" y="3"/>
                    <a:pt x="87" y="0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86" y="5"/>
                    <a:pt x="86" y="10"/>
                    <a:pt x="86" y="16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7" name="ïṥḷîďe">
              <a:extLst>
                <a:ext uri="{FF2B5EF4-FFF2-40B4-BE49-F238E27FC236}">
                  <a16:creationId xmlns:a16="http://schemas.microsoft.com/office/drawing/2014/main" id="{13B24E7C-DB99-423F-A4BC-5C4156B17993}"/>
                </a:ext>
              </a:extLst>
            </p:cNvPr>
            <p:cNvSpPr/>
            <p:nvPr/>
          </p:nvSpPr>
          <p:spPr bwMode="auto">
            <a:xfrm>
              <a:off x="6128562" y="3885873"/>
              <a:ext cx="636427" cy="288613"/>
            </a:xfrm>
            <a:custGeom>
              <a:avLst/>
              <a:gdLst>
                <a:gd name="T0" fmla="*/ 17 w 207"/>
                <a:gd name="T1" fmla="*/ 39 h 94"/>
                <a:gd name="T2" fmla="*/ 17 w 207"/>
                <a:gd name="T3" fmla="*/ 39 h 94"/>
                <a:gd name="T4" fmla="*/ 21 w 207"/>
                <a:gd name="T5" fmla="*/ 53 h 94"/>
                <a:gd name="T6" fmla="*/ 20 w 207"/>
                <a:gd name="T7" fmla="*/ 53 h 94"/>
                <a:gd name="T8" fmla="*/ 10 w 207"/>
                <a:gd name="T9" fmla="*/ 50 h 94"/>
                <a:gd name="T10" fmla="*/ 7 w 207"/>
                <a:gd name="T11" fmla="*/ 50 h 94"/>
                <a:gd name="T12" fmla="*/ 4 w 207"/>
                <a:gd name="T13" fmla="*/ 41 h 94"/>
                <a:gd name="T14" fmla="*/ 0 w 207"/>
                <a:gd name="T15" fmla="*/ 31 h 94"/>
                <a:gd name="T16" fmla="*/ 14 w 207"/>
                <a:gd name="T17" fmla="*/ 26 h 94"/>
                <a:gd name="T18" fmla="*/ 17 w 207"/>
                <a:gd name="T19" fmla="*/ 39 h 94"/>
                <a:gd name="T20" fmla="*/ 201 w 207"/>
                <a:gd name="T21" fmla="*/ 27 h 94"/>
                <a:gd name="T22" fmla="*/ 201 w 207"/>
                <a:gd name="T23" fmla="*/ 27 h 94"/>
                <a:gd name="T24" fmla="*/ 198 w 207"/>
                <a:gd name="T25" fmla="*/ 62 h 94"/>
                <a:gd name="T26" fmla="*/ 203 w 207"/>
                <a:gd name="T27" fmla="*/ 84 h 94"/>
                <a:gd name="T28" fmla="*/ 206 w 207"/>
                <a:gd name="T29" fmla="*/ 93 h 94"/>
                <a:gd name="T30" fmla="*/ 207 w 207"/>
                <a:gd name="T31" fmla="*/ 94 h 94"/>
                <a:gd name="T32" fmla="*/ 183 w 207"/>
                <a:gd name="T33" fmla="*/ 88 h 94"/>
                <a:gd name="T34" fmla="*/ 179 w 207"/>
                <a:gd name="T35" fmla="*/ 78 h 94"/>
                <a:gd name="T36" fmla="*/ 173 w 207"/>
                <a:gd name="T37" fmla="*/ 58 h 94"/>
                <a:gd name="T38" fmla="*/ 170 w 207"/>
                <a:gd name="T39" fmla="*/ 37 h 94"/>
                <a:gd name="T40" fmla="*/ 170 w 207"/>
                <a:gd name="T41" fmla="*/ 27 h 94"/>
                <a:gd name="T42" fmla="*/ 172 w 207"/>
                <a:gd name="T43" fmla="*/ 21 h 94"/>
                <a:gd name="T44" fmla="*/ 201 w 207"/>
                <a:gd name="T45" fmla="*/ 27 h 94"/>
                <a:gd name="T46" fmla="*/ 84 w 207"/>
                <a:gd name="T47" fmla="*/ 67 h 94"/>
                <a:gd name="T48" fmla="*/ 84 w 207"/>
                <a:gd name="T49" fmla="*/ 67 h 94"/>
                <a:gd name="T50" fmla="*/ 83 w 207"/>
                <a:gd name="T51" fmla="*/ 65 h 94"/>
                <a:gd name="T52" fmla="*/ 80 w 207"/>
                <a:gd name="T53" fmla="*/ 49 h 94"/>
                <a:gd name="T54" fmla="*/ 76 w 207"/>
                <a:gd name="T55" fmla="*/ 14 h 94"/>
                <a:gd name="T56" fmla="*/ 77 w 207"/>
                <a:gd name="T57" fmla="*/ 6 h 94"/>
                <a:gd name="T58" fmla="*/ 78 w 207"/>
                <a:gd name="T59" fmla="*/ 5 h 94"/>
                <a:gd name="T60" fmla="*/ 78 w 207"/>
                <a:gd name="T61" fmla="*/ 5 h 94"/>
                <a:gd name="T62" fmla="*/ 95 w 207"/>
                <a:gd name="T63" fmla="*/ 0 h 94"/>
                <a:gd name="T64" fmla="*/ 98 w 207"/>
                <a:gd name="T65" fmla="*/ 1 h 94"/>
                <a:gd name="T66" fmla="*/ 101 w 207"/>
                <a:gd name="T67" fmla="*/ 2 h 94"/>
                <a:gd name="T68" fmla="*/ 99 w 207"/>
                <a:gd name="T69" fmla="*/ 14 h 94"/>
                <a:gd name="T70" fmla="*/ 100 w 207"/>
                <a:gd name="T71" fmla="*/ 35 h 94"/>
                <a:gd name="T72" fmla="*/ 105 w 207"/>
                <a:gd name="T73" fmla="*/ 55 h 94"/>
                <a:gd name="T74" fmla="*/ 108 w 207"/>
                <a:gd name="T75" fmla="*/ 64 h 94"/>
                <a:gd name="T76" fmla="*/ 111 w 207"/>
                <a:gd name="T77" fmla="*/ 70 h 94"/>
                <a:gd name="T78" fmla="*/ 111 w 207"/>
                <a:gd name="T79" fmla="*/ 72 h 94"/>
                <a:gd name="T80" fmla="*/ 112 w 207"/>
                <a:gd name="T81" fmla="*/ 73 h 94"/>
                <a:gd name="T82" fmla="*/ 107 w 207"/>
                <a:gd name="T83" fmla="*/ 72 h 94"/>
                <a:gd name="T84" fmla="*/ 84 w 207"/>
                <a:gd name="T85" fmla="*/ 68 h 94"/>
                <a:gd name="T86" fmla="*/ 84 w 207"/>
                <a:gd name="T87" fmla="*/ 6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7" h="94">
                  <a:moveTo>
                    <a:pt x="17" y="39"/>
                  </a:moveTo>
                  <a:cubicBezTo>
                    <a:pt x="17" y="39"/>
                    <a:pt x="17" y="39"/>
                    <a:pt x="17" y="39"/>
                  </a:cubicBezTo>
                  <a:cubicBezTo>
                    <a:pt x="18" y="44"/>
                    <a:pt x="20" y="48"/>
                    <a:pt x="21" y="53"/>
                  </a:cubicBezTo>
                  <a:cubicBezTo>
                    <a:pt x="21" y="53"/>
                    <a:pt x="21" y="53"/>
                    <a:pt x="20" y="53"/>
                  </a:cubicBezTo>
                  <a:cubicBezTo>
                    <a:pt x="17" y="51"/>
                    <a:pt x="13" y="51"/>
                    <a:pt x="10" y="50"/>
                  </a:cubicBezTo>
                  <a:cubicBezTo>
                    <a:pt x="9" y="50"/>
                    <a:pt x="8" y="50"/>
                    <a:pt x="7" y="50"/>
                  </a:cubicBezTo>
                  <a:cubicBezTo>
                    <a:pt x="7" y="47"/>
                    <a:pt x="5" y="43"/>
                    <a:pt x="4" y="41"/>
                  </a:cubicBezTo>
                  <a:cubicBezTo>
                    <a:pt x="2" y="38"/>
                    <a:pt x="1" y="35"/>
                    <a:pt x="0" y="31"/>
                  </a:cubicBezTo>
                  <a:cubicBezTo>
                    <a:pt x="5" y="29"/>
                    <a:pt x="9" y="28"/>
                    <a:pt x="14" y="26"/>
                  </a:cubicBezTo>
                  <a:cubicBezTo>
                    <a:pt x="14" y="31"/>
                    <a:pt x="15" y="35"/>
                    <a:pt x="17" y="39"/>
                  </a:cubicBezTo>
                  <a:close/>
                  <a:moveTo>
                    <a:pt x="201" y="27"/>
                  </a:moveTo>
                  <a:cubicBezTo>
                    <a:pt x="201" y="27"/>
                    <a:pt x="201" y="27"/>
                    <a:pt x="201" y="27"/>
                  </a:cubicBezTo>
                  <a:cubicBezTo>
                    <a:pt x="195" y="37"/>
                    <a:pt x="196" y="51"/>
                    <a:pt x="198" y="62"/>
                  </a:cubicBezTo>
                  <a:cubicBezTo>
                    <a:pt x="199" y="69"/>
                    <a:pt x="201" y="76"/>
                    <a:pt x="203" y="84"/>
                  </a:cubicBezTo>
                  <a:cubicBezTo>
                    <a:pt x="204" y="87"/>
                    <a:pt x="205" y="90"/>
                    <a:pt x="206" y="93"/>
                  </a:cubicBezTo>
                  <a:cubicBezTo>
                    <a:pt x="207" y="93"/>
                    <a:pt x="207" y="94"/>
                    <a:pt x="207" y="94"/>
                  </a:cubicBezTo>
                  <a:cubicBezTo>
                    <a:pt x="199" y="92"/>
                    <a:pt x="191" y="90"/>
                    <a:pt x="183" y="88"/>
                  </a:cubicBezTo>
                  <a:cubicBezTo>
                    <a:pt x="182" y="85"/>
                    <a:pt x="180" y="82"/>
                    <a:pt x="179" y="78"/>
                  </a:cubicBezTo>
                  <a:cubicBezTo>
                    <a:pt x="176" y="72"/>
                    <a:pt x="174" y="65"/>
                    <a:pt x="173" y="58"/>
                  </a:cubicBezTo>
                  <a:cubicBezTo>
                    <a:pt x="171" y="51"/>
                    <a:pt x="170" y="44"/>
                    <a:pt x="170" y="37"/>
                  </a:cubicBezTo>
                  <a:cubicBezTo>
                    <a:pt x="170" y="34"/>
                    <a:pt x="170" y="30"/>
                    <a:pt x="170" y="27"/>
                  </a:cubicBezTo>
                  <a:cubicBezTo>
                    <a:pt x="171" y="25"/>
                    <a:pt x="171" y="23"/>
                    <a:pt x="172" y="21"/>
                  </a:cubicBezTo>
                  <a:cubicBezTo>
                    <a:pt x="181" y="24"/>
                    <a:pt x="191" y="26"/>
                    <a:pt x="201" y="27"/>
                  </a:cubicBezTo>
                  <a:close/>
                  <a:moveTo>
                    <a:pt x="84" y="67"/>
                  </a:moveTo>
                  <a:cubicBezTo>
                    <a:pt x="84" y="67"/>
                    <a:pt x="84" y="67"/>
                    <a:pt x="84" y="67"/>
                  </a:cubicBezTo>
                  <a:cubicBezTo>
                    <a:pt x="84" y="66"/>
                    <a:pt x="83" y="66"/>
                    <a:pt x="83" y="65"/>
                  </a:cubicBezTo>
                  <a:cubicBezTo>
                    <a:pt x="82" y="60"/>
                    <a:pt x="81" y="55"/>
                    <a:pt x="80" y="49"/>
                  </a:cubicBezTo>
                  <a:cubicBezTo>
                    <a:pt x="78" y="38"/>
                    <a:pt x="76" y="26"/>
                    <a:pt x="76" y="14"/>
                  </a:cubicBezTo>
                  <a:cubicBezTo>
                    <a:pt x="76" y="12"/>
                    <a:pt x="77" y="9"/>
                    <a:pt x="77" y="6"/>
                  </a:cubicBezTo>
                  <a:cubicBezTo>
                    <a:pt x="78" y="6"/>
                    <a:pt x="78" y="6"/>
                    <a:pt x="78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84" y="3"/>
                    <a:pt x="90" y="2"/>
                    <a:pt x="95" y="0"/>
                  </a:cubicBezTo>
                  <a:cubicBezTo>
                    <a:pt x="96" y="0"/>
                    <a:pt x="97" y="1"/>
                    <a:pt x="98" y="1"/>
                  </a:cubicBezTo>
                  <a:cubicBezTo>
                    <a:pt x="99" y="2"/>
                    <a:pt x="100" y="2"/>
                    <a:pt x="101" y="2"/>
                  </a:cubicBezTo>
                  <a:cubicBezTo>
                    <a:pt x="100" y="6"/>
                    <a:pt x="99" y="10"/>
                    <a:pt x="99" y="14"/>
                  </a:cubicBezTo>
                  <a:cubicBezTo>
                    <a:pt x="99" y="21"/>
                    <a:pt x="99" y="28"/>
                    <a:pt x="100" y="35"/>
                  </a:cubicBezTo>
                  <a:cubicBezTo>
                    <a:pt x="102" y="41"/>
                    <a:pt x="103" y="48"/>
                    <a:pt x="105" y="55"/>
                  </a:cubicBezTo>
                  <a:cubicBezTo>
                    <a:pt x="106" y="58"/>
                    <a:pt x="107" y="61"/>
                    <a:pt x="108" y="64"/>
                  </a:cubicBezTo>
                  <a:cubicBezTo>
                    <a:pt x="109" y="66"/>
                    <a:pt x="109" y="68"/>
                    <a:pt x="111" y="70"/>
                  </a:cubicBezTo>
                  <a:cubicBezTo>
                    <a:pt x="111" y="72"/>
                    <a:pt x="111" y="72"/>
                    <a:pt x="111" y="72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07" y="72"/>
                    <a:pt x="107" y="72"/>
                    <a:pt x="107" y="72"/>
                  </a:cubicBezTo>
                  <a:cubicBezTo>
                    <a:pt x="99" y="71"/>
                    <a:pt x="92" y="69"/>
                    <a:pt x="84" y="68"/>
                  </a:cubicBezTo>
                  <a:cubicBezTo>
                    <a:pt x="84" y="67"/>
                    <a:pt x="84" y="67"/>
                    <a:pt x="84" y="67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8" name="ís1íḓê">
              <a:extLst>
                <a:ext uri="{FF2B5EF4-FFF2-40B4-BE49-F238E27FC236}">
                  <a16:creationId xmlns:a16="http://schemas.microsoft.com/office/drawing/2014/main" id="{7D70F3A7-E754-4511-9BF9-0A2DB922538A}"/>
                </a:ext>
              </a:extLst>
            </p:cNvPr>
            <p:cNvSpPr/>
            <p:nvPr/>
          </p:nvSpPr>
          <p:spPr bwMode="auto">
            <a:xfrm>
              <a:off x="6470457" y="3860712"/>
              <a:ext cx="328574" cy="93244"/>
            </a:xfrm>
            <a:custGeom>
              <a:avLst/>
              <a:gdLst>
                <a:gd name="T0" fmla="*/ 6 w 107"/>
                <a:gd name="T1" fmla="*/ 2 h 30"/>
                <a:gd name="T2" fmla="*/ 6 w 107"/>
                <a:gd name="T3" fmla="*/ 2 h 30"/>
                <a:gd name="T4" fmla="*/ 8 w 107"/>
                <a:gd name="T5" fmla="*/ 3 h 30"/>
                <a:gd name="T6" fmla="*/ 11 w 107"/>
                <a:gd name="T7" fmla="*/ 3 h 30"/>
                <a:gd name="T8" fmla="*/ 13 w 107"/>
                <a:gd name="T9" fmla="*/ 3 h 30"/>
                <a:gd name="T10" fmla="*/ 14 w 107"/>
                <a:gd name="T11" fmla="*/ 3 h 30"/>
                <a:gd name="T12" fmla="*/ 17 w 107"/>
                <a:gd name="T13" fmla="*/ 9 h 30"/>
                <a:gd name="T14" fmla="*/ 0 w 107"/>
                <a:gd name="T15" fmla="*/ 4 h 30"/>
                <a:gd name="T16" fmla="*/ 6 w 107"/>
                <a:gd name="T17" fmla="*/ 2 h 30"/>
                <a:gd name="T18" fmla="*/ 88 w 107"/>
                <a:gd name="T19" fmla="*/ 1 h 30"/>
                <a:gd name="T20" fmla="*/ 88 w 107"/>
                <a:gd name="T21" fmla="*/ 1 h 30"/>
                <a:gd name="T22" fmla="*/ 93 w 107"/>
                <a:gd name="T23" fmla="*/ 0 h 30"/>
                <a:gd name="T24" fmla="*/ 94 w 107"/>
                <a:gd name="T25" fmla="*/ 0 h 30"/>
                <a:gd name="T26" fmla="*/ 99 w 107"/>
                <a:gd name="T27" fmla="*/ 8 h 30"/>
                <a:gd name="T28" fmla="*/ 104 w 107"/>
                <a:gd name="T29" fmla="*/ 14 h 30"/>
                <a:gd name="T30" fmla="*/ 106 w 107"/>
                <a:gd name="T31" fmla="*/ 16 h 30"/>
                <a:gd name="T32" fmla="*/ 106 w 107"/>
                <a:gd name="T33" fmla="*/ 22 h 30"/>
                <a:gd name="T34" fmla="*/ 107 w 107"/>
                <a:gd name="T35" fmla="*/ 30 h 30"/>
                <a:gd name="T36" fmla="*/ 95 w 107"/>
                <a:gd name="T37" fmla="*/ 27 h 30"/>
                <a:gd name="T38" fmla="*/ 92 w 107"/>
                <a:gd name="T39" fmla="*/ 23 h 30"/>
                <a:gd name="T40" fmla="*/ 85 w 107"/>
                <a:gd name="T41" fmla="*/ 16 h 30"/>
                <a:gd name="T42" fmla="*/ 75 w 107"/>
                <a:gd name="T43" fmla="*/ 2 h 30"/>
                <a:gd name="T44" fmla="*/ 79 w 107"/>
                <a:gd name="T45" fmla="*/ 2 h 30"/>
                <a:gd name="T46" fmla="*/ 88 w 107"/>
                <a:gd name="T47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30">
                  <a:moveTo>
                    <a:pt x="6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6" y="3"/>
                    <a:pt x="7" y="3"/>
                    <a:pt x="8" y="3"/>
                  </a:cubicBezTo>
                  <a:cubicBezTo>
                    <a:pt x="9" y="3"/>
                    <a:pt x="10" y="4"/>
                    <a:pt x="11" y="3"/>
                  </a:cubicBezTo>
                  <a:cubicBezTo>
                    <a:pt x="12" y="3"/>
                    <a:pt x="12" y="3"/>
                    <a:pt x="13" y="3"/>
                  </a:cubicBezTo>
                  <a:cubicBezTo>
                    <a:pt x="13" y="3"/>
                    <a:pt x="13" y="3"/>
                    <a:pt x="14" y="3"/>
                  </a:cubicBezTo>
                  <a:cubicBezTo>
                    <a:pt x="14" y="5"/>
                    <a:pt x="16" y="7"/>
                    <a:pt x="17" y="9"/>
                  </a:cubicBezTo>
                  <a:cubicBezTo>
                    <a:pt x="11" y="7"/>
                    <a:pt x="6" y="5"/>
                    <a:pt x="0" y="4"/>
                  </a:cubicBezTo>
                  <a:cubicBezTo>
                    <a:pt x="2" y="3"/>
                    <a:pt x="4" y="3"/>
                    <a:pt x="6" y="2"/>
                  </a:cubicBezTo>
                  <a:close/>
                  <a:moveTo>
                    <a:pt x="88" y="1"/>
                  </a:moveTo>
                  <a:cubicBezTo>
                    <a:pt x="88" y="1"/>
                    <a:pt x="88" y="1"/>
                    <a:pt x="88" y="1"/>
                  </a:cubicBezTo>
                  <a:cubicBezTo>
                    <a:pt x="90" y="0"/>
                    <a:pt x="91" y="0"/>
                    <a:pt x="93" y="0"/>
                  </a:cubicBezTo>
                  <a:cubicBezTo>
                    <a:pt x="93" y="0"/>
                    <a:pt x="94" y="0"/>
                    <a:pt x="94" y="0"/>
                  </a:cubicBezTo>
                  <a:cubicBezTo>
                    <a:pt x="95" y="3"/>
                    <a:pt x="97" y="6"/>
                    <a:pt x="99" y="8"/>
                  </a:cubicBezTo>
                  <a:cubicBezTo>
                    <a:pt x="100" y="10"/>
                    <a:pt x="102" y="12"/>
                    <a:pt x="104" y="14"/>
                  </a:cubicBezTo>
                  <a:cubicBezTo>
                    <a:pt x="104" y="15"/>
                    <a:pt x="105" y="16"/>
                    <a:pt x="106" y="16"/>
                  </a:cubicBezTo>
                  <a:cubicBezTo>
                    <a:pt x="106" y="18"/>
                    <a:pt x="106" y="20"/>
                    <a:pt x="106" y="22"/>
                  </a:cubicBezTo>
                  <a:cubicBezTo>
                    <a:pt x="106" y="24"/>
                    <a:pt x="106" y="27"/>
                    <a:pt x="107" y="30"/>
                  </a:cubicBezTo>
                  <a:cubicBezTo>
                    <a:pt x="103" y="28"/>
                    <a:pt x="99" y="27"/>
                    <a:pt x="95" y="27"/>
                  </a:cubicBezTo>
                  <a:cubicBezTo>
                    <a:pt x="94" y="25"/>
                    <a:pt x="93" y="24"/>
                    <a:pt x="92" y="23"/>
                  </a:cubicBezTo>
                  <a:cubicBezTo>
                    <a:pt x="90" y="21"/>
                    <a:pt x="88" y="18"/>
                    <a:pt x="85" y="16"/>
                  </a:cubicBezTo>
                  <a:cubicBezTo>
                    <a:pt x="82" y="11"/>
                    <a:pt x="78" y="7"/>
                    <a:pt x="75" y="2"/>
                  </a:cubicBezTo>
                  <a:cubicBezTo>
                    <a:pt x="76" y="2"/>
                    <a:pt x="78" y="2"/>
                    <a:pt x="79" y="2"/>
                  </a:cubicBezTo>
                  <a:cubicBezTo>
                    <a:pt x="82" y="2"/>
                    <a:pt x="85" y="1"/>
                    <a:pt x="88" y="1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9" name="íṧḷíḓê">
              <a:extLst>
                <a:ext uri="{FF2B5EF4-FFF2-40B4-BE49-F238E27FC236}">
                  <a16:creationId xmlns:a16="http://schemas.microsoft.com/office/drawing/2014/main" id="{EE4F4BEF-A736-4CCF-ABB2-F501C0EF888D}"/>
                </a:ext>
              </a:extLst>
            </p:cNvPr>
            <p:cNvSpPr/>
            <p:nvPr/>
          </p:nvSpPr>
          <p:spPr bwMode="auto">
            <a:xfrm>
              <a:off x="7528701" y="4248488"/>
              <a:ext cx="5920" cy="5920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2 w 2"/>
                <a:gd name="T5" fmla="*/ 1 h 2"/>
                <a:gd name="T6" fmla="*/ 0 w 2"/>
                <a:gd name="T7" fmla="*/ 2 h 2"/>
                <a:gd name="T8" fmla="*/ 1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0" name="íṩḷiḑè">
              <a:extLst>
                <a:ext uri="{FF2B5EF4-FFF2-40B4-BE49-F238E27FC236}">
                  <a16:creationId xmlns:a16="http://schemas.microsoft.com/office/drawing/2014/main" id="{B02CEC6E-7C5F-4A18-9721-53022E34CB50}"/>
                </a:ext>
              </a:extLst>
            </p:cNvPr>
            <p:cNvSpPr/>
            <p:nvPr/>
          </p:nvSpPr>
          <p:spPr bwMode="auto">
            <a:xfrm>
              <a:off x="6938156" y="4297331"/>
              <a:ext cx="522462" cy="430699"/>
            </a:xfrm>
            <a:custGeom>
              <a:avLst/>
              <a:gdLst>
                <a:gd name="T0" fmla="*/ 33 w 170"/>
                <a:gd name="T1" fmla="*/ 9 h 140"/>
                <a:gd name="T2" fmla="*/ 43 w 170"/>
                <a:gd name="T3" fmla="*/ 0 h 140"/>
                <a:gd name="T4" fmla="*/ 63 w 170"/>
                <a:gd name="T5" fmla="*/ 5 h 140"/>
                <a:gd name="T6" fmla="*/ 73 w 170"/>
                <a:gd name="T7" fmla="*/ 6 h 140"/>
                <a:gd name="T8" fmla="*/ 108 w 170"/>
                <a:gd name="T9" fmla="*/ 35 h 140"/>
                <a:gd name="T10" fmla="*/ 100 w 170"/>
                <a:gd name="T11" fmla="*/ 35 h 140"/>
                <a:gd name="T12" fmla="*/ 68 w 170"/>
                <a:gd name="T13" fmla="*/ 27 h 140"/>
                <a:gd name="T14" fmla="*/ 36 w 170"/>
                <a:gd name="T15" fmla="*/ 21 h 140"/>
                <a:gd name="T16" fmla="*/ 33 w 170"/>
                <a:gd name="T17" fmla="*/ 9 h 140"/>
                <a:gd name="T18" fmla="*/ 1 w 170"/>
                <a:gd name="T19" fmla="*/ 107 h 140"/>
                <a:gd name="T20" fmla="*/ 3 w 170"/>
                <a:gd name="T21" fmla="*/ 90 h 140"/>
                <a:gd name="T22" fmla="*/ 13 w 170"/>
                <a:gd name="T23" fmla="*/ 90 h 140"/>
                <a:gd name="T24" fmla="*/ 22 w 170"/>
                <a:gd name="T25" fmla="*/ 96 h 140"/>
                <a:gd name="T26" fmla="*/ 22 w 170"/>
                <a:gd name="T27" fmla="*/ 105 h 140"/>
                <a:gd name="T28" fmla="*/ 15 w 170"/>
                <a:gd name="T29" fmla="*/ 109 h 140"/>
                <a:gd name="T30" fmla="*/ 13 w 170"/>
                <a:gd name="T31" fmla="*/ 112 h 140"/>
                <a:gd name="T32" fmla="*/ 9 w 170"/>
                <a:gd name="T33" fmla="*/ 114 h 140"/>
                <a:gd name="T34" fmla="*/ 1 w 170"/>
                <a:gd name="T35" fmla="*/ 107 h 140"/>
                <a:gd name="T36" fmla="*/ 36 w 170"/>
                <a:gd name="T37" fmla="*/ 52 h 140"/>
                <a:gd name="T38" fmla="*/ 28 w 170"/>
                <a:gd name="T39" fmla="*/ 71 h 140"/>
                <a:gd name="T40" fmla="*/ 13 w 170"/>
                <a:gd name="T41" fmla="*/ 68 h 140"/>
                <a:gd name="T42" fmla="*/ 21 w 170"/>
                <a:gd name="T43" fmla="*/ 44 h 140"/>
                <a:gd name="T44" fmla="*/ 35 w 170"/>
                <a:gd name="T45" fmla="*/ 48 h 140"/>
                <a:gd name="T46" fmla="*/ 36 w 170"/>
                <a:gd name="T47" fmla="*/ 52 h 140"/>
                <a:gd name="T48" fmla="*/ 87 w 170"/>
                <a:gd name="T49" fmla="*/ 76 h 140"/>
                <a:gd name="T50" fmla="*/ 88 w 170"/>
                <a:gd name="T51" fmla="*/ 64 h 140"/>
                <a:gd name="T52" fmla="*/ 88 w 170"/>
                <a:gd name="T53" fmla="*/ 72 h 140"/>
                <a:gd name="T54" fmla="*/ 166 w 170"/>
                <a:gd name="T55" fmla="*/ 108 h 140"/>
                <a:gd name="T56" fmla="*/ 165 w 170"/>
                <a:gd name="T57" fmla="*/ 109 h 140"/>
                <a:gd name="T58" fmla="*/ 163 w 170"/>
                <a:gd name="T59" fmla="*/ 110 h 140"/>
                <a:gd name="T60" fmla="*/ 148 w 170"/>
                <a:gd name="T61" fmla="*/ 105 h 140"/>
                <a:gd name="T62" fmla="*/ 125 w 170"/>
                <a:gd name="T63" fmla="*/ 99 h 140"/>
                <a:gd name="T64" fmla="*/ 121 w 170"/>
                <a:gd name="T65" fmla="*/ 78 h 140"/>
                <a:gd name="T66" fmla="*/ 135 w 170"/>
                <a:gd name="T67" fmla="*/ 82 h 140"/>
                <a:gd name="T68" fmla="*/ 150 w 170"/>
                <a:gd name="T69" fmla="*/ 89 h 140"/>
                <a:gd name="T70" fmla="*/ 155 w 170"/>
                <a:gd name="T71" fmla="*/ 89 h 140"/>
                <a:gd name="T72" fmla="*/ 169 w 170"/>
                <a:gd name="T73" fmla="*/ 104 h 140"/>
                <a:gd name="T74" fmla="*/ 166 w 170"/>
                <a:gd name="T75" fmla="*/ 108 h 140"/>
                <a:gd name="T76" fmla="*/ 122 w 170"/>
                <a:gd name="T77" fmla="*/ 131 h 140"/>
                <a:gd name="T78" fmla="*/ 130 w 170"/>
                <a:gd name="T79" fmla="*/ 126 h 140"/>
                <a:gd name="T80" fmla="*/ 140 w 170"/>
                <a:gd name="T81" fmla="*/ 127 h 140"/>
                <a:gd name="T82" fmla="*/ 122 w 170"/>
                <a:gd name="T83" fmla="*/ 13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0" h="140">
                  <a:moveTo>
                    <a:pt x="33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4" y="6"/>
                    <a:pt x="36" y="3"/>
                    <a:pt x="37" y="0"/>
                  </a:cubicBezTo>
                  <a:cubicBezTo>
                    <a:pt x="39" y="0"/>
                    <a:pt x="41" y="0"/>
                    <a:pt x="43" y="0"/>
                  </a:cubicBezTo>
                  <a:cubicBezTo>
                    <a:pt x="47" y="0"/>
                    <a:pt x="50" y="1"/>
                    <a:pt x="54" y="2"/>
                  </a:cubicBezTo>
                  <a:cubicBezTo>
                    <a:pt x="57" y="3"/>
                    <a:pt x="60" y="4"/>
                    <a:pt x="63" y="5"/>
                  </a:cubicBezTo>
                  <a:cubicBezTo>
                    <a:pt x="66" y="6"/>
                    <a:pt x="70" y="8"/>
                    <a:pt x="72" y="7"/>
                  </a:cubicBezTo>
                  <a:cubicBezTo>
                    <a:pt x="73" y="7"/>
                    <a:pt x="73" y="7"/>
                    <a:pt x="73" y="6"/>
                  </a:cubicBezTo>
                  <a:cubicBezTo>
                    <a:pt x="84" y="16"/>
                    <a:pt x="95" y="24"/>
                    <a:pt x="106" y="34"/>
                  </a:cubicBezTo>
                  <a:cubicBezTo>
                    <a:pt x="106" y="34"/>
                    <a:pt x="107" y="35"/>
                    <a:pt x="108" y="35"/>
                  </a:cubicBezTo>
                  <a:cubicBezTo>
                    <a:pt x="108" y="36"/>
                    <a:pt x="107" y="37"/>
                    <a:pt x="106" y="38"/>
                  </a:cubicBezTo>
                  <a:cubicBezTo>
                    <a:pt x="104" y="37"/>
                    <a:pt x="102" y="36"/>
                    <a:pt x="100" y="35"/>
                  </a:cubicBezTo>
                  <a:cubicBezTo>
                    <a:pt x="97" y="34"/>
                    <a:pt x="93" y="33"/>
                    <a:pt x="89" y="32"/>
                  </a:cubicBezTo>
                  <a:cubicBezTo>
                    <a:pt x="82" y="30"/>
                    <a:pt x="75" y="29"/>
                    <a:pt x="68" y="27"/>
                  </a:cubicBezTo>
                  <a:cubicBezTo>
                    <a:pt x="61" y="26"/>
                    <a:pt x="54" y="25"/>
                    <a:pt x="47" y="23"/>
                  </a:cubicBezTo>
                  <a:cubicBezTo>
                    <a:pt x="43" y="23"/>
                    <a:pt x="40" y="22"/>
                    <a:pt x="36" y="21"/>
                  </a:cubicBezTo>
                  <a:cubicBezTo>
                    <a:pt x="34" y="20"/>
                    <a:pt x="31" y="19"/>
                    <a:pt x="29" y="19"/>
                  </a:cubicBezTo>
                  <a:cubicBezTo>
                    <a:pt x="30" y="15"/>
                    <a:pt x="32" y="12"/>
                    <a:pt x="33" y="9"/>
                  </a:cubicBezTo>
                  <a:close/>
                  <a:moveTo>
                    <a:pt x="1" y="107"/>
                  </a:moveTo>
                  <a:cubicBezTo>
                    <a:pt x="1" y="107"/>
                    <a:pt x="1" y="107"/>
                    <a:pt x="1" y="107"/>
                  </a:cubicBezTo>
                  <a:cubicBezTo>
                    <a:pt x="0" y="104"/>
                    <a:pt x="0" y="101"/>
                    <a:pt x="0" y="99"/>
                  </a:cubicBezTo>
                  <a:cubicBezTo>
                    <a:pt x="0" y="96"/>
                    <a:pt x="1" y="92"/>
                    <a:pt x="3" y="90"/>
                  </a:cubicBezTo>
                  <a:cubicBezTo>
                    <a:pt x="4" y="90"/>
                    <a:pt x="5" y="89"/>
                    <a:pt x="5" y="89"/>
                  </a:cubicBezTo>
                  <a:cubicBezTo>
                    <a:pt x="8" y="88"/>
                    <a:pt x="11" y="89"/>
                    <a:pt x="13" y="90"/>
                  </a:cubicBezTo>
                  <a:cubicBezTo>
                    <a:pt x="14" y="91"/>
                    <a:pt x="16" y="91"/>
                    <a:pt x="17" y="92"/>
                  </a:cubicBezTo>
                  <a:cubicBezTo>
                    <a:pt x="19" y="94"/>
                    <a:pt x="20" y="95"/>
                    <a:pt x="22" y="96"/>
                  </a:cubicBezTo>
                  <a:cubicBezTo>
                    <a:pt x="22" y="96"/>
                    <a:pt x="23" y="96"/>
                    <a:pt x="23" y="96"/>
                  </a:cubicBezTo>
                  <a:cubicBezTo>
                    <a:pt x="22" y="99"/>
                    <a:pt x="22" y="102"/>
                    <a:pt x="22" y="105"/>
                  </a:cubicBezTo>
                  <a:cubicBezTo>
                    <a:pt x="19" y="105"/>
                    <a:pt x="17" y="107"/>
                    <a:pt x="15" y="109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13" y="109"/>
                    <a:pt x="12" y="111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3"/>
                    <a:pt x="13" y="115"/>
                    <a:pt x="13" y="116"/>
                  </a:cubicBezTo>
                  <a:cubicBezTo>
                    <a:pt x="11" y="116"/>
                    <a:pt x="10" y="115"/>
                    <a:pt x="9" y="114"/>
                  </a:cubicBezTo>
                  <a:cubicBezTo>
                    <a:pt x="6" y="113"/>
                    <a:pt x="4" y="111"/>
                    <a:pt x="1" y="109"/>
                  </a:cubicBezTo>
                  <a:cubicBezTo>
                    <a:pt x="1" y="109"/>
                    <a:pt x="1" y="107"/>
                    <a:pt x="1" y="10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8"/>
                    <a:pt x="33" y="65"/>
                    <a:pt x="30" y="71"/>
                  </a:cubicBezTo>
                  <a:cubicBezTo>
                    <a:pt x="30" y="71"/>
                    <a:pt x="29" y="71"/>
                    <a:pt x="28" y="71"/>
                  </a:cubicBezTo>
                  <a:cubicBezTo>
                    <a:pt x="26" y="71"/>
                    <a:pt x="23" y="70"/>
                    <a:pt x="21" y="70"/>
                  </a:cubicBezTo>
                  <a:cubicBezTo>
                    <a:pt x="18" y="69"/>
                    <a:pt x="16" y="69"/>
                    <a:pt x="13" y="68"/>
                  </a:cubicBezTo>
                  <a:cubicBezTo>
                    <a:pt x="13" y="67"/>
                    <a:pt x="14" y="65"/>
                    <a:pt x="14" y="64"/>
                  </a:cubicBezTo>
                  <a:cubicBezTo>
                    <a:pt x="16" y="57"/>
                    <a:pt x="18" y="51"/>
                    <a:pt x="21" y="44"/>
                  </a:cubicBezTo>
                  <a:cubicBezTo>
                    <a:pt x="23" y="45"/>
                    <a:pt x="26" y="45"/>
                    <a:pt x="29" y="46"/>
                  </a:cubicBezTo>
                  <a:cubicBezTo>
                    <a:pt x="30" y="47"/>
                    <a:pt x="33" y="48"/>
                    <a:pt x="35" y="48"/>
                  </a:cubicBezTo>
                  <a:cubicBezTo>
                    <a:pt x="35" y="48"/>
                    <a:pt x="36" y="48"/>
                    <a:pt x="36" y="48"/>
                  </a:cubicBezTo>
                  <a:cubicBezTo>
                    <a:pt x="36" y="49"/>
                    <a:pt x="36" y="51"/>
                    <a:pt x="36" y="52"/>
                  </a:cubicBezTo>
                  <a:close/>
                  <a:moveTo>
                    <a:pt x="87" y="76"/>
                  </a:moveTo>
                  <a:cubicBezTo>
                    <a:pt x="87" y="76"/>
                    <a:pt x="87" y="76"/>
                    <a:pt x="87" y="76"/>
                  </a:cubicBezTo>
                  <a:cubicBezTo>
                    <a:pt x="86" y="71"/>
                    <a:pt x="84" y="66"/>
                    <a:pt x="82" y="62"/>
                  </a:cubicBezTo>
                  <a:cubicBezTo>
                    <a:pt x="84" y="63"/>
                    <a:pt x="86" y="63"/>
                    <a:pt x="88" y="64"/>
                  </a:cubicBezTo>
                  <a:cubicBezTo>
                    <a:pt x="89" y="64"/>
                    <a:pt x="90" y="64"/>
                    <a:pt x="91" y="65"/>
                  </a:cubicBezTo>
                  <a:cubicBezTo>
                    <a:pt x="90" y="67"/>
                    <a:pt x="90" y="70"/>
                    <a:pt x="88" y="72"/>
                  </a:cubicBezTo>
                  <a:cubicBezTo>
                    <a:pt x="88" y="73"/>
                    <a:pt x="87" y="75"/>
                    <a:pt x="87" y="76"/>
                  </a:cubicBezTo>
                  <a:close/>
                  <a:moveTo>
                    <a:pt x="166" y="108"/>
                  </a:moveTo>
                  <a:cubicBezTo>
                    <a:pt x="166" y="108"/>
                    <a:pt x="166" y="108"/>
                    <a:pt x="166" y="108"/>
                  </a:cubicBezTo>
                  <a:cubicBezTo>
                    <a:pt x="166" y="108"/>
                    <a:pt x="165" y="109"/>
                    <a:pt x="165" y="109"/>
                  </a:cubicBezTo>
                  <a:cubicBezTo>
                    <a:pt x="165" y="109"/>
                    <a:pt x="165" y="109"/>
                    <a:pt x="164" y="110"/>
                  </a:cubicBezTo>
                  <a:cubicBezTo>
                    <a:pt x="164" y="110"/>
                    <a:pt x="164" y="110"/>
                    <a:pt x="163" y="110"/>
                  </a:cubicBezTo>
                  <a:cubicBezTo>
                    <a:pt x="162" y="110"/>
                    <a:pt x="160" y="110"/>
                    <a:pt x="158" y="109"/>
                  </a:cubicBezTo>
                  <a:cubicBezTo>
                    <a:pt x="155" y="108"/>
                    <a:pt x="151" y="106"/>
                    <a:pt x="148" y="105"/>
                  </a:cubicBezTo>
                  <a:cubicBezTo>
                    <a:pt x="140" y="102"/>
                    <a:pt x="133" y="100"/>
                    <a:pt x="125" y="99"/>
                  </a:cubicBezTo>
                  <a:cubicBezTo>
                    <a:pt x="125" y="99"/>
                    <a:pt x="125" y="99"/>
                    <a:pt x="125" y="99"/>
                  </a:cubicBezTo>
                  <a:cubicBezTo>
                    <a:pt x="124" y="94"/>
                    <a:pt x="124" y="89"/>
                    <a:pt x="123" y="84"/>
                  </a:cubicBezTo>
                  <a:cubicBezTo>
                    <a:pt x="122" y="82"/>
                    <a:pt x="122" y="80"/>
                    <a:pt x="121" y="78"/>
                  </a:cubicBezTo>
                  <a:cubicBezTo>
                    <a:pt x="122" y="78"/>
                    <a:pt x="124" y="78"/>
                    <a:pt x="125" y="79"/>
                  </a:cubicBezTo>
                  <a:cubicBezTo>
                    <a:pt x="128" y="80"/>
                    <a:pt x="131" y="81"/>
                    <a:pt x="135" y="82"/>
                  </a:cubicBezTo>
                  <a:cubicBezTo>
                    <a:pt x="138" y="84"/>
                    <a:pt x="142" y="85"/>
                    <a:pt x="145" y="87"/>
                  </a:cubicBezTo>
                  <a:cubicBezTo>
                    <a:pt x="147" y="87"/>
                    <a:pt x="148" y="88"/>
                    <a:pt x="150" y="89"/>
                  </a:cubicBezTo>
                  <a:cubicBezTo>
                    <a:pt x="152" y="90"/>
                    <a:pt x="153" y="91"/>
                    <a:pt x="155" y="90"/>
                  </a:cubicBezTo>
                  <a:cubicBezTo>
                    <a:pt x="155" y="90"/>
                    <a:pt x="155" y="89"/>
                    <a:pt x="155" y="89"/>
                  </a:cubicBezTo>
                  <a:cubicBezTo>
                    <a:pt x="157" y="91"/>
                    <a:pt x="159" y="93"/>
                    <a:pt x="160" y="95"/>
                  </a:cubicBezTo>
                  <a:cubicBezTo>
                    <a:pt x="163" y="98"/>
                    <a:pt x="166" y="102"/>
                    <a:pt x="169" y="104"/>
                  </a:cubicBezTo>
                  <a:cubicBezTo>
                    <a:pt x="169" y="104"/>
                    <a:pt x="170" y="104"/>
                    <a:pt x="170" y="105"/>
                  </a:cubicBezTo>
                  <a:cubicBezTo>
                    <a:pt x="169" y="106"/>
                    <a:pt x="168" y="107"/>
                    <a:pt x="166" y="108"/>
                  </a:cubicBezTo>
                  <a:close/>
                  <a:moveTo>
                    <a:pt x="122" y="131"/>
                  </a:moveTo>
                  <a:cubicBezTo>
                    <a:pt x="122" y="131"/>
                    <a:pt x="122" y="131"/>
                    <a:pt x="122" y="131"/>
                  </a:cubicBezTo>
                  <a:cubicBezTo>
                    <a:pt x="123" y="129"/>
                    <a:pt x="123" y="127"/>
                    <a:pt x="123" y="125"/>
                  </a:cubicBezTo>
                  <a:cubicBezTo>
                    <a:pt x="126" y="126"/>
                    <a:pt x="128" y="126"/>
                    <a:pt x="130" y="126"/>
                  </a:cubicBezTo>
                  <a:cubicBezTo>
                    <a:pt x="133" y="126"/>
                    <a:pt x="137" y="127"/>
                    <a:pt x="140" y="127"/>
                  </a:cubicBezTo>
                  <a:cubicBezTo>
                    <a:pt x="140" y="127"/>
                    <a:pt x="140" y="127"/>
                    <a:pt x="140" y="127"/>
                  </a:cubicBezTo>
                  <a:cubicBezTo>
                    <a:pt x="133" y="131"/>
                    <a:pt x="127" y="136"/>
                    <a:pt x="120" y="140"/>
                  </a:cubicBezTo>
                  <a:cubicBezTo>
                    <a:pt x="121" y="137"/>
                    <a:pt x="122" y="134"/>
                    <a:pt x="122" y="131"/>
                  </a:cubicBezTo>
                  <a:close/>
                </a:path>
              </a:pathLst>
            </a:custGeom>
            <a:solidFill>
              <a:srgbClr val="FF9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1" name="ïṣļiḋê">
              <a:extLst>
                <a:ext uri="{FF2B5EF4-FFF2-40B4-BE49-F238E27FC236}">
                  <a16:creationId xmlns:a16="http://schemas.microsoft.com/office/drawing/2014/main" id="{D1CC312C-18D3-4B2D-87E3-D026CECE7602}"/>
                </a:ext>
              </a:extLst>
            </p:cNvPr>
            <p:cNvSpPr/>
            <p:nvPr/>
          </p:nvSpPr>
          <p:spPr bwMode="auto">
            <a:xfrm>
              <a:off x="6915955" y="4349132"/>
              <a:ext cx="62163" cy="59202"/>
            </a:xfrm>
            <a:custGeom>
              <a:avLst/>
              <a:gdLst>
                <a:gd name="T0" fmla="*/ 20 w 20"/>
                <a:gd name="T1" fmla="*/ 14 h 19"/>
                <a:gd name="T2" fmla="*/ 20 w 20"/>
                <a:gd name="T3" fmla="*/ 14 h 19"/>
                <a:gd name="T4" fmla="*/ 20 w 20"/>
                <a:gd name="T5" fmla="*/ 15 h 19"/>
                <a:gd name="T6" fmla="*/ 19 w 20"/>
                <a:gd name="T7" fmla="*/ 15 h 19"/>
                <a:gd name="T8" fmla="*/ 17 w 20"/>
                <a:gd name="T9" fmla="*/ 17 h 19"/>
                <a:gd name="T10" fmla="*/ 3 w 20"/>
                <a:gd name="T11" fmla="*/ 14 h 19"/>
                <a:gd name="T12" fmla="*/ 4 w 20"/>
                <a:gd name="T13" fmla="*/ 0 h 19"/>
                <a:gd name="T14" fmla="*/ 4 w 20"/>
                <a:gd name="T15" fmla="*/ 0 h 19"/>
                <a:gd name="T16" fmla="*/ 6 w 20"/>
                <a:gd name="T17" fmla="*/ 2 h 19"/>
                <a:gd name="T18" fmla="*/ 14 w 20"/>
                <a:gd name="T19" fmla="*/ 3 h 19"/>
                <a:gd name="T20" fmla="*/ 19 w 20"/>
                <a:gd name="T21" fmla="*/ 8 h 19"/>
                <a:gd name="T22" fmla="*/ 20 w 20"/>
                <a:gd name="T23" fmla="*/ 11 h 19"/>
                <a:gd name="T24" fmla="*/ 20 w 20"/>
                <a:gd name="T25" fmla="*/ 11 h 19"/>
                <a:gd name="T26" fmla="*/ 20 w 20"/>
                <a:gd name="T27" fmla="*/ 11 h 19"/>
                <a:gd name="T28" fmla="*/ 20 w 20"/>
                <a:gd name="T29" fmla="*/ 12 h 19"/>
                <a:gd name="T30" fmla="*/ 20 w 20"/>
                <a:gd name="T31" fmla="*/ 12 h 19"/>
                <a:gd name="T32" fmla="*/ 20 w 20"/>
                <a:gd name="T33" fmla="*/ 13 h 19"/>
                <a:gd name="T34" fmla="*/ 20 w 20"/>
                <a:gd name="T35" fmla="*/ 13 h 19"/>
                <a:gd name="T36" fmla="*/ 20 w 20"/>
                <a:gd name="T37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19">
                  <a:moveTo>
                    <a:pt x="20" y="14"/>
                  </a:move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4"/>
                    <a:pt x="20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8" y="16"/>
                    <a:pt x="18" y="16"/>
                    <a:pt x="17" y="17"/>
                  </a:cubicBezTo>
                  <a:cubicBezTo>
                    <a:pt x="12" y="19"/>
                    <a:pt x="6" y="18"/>
                    <a:pt x="3" y="14"/>
                  </a:cubicBezTo>
                  <a:cubicBezTo>
                    <a:pt x="0" y="10"/>
                    <a:pt x="1" y="4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1"/>
                    <a:pt x="6" y="2"/>
                  </a:cubicBezTo>
                  <a:cubicBezTo>
                    <a:pt x="9" y="2"/>
                    <a:pt x="11" y="2"/>
                    <a:pt x="14" y="3"/>
                  </a:cubicBezTo>
                  <a:cubicBezTo>
                    <a:pt x="16" y="4"/>
                    <a:pt x="18" y="6"/>
                    <a:pt x="19" y="8"/>
                  </a:cubicBezTo>
                  <a:cubicBezTo>
                    <a:pt x="19" y="9"/>
                    <a:pt x="20" y="9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4"/>
                    <a:pt x="20" y="14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2" name="íṧ1íďe">
              <a:extLst>
                <a:ext uri="{FF2B5EF4-FFF2-40B4-BE49-F238E27FC236}">
                  <a16:creationId xmlns:a16="http://schemas.microsoft.com/office/drawing/2014/main" id="{08A396E3-B5DF-4F84-AB07-ECA54293F290}"/>
                </a:ext>
              </a:extLst>
            </p:cNvPr>
            <p:cNvSpPr/>
            <p:nvPr/>
          </p:nvSpPr>
          <p:spPr bwMode="auto">
            <a:xfrm>
              <a:off x="6989958" y="4656985"/>
              <a:ext cx="0" cy="2960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0 h 1"/>
                <a:gd name="T4" fmla="*/ 1 h 1"/>
                <a:gd name="T5" fmla="*/ 1 h 1"/>
                <a:gd name="T6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3" name="îṩľiḑè">
              <a:extLst>
                <a:ext uri="{FF2B5EF4-FFF2-40B4-BE49-F238E27FC236}">
                  <a16:creationId xmlns:a16="http://schemas.microsoft.com/office/drawing/2014/main" id="{5EDAD88C-DC0E-4D59-ACB3-677043648695}"/>
                </a:ext>
              </a:extLst>
            </p:cNvPr>
            <p:cNvSpPr/>
            <p:nvPr/>
          </p:nvSpPr>
          <p:spPr bwMode="auto">
            <a:xfrm>
              <a:off x="6559260" y="4457177"/>
              <a:ext cx="618666" cy="301933"/>
            </a:xfrm>
            <a:custGeom>
              <a:avLst/>
              <a:gdLst>
                <a:gd name="T0" fmla="*/ 47 w 201"/>
                <a:gd name="T1" fmla="*/ 97 h 98"/>
                <a:gd name="T2" fmla="*/ 40 w 201"/>
                <a:gd name="T3" fmla="*/ 95 h 98"/>
                <a:gd name="T4" fmla="*/ 6 w 201"/>
                <a:gd name="T5" fmla="*/ 78 h 98"/>
                <a:gd name="T6" fmla="*/ 0 w 201"/>
                <a:gd name="T7" fmla="*/ 57 h 98"/>
                <a:gd name="T8" fmla="*/ 33 w 201"/>
                <a:gd name="T9" fmla="*/ 81 h 98"/>
                <a:gd name="T10" fmla="*/ 49 w 201"/>
                <a:gd name="T11" fmla="*/ 84 h 98"/>
                <a:gd name="T12" fmla="*/ 21 w 201"/>
                <a:gd name="T13" fmla="*/ 71 h 98"/>
                <a:gd name="T14" fmla="*/ 19 w 201"/>
                <a:gd name="T15" fmla="*/ 61 h 98"/>
                <a:gd name="T16" fmla="*/ 78 w 201"/>
                <a:gd name="T17" fmla="*/ 87 h 98"/>
                <a:gd name="T18" fmla="*/ 69 w 201"/>
                <a:gd name="T19" fmla="*/ 95 h 98"/>
                <a:gd name="T20" fmla="*/ 82 w 201"/>
                <a:gd name="T21" fmla="*/ 58 h 98"/>
                <a:gd name="T22" fmla="*/ 82 w 201"/>
                <a:gd name="T23" fmla="*/ 57 h 98"/>
                <a:gd name="T24" fmla="*/ 82 w 201"/>
                <a:gd name="T25" fmla="*/ 57 h 98"/>
                <a:gd name="T26" fmla="*/ 82 w 201"/>
                <a:gd name="T27" fmla="*/ 56 h 98"/>
                <a:gd name="T28" fmla="*/ 82 w 201"/>
                <a:gd name="T29" fmla="*/ 56 h 98"/>
                <a:gd name="T30" fmla="*/ 83 w 201"/>
                <a:gd name="T31" fmla="*/ 56 h 98"/>
                <a:gd name="T32" fmla="*/ 84 w 201"/>
                <a:gd name="T33" fmla="*/ 56 h 98"/>
                <a:gd name="T34" fmla="*/ 93 w 201"/>
                <a:gd name="T35" fmla="*/ 57 h 98"/>
                <a:gd name="T36" fmla="*/ 104 w 201"/>
                <a:gd name="T37" fmla="*/ 62 h 98"/>
                <a:gd name="T38" fmla="*/ 106 w 201"/>
                <a:gd name="T39" fmla="*/ 68 h 98"/>
                <a:gd name="T40" fmla="*/ 103 w 201"/>
                <a:gd name="T41" fmla="*/ 65 h 98"/>
                <a:gd name="T42" fmla="*/ 96 w 201"/>
                <a:gd name="T43" fmla="*/ 61 h 98"/>
                <a:gd name="T44" fmla="*/ 100 w 201"/>
                <a:gd name="T45" fmla="*/ 68 h 98"/>
                <a:gd name="T46" fmla="*/ 82 w 201"/>
                <a:gd name="T47" fmla="*/ 58 h 98"/>
                <a:gd name="T48" fmla="*/ 46 w 201"/>
                <a:gd name="T49" fmla="*/ 62 h 98"/>
                <a:gd name="T50" fmla="*/ 51 w 201"/>
                <a:gd name="T51" fmla="*/ 65 h 98"/>
                <a:gd name="T52" fmla="*/ 46 w 201"/>
                <a:gd name="T53" fmla="*/ 62 h 98"/>
                <a:gd name="T54" fmla="*/ 188 w 201"/>
                <a:gd name="T55" fmla="*/ 13 h 98"/>
                <a:gd name="T56" fmla="*/ 189 w 201"/>
                <a:gd name="T57" fmla="*/ 20 h 98"/>
                <a:gd name="T58" fmla="*/ 187 w 201"/>
                <a:gd name="T59" fmla="*/ 36 h 98"/>
                <a:gd name="T60" fmla="*/ 192 w 201"/>
                <a:gd name="T61" fmla="*/ 29 h 98"/>
                <a:gd name="T62" fmla="*/ 191 w 201"/>
                <a:gd name="T63" fmla="*/ 3 h 98"/>
                <a:gd name="T64" fmla="*/ 189 w 201"/>
                <a:gd name="T65" fmla="*/ 0 h 98"/>
                <a:gd name="T66" fmla="*/ 200 w 201"/>
                <a:gd name="T67" fmla="*/ 13 h 98"/>
                <a:gd name="T68" fmla="*/ 201 w 201"/>
                <a:gd name="T69" fmla="*/ 22 h 98"/>
                <a:gd name="T70" fmla="*/ 195 w 201"/>
                <a:gd name="T71" fmla="*/ 40 h 98"/>
                <a:gd name="T72" fmla="*/ 191 w 201"/>
                <a:gd name="T73" fmla="*/ 44 h 98"/>
                <a:gd name="T74" fmla="*/ 175 w 201"/>
                <a:gd name="T75" fmla="*/ 59 h 98"/>
                <a:gd name="T76" fmla="*/ 180 w 201"/>
                <a:gd name="T77" fmla="*/ 28 h 98"/>
                <a:gd name="T78" fmla="*/ 154 w 201"/>
                <a:gd name="T79" fmla="*/ 94 h 98"/>
                <a:gd name="T80" fmla="*/ 154 w 201"/>
                <a:gd name="T81" fmla="*/ 96 h 98"/>
                <a:gd name="T82" fmla="*/ 148 w 201"/>
                <a:gd name="T83" fmla="*/ 95 h 98"/>
                <a:gd name="T84" fmla="*/ 137 w 201"/>
                <a:gd name="T85" fmla="*/ 94 h 98"/>
                <a:gd name="T86" fmla="*/ 118 w 201"/>
                <a:gd name="T87" fmla="*/ 92 h 98"/>
                <a:gd name="T88" fmla="*/ 111 w 201"/>
                <a:gd name="T89" fmla="*/ 53 h 98"/>
                <a:gd name="T90" fmla="*/ 116 w 201"/>
                <a:gd name="T91" fmla="*/ 65 h 98"/>
                <a:gd name="T92" fmla="*/ 134 w 201"/>
                <a:gd name="T93" fmla="*/ 83 h 98"/>
                <a:gd name="T94" fmla="*/ 146 w 201"/>
                <a:gd name="T95" fmla="*/ 88 h 98"/>
                <a:gd name="T96" fmla="*/ 127 w 201"/>
                <a:gd name="T97" fmla="*/ 72 h 98"/>
                <a:gd name="T98" fmla="*/ 127 w 201"/>
                <a:gd name="T99" fmla="*/ 65 h 98"/>
                <a:gd name="T100" fmla="*/ 152 w 201"/>
                <a:gd name="T101" fmla="*/ 78 h 98"/>
                <a:gd name="T102" fmla="*/ 157 w 201"/>
                <a:gd name="T103" fmla="*/ 81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1" h="98">
                  <a:moveTo>
                    <a:pt x="47" y="97"/>
                  </a:moveTo>
                  <a:cubicBezTo>
                    <a:pt x="47" y="97"/>
                    <a:pt x="47" y="97"/>
                    <a:pt x="47" y="97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5" y="97"/>
                    <a:pt x="42" y="96"/>
                    <a:pt x="40" y="95"/>
                  </a:cubicBezTo>
                  <a:cubicBezTo>
                    <a:pt x="36" y="94"/>
                    <a:pt x="32" y="93"/>
                    <a:pt x="28" y="92"/>
                  </a:cubicBezTo>
                  <a:cubicBezTo>
                    <a:pt x="20" y="90"/>
                    <a:pt x="13" y="83"/>
                    <a:pt x="6" y="78"/>
                  </a:cubicBezTo>
                  <a:cubicBezTo>
                    <a:pt x="6" y="77"/>
                    <a:pt x="6" y="76"/>
                    <a:pt x="5" y="75"/>
                  </a:cubicBezTo>
                  <a:cubicBezTo>
                    <a:pt x="4" y="69"/>
                    <a:pt x="2" y="63"/>
                    <a:pt x="0" y="57"/>
                  </a:cubicBezTo>
                  <a:cubicBezTo>
                    <a:pt x="5" y="64"/>
                    <a:pt x="11" y="70"/>
                    <a:pt x="18" y="74"/>
                  </a:cubicBezTo>
                  <a:cubicBezTo>
                    <a:pt x="23" y="77"/>
                    <a:pt x="28" y="79"/>
                    <a:pt x="33" y="81"/>
                  </a:cubicBezTo>
                  <a:cubicBezTo>
                    <a:pt x="38" y="83"/>
                    <a:pt x="43" y="86"/>
                    <a:pt x="48" y="86"/>
                  </a:cubicBezTo>
                  <a:cubicBezTo>
                    <a:pt x="49" y="87"/>
                    <a:pt x="50" y="85"/>
                    <a:pt x="49" y="84"/>
                  </a:cubicBezTo>
                  <a:cubicBezTo>
                    <a:pt x="45" y="82"/>
                    <a:pt x="41" y="80"/>
                    <a:pt x="36" y="78"/>
                  </a:cubicBezTo>
                  <a:cubicBezTo>
                    <a:pt x="31" y="76"/>
                    <a:pt x="26" y="74"/>
                    <a:pt x="21" y="71"/>
                  </a:cubicBezTo>
                  <a:cubicBezTo>
                    <a:pt x="13" y="67"/>
                    <a:pt x="5" y="61"/>
                    <a:pt x="0" y="52"/>
                  </a:cubicBezTo>
                  <a:cubicBezTo>
                    <a:pt x="6" y="56"/>
                    <a:pt x="13" y="59"/>
                    <a:pt x="19" y="61"/>
                  </a:cubicBezTo>
                  <a:cubicBezTo>
                    <a:pt x="26" y="64"/>
                    <a:pt x="33" y="66"/>
                    <a:pt x="40" y="68"/>
                  </a:cubicBezTo>
                  <a:cubicBezTo>
                    <a:pt x="54" y="72"/>
                    <a:pt x="68" y="76"/>
                    <a:pt x="78" y="87"/>
                  </a:cubicBezTo>
                  <a:cubicBezTo>
                    <a:pt x="79" y="89"/>
                    <a:pt x="80" y="91"/>
                    <a:pt x="82" y="93"/>
                  </a:cubicBezTo>
                  <a:cubicBezTo>
                    <a:pt x="78" y="93"/>
                    <a:pt x="74" y="94"/>
                    <a:pt x="69" y="95"/>
                  </a:cubicBezTo>
                  <a:cubicBezTo>
                    <a:pt x="62" y="96"/>
                    <a:pt x="54" y="96"/>
                    <a:pt x="47" y="97"/>
                  </a:cubicBezTo>
                  <a:close/>
                  <a:moveTo>
                    <a:pt x="82" y="58"/>
                  </a:moveTo>
                  <a:cubicBezTo>
                    <a:pt x="82" y="58"/>
                    <a:pt x="82" y="58"/>
                    <a:pt x="82" y="58"/>
                  </a:cubicBezTo>
                  <a:cubicBezTo>
                    <a:pt x="82" y="58"/>
                    <a:pt x="82" y="58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7" y="56"/>
                    <a:pt x="90" y="56"/>
                    <a:pt x="93" y="57"/>
                  </a:cubicBezTo>
                  <a:cubicBezTo>
                    <a:pt x="95" y="58"/>
                    <a:pt x="98" y="59"/>
                    <a:pt x="101" y="60"/>
                  </a:cubicBezTo>
                  <a:cubicBezTo>
                    <a:pt x="102" y="61"/>
                    <a:pt x="103" y="62"/>
                    <a:pt x="104" y="62"/>
                  </a:cubicBezTo>
                  <a:cubicBezTo>
                    <a:pt x="104" y="63"/>
                    <a:pt x="105" y="64"/>
                    <a:pt x="106" y="64"/>
                  </a:cubicBezTo>
                  <a:cubicBezTo>
                    <a:pt x="106" y="65"/>
                    <a:pt x="106" y="67"/>
                    <a:pt x="106" y="68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5" y="68"/>
                    <a:pt x="104" y="66"/>
                    <a:pt x="103" y="65"/>
                  </a:cubicBezTo>
                  <a:cubicBezTo>
                    <a:pt x="102" y="63"/>
                    <a:pt x="100" y="61"/>
                    <a:pt x="98" y="60"/>
                  </a:cubicBezTo>
                  <a:cubicBezTo>
                    <a:pt x="97" y="60"/>
                    <a:pt x="96" y="61"/>
                    <a:pt x="96" y="61"/>
                  </a:cubicBezTo>
                  <a:cubicBezTo>
                    <a:pt x="97" y="64"/>
                    <a:pt x="99" y="66"/>
                    <a:pt x="100" y="67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95" y="64"/>
                    <a:pt x="89" y="62"/>
                    <a:pt x="83" y="60"/>
                  </a:cubicBezTo>
                  <a:cubicBezTo>
                    <a:pt x="83" y="59"/>
                    <a:pt x="82" y="58"/>
                    <a:pt x="82" y="58"/>
                  </a:cubicBezTo>
                  <a:close/>
                  <a:moveTo>
                    <a:pt x="46" y="62"/>
                  </a:moveTo>
                  <a:cubicBezTo>
                    <a:pt x="46" y="62"/>
                    <a:pt x="46" y="62"/>
                    <a:pt x="46" y="62"/>
                  </a:cubicBezTo>
                  <a:cubicBezTo>
                    <a:pt x="46" y="61"/>
                    <a:pt x="45" y="61"/>
                    <a:pt x="45" y="60"/>
                  </a:cubicBezTo>
                  <a:cubicBezTo>
                    <a:pt x="47" y="62"/>
                    <a:pt x="49" y="64"/>
                    <a:pt x="51" y="65"/>
                  </a:cubicBezTo>
                  <a:cubicBezTo>
                    <a:pt x="49" y="65"/>
                    <a:pt x="48" y="64"/>
                    <a:pt x="46" y="64"/>
                  </a:cubicBezTo>
                  <a:cubicBezTo>
                    <a:pt x="47" y="63"/>
                    <a:pt x="47" y="63"/>
                    <a:pt x="46" y="62"/>
                  </a:cubicBezTo>
                  <a:close/>
                  <a:moveTo>
                    <a:pt x="188" y="13"/>
                  </a:moveTo>
                  <a:cubicBezTo>
                    <a:pt x="188" y="13"/>
                    <a:pt x="188" y="13"/>
                    <a:pt x="188" y="13"/>
                  </a:cubicBezTo>
                  <a:cubicBezTo>
                    <a:pt x="188" y="11"/>
                    <a:pt x="189" y="10"/>
                    <a:pt x="189" y="9"/>
                  </a:cubicBezTo>
                  <a:cubicBezTo>
                    <a:pt x="189" y="13"/>
                    <a:pt x="189" y="17"/>
                    <a:pt x="189" y="20"/>
                  </a:cubicBezTo>
                  <a:cubicBezTo>
                    <a:pt x="189" y="23"/>
                    <a:pt x="188" y="26"/>
                    <a:pt x="188" y="28"/>
                  </a:cubicBezTo>
                  <a:cubicBezTo>
                    <a:pt x="187" y="31"/>
                    <a:pt x="186" y="34"/>
                    <a:pt x="187" y="36"/>
                  </a:cubicBezTo>
                  <a:cubicBezTo>
                    <a:pt x="187" y="38"/>
                    <a:pt x="188" y="38"/>
                    <a:pt x="189" y="37"/>
                  </a:cubicBezTo>
                  <a:cubicBezTo>
                    <a:pt x="190" y="35"/>
                    <a:pt x="191" y="32"/>
                    <a:pt x="192" y="29"/>
                  </a:cubicBezTo>
                  <a:cubicBezTo>
                    <a:pt x="192" y="26"/>
                    <a:pt x="193" y="24"/>
                    <a:pt x="193" y="20"/>
                  </a:cubicBezTo>
                  <a:cubicBezTo>
                    <a:pt x="193" y="15"/>
                    <a:pt x="193" y="9"/>
                    <a:pt x="191" y="3"/>
                  </a:cubicBezTo>
                  <a:cubicBezTo>
                    <a:pt x="191" y="2"/>
                    <a:pt x="190" y="2"/>
                    <a:pt x="189" y="2"/>
                  </a:cubicBezTo>
                  <a:cubicBezTo>
                    <a:pt x="189" y="1"/>
                    <a:pt x="189" y="1"/>
                    <a:pt x="189" y="0"/>
                  </a:cubicBezTo>
                  <a:cubicBezTo>
                    <a:pt x="190" y="1"/>
                    <a:pt x="192" y="2"/>
                    <a:pt x="193" y="3"/>
                  </a:cubicBezTo>
                  <a:cubicBezTo>
                    <a:pt x="196" y="6"/>
                    <a:pt x="198" y="9"/>
                    <a:pt x="200" y="13"/>
                  </a:cubicBezTo>
                  <a:cubicBezTo>
                    <a:pt x="200" y="13"/>
                    <a:pt x="201" y="14"/>
                    <a:pt x="201" y="14"/>
                  </a:cubicBezTo>
                  <a:cubicBezTo>
                    <a:pt x="201" y="17"/>
                    <a:pt x="201" y="19"/>
                    <a:pt x="201" y="22"/>
                  </a:cubicBezTo>
                  <a:cubicBezTo>
                    <a:pt x="201" y="26"/>
                    <a:pt x="200" y="29"/>
                    <a:pt x="199" y="32"/>
                  </a:cubicBezTo>
                  <a:cubicBezTo>
                    <a:pt x="198" y="35"/>
                    <a:pt x="196" y="37"/>
                    <a:pt x="195" y="40"/>
                  </a:cubicBezTo>
                  <a:cubicBezTo>
                    <a:pt x="194" y="41"/>
                    <a:pt x="193" y="42"/>
                    <a:pt x="192" y="43"/>
                  </a:cubicBezTo>
                  <a:cubicBezTo>
                    <a:pt x="192" y="44"/>
                    <a:pt x="191" y="44"/>
                    <a:pt x="191" y="44"/>
                  </a:cubicBezTo>
                  <a:cubicBezTo>
                    <a:pt x="186" y="48"/>
                    <a:pt x="180" y="53"/>
                    <a:pt x="175" y="58"/>
                  </a:cubicBezTo>
                  <a:cubicBezTo>
                    <a:pt x="175" y="59"/>
                    <a:pt x="175" y="59"/>
                    <a:pt x="175" y="59"/>
                  </a:cubicBezTo>
                  <a:cubicBezTo>
                    <a:pt x="174" y="55"/>
                    <a:pt x="174" y="50"/>
                    <a:pt x="175" y="46"/>
                  </a:cubicBezTo>
                  <a:cubicBezTo>
                    <a:pt x="175" y="40"/>
                    <a:pt x="177" y="34"/>
                    <a:pt x="180" y="28"/>
                  </a:cubicBezTo>
                  <a:cubicBezTo>
                    <a:pt x="183" y="23"/>
                    <a:pt x="186" y="18"/>
                    <a:pt x="188" y="13"/>
                  </a:cubicBezTo>
                  <a:close/>
                  <a:moveTo>
                    <a:pt x="154" y="94"/>
                  </a:moveTo>
                  <a:cubicBezTo>
                    <a:pt x="154" y="94"/>
                    <a:pt x="154" y="94"/>
                    <a:pt x="154" y="94"/>
                  </a:cubicBezTo>
                  <a:cubicBezTo>
                    <a:pt x="154" y="95"/>
                    <a:pt x="154" y="96"/>
                    <a:pt x="154" y="96"/>
                  </a:cubicBezTo>
                  <a:cubicBezTo>
                    <a:pt x="153" y="95"/>
                    <a:pt x="152" y="94"/>
                    <a:pt x="150" y="92"/>
                  </a:cubicBezTo>
                  <a:cubicBezTo>
                    <a:pt x="149" y="91"/>
                    <a:pt x="147" y="94"/>
                    <a:pt x="148" y="95"/>
                  </a:cubicBezTo>
                  <a:cubicBezTo>
                    <a:pt x="149" y="96"/>
                    <a:pt x="150" y="97"/>
                    <a:pt x="150" y="98"/>
                  </a:cubicBezTo>
                  <a:cubicBezTo>
                    <a:pt x="146" y="96"/>
                    <a:pt x="141" y="94"/>
                    <a:pt x="137" y="94"/>
                  </a:cubicBezTo>
                  <a:cubicBezTo>
                    <a:pt x="130" y="93"/>
                    <a:pt x="124" y="92"/>
                    <a:pt x="118" y="92"/>
                  </a:cubicBezTo>
                  <a:cubicBezTo>
                    <a:pt x="118" y="92"/>
                    <a:pt x="118" y="92"/>
                    <a:pt x="118" y="92"/>
                  </a:cubicBezTo>
                  <a:cubicBezTo>
                    <a:pt x="112" y="84"/>
                    <a:pt x="109" y="76"/>
                    <a:pt x="109" y="67"/>
                  </a:cubicBezTo>
                  <a:cubicBezTo>
                    <a:pt x="110" y="62"/>
                    <a:pt x="110" y="58"/>
                    <a:pt x="111" y="53"/>
                  </a:cubicBezTo>
                  <a:cubicBezTo>
                    <a:pt x="111" y="53"/>
                    <a:pt x="111" y="53"/>
                    <a:pt x="111" y="52"/>
                  </a:cubicBezTo>
                  <a:cubicBezTo>
                    <a:pt x="112" y="57"/>
                    <a:pt x="113" y="61"/>
                    <a:pt x="116" y="65"/>
                  </a:cubicBezTo>
                  <a:cubicBezTo>
                    <a:pt x="118" y="68"/>
                    <a:pt x="121" y="71"/>
                    <a:pt x="124" y="74"/>
                  </a:cubicBezTo>
                  <a:cubicBezTo>
                    <a:pt x="127" y="77"/>
                    <a:pt x="130" y="80"/>
                    <a:pt x="134" y="83"/>
                  </a:cubicBezTo>
                  <a:cubicBezTo>
                    <a:pt x="137" y="86"/>
                    <a:pt x="141" y="88"/>
                    <a:pt x="146" y="89"/>
                  </a:cubicBezTo>
                  <a:cubicBezTo>
                    <a:pt x="146" y="90"/>
                    <a:pt x="147" y="88"/>
                    <a:pt x="146" y="88"/>
                  </a:cubicBezTo>
                  <a:cubicBezTo>
                    <a:pt x="144" y="85"/>
                    <a:pt x="140" y="82"/>
                    <a:pt x="137" y="80"/>
                  </a:cubicBezTo>
                  <a:cubicBezTo>
                    <a:pt x="133" y="78"/>
                    <a:pt x="130" y="75"/>
                    <a:pt x="127" y="72"/>
                  </a:cubicBezTo>
                  <a:cubicBezTo>
                    <a:pt x="122" y="68"/>
                    <a:pt x="117" y="62"/>
                    <a:pt x="114" y="56"/>
                  </a:cubicBezTo>
                  <a:cubicBezTo>
                    <a:pt x="118" y="60"/>
                    <a:pt x="123" y="63"/>
                    <a:pt x="127" y="65"/>
                  </a:cubicBezTo>
                  <a:cubicBezTo>
                    <a:pt x="132" y="68"/>
                    <a:pt x="138" y="71"/>
                    <a:pt x="143" y="73"/>
                  </a:cubicBezTo>
                  <a:cubicBezTo>
                    <a:pt x="146" y="75"/>
                    <a:pt x="149" y="76"/>
                    <a:pt x="152" y="78"/>
                  </a:cubicBezTo>
                  <a:cubicBezTo>
                    <a:pt x="153" y="78"/>
                    <a:pt x="155" y="79"/>
                    <a:pt x="156" y="80"/>
                  </a:cubicBezTo>
                  <a:cubicBezTo>
                    <a:pt x="156" y="81"/>
                    <a:pt x="157" y="81"/>
                    <a:pt x="157" y="81"/>
                  </a:cubicBezTo>
                  <a:cubicBezTo>
                    <a:pt x="156" y="86"/>
                    <a:pt x="155" y="90"/>
                    <a:pt x="154" y="94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4" name="ïśļîḍê">
              <a:extLst>
                <a:ext uri="{FF2B5EF4-FFF2-40B4-BE49-F238E27FC236}">
                  <a16:creationId xmlns:a16="http://schemas.microsoft.com/office/drawing/2014/main" id="{8B524BE3-DF6F-4CCD-AD1F-1C7A18313DDA}"/>
                </a:ext>
              </a:extLst>
            </p:cNvPr>
            <p:cNvSpPr/>
            <p:nvPr/>
          </p:nvSpPr>
          <p:spPr bwMode="auto">
            <a:xfrm>
              <a:off x="5700824" y="4251448"/>
              <a:ext cx="707470" cy="550583"/>
            </a:xfrm>
            <a:custGeom>
              <a:avLst/>
              <a:gdLst>
                <a:gd name="T0" fmla="*/ 214 w 230"/>
                <a:gd name="T1" fmla="*/ 79 h 179"/>
                <a:gd name="T2" fmla="*/ 219 w 230"/>
                <a:gd name="T3" fmla="*/ 56 h 179"/>
                <a:gd name="T4" fmla="*/ 219 w 230"/>
                <a:gd name="T5" fmla="*/ 48 h 179"/>
                <a:gd name="T6" fmla="*/ 229 w 230"/>
                <a:gd name="T7" fmla="*/ 39 h 179"/>
                <a:gd name="T8" fmla="*/ 229 w 230"/>
                <a:gd name="T9" fmla="*/ 45 h 179"/>
                <a:gd name="T10" fmla="*/ 223 w 230"/>
                <a:gd name="T11" fmla="*/ 52 h 179"/>
                <a:gd name="T12" fmla="*/ 219 w 230"/>
                <a:gd name="T13" fmla="*/ 71 h 179"/>
                <a:gd name="T14" fmla="*/ 216 w 230"/>
                <a:gd name="T15" fmla="*/ 83 h 179"/>
                <a:gd name="T16" fmla="*/ 214 w 230"/>
                <a:gd name="T17" fmla="*/ 79 h 179"/>
                <a:gd name="T18" fmla="*/ 51 w 230"/>
                <a:gd name="T19" fmla="*/ 5 h 179"/>
                <a:gd name="T20" fmla="*/ 60 w 230"/>
                <a:gd name="T21" fmla="*/ 1 h 179"/>
                <a:gd name="T22" fmla="*/ 63 w 230"/>
                <a:gd name="T23" fmla="*/ 3 h 179"/>
                <a:gd name="T24" fmla="*/ 64 w 230"/>
                <a:gd name="T25" fmla="*/ 4 h 179"/>
                <a:gd name="T26" fmla="*/ 65 w 230"/>
                <a:gd name="T27" fmla="*/ 5 h 179"/>
                <a:gd name="T28" fmla="*/ 65 w 230"/>
                <a:gd name="T29" fmla="*/ 6 h 179"/>
                <a:gd name="T30" fmla="*/ 65 w 230"/>
                <a:gd name="T31" fmla="*/ 7 h 179"/>
                <a:gd name="T32" fmla="*/ 62 w 230"/>
                <a:gd name="T33" fmla="*/ 12 h 179"/>
                <a:gd name="T34" fmla="*/ 62 w 230"/>
                <a:gd name="T35" fmla="*/ 13 h 179"/>
                <a:gd name="T36" fmla="*/ 60 w 230"/>
                <a:gd name="T37" fmla="*/ 15 h 179"/>
                <a:gd name="T38" fmla="*/ 60 w 230"/>
                <a:gd name="T39" fmla="*/ 15 h 179"/>
                <a:gd name="T40" fmla="*/ 56 w 230"/>
                <a:gd name="T41" fmla="*/ 18 h 179"/>
                <a:gd name="T42" fmla="*/ 55 w 230"/>
                <a:gd name="T43" fmla="*/ 19 h 179"/>
                <a:gd name="T44" fmla="*/ 55 w 230"/>
                <a:gd name="T45" fmla="*/ 21 h 179"/>
                <a:gd name="T46" fmla="*/ 46 w 230"/>
                <a:gd name="T47" fmla="*/ 43 h 179"/>
                <a:gd name="T48" fmla="*/ 31 w 230"/>
                <a:gd name="T49" fmla="*/ 100 h 179"/>
                <a:gd name="T50" fmla="*/ 13 w 230"/>
                <a:gd name="T51" fmla="*/ 155 h 179"/>
                <a:gd name="T52" fmla="*/ 4 w 230"/>
                <a:gd name="T53" fmla="*/ 178 h 179"/>
                <a:gd name="T54" fmla="*/ 0 w 230"/>
                <a:gd name="T55" fmla="*/ 179 h 179"/>
                <a:gd name="T56" fmla="*/ 8 w 230"/>
                <a:gd name="T57" fmla="*/ 161 h 179"/>
                <a:gd name="T58" fmla="*/ 26 w 230"/>
                <a:gd name="T59" fmla="*/ 100 h 179"/>
                <a:gd name="T60" fmla="*/ 41 w 230"/>
                <a:gd name="T61" fmla="*/ 52 h 179"/>
                <a:gd name="T62" fmla="*/ 47 w 230"/>
                <a:gd name="T63" fmla="*/ 37 h 179"/>
                <a:gd name="T64" fmla="*/ 53 w 230"/>
                <a:gd name="T65" fmla="*/ 11 h 179"/>
                <a:gd name="T66" fmla="*/ 51 w 230"/>
                <a:gd name="T67" fmla="*/ 5 h 179"/>
                <a:gd name="T68" fmla="*/ 106 w 230"/>
                <a:gd name="T69" fmla="*/ 160 h 179"/>
                <a:gd name="T70" fmla="*/ 116 w 230"/>
                <a:gd name="T71" fmla="*/ 114 h 179"/>
                <a:gd name="T72" fmla="*/ 133 w 230"/>
                <a:gd name="T73" fmla="*/ 44 h 179"/>
                <a:gd name="T74" fmla="*/ 133 w 230"/>
                <a:gd name="T75" fmla="*/ 37 h 179"/>
                <a:gd name="T76" fmla="*/ 133 w 230"/>
                <a:gd name="T77" fmla="*/ 28 h 179"/>
                <a:gd name="T78" fmla="*/ 141 w 230"/>
                <a:gd name="T79" fmla="*/ 26 h 179"/>
                <a:gd name="T80" fmla="*/ 143 w 230"/>
                <a:gd name="T81" fmla="*/ 28 h 179"/>
                <a:gd name="T82" fmla="*/ 143 w 230"/>
                <a:gd name="T83" fmla="*/ 32 h 179"/>
                <a:gd name="T84" fmla="*/ 140 w 230"/>
                <a:gd name="T85" fmla="*/ 38 h 179"/>
                <a:gd name="T86" fmla="*/ 137 w 230"/>
                <a:gd name="T87" fmla="*/ 42 h 179"/>
                <a:gd name="T88" fmla="*/ 137 w 230"/>
                <a:gd name="T89" fmla="*/ 43 h 179"/>
                <a:gd name="T90" fmla="*/ 133 w 230"/>
                <a:gd name="T91" fmla="*/ 55 h 179"/>
                <a:gd name="T92" fmla="*/ 122 w 230"/>
                <a:gd name="T93" fmla="*/ 101 h 179"/>
                <a:gd name="T94" fmla="*/ 115 w 230"/>
                <a:gd name="T95" fmla="*/ 146 h 179"/>
                <a:gd name="T96" fmla="*/ 111 w 230"/>
                <a:gd name="T97" fmla="*/ 167 h 179"/>
                <a:gd name="T98" fmla="*/ 106 w 230"/>
                <a:gd name="T99" fmla="*/ 16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0" h="179">
                  <a:moveTo>
                    <a:pt x="214" y="79"/>
                  </a:moveTo>
                  <a:cubicBezTo>
                    <a:pt x="214" y="79"/>
                    <a:pt x="214" y="79"/>
                    <a:pt x="214" y="79"/>
                  </a:cubicBezTo>
                  <a:cubicBezTo>
                    <a:pt x="215" y="75"/>
                    <a:pt x="216" y="72"/>
                    <a:pt x="217" y="68"/>
                  </a:cubicBezTo>
                  <a:cubicBezTo>
                    <a:pt x="218" y="64"/>
                    <a:pt x="218" y="60"/>
                    <a:pt x="219" y="56"/>
                  </a:cubicBezTo>
                  <a:cubicBezTo>
                    <a:pt x="219" y="55"/>
                    <a:pt x="219" y="52"/>
                    <a:pt x="218" y="50"/>
                  </a:cubicBezTo>
                  <a:cubicBezTo>
                    <a:pt x="219" y="50"/>
                    <a:pt x="220" y="48"/>
                    <a:pt x="219" y="48"/>
                  </a:cubicBezTo>
                  <a:cubicBezTo>
                    <a:pt x="216" y="45"/>
                    <a:pt x="217" y="41"/>
                    <a:pt x="220" y="39"/>
                  </a:cubicBezTo>
                  <a:cubicBezTo>
                    <a:pt x="222" y="37"/>
                    <a:pt x="227" y="37"/>
                    <a:pt x="229" y="39"/>
                  </a:cubicBezTo>
                  <a:cubicBezTo>
                    <a:pt x="230" y="40"/>
                    <a:pt x="230" y="41"/>
                    <a:pt x="230" y="42"/>
                  </a:cubicBezTo>
                  <a:cubicBezTo>
                    <a:pt x="230" y="43"/>
                    <a:pt x="229" y="44"/>
                    <a:pt x="229" y="45"/>
                  </a:cubicBezTo>
                  <a:cubicBezTo>
                    <a:pt x="228" y="47"/>
                    <a:pt x="227" y="48"/>
                    <a:pt x="226" y="49"/>
                  </a:cubicBezTo>
                  <a:cubicBezTo>
                    <a:pt x="225" y="50"/>
                    <a:pt x="223" y="51"/>
                    <a:pt x="223" y="52"/>
                  </a:cubicBezTo>
                  <a:cubicBezTo>
                    <a:pt x="222" y="53"/>
                    <a:pt x="223" y="53"/>
                    <a:pt x="223" y="54"/>
                  </a:cubicBezTo>
                  <a:cubicBezTo>
                    <a:pt x="222" y="60"/>
                    <a:pt x="221" y="66"/>
                    <a:pt x="219" y="71"/>
                  </a:cubicBezTo>
                  <a:cubicBezTo>
                    <a:pt x="218" y="74"/>
                    <a:pt x="217" y="77"/>
                    <a:pt x="217" y="80"/>
                  </a:cubicBezTo>
                  <a:cubicBezTo>
                    <a:pt x="216" y="81"/>
                    <a:pt x="216" y="82"/>
                    <a:pt x="216" y="83"/>
                  </a:cubicBezTo>
                  <a:cubicBezTo>
                    <a:pt x="215" y="82"/>
                    <a:pt x="214" y="81"/>
                    <a:pt x="214" y="81"/>
                  </a:cubicBezTo>
                  <a:cubicBezTo>
                    <a:pt x="214" y="80"/>
                    <a:pt x="214" y="80"/>
                    <a:pt x="214" y="79"/>
                  </a:cubicBezTo>
                  <a:close/>
                  <a:moveTo>
                    <a:pt x="51" y="5"/>
                  </a:moveTo>
                  <a:cubicBezTo>
                    <a:pt x="51" y="5"/>
                    <a:pt x="51" y="5"/>
                    <a:pt x="51" y="5"/>
                  </a:cubicBezTo>
                  <a:cubicBezTo>
                    <a:pt x="52" y="3"/>
                    <a:pt x="53" y="2"/>
                    <a:pt x="54" y="1"/>
                  </a:cubicBezTo>
                  <a:cubicBezTo>
                    <a:pt x="56" y="0"/>
                    <a:pt x="58" y="1"/>
                    <a:pt x="60" y="1"/>
                  </a:cubicBezTo>
                  <a:cubicBezTo>
                    <a:pt x="61" y="2"/>
                    <a:pt x="62" y="2"/>
                    <a:pt x="63" y="2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4" y="3"/>
                    <a:pt x="64" y="3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5" y="5"/>
                  </a:cubicBezTo>
                  <a:cubicBezTo>
                    <a:pt x="64" y="4"/>
                    <a:pt x="65" y="5"/>
                    <a:pt x="65" y="5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7"/>
                    <a:pt x="65" y="7"/>
                  </a:cubicBezTo>
                  <a:cubicBezTo>
                    <a:pt x="64" y="9"/>
                    <a:pt x="64" y="10"/>
                    <a:pt x="63" y="11"/>
                  </a:cubicBezTo>
                  <a:cubicBezTo>
                    <a:pt x="63" y="12"/>
                    <a:pt x="63" y="12"/>
                    <a:pt x="62" y="12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59" y="16"/>
                    <a:pt x="58" y="16"/>
                    <a:pt x="57" y="17"/>
                  </a:cubicBezTo>
                  <a:cubicBezTo>
                    <a:pt x="57" y="17"/>
                    <a:pt x="56" y="17"/>
                    <a:pt x="56" y="18"/>
                  </a:cubicBezTo>
                  <a:cubicBezTo>
                    <a:pt x="55" y="18"/>
                    <a:pt x="55" y="18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5" y="19"/>
                    <a:pt x="55" y="20"/>
                  </a:cubicBezTo>
                  <a:cubicBezTo>
                    <a:pt x="54" y="20"/>
                    <a:pt x="55" y="21"/>
                    <a:pt x="55" y="21"/>
                  </a:cubicBezTo>
                  <a:cubicBezTo>
                    <a:pt x="53" y="24"/>
                    <a:pt x="52" y="28"/>
                    <a:pt x="51" y="30"/>
                  </a:cubicBezTo>
                  <a:cubicBezTo>
                    <a:pt x="49" y="35"/>
                    <a:pt x="48" y="39"/>
                    <a:pt x="46" y="43"/>
                  </a:cubicBezTo>
                  <a:cubicBezTo>
                    <a:pt x="44" y="52"/>
                    <a:pt x="42" y="62"/>
                    <a:pt x="39" y="70"/>
                  </a:cubicBezTo>
                  <a:cubicBezTo>
                    <a:pt x="37" y="80"/>
                    <a:pt x="34" y="91"/>
                    <a:pt x="31" y="100"/>
                  </a:cubicBezTo>
                  <a:cubicBezTo>
                    <a:pt x="28" y="110"/>
                    <a:pt x="25" y="121"/>
                    <a:pt x="21" y="131"/>
                  </a:cubicBezTo>
                  <a:cubicBezTo>
                    <a:pt x="19" y="139"/>
                    <a:pt x="16" y="147"/>
                    <a:pt x="13" y="155"/>
                  </a:cubicBezTo>
                  <a:cubicBezTo>
                    <a:pt x="11" y="158"/>
                    <a:pt x="9" y="162"/>
                    <a:pt x="8" y="166"/>
                  </a:cubicBezTo>
                  <a:cubicBezTo>
                    <a:pt x="6" y="170"/>
                    <a:pt x="4" y="174"/>
                    <a:pt x="4" y="178"/>
                  </a:cubicBezTo>
                  <a:cubicBezTo>
                    <a:pt x="4" y="179"/>
                    <a:pt x="4" y="179"/>
                    <a:pt x="4" y="179"/>
                  </a:cubicBezTo>
                  <a:cubicBezTo>
                    <a:pt x="3" y="179"/>
                    <a:pt x="2" y="179"/>
                    <a:pt x="0" y="179"/>
                  </a:cubicBezTo>
                  <a:cubicBezTo>
                    <a:pt x="2" y="177"/>
                    <a:pt x="3" y="175"/>
                    <a:pt x="3" y="173"/>
                  </a:cubicBezTo>
                  <a:cubicBezTo>
                    <a:pt x="5" y="169"/>
                    <a:pt x="7" y="165"/>
                    <a:pt x="8" y="161"/>
                  </a:cubicBezTo>
                  <a:cubicBezTo>
                    <a:pt x="11" y="151"/>
                    <a:pt x="14" y="142"/>
                    <a:pt x="17" y="132"/>
                  </a:cubicBezTo>
                  <a:cubicBezTo>
                    <a:pt x="20" y="122"/>
                    <a:pt x="23" y="111"/>
                    <a:pt x="26" y="100"/>
                  </a:cubicBezTo>
                  <a:cubicBezTo>
                    <a:pt x="29" y="90"/>
                    <a:pt x="31" y="79"/>
                    <a:pt x="34" y="70"/>
                  </a:cubicBezTo>
                  <a:cubicBezTo>
                    <a:pt x="37" y="64"/>
                    <a:pt x="38" y="57"/>
                    <a:pt x="41" y="52"/>
                  </a:cubicBezTo>
                  <a:cubicBezTo>
                    <a:pt x="42" y="49"/>
                    <a:pt x="43" y="46"/>
                    <a:pt x="44" y="43"/>
                  </a:cubicBezTo>
                  <a:cubicBezTo>
                    <a:pt x="45" y="41"/>
                    <a:pt x="46" y="38"/>
                    <a:pt x="47" y="37"/>
                  </a:cubicBezTo>
                  <a:cubicBezTo>
                    <a:pt x="49" y="32"/>
                    <a:pt x="51" y="28"/>
                    <a:pt x="52" y="24"/>
                  </a:cubicBezTo>
                  <a:cubicBezTo>
                    <a:pt x="53" y="20"/>
                    <a:pt x="55" y="15"/>
                    <a:pt x="53" y="11"/>
                  </a:cubicBezTo>
                  <a:cubicBezTo>
                    <a:pt x="52" y="11"/>
                    <a:pt x="52" y="11"/>
                    <a:pt x="51" y="10"/>
                  </a:cubicBezTo>
                  <a:cubicBezTo>
                    <a:pt x="51" y="9"/>
                    <a:pt x="51" y="7"/>
                    <a:pt x="51" y="5"/>
                  </a:cubicBezTo>
                  <a:close/>
                  <a:moveTo>
                    <a:pt x="106" y="160"/>
                  </a:moveTo>
                  <a:cubicBezTo>
                    <a:pt x="106" y="160"/>
                    <a:pt x="106" y="160"/>
                    <a:pt x="106" y="160"/>
                  </a:cubicBezTo>
                  <a:cubicBezTo>
                    <a:pt x="107" y="156"/>
                    <a:pt x="108" y="150"/>
                    <a:pt x="109" y="146"/>
                  </a:cubicBezTo>
                  <a:cubicBezTo>
                    <a:pt x="111" y="135"/>
                    <a:pt x="113" y="125"/>
                    <a:pt x="116" y="114"/>
                  </a:cubicBezTo>
                  <a:cubicBezTo>
                    <a:pt x="122" y="94"/>
                    <a:pt x="128" y="73"/>
                    <a:pt x="132" y="52"/>
                  </a:cubicBezTo>
                  <a:cubicBezTo>
                    <a:pt x="132" y="49"/>
                    <a:pt x="132" y="47"/>
                    <a:pt x="133" y="44"/>
                  </a:cubicBezTo>
                  <a:cubicBezTo>
                    <a:pt x="133" y="42"/>
                    <a:pt x="133" y="39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6"/>
                    <a:pt x="133" y="36"/>
                    <a:pt x="132" y="35"/>
                  </a:cubicBezTo>
                  <a:cubicBezTo>
                    <a:pt x="129" y="33"/>
                    <a:pt x="131" y="30"/>
                    <a:pt x="133" y="28"/>
                  </a:cubicBezTo>
                  <a:cubicBezTo>
                    <a:pt x="134" y="27"/>
                    <a:pt x="136" y="26"/>
                    <a:pt x="137" y="26"/>
                  </a:cubicBezTo>
                  <a:cubicBezTo>
                    <a:pt x="138" y="25"/>
                    <a:pt x="139" y="25"/>
                    <a:pt x="141" y="26"/>
                  </a:cubicBezTo>
                  <a:cubicBezTo>
                    <a:pt x="142" y="26"/>
                    <a:pt x="142" y="26"/>
                    <a:pt x="142" y="27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9"/>
                    <a:pt x="143" y="29"/>
                    <a:pt x="143" y="29"/>
                  </a:cubicBezTo>
                  <a:cubicBezTo>
                    <a:pt x="144" y="30"/>
                    <a:pt x="144" y="31"/>
                    <a:pt x="143" y="32"/>
                  </a:cubicBezTo>
                  <a:cubicBezTo>
                    <a:pt x="143" y="34"/>
                    <a:pt x="143" y="35"/>
                    <a:pt x="142" y="36"/>
                  </a:cubicBezTo>
                  <a:cubicBezTo>
                    <a:pt x="141" y="36"/>
                    <a:pt x="141" y="37"/>
                    <a:pt x="140" y="38"/>
                  </a:cubicBezTo>
                  <a:cubicBezTo>
                    <a:pt x="140" y="38"/>
                    <a:pt x="139" y="39"/>
                    <a:pt x="138" y="39"/>
                  </a:cubicBezTo>
                  <a:cubicBezTo>
                    <a:pt x="137" y="40"/>
                    <a:pt x="137" y="41"/>
                    <a:pt x="137" y="42"/>
                  </a:cubicBezTo>
                  <a:cubicBezTo>
                    <a:pt x="137" y="42"/>
                    <a:pt x="137" y="42"/>
                    <a:pt x="137" y="43"/>
                  </a:cubicBezTo>
                  <a:cubicBezTo>
                    <a:pt x="137" y="43"/>
                    <a:pt x="137" y="43"/>
                    <a:pt x="137" y="43"/>
                  </a:cubicBezTo>
                  <a:cubicBezTo>
                    <a:pt x="136" y="43"/>
                    <a:pt x="136" y="44"/>
                    <a:pt x="136" y="45"/>
                  </a:cubicBezTo>
                  <a:cubicBezTo>
                    <a:pt x="135" y="48"/>
                    <a:pt x="134" y="51"/>
                    <a:pt x="133" y="55"/>
                  </a:cubicBezTo>
                  <a:cubicBezTo>
                    <a:pt x="131" y="60"/>
                    <a:pt x="130" y="65"/>
                    <a:pt x="129" y="70"/>
                  </a:cubicBezTo>
                  <a:cubicBezTo>
                    <a:pt x="126" y="80"/>
                    <a:pt x="124" y="90"/>
                    <a:pt x="122" y="101"/>
                  </a:cubicBezTo>
                  <a:cubicBezTo>
                    <a:pt x="120" y="111"/>
                    <a:pt x="119" y="121"/>
                    <a:pt x="117" y="131"/>
                  </a:cubicBezTo>
                  <a:cubicBezTo>
                    <a:pt x="116" y="136"/>
                    <a:pt x="116" y="141"/>
                    <a:pt x="115" y="146"/>
                  </a:cubicBezTo>
                  <a:cubicBezTo>
                    <a:pt x="114" y="150"/>
                    <a:pt x="114" y="155"/>
                    <a:pt x="113" y="159"/>
                  </a:cubicBezTo>
                  <a:cubicBezTo>
                    <a:pt x="113" y="162"/>
                    <a:pt x="112" y="165"/>
                    <a:pt x="111" y="167"/>
                  </a:cubicBezTo>
                  <a:cubicBezTo>
                    <a:pt x="109" y="167"/>
                    <a:pt x="107" y="167"/>
                    <a:pt x="104" y="166"/>
                  </a:cubicBezTo>
                  <a:cubicBezTo>
                    <a:pt x="105" y="164"/>
                    <a:pt x="105" y="162"/>
                    <a:pt x="106" y="160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5" name="ïşḻîḋè">
              <a:extLst>
                <a:ext uri="{FF2B5EF4-FFF2-40B4-BE49-F238E27FC236}">
                  <a16:creationId xmlns:a16="http://schemas.microsoft.com/office/drawing/2014/main" id="{AAF81B0B-8835-4E4F-8722-BA64CA17A0D2}"/>
                </a:ext>
              </a:extLst>
            </p:cNvPr>
            <p:cNvSpPr/>
            <p:nvPr/>
          </p:nvSpPr>
          <p:spPr bwMode="auto">
            <a:xfrm>
              <a:off x="6313570" y="4110843"/>
              <a:ext cx="396657" cy="275292"/>
            </a:xfrm>
            <a:custGeom>
              <a:avLst/>
              <a:gdLst>
                <a:gd name="T0" fmla="*/ 116 w 129"/>
                <a:gd name="T1" fmla="*/ 26 h 90"/>
                <a:gd name="T2" fmla="*/ 116 w 129"/>
                <a:gd name="T3" fmla="*/ 26 h 90"/>
                <a:gd name="T4" fmla="*/ 120 w 129"/>
                <a:gd name="T5" fmla="*/ 29 h 90"/>
                <a:gd name="T6" fmla="*/ 122 w 129"/>
                <a:gd name="T7" fmla="*/ 32 h 90"/>
                <a:gd name="T8" fmla="*/ 124 w 129"/>
                <a:gd name="T9" fmla="*/ 34 h 90"/>
                <a:gd name="T10" fmla="*/ 128 w 129"/>
                <a:gd name="T11" fmla="*/ 40 h 90"/>
                <a:gd name="T12" fmla="*/ 129 w 129"/>
                <a:gd name="T13" fmla="*/ 43 h 90"/>
                <a:gd name="T14" fmla="*/ 127 w 129"/>
                <a:gd name="T15" fmla="*/ 43 h 90"/>
                <a:gd name="T16" fmla="*/ 104 w 129"/>
                <a:gd name="T17" fmla="*/ 56 h 90"/>
                <a:gd name="T18" fmla="*/ 87 w 129"/>
                <a:gd name="T19" fmla="*/ 72 h 90"/>
                <a:gd name="T20" fmla="*/ 74 w 129"/>
                <a:gd name="T21" fmla="*/ 90 h 90"/>
                <a:gd name="T22" fmla="*/ 77 w 129"/>
                <a:gd name="T23" fmla="*/ 81 h 90"/>
                <a:gd name="T24" fmla="*/ 85 w 129"/>
                <a:gd name="T25" fmla="*/ 61 h 90"/>
                <a:gd name="T26" fmla="*/ 94 w 129"/>
                <a:gd name="T27" fmla="*/ 38 h 90"/>
                <a:gd name="T28" fmla="*/ 98 w 129"/>
                <a:gd name="T29" fmla="*/ 27 h 90"/>
                <a:gd name="T30" fmla="*/ 101 w 129"/>
                <a:gd name="T31" fmla="*/ 22 h 90"/>
                <a:gd name="T32" fmla="*/ 101 w 129"/>
                <a:gd name="T33" fmla="*/ 20 h 90"/>
                <a:gd name="T34" fmla="*/ 102 w 129"/>
                <a:gd name="T35" fmla="*/ 20 h 90"/>
                <a:gd name="T36" fmla="*/ 115 w 129"/>
                <a:gd name="T37" fmla="*/ 23 h 90"/>
                <a:gd name="T38" fmla="*/ 116 w 129"/>
                <a:gd name="T39" fmla="*/ 26 h 90"/>
                <a:gd name="T40" fmla="*/ 20 w 129"/>
                <a:gd name="T41" fmla="*/ 3 h 90"/>
                <a:gd name="T42" fmla="*/ 20 w 129"/>
                <a:gd name="T43" fmla="*/ 3 h 90"/>
                <a:gd name="T44" fmla="*/ 20 w 129"/>
                <a:gd name="T45" fmla="*/ 5 h 90"/>
                <a:gd name="T46" fmla="*/ 19 w 129"/>
                <a:gd name="T47" fmla="*/ 9 h 90"/>
                <a:gd name="T48" fmla="*/ 14 w 129"/>
                <a:gd name="T49" fmla="*/ 9 h 90"/>
                <a:gd name="T50" fmla="*/ 13 w 129"/>
                <a:gd name="T51" fmla="*/ 8 h 90"/>
                <a:gd name="T52" fmla="*/ 3 w 129"/>
                <a:gd name="T53" fmla="*/ 2 h 90"/>
                <a:gd name="T54" fmla="*/ 0 w 129"/>
                <a:gd name="T55" fmla="*/ 0 h 90"/>
                <a:gd name="T56" fmla="*/ 9 w 129"/>
                <a:gd name="T57" fmla="*/ 1 h 90"/>
                <a:gd name="T58" fmla="*/ 20 w 129"/>
                <a:gd name="T59" fmla="*/ 3 h 90"/>
                <a:gd name="T60" fmla="*/ 64 w 129"/>
                <a:gd name="T61" fmla="*/ 53 h 90"/>
                <a:gd name="T62" fmla="*/ 64 w 129"/>
                <a:gd name="T63" fmla="*/ 53 h 90"/>
                <a:gd name="T64" fmla="*/ 60 w 129"/>
                <a:gd name="T65" fmla="*/ 48 h 90"/>
                <a:gd name="T66" fmla="*/ 56 w 129"/>
                <a:gd name="T67" fmla="*/ 42 h 90"/>
                <a:gd name="T68" fmla="*/ 59 w 129"/>
                <a:gd name="T69" fmla="*/ 28 h 90"/>
                <a:gd name="T70" fmla="*/ 62 w 129"/>
                <a:gd name="T71" fmla="*/ 13 h 90"/>
                <a:gd name="T72" fmla="*/ 71 w 129"/>
                <a:gd name="T73" fmla="*/ 14 h 90"/>
                <a:gd name="T74" fmla="*/ 75 w 129"/>
                <a:gd name="T75" fmla="*/ 15 h 90"/>
                <a:gd name="T76" fmla="*/ 71 w 129"/>
                <a:gd name="T77" fmla="*/ 25 h 90"/>
                <a:gd name="T78" fmla="*/ 67 w 129"/>
                <a:gd name="T79" fmla="*/ 37 h 90"/>
                <a:gd name="T80" fmla="*/ 64 w 129"/>
                <a:gd name="T81" fmla="*/ 5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9" h="90">
                  <a:moveTo>
                    <a:pt x="116" y="26"/>
                  </a:moveTo>
                  <a:cubicBezTo>
                    <a:pt x="116" y="26"/>
                    <a:pt x="116" y="26"/>
                    <a:pt x="116" y="26"/>
                  </a:cubicBezTo>
                  <a:cubicBezTo>
                    <a:pt x="117" y="27"/>
                    <a:pt x="119" y="28"/>
                    <a:pt x="120" y="29"/>
                  </a:cubicBezTo>
                  <a:cubicBezTo>
                    <a:pt x="121" y="30"/>
                    <a:pt x="121" y="31"/>
                    <a:pt x="122" y="32"/>
                  </a:cubicBezTo>
                  <a:cubicBezTo>
                    <a:pt x="123" y="33"/>
                    <a:pt x="123" y="33"/>
                    <a:pt x="124" y="34"/>
                  </a:cubicBezTo>
                  <a:cubicBezTo>
                    <a:pt x="125" y="36"/>
                    <a:pt x="127" y="38"/>
                    <a:pt x="128" y="40"/>
                  </a:cubicBezTo>
                  <a:cubicBezTo>
                    <a:pt x="128" y="41"/>
                    <a:pt x="129" y="42"/>
                    <a:pt x="129" y="43"/>
                  </a:cubicBezTo>
                  <a:cubicBezTo>
                    <a:pt x="128" y="43"/>
                    <a:pt x="128" y="43"/>
                    <a:pt x="127" y="43"/>
                  </a:cubicBezTo>
                  <a:cubicBezTo>
                    <a:pt x="119" y="46"/>
                    <a:pt x="111" y="51"/>
                    <a:pt x="104" y="56"/>
                  </a:cubicBezTo>
                  <a:cubicBezTo>
                    <a:pt x="98" y="61"/>
                    <a:pt x="92" y="66"/>
                    <a:pt x="87" y="72"/>
                  </a:cubicBezTo>
                  <a:cubicBezTo>
                    <a:pt x="83" y="78"/>
                    <a:pt x="78" y="84"/>
                    <a:pt x="74" y="90"/>
                  </a:cubicBezTo>
                  <a:cubicBezTo>
                    <a:pt x="75" y="87"/>
                    <a:pt x="76" y="84"/>
                    <a:pt x="77" y="81"/>
                  </a:cubicBezTo>
                  <a:cubicBezTo>
                    <a:pt x="80" y="74"/>
                    <a:pt x="83" y="67"/>
                    <a:pt x="85" y="61"/>
                  </a:cubicBezTo>
                  <a:cubicBezTo>
                    <a:pt x="88" y="53"/>
                    <a:pt x="91" y="46"/>
                    <a:pt x="94" y="38"/>
                  </a:cubicBezTo>
                  <a:cubicBezTo>
                    <a:pt x="95" y="35"/>
                    <a:pt x="97" y="31"/>
                    <a:pt x="98" y="27"/>
                  </a:cubicBezTo>
                  <a:cubicBezTo>
                    <a:pt x="99" y="26"/>
                    <a:pt x="100" y="24"/>
                    <a:pt x="101" y="22"/>
                  </a:cubicBezTo>
                  <a:cubicBezTo>
                    <a:pt x="101" y="22"/>
                    <a:pt x="101" y="21"/>
                    <a:pt x="101" y="20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6" y="21"/>
                    <a:pt x="110" y="22"/>
                    <a:pt x="115" y="23"/>
                  </a:cubicBezTo>
                  <a:cubicBezTo>
                    <a:pt x="115" y="24"/>
                    <a:pt x="115" y="25"/>
                    <a:pt x="116" y="26"/>
                  </a:cubicBezTo>
                  <a:close/>
                  <a:moveTo>
                    <a:pt x="20" y="3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0" y="4"/>
                    <a:pt x="20" y="4"/>
                    <a:pt x="20" y="5"/>
                  </a:cubicBezTo>
                  <a:cubicBezTo>
                    <a:pt x="19" y="6"/>
                    <a:pt x="19" y="7"/>
                    <a:pt x="19" y="9"/>
                  </a:cubicBezTo>
                  <a:cubicBezTo>
                    <a:pt x="17" y="9"/>
                    <a:pt x="15" y="9"/>
                    <a:pt x="14" y="9"/>
                  </a:cubicBezTo>
                  <a:cubicBezTo>
                    <a:pt x="14" y="9"/>
                    <a:pt x="13" y="9"/>
                    <a:pt x="13" y="8"/>
                  </a:cubicBezTo>
                  <a:cubicBezTo>
                    <a:pt x="11" y="6"/>
                    <a:pt x="7" y="4"/>
                    <a:pt x="3" y="2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3" y="0"/>
                    <a:pt x="6" y="1"/>
                    <a:pt x="9" y="1"/>
                  </a:cubicBezTo>
                  <a:cubicBezTo>
                    <a:pt x="12" y="2"/>
                    <a:pt x="16" y="3"/>
                    <a:pt x="20" y="3"/>
                  </a:cubicBezTo>
                  <a:close/>
                  <a:moveTo>
                    <a:pt x="64" y="53"/>
                  </a:moveTo>
                  <a:cubicBezTo>
                    <a:pt x="64" y="53"/>
                    <a:pt x="64" y="53"/>
                    <a:pt x="64" y="53"/>
                  </a:cubicBezTo>
                  <a:cubicBezTo>
                    <a:pt x="63" y="51"/>
                    <a:pt x="62" y="49"/>
                    <a:pt x="60" y="48"/>
                  </a:cubicBezTo>
                  <a:cubicBezTo>
                    <a:pt x="59" y="46"/>
                    <a:pt x="58" y="44"/>
                    <a:pt x="56" y="42"/>
                  </a:cubicBezTo>
                  <a:cubicBezTo>
                    <a:pt x="57" y="37"/>
                    <a:pt x="58" y="33"/>
                    <a:pt x="59" y="28"/>
                  </a:cubicBezTo>
                  <a:cubicBezTo>
                    <a:pt x="60" y="23"/>
                    <a:pt x="61" y="18"/>
                    <a:pt x="62" y="13"/>
                  </a:cubicBezTo>
                  <a:cubicBezTo>
                    <a:pt x="65" y="13"/>
                    <a:pt x="68" y="14"/>
                    <a:pt x="71" y="14"/>
                  </a:cubicBezTo>
                  <a:cubicBezTo>
                    <a:pt x="72" y="15"/>
                    <a:pt x="74" y="15"/>
                    <a:pt x="75" y="15"/>
                  </a:cubicBezTo>
                  <a:cubicBezTo>
                    <a:pt x="73" y="18"/>
                    <a:pt x="72" y="22"/>
                    <a:pt x="71" y="25"/>
                  </a:cubicBezTo>
                  <a:cubicBezTo>
                    <a:pt x="69" y="29"/>
                    <a:pt x="68" y="33"/>
                    <a:pt x="67" y="37"/>
                  </a:cubicBezTo>
                  <a:cubicBezTo>
                    <a:pt x="66" y="43"/>
                    <a:pt x="64" y="48"/>
                    <a:pt x="64" y="53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6" name="íš1íḓè">
              <a:extLst>
                <a:ext uri="{FF2B5EF4-FFF2-40B4-BE49-F238E27FC236}">
                  <a16:creationId xmlns:a16="http://schemas.microsoft.com/office/drawing/2014/main" id="{36B88B45-6CF5-4F60-87A7-3070C40738F3}"/>
                </a:ext>
              </a:extLst>
            </p:cNvPr>
            <p:cNvSpPr/>
            <p:nvPr/>
          </p:nvSpPr>
          <p:spPr bwMode="auto">
            <a:xfrm>
              <a:off x="6384613" y="4122683"/>
              <a:ext cx="226450" cy="285652"/>
            </a:xfrm>
            <a:custGeom>
              <a:avLst/>
              <a:gdLst>
                <a:gd name="T0" fmla="*/ 41 w 74"/>
                <a:gd name="T1" fmla="*/ 85 h 93"/>
                <a:gd name="T2" fmla="*/ 41 w 74"/>
                <a:gd name="T3" fmla="*/ 85 h 93"/>
                <a:gd name="T4" fmla="*/ 45 w 74"/>
                <a:gd name="T5" fmla="*/ 73 h 93"/>
                <a:gd name="T6" fmla="*/ 46 w 74"/>
                <a:gd name="T7" fmla="*/ 66 h 93"/>
                <a:gd name="T8" fmla="*/ 46 w 74"/>
                <a:gd name="T9" fmla="*/ 63 h 93"/>
                <a:gd name="T10" fmla="*/ 45 w 74"/>
                <a:gd name="T11" fmla="*/ 61 h 93"/>
                <a:gd name="T12" fmla="*/ 44 w 74"/>
                <a:gd name="T13" fmla="*/ 58 h 93"/>
                <a:gd name="T14" fmla="*/ 48 w 74"/>
                <a:gd name="T15" fmla="*/ 34 h 93"/>
                <a:gd name="T16" fmla="*/ 52 w 74"/>
                <a:gd name="T17" fmla="*/ 22 h 93"/>
                <a:gd name="T18" fmla="*/ 54 w 74"/>
                <a:gd name="T19" fmla="*/ 17 h 93"/>
                <a:gd name="T20" fmla="*/ 55 w 74"/>
                <a:gd name="T21" fmla="*/ 12 h 93"/>
                <a:gd name="T22" fmla="*/ 74 w 74"/>
                <a:gd name="T23" fmla="*/ 15 h 93"/>
                <a:gd name="T24" fmla="*/ 74 w 74"/>
                <a:gd name="T25" fmla="*/ 16 h 93"/>
                <a:gd name="T26" fmla="*/ 71 w 74"/>
                <a:gd name="T27" fmla="*/ 21 h 93"/>
                <a:gd name="T28" fmla="*/ 67 w 74"/>
                <a:gd name="T29" fmla="*/ 33 h 93"/>
                <a:gd name="T30" fmla="*/ 58 w 74"/>
                <a:gd name="T31" fmla="*/ 56 h 93"/>
                <a:gd name="T32" fmla="*/ 50 w 74"/>
                <a:gd name="T33" fmla="*/ 77 h 93"/>
                <a:gd name="T34" fmla="*/ 47 w 74"/>
                <a:gd name="T35" fmla="*/ 93 h 93"/>
                <a:gd name="T36" fmla="*/ 46 w 74"/>
                <a:gd name="T37" fmla="*/ 93 h 93"/>
                <a:gd name="T38" fmla="*/ 41 w 74"/>
                <a:gd name="T39" fmla="*/ 87 h 93"/>
                <a:gd name="T40" fmla="*/ 41 w 74"/>
                <a:gd name="T41" fmla="*/ 87 h 93"/>
                <a:gd name="T42" fmla="*/ 41 w 74"/>
                <a:gd name="T43" fmla="*/ 85 h 93"/>
                <a:gd name="T44" fmla="*/ 29 w 74"/>
                <a:gd name="T45" fmla="*/ 21 h 93"/>
                <a:gd name="T46" fmla="*/ 29 w 74"/>
                <a:gd name="T47" fmla="*/ 21 h 93"/>
                <a:gd name="T48" fmla="*/ 30 w 74"/>
                <a:gd name="T49" fmla="*/ 18 h 93"/>
                <a:gd name="T50" fmla="*/ 30 w 74"/>
                <a:gd name="T51" fmla="*/ 15 h 93"/>
                <a:gd name="T52" fmla="*/ 12 w 74"/>
                <a:gd name="T53" fmla="*/ 6 h 93"/>
                <a:gd name="T54" fmla="*/ 0 w 74"/>
                <a:gd name="T55" fmla="*/ 6 h 93"/>
                <a:gd name="T56" fmla="*/ 0 w 74"/>
                <a:gd name="T57" fmla="*/ 2 h 93"/>
                <a:gd name="T58" fmla="*/ 1 w 74"/>
                <a:gd name="T59" fmla="*/ 0 h 93"/>
                <a:gd name="T60" fmla="*/ 16 w 74"/>
                <a:gd name="T61" fmla="*/ 3 h 93"/>
                <a:gd name="T62" fmla="*/ 37 w 74"/>
                <a:gd name="T63" fmla="*/ 8 h 93"/>
                <a:gd name="T64" fmla="*/ 33 w 74"/>
                <a:gd name="T65" fmla="*/ 24 h 93"/>
                <a:gd name="T66" fmla="*/ 30 w 74"/>
                <a:gd name="T67" fmla="*/ 34 h 93"/>
                <a:gd name="T68" fmla="*/ 20 w 74"/>
                <a:gd name="T69" fmla="*/ 26 h 93"/>
                <a:gd name="T70" fmla="*/ 15 w 74"/>
                <a:gd name="T71" fmla="*/ 22 h 93"/>
                <a:gd name="T72" fmla="*/ 29 w 74"/>
                <a:gd name="T73" fmla="*/ 2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" h="93">
                  <a:moveTo>
                    <a:pt x="41" y="85"/>
                  </a:moveTo>
                  <a:cubicBezTo>
                    <a:pt x="41" y="85"/>
                    <a:pt x="41" y="85"/>
                    <a:pt x="41" y="85"/>
                  </a:cubicBezTo>
                  <a:cubicBezTo>
                    <a:pt x="43" y="81"/>
                    <a:pt x="44" y="78"/>
                    <a:pt x="45" y="73"/>
                  </a:cubicBezTo>
                  <a:cubicBezTo>
                    <a:pt x="46" y="71"/>
                    <a:pt x="46" y="68"/>
                    <a:pt x="46" y="66"/>
                  </a:cubicBezTo>
                  <a:cubicBezTo>
                    <a:pt x="46" y="65"/>
                    <a:pt x="46" y="64"/>
                    <a:pt x="46" y="63"/>
                  </a:cubicBezTo>
                  <a:cubicBezTo>
                    <a:pt x="45" y="62"/>
                    <a:pt x="45" y="62"/>
                    <a:pt x="45" y="61"/>
                  </a:cubicBezTo>
                  <a:cubicBezTo>
                    <a:pt x="45" y="60"/>
                    <a:pt x="45" y="59"/>
                    <a:pt x="44" y="58"/>
                  </a:cubicBezTo>
                  <a:cubicBezTo>
                    <a:pt x="44" y="50"/>
                    <a:pt x="46" y="42"/>
                    <a:pt x="48" y="34"/>
                  </a:cubicBezTo>
                  <a:cubicBezTo>
                    <a:pt x="49" y="30"/>
                    <a:pt x="51" y="26"/>
                    <a:pt x="52" y="22"/>
                  </a:cubicBezTo>
                  <a:cubicBezTo>
                    <a:pt x="53" y="20"/>
                    <a:pt x="53" y="19"/>
                    <a:pt x="54" y="17"/>
                  </a:cubicBezTo>
                  <a:cubicBezTo>
                    <a:pt x="55" y="15"/>
                    <a:pt x="55" y="13"/>
                    <a:pt x="55" y="12"/>
                  </a:cubicBezTo>
                  <a:cubicBezTo>
                    <a:pt x="62" y="13"/>
                    <a:pt x="67" y="14"/>
                    <a:pt x="74" y="15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3" y="18"/>
                    <a:pt x="72" y="20"/>
                    <a:pt x="71" y="21"/>
                  </a:cubicBezTo>
                  <a:cubicBezTo>
                    <a:pt x="70" y="25"/>
                    <a:pt x="68" y="29"/>
                    <a:pt x="67" y="33"/>
                  </a:cubicBezTo>
                  <a:cubicBezTo>
                    <a:pt x="63" y="41"/>
                    <a:pt x="61" y="49"/>
                    <a:pt x="58" y="56"/>
                  </a:cubicBezTo>
                  <a:cubicBezTo>
                    <a:pt x="55" y="63"/>
                    <a:pt x="53" y="70"/>
                    <a:pt x="50" y="77"/>
                  </a:cubicBezTo>
                  <a:cubicBezTo>
                    <a:pt x="48" y="82"/>
                    <a:pt x="47" y="88"/>
                    <a:pt x="47" y="93"/>
                  </a:cubicBezTo>
                  <a:cubicBezTo>
                    <a:pt x="47" y="93"/>
                    <a:pt x="47" y="93"/>
                    <a:pt x="46" y="93"/>
                  </a:cubicBezTo>
                  <a:cubicBezTo>
                    <a:pt x="45" y="91"/>
                    <a:pt x="43" y="89"/>
                    <a:pt x="41" y="87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41" y="86"/>
                    <a:pt x="41" y="86"/>
                    <a:pt x="41" y="85"/>
                  </a:cubicBezTo>
                  <a:close/>
                  <a:moveTo>
                    <a:pt x="29" y="21"/>
                  </a:moveTo>
                  <a:cubicBezTo>
                    <a:pt x="29" y="21"/>
                    <a:pt x="29" y="21"/>
                    <a:pt x="29" y="21"/>
                  </a:cubicBezTo>
                  <a:cubicBezTo>
                    <a:pt x="30" y="21"/>
                    <a:pt x="31" y="19"/>
                    <a:pt x="30" y="18"/>
                  </a:cubicBezTo>
                  <a:cubicBezTo>
                    <a:pt x="30" y="17"/>
                    <a:pt x="31" y="16"/>
                    <a:pt x="30" y="15"/>
                  </a:cubicBezTo>
                  <a:cubicBezTo>
                    <a:pt x="27" y="7"/>
                    <a:pt x="18" y="6"/>
                    <a:pt x="12" y="6"/>
                  </a:cubicBezTo>
                  <a:cubicBezTo>
                    <a:pt x="8" y="6"/>
                    <a:pt x="4" y="6"/>
                    <a:pt x="0" y="6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6" y="1"/>
                    <a:pt x="12" y="2"/>
                    <a:pt x="16" y="3"/>
                  </a:cubicBezTo>
                  <a:cubicBezTo>
                    <a:pt x="23" y="5"/>
                    <a:pt x="30" y="7"/>
                    <a:pt x="37" y="8"/>
                  </a:cubicBezTo>
                  <a:cubicBezTo>
                    <a:pt x="35" y="13"/>
                    <a:pt x="34" y="19"/>
                    <a:pt x="33" y="24"/>
                  </a:cubicBezTo>
                  <a:cubicBezTo>
                    <a:pt x="32" y="28"/>
                    <a:pt x="31" y="31"/>
                    <a:pt x="30" y="34"/>
                  </a:cubicBezTo>
                  <a:cubicBezTo>
                    <a:pt x="27" y="31"/>
                    <a:pt x="24" y="28"/>
                    <a:pt x="20" y="26"/>
                  </a:cubicBezTo>
                  <a:cubicBezTo>
                    <a:pt x="18" y="24"/>
                    <a:pt x="16" y="23"/>
                    <a:pt x="15" y="22"/>
                  </a:cubicBezTo>
                  <a:cubicBezTo>
                    <a:pt x="19" y="22"/>
                    <a:pt x="24" y="23"/>
                    <a:pt x="29" y="21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7" name="íśḻidê">
              <a:extLst>
                <a:ext uri="{FF2B5EF4-FFF2-40B4-BE49-F238E27FC236}">
                  <a16:creationId xmlns:a16="http://schemas.microsoft.com/office/drawing/2014/main" id="{3E6C5241-8BA8-4675-8FAD-3FF25C2D711D}"/>
                </a:ext>
              </a:extLst>
            </p:cNvPr>
            <p:cNvSpPr/>
            <p:nvPr/>
          </p:nvSpPr>
          <p:spPr bwMode="auto">
            <a:xfrm>
              <a:off x="5509896" y="4165605"/>
              <a:ext cx="975361" cy="982761"/>
            </a:xfrm>
            <a:custGeom>
              <a:avLst/>
              <a:gdLst>
                <a:gd name="T0" fmla="*/ 305 w 317"/>
                <a:gd name="T1" fmla="*/ 99 h 320"/>
                <a:gd name="T2" fmla="*/ 290 w 317"/>
                <a:gd name="T3" fmla="*/ 105 h 320"/>
                <a:gd name="T4" fmla="*/ 285 w 317"/>
                <a:gd name="T5" fmla="*/ 106 h 320"/>
                <a:gd name="T6" fmla="*/ 289 w 317"/>
                <a:gd name="T7" fmla="*/ 84 h 320"/>
                <a:gd name="T8" fmla="*/ 302 w 317"/>
                <a:gd name="T9" fmla="*/ 81 h 320"/>
                <a:gd name="T10" fmla="*/ 315 w 317"/>
                <a:gd name="T11" fmla="*/ 74 h 320"/>
                <a:gd name="T12" fmla="*/ 317 w 317"/>
                <a:gd name="T13" fmla="*/ 74 h 320"/>
                <a:gd name="T14" fmla="*/ 313 w 317"/>
                <a:gd name="T15" fmla="*/ 87 h 320"/>
                <a:gd name="T16" fmla="*/ 305 w 317"/>
                <a:gd name="T17" fmla="*/ 99 h 320"/>
                <a:gd name="T18" fmla="*/ 176 w 317"/>
                <a:gd name="T19" fmla="*/ 279 h 320"/>
                <a:gd name="T20" fmla="*/ 180 w 317"/>
                <a:gd name="T21" fmla="*/ 285 h 320"/>
                <a:gd name="T22" fmla="*/ 182 w 317"/>
                <a:gd name="T23" fmla="*/ 313 h 320"/>
                <a:gd name="T24" fmla="*/ 172 w 317"/>
                <a:gd name="T25" fmla="*/ 316 h 320"/>
                <a:gd name="T26" fmla="*/ 156 w 317"/>
                <a:gd name="T27" fmla="*/ 283 h 320"/>
                <a:gd name="T28" fmla="*/ 146 w 317"/>
                <a:gd name="T29" fmla="*/ 257 h 320"/>
                <a:gd name="T30" fmla="*/ 157 w 317"/>
                <a:gd name="T31" fmla="*/ 262 h 320"/>
                <a:gd name="T32" fmla="*/ 175 w 317"/>
                <a:gd name="T33" fmla="*/ 278 h 320"/>
                <a:gd name="T34" fmla="*/ 6 w 317"/>
                <a:gd name="T35" fmla="*/ 170 h 320"/>
                <a:gd name="T36" fmla="*/ 10 w 317"/>
                <a:gd name="T37" fmla="*/ 160 h 320"/>
                <a:gd name="T38" fmla="*/ 17 w 317"/>
                <a:gd name="T39" fmla="*/ 168 h 320"/>
                <a:gd name="T40" fmla="*/ 44 w 317"/>
                <a:gd name="T41" fmla="*/ 192 h 320"/>
                <a:gd name="T42" fmla="*/ 54 w 317"/>
                <a:gd name="T43" fmla="*/ 200 h 320"/>
                <a:gd name="T44" fmla="*/ 54 w 317"/>
                <a:gd name="T45" fmla="*/ 207 h 320"/>
                <a:gd name="T46" fmla="*/ 18 w 317"/>
                <a:gd name="T47" fmla="*/ 217 h 320"/>
                <a:gd name="T48" fmla="*/ 3 w 317"/>
                <a:gd name="T49" fmla="*/ 203 h 320"/>
                <a:gd name="T50" fmla="*/ 0 w 317"/>
                <a:gd name="T51" fmla="*/ 188 h 320"/>
                <a:gd name="T52" fmla="*/ 64 w 317"/>
                <a:gd name="T53" fmla="*/ 0 h 320"/>
                <a:gd name="T54" fmla="*/ 67 w 317"/>
                <a:gd name="T55" fmla="*/ 10 h 320"/>
                <a:gd name="T56" fmla="*/ 94 w 317"/>
                <a:gd name="T57" fmla="*/ 36 h 320"/>
                <a:gd name="T58" fmla="*/ 107 w 317"/>
                <a:gd name="T59" fmla="*/ 44 h 320"/>
                <a:gd name="T60" fmla="*/ 97 w 317"/>
                <a:gd name="T61" fmla="*/ 65 h 320"/>
                <a:gd name="T62" fmla="*/ 68 w 317"/>
                <a:gd name="T63" fmla="*/ 49 h 320"/>
                <a:gd name="T64" fmla="*/ 49 w 317"/>
                <a:gd name="T65" fmla="*/ 29 h 320"/>
                <a:gd name="T66" fmla="*/ 45 w 317"/>
                <a:gd name="T67" fmla="*/ 18 h 320"/>
                <a:gd name="T68" fmla="*/ 50 w 317"/>
                <a:gd name="T69" fmla="*/ 7 h 320"/>
                <a:gd name="T70" fmla="*/ 64 w 317"/>
                <a:gd name="T71" fmla="*/ 0 h 320"/>
                <a:gd name="T72" fmla="*/ 185 w 317"/>
                <a:gd name="T73" fmla="*/ 72 h 320"/>
                <a:gd name="T74" fmla="*/ 182 w 317"/>
                <a:gd name="T75" fmla="*/ 83 h 320"/>
                <a:gd name="T76" fmla="*/ 174 w 317"/>
                <a:gd name="T77" fmla="*/ 95 h 320"/>
                <a:gd name="T78" fmla="*/ 141 w 317"/>
                <a:gd name="T79" fmla="*/ 86 h 320"/>
                <a:gd name="T80" fmla="*/ 116 w 317"/>
                <a:gd name="T81" fmla="*/ 69 h 320"/>
                <a:gd name="T82" fmla="*/ 122 w 317"/>
                <a:gd name="T83" fmla="*/ 51 h 320"/>
                <a:gd name="T84" fmla="*/ 123 w 317"/>
                <a:gd name="T85" fmla="*/ 50 h 320"/>
                <a:gd name="T86" fmla="*/ 129 w 317"/>
                <a:gd name="T87" fmla="*/ 54 h 320"/>
                <a:gd name="T88" fmla="*/ 154 w 317"/>
                <a:gd name="T89" fmla="*/ 63 h 320"/>
                <a:gd name="T90" fmla="*/ 176 w 317"/>
                <a:gd name="T91" fmla="*/ 68 h 320"/>
                <a:gd name="T92" fmla="*/ 185 w 317"/>
                <a:gd name="T93" fmla="*/ 70 h 320"/>
                <a:gd name="T94" fmla="*/ 252 w 317"/>
                <a:gd name="T95" fmla="*/ 93 h 320"/>
                <a:gd name="T96" fmla="*/ 253 w 317"/>
                <a:gd name="T97" fmla="*/ 83 h 320"/>
                <a:gd name="T98" fmla="*/ 263 w 317"/>
                <a:gd name="T99" fmla="*/ 85 h 320"/>
                <a:gd name="T100" fmla="*/ 272 w 317"/>
                <a:gd name="T101" fmla="*/ 85 h 320"/>
                <a:gd name="T102" fmla="*/ 269 w 317"/>
                <a:gd name="T103" fmla="*/ 98 h 320"/>
                <a:gd name="T104" fmla="*/ 269 w 317"/>
                <a:gd name="T105" fmla="*/ 100 h 320"/>
                <a:gd name="T106" fmla="*/ 268 w 317"/>
                <a:gd name="T107" fmla="*/ 102 h 320"/>
                <a:gd name="T108" fmla="*/ 252 w 317"/>
                <a:gd name="T109" fmla="*/ 9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7" h="320">
                  <a:moveTo>
                    <a:pt x="305" y="99"/>
                  </a:moveTo>
                  <a:cubicBezTo>
                    <a:pt x="305" y="99"/>
                    <a:pt x="305" y="99"/>
                    <a:pt x="305" y="99"/>
                  </a:cubicBezTo>
                  <a:cubicBezTo>
                    <a:pt x="302" y="101"/>
                    <a:pt x="299" y="102"/>
                    <a:pt x="296" y="103"/>
                  </a:cubicBezTo>
                  <a:cubicBezTo>
                    <a:pt x="294" y="104"/>
                    <a:pt x="292" y="104"/>
                    <a:pt x="290" y="105"/>
                  </a:cubicBezTo>
                  <a:cubicBezTo>
                    <a:pt x="289" y="105"/>
                    <a:pt x="289" y="105"/>
                    <a:pt x="288" y="105"/>
                  </a:cubicBezTo>
                  <a:cubicBezTo>
                    <a:pt x="287" y="105"/>
                    <a:pt x="286" y="106"/>
                    <a:pt x="285" y="106"/>
                  </a:cubicBezTo>
                  <a:cubicBezTo>
                    <a:pt x="286" y="104"/>
                    <a:pt x="286" y="102"/>
                    <a:pt x="287" y="100"/>
                  </a:cubicBezTo>
                  <a:cubicBezTo>
                    <a:pt x="288" y="95"/>
                    <a:pt x="289" y="90"/>
                    <a:pt x="289" y="84"/>
                  </a:cubicBezTo>
                  <a:cubicBezTo>
                    <a:pt x="291" y="85"/>
                    <a:pt x="293" y="84"/>
                    <a:pt x="296" y="84"/>
                  </a:cubicBezTo>
                  <a:cubicBezTo>
                    <a:pt x="297" y="83"/>
                    <a:pt x="300" y="82"/>
                    <a:pt x="302" y="81"/>
                  </a:cubicBezTo>
                  <a:cubicBezTo>
                    <a:pt x="305" y="80"/>
                    <a:pt x="307" y="79"/>
                    <a:pt x="309" y="78"/>
                  </a:cubicBezTo>
                  <a:cubicBezTo>
                    <a:pt x="311" y="77"/>
                    <a:pt x="313" y="75"/>
                    <a:pt x="315" y="74"/>
                  </a:cubicBezTo>
                  <a:cubicBezTo>
                    <a:pt x="315" y="73"/>
                    <a:pt x="316" y="73"/>
                    <a:pt x="316" y="73"/>
                  </a:cubicBezTo>
                  <a:cubicBezTo>
                    <a:pt x="317" y="73"/>
                    <a:pt x="317" y="73"/>
                    <a:pt x="317" y="74"/>
                  </a:cubicBezTo>
                  <a:cubicBezTo>
                    <a:pt x="316" y="75"/>
                    <a:pt x="316" y="77"/>
                    <a:pt x="315" y="79"/>
                  </a:cubicBezTo>
                  <a:cubicBezTo>
                    <a:pt x="314" y="81"/>
                    <a:pt x="314" y="84"/>
                    <a:pt x="313" y="87"/>
                  </a:cubicBezTo>
                  <a:cubicBezTo>
                    <a:pt x="312" y="90"/>
                    <a:pt x="311" y="92"/>
                    <a:pt x="310" y="94"/>
                  </a:cubicBezTo>
                  <a:cubicBezTo>
                    <a:pt x="309" y="96"/>
                    <a:pt x="307" y="98"/>
                    <a:pt x="305" y="99"/>
                  </a:cubicBezTo>
                  <a:close/>
                  <a:moveTo>
                    <a:pt x="176" y="279"/>
                  </a:moveTo>
                  <a:cubicBezTo>
                    <a:pt x="176" y="279"/>
                    <a:pt x="176" y="279"/>
                    <a:pt x="176" y="279"/>
                  </a:cubicBezTo>
                  <a:cubicBezTo>
                    <a:pt x="176" y="279"/>
                    <a:pt x="177" y="280"/>
                    <a:pt x="177" y="281"/>
                  </a:cubicBezTo>
                  <a:cubicBezTo>
                    <a:pt x="178" y="282"/>
                    <a:pt x="179" y="284"/>
                    <a:pt x="180" y="285"/>
                  </a:cubicBezTo>
                  <a:cubicBezTo>
                    <a:pt x="182" y="289"/>
                    <a:pt x="182" y="294"/>
                    <a:pt x="182" y="298"/>
                  </a:cubicBezTo>
                  <a:cubicBezTo>
                    <a:pt x="183" y="303"/>
                    <a:pt x="182" y="308"/>
                    <a:pt x="182" y="313"/>
                  </a:cubicBezTo>
                  <a:cubicBezTo>
                    <a:pt x="181" y="315"/>
                    <a:pt x="181" y="318"/>
                    <a:pt x="181" y="320"/>
                  </a:cubicBezTo>
                  <a:cubicBezTo>
                    <a:pt x="178" y="319"/>
                    <a:pt x="174" y="318"/>
                    <a:pt x="172" y="316"/>
                  </a:cubicBezTo>
                  <a:cubicBezTo>
                    <a:pt x="169" y="314"/>
                    <a:pt x="166" y="312"/>
                    <a:pt x="163" y="310"/>
                  </a:cubicBezTo>
                  <a:cubicBezTo>
                    <a:pt x="161" y="300"/>
                    <a:pt x="159" y="292"/>
                    <a:pt x="156" y="283"/>
                  </a:cubicBezTo>
                  <a:cubicBezTo>
                    <a:pt x="153" y="276"/>
                    <a:pt x="150" y="268"/>
                    <a:pt x="148" y="261"/>
                  </a:cubicBezTo>
                  <a:cubicBezTo>
                    <a:pt x="147" y="260"/>
                    <a:pt x="146" y="258"/>
                    <a:pt x="146" y="257"/>
                  </a:cubicBezTo>
                  <a:cubicBezTo>
                    <a:pt x="146" y="257"/>
                    <a:pt x="146" y="257"/>
                    <a:pt x="147" y="257"/>
                  </a:cubicBezTo>
                  <a:cubicBezTo>
                    <a:pt x="150" y="258"/>
                    <a:pt x="153" y="260"/>
                    <a:pt x="157" y="262"/>
                  </a:cubicBezTo>
                  <a:cubicBezTo>
                    <a:pt x="163" y="266"/>
                    <a:pt x="170" y="271"/>
                    <a:pt x="174" y="277"/>
                  </a:cubicBezTo>
                  <a:cubicBezTo>
                    <a:pt x="175" y="277"/>
                    <a:pt x="175" y="278"/>
                    <a:pt x="175" y="278"/>
                  </a:cubicBezTo>
                  <a:cubicBezTo>
                    <a:pt x="176" y="279"/>
                    <a:pt x="176" y="279"/>
                    <a:pt x="176" y="279"/>
                  </a:cubicBezTo>
                  <a:close/>
                  <a:moveTo>
                    <a:pt x="6" y="170"/>
                  </a:moveTo>
                  <a:cubicBezTo>
                    <a:pt x="6" y="170"/>
                    <a:pt x="6" y="170"/>
                    <a:pt x="6" y="170"/>
                  </a:cubicBezTo>
                  <a:cubicBezTo>
                    <a:pt x="7" y="167"/>
                    <a:pt x="8" y="164"/>
                    <a:pt x="10" y="160"/>
                  </a:cubicBezTo>
                  <a:cubicBezTo>
                    <a:pt x="10" y="160"/>
                    <a:pt x="10" y="159"/>
                    <a:pt x="10" y="158"/>
                  </a:cubicBezTo>
                  <a:cubicBezTo>
                    <a:pt x="12" y="161"/>
                    <a:pt x="15" y="164"/>
                    <a:pt x="17" y="168"/>
                  </a:cubicBezTo>
                  <a:cubicBezTo>
                    <a:pt x="21" y="172"/>
                    <a:pt x="25" y="176"/>
                    <a:pt x="29" y="181"/>
                  </a:cubicBezTo>
                  <a:cubicBezTo>
                    <a:pt x="34" y="185"/>
                    <a:pt x="39" y="189"/>
                    <a:pt x="44" y="192"/>
                  </a:cubicBezTo>
                  <a:cubicBezTo>
                    <a:pt x="46" y="194"/>
                    <a:pt x="49" y="196"/>
                    <a:pt x="51" y="198"/>
                  </a:cubicBezTo>
                  <a:cubicBezTo>
                    <a:pt x="52" y="199"/>
                    <a:pt x="53" y="199"/>
                    <a:pt x="54" y="200"/>
                  </a:cubicBezTo>
                  <a:cubicBezTo>
                    <a:pt x="55" y="201"/>
                    <a:pt x="56" y="202"/>
                    <a:pt x="57" y="202"/>
                  </a:cubicBezTo>
                  <a:cubicBezTo>
                    <a:pt x="56" y="204"/>
                    <a:pt x="55" y="206"/>
                    <a:pt x="54" y="207"/>
                  </a:cubicBezTo>
                  <a:cubicBezTo>
                    <a:pt x="47" y="207"/>
                    <a:pt x="40" y="209"/>
                    <a:pt x="33" y="211"/>
                  </a:cubicBezTo>
                  <a:cubicBezTo>
                    <a:pt x="27" y="212"/>
                    <a:pt x="23" y="214"/>
                    <a:pt x="18" y="217"/>
                  </a:cubicBezTo>
                  <a:cubicBezTo>
                    <a:pt x="16" y="214"/>
                    <a:pt x="13" y="213"/>
                    <a:pt x="11" y="211"/>
                  </a:cubicBezTo>
                  <a:cubicBezTo>
                    <a:pt x="8" y="208"/>
                    <a:pt x="6" y="205"/>
                    <a:pt x="3" y="203"/>
                  </a:cubicBezTo>
                  <a:cubicBezTo>
                    <a:pt x="1" y="201"/>
                    <a:pt x="1" y="198"/>
                    <a:pt x="0" y="196"/>
                  </a:cubicBezTo>
                  <a:cubicBezTo>
                    <a:pt x="0" y="194"/>
                    <a:pt x="0" y="190"/>
                    <a:pt x="0" y="188"/>
                  </a:cubicBezTo>
                  <a:cubicBezTo>
                    <a:pt x="1" y="182"/>
                    <a:pt x="3" y="176"/>
                    <a:pt x="6" y="170"/>
                  </a:cubicBezTo>
                  <a:close/>
                  <a:moveTo>
                    <a:pt x="64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4" y="4"/>
                    <a:pt x="66" y="7"/>
                    <a:pt x="67" y="10"/>
                  </a:cubicBezTo>
                  <a:cubicBezTo>
                    <a:pt x="70" y="15"/>
                    <a:pt x="74" y="20"/>
                    <a:pt x="79" y="25"/>
                  </a:cubicBezTo>
                  <a:cubicBezTo>
                    <a:pt x="84" y="29"/>
                    <a:pt x="89" y="33"/>
                    <a:pt x="94" y="36"/>
                  </a:cubicBezTo>
                  <a:cubicBezTo>
                    <a:pt x="97" y="38"/>
                    <a:pt x="99" y="39"/>
                    <a:pt x="102" y="41"/>
                  </a:cubicBezTo>
                  <a:cubicBezTo>
                    <a:pt x="104" y="42"/>
                    <a:pt x="105" y="43"/>
                    <a:pt x="107" y="44"/>
                  </a:cubicBezTo>
                  <a:cubicBezTo>
                    <a:pt x="105" y="47"/>
                    <a:pt x="104" y="51"/>
                    <a:pt x="102" y="55"/>
                  </a:cubicBezTo>
                  <a:cubicBezTo>
                    <a:pt x="100" y="58"/>
                    <a:pt x="98" y="61"/>
                    <a:pt x="97" y="65"/>
                  </a:cubicBezTo>
                  <a:cubicBezTo>
                    <a:pt x="93" y="63"/>
                    <a:pt x="88" y="61"/>
                    <a:pt x="84" y="59"/>
                  </a:cubicBezTo>
                  <a:cubicBezTo>
                    <a:pt x="78" y="56"/>
                    <a:pt x="73" y="53"/>
                    <a:pt x="68" y="49"/>
                  </a:cubicBezTo>
                  <a:cubicBezTo>
                    <a:pt x="63" y="45"/>
                    <a:pt x="58" y="40"/>
                    <a:pt x="53" y="35"/>
                  </a:cubicBezTo>
                  <a:cubicBezTo>
                    <a:pt x="52" y="33"/>
                    <a:pt x="50" y="31"/>
                    <a:pt x="49" y="29"/>
                  </a:cubicBezTo>
                  <a:cubicBezTo>
                    <a:pt x="48" y="27"/>
                    <a:pt x="47" y="25"/>
                    <a:pt x="46" y="22"/>
                  </a:cubicBezTo>
                  <a:cubicBezTo>
                    <a:pt x="46" y="21"/>
                    <a:pt x="45" y="19"/>
                    <a:pt x="45" y="18"/>
                  </a:cubicBezTo>
                  <a:cubicBezTo>
                    <a:pt x="46" y="17"/>
                    <a:pt x="46" y="15"/>
                    <a:pt x="47" y="14"/>
                  </a:cubicBezTo>
                  <a:cubicBezTo>
                    <a:pt x="48" y="12"/>
                    <a:pt x="49" y="9"/>
                    <a:pt x="50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5" y="5"/>
                    <a:pt x="59" y="3"/>
                    <a:pt x="64" y="0"/>
                  </a:cubicBezTo>
                  <a:close/>
                  <a:moveTo>
                    <a:pt x="185" y="72"/>
                  </a:moveTo>
                  <a:cubicBezTo>
                    <a:pt x="185" y="72"/>
                    <a:pt x="185" y="72"/>
                    <a:pt x="185" y="72"/>
                  </a:cubicBezTo>
                  <a:cubicBezTo>
                    <a:pt x="185" y="73"/>
                    <a:pt x="185" y="74"/>
                    <a:pt x="184" y="75"/>
                  </a:cubicBezTo>
                  <a:cubicBezTo>
                    <a:pt x="184" y="78"/>
                    <a:pt x="183" y="80"/>
                    <a:pt x="182" y="83"/>
                  </a:cubicBezTo>
                  <a:cubicBezTo>
                    <a:pt x="181" y="87"/>
                    <a:pt x="178" y="91"/>
                    <a:pt x="178" y="95"/>
                  </a:cubicBezTo>
                  <a:cubicBezTo>
                    <a:pt x="177" y="95"/>
                    <a:pt x="176" y="95"/>
                    <a:pt x="174" y="95"/>
                  </a:cubicBezTo>
                  <a:cubicBezTo>
                    <a:pt x="171" y="94"/>
                    <a:pt x="167" y="94"/>
                    <a:pt x="164" y="93"/>
                  </a:cubicBezTo>
                  <a:cubicBezTo>
                    <a:pt x="156" y="91"/>
                    <a:pt x="148" y="89"/>
                    <a:pt x="141" y="86"/>
                  </a:cubicBezTo>
                  <a:cubicBezTo>
                    <a:pt x="132" y="82"/>
                    <a:pt x="122" y="80"/>
                    <a:pt x="114" y="75"/>
                  </a:cubicBezTo>
                  <a:cubicBezTo>
                    <a:pt x="115" y="73"/>
                    <a:pt x="115" y="71"/>
                    <a:pt x="116" y="69"/>
                  </a:cubicBezTo>
                  <a:cubicBezTo>
                    <a:pt x="117" y="66"/>
                    <a:pt x="118" y="62"/>
                    <a:pt x="119" y="59"/>
                  </a:cubicBezTo>
                  <a:cubicBezTo>
                    <a:pt x="120" y="56"/>
                    <a:pt x="121" y="53"/>
                    <a:pt x="122" y="51"/>
                  </a:cubicBezTo>
                  <a:cubicBezTo>
                    <a:pt x="122" y="51"/>
                    <a:pt x="122" y="50"/>
                    <a:pt x="122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5" y="52"/>
                    <a:pt x="127" y="53"/>
                    <a:pt x="129" y="54"/>
                  </a:cubicBezTo>
                  <a:cubicBezTo>
                    <a:pt x="133" y="56"/>
                    <a:pt x="137" y="57"/>
                    <a:pt x="141" y="58"/>
                  </a:cubicBezTo>
                  <a:cubicBezTo>
                    <a:pt x="145" y="60"/>
                    <a:pt x="149" y="61"/>
                    <a:pt x="154" y="63"/>
                  </a:cubicBezTo>
                  <a:cubicBezTo>
                    <a:pt x="159" y="64"/>
                    <a:pt x="164" y="65"/>
                    <a:pt x="169" y="67"/>
                  </a:cubicBezTo>
                  <a:cubicBezTo>
                    <a:pt x="172" y="67"/>
                    <a:pt x="174" y="68"/>
                    <a:pt x="176" y="68"/>
                  </a:cubicBezTo>
                  <a:cubicBezTo>
                    <a:pt x="179" y="69"/>
                    <a:pt x="181" y="69"/>
                    <a:pt x="184" y="70"/>
                  </a:cubicBezTo>
                  <a:cubicBezTo>
                    <a:pt x="185" y="70"/>
                    <a:pt x="185" y="70"/>
                    <a:pt x="185" y="70"/>
                  </a:cubicBezTo>
                  <a:cubicBezTo>
                    <a:pt x="185" y="71"/>
                    <a:pt x="185" y="71"/>
                    <a:pt x="185" y="72"/>
                  </a:cubicBezTo>
                  <a:close/>
                  <a:moveTo>
                    <a:pt x="252" y="93"/>
                  </a:moveTo>
                  <a:cubicBezTo>
                    <a:pt x="252" y="93"/>
                    <a:pt x="252" y="93"/>
                    <a:pt x="252" y="93"/>
                  </a:cubicBezTo>
                  <a:cubicBezTo>
                    <a:pt x="253" y="90"/>
                    <a:pt x="253" y="87"/>
                    <a:pt x="253" y="83"/>
                  </a:cubicBezTo>
                  <a:cubicBezTo>
                    <a:pt x="253" y="83"/>
                    <a:pt x="253" y="83"/>
                    <a:pt x="253" y="83"/>
                  </a:cubicBezTo>
                  <a:cubicBezTo>
                    <a:pt x="256" y="84"/>
                    <a:pt x="259" y="84"/>
                    <a:pt x="263" y="85"/>
                  </a:cubicBezTo>
                  <a:cubicBezTo>
                    <a:pt x="266" y="85"/>
                    <a:pt x="269" y="85"/>
                    <a:pt x="272" y="85"/>
                  </a:cubicBezTo>
                  <a:cubicBezTo>
                    <a:pt x="272" y="85"/>
                    <a:pt x="272" y="85"/>
                    <a:pt x="272" y="85"/>
                  </a:cubicBezTo>
                  <a:cubicBezTo>
                    <a:pt x="271" y="87"/>
                    <a:pt x="270" y="90"/>
                    <a:pt x="270" y="92"/>
                  </a:cubicBezTo>
                  <a:cubicBezTo>
                    <a:pt x="269" y="94"/>
                    <a:pt x="269" y="96"/>
                    <a:pt x="269" y="98"/>
                  </a:cubicBezTo>
                  <a:cubicBezTo>
                    <a:pt x="269" y="99"/>
                    <a:pt x="269" y="99"/>
                    <a:pt x="269" y="100"/>
                  </a:cubicBezTo>
                  <a:cubicBezTo>
                    <a:pt x="269" y="100"/>
                    <a:pt x="269" y="100"/>
                    <a:pt x="269" y="100"/>
                  </a:cubicBezTo>
                  <a:cubicBezTo>
                    <a:pt x="269" y="100"/>
                    <a:pt x="269" y="100"/>
                    <a:pt x="268" y="100"/>
                  </a:cubicBezTo>
                  <a:cubicBezTo>
                    <a:pt x="268" y="101"/>
                    <a:pt x="268" y="102"/>
                    <a:pt x="268" y="102"/>
                  </a:cubicBezTo>
                  <a:cubicBezTo>
                    <a:pt x="265" y="100"/>
                    <a:pt x="262" y="98"/>
                    <a:pt x="259" y="96"/>
                  </a:cubicBezTo>
                  <a:cubicBezTo>
                    <a:pt x="257" y="95"/>
                    <a:pt x="255" y="94"/>
                    <a:pt x="252" y="93"/>
                  </a:cubicBezTo>
                  <a:close/>
                </a:path>
              </a:pathLst>
            </a:custGeom>
            <a:solidFill>
              <a:srgbClr val="8D3C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8" name="îSḷîḓè">
              <a:extLst>
                <a:ext uri="{FF2B5EF4-FFF2-40B4-BE49-F238E27FC236}">
                  <a16:creationId xmlns:a16="http://schemas.microsoft.com/office/drawing/2014/main" id="{F16A83E8-9E1B-4DE0-AB79-7F49C25774D8}"/>
                </a:ext>
              </a:extLst>
            </p:cNvPr>
            <p:cNvSpPr/>
            <p:nvPr/>
          </p:nvSpPr>
          <p:spPr bwMode="auto">
            <a:xfrm>
              <a:off x="6008677" y="420852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9" name="í$ḻíḋe">
              <a:extLst>
                <a:ext uri="{FF2B5EF4-FFF2-40B4-BE49-F238E27FC236}">
                  <a16:creationId xmlns:a16="http://schemas.microsoft.com/office/drawing/2014/main" id="{99824C90-158A-423D-B1BC-24CE879BD7CE}"/>
                </a:ext>
              </a:extLst>
            </p:cNvPr>
            <p:cNvSpPr/>
            <p:nvPr/>
          </p:nvSpPr>
          <p:spPr bwMode="auto">
            <a:xfrm>
              <a:off x="6119681" y="4180405"/>
              <a:ext cx="1481" cy="1481"/>
            </a:xfrm>
            <a:prstGeom prst="ellipse">
              <a:avLst/>
            </a:pr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0" name="ïṩlîḋe">
              <a:extLst>
                <a:ext uri="{FF2B5EF4-FFF2-40B4-BE49-F238E27FC236}">
                  <a16:creationId xmlns:a16="http://schemas.microsoft.com/office/drawing/2014/main" id="{BDA573F0-3387-4B66-8D02-0A05912D9FA2}"/>
                </a:ext>
              </a:extLst>
            </p:cNvPr>
            <p:cNvSpPr/>
            <p:nvPr/>
          </p:nvSpPr>
          <p:spPr bwMode="auto">
            <a:xfrm>
              <a:off x="6230687" y="4491218"/>
              <a:ext cx="2960" cy="0"/>
            </a:xfrm>
            <a:custGeom>
              <a:avLst/>
              <a:gdLst>
                <a:gd name="T0" fmla="*/ 1 w 1"/>
                <a:gd name="T1" fmla="*/ 1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1" name="iṣļîďe">
              <a:extLst>
                <a:ext uri="{FF2B5EF4-FFF2-40B4-BE49-F238E27FC236}">
                  <a16:creationId xmlns:a16="http://schemas.microsoft.com/office/drawing/2014/main" id="{4083E127-C176-4BA5-8D63-46E216C451E6}"/>
                </a:ext>
              </a:extLst>
            </p:cNvPr>
            <p:cNvSpPr/>
            <p:nvPr/>
          </p:nvSpPr>
          <p:spPr bwMode="auto">
            <a:xfrm>
              <a:off x="6137442" y="4389095"/>
              <a:ext cx="122846" cy="111005"/>
            </a:xfrm>
            <a:custGeom>
              <a:avLst/>
              <a:gdLst>
                <a:gd name="T0" fmla="*/ 35 w 40"/>
                <a:gd name="T1" fmla="*/ 29 h 36"/>
                <a:gd name="T2" fmla="*/ 35 w 40"/>
                <a:gd name="T3" fmla="*/ 29 h 36"/>
                <a:gd name="T4" fmla="*/ 31 w 40"/>
                <a:gd name="T5" fmla="*/ 33 h 36"/>
                <a:gd name="T6" fmla="*/ 30 w 40"/>
                <a:gd name="T7" fmla="*/ 33 h 36"/>
                <a:gd name="T8" fmla="*/ 27 w 40"/>
                <a:gd name="T9" fmla="*/ 35 h 36"/>
                <a:gd name="T10" fmla="*/ 24 w 40"/>
                <a:gd name="T11" fmla="*/ 36 h 36"/>
                <a:gd name="T12" fmla="*/ 22 w 40"/>
                <a:gd name="T13" fmla="*/ 36 h 36"/>
                <a:gd name="T14" fmla="*/ 18 w 40"/>
                <a:gd name="T15" fmla="*/ 36 h 36"/>
                <a:gd name="T16" fmla="*/ 17 w 40"/>
                <a:gd name="T17" fmla="*/ 36 h 36"/>
                <a:gd name="T18" fmla="*/ 12 w 40"/>
                <a:gd name="T19" fmla="*/ 35 h 36"/>
                <a:gd name="T20" fmla="*/ 11 w 40"/>
                <a:gd name="T21" fmla="*/ 35 h 36"/>
                <a:gd name="T22" fmla="*/ 8 w 40"/>
                <a:gd name="T23" fmla="*/ 33 h 36"/>
                <a:gd name="T24" fmla="*/ 7 w 40"/>
                <a:gd name="T25" fmla="*/ 32 h 36"/>
                <a:gd name="T26" fmla="*/ 4 w 40"/>
                <a:gd name="T27" fmla="*/ 29 h 36"/>
                <a:gd name="T28" fmla="*/ 3 w 40"/>
                <a:gd name="T29" fmla="*/ 29 h 36"/>
                <a:gd name="T30" fmla="*/ 1 w 40"/>
                <a:gd name="T31" fmla="*/ 25 h 36"/>
                <a:gd name="T32" fmla="*/ 1 w 40"/>
                <a:gd name="T33" fmla="*/ 23 h 36"/>
                <a:gd name="T34" fmla="*/ 0 w 40"/>
                <a:gd name="T35" fmla="*/ 21 h 36"/>
                <a:gd name="T36" fmla="*/ 0 w 40"/>
                <a:gd name="T37" fmla="*/ 17 h 36"/>
                <a:gd name="T38" fmla="*/ 0 w 40"/>
                <a:gd name="T39" fmla="*/ 16 h 36"/>
                <a:gd name="T40" fmla="*/ 1 w 40"/>
                <a:gd name="T41" fmla="*/ 13 h 36"/>
                <a:gd name="T42" fmla="*/ 1 w 40"/>
                <a:gd name="T43" fmla="*/ 12 h 36"/>
                <a:gd name="T44" fmla="*/ 2 w 40"/>
                <a:gd name="T45" fmla="*/ 10 h 36"/>
                <a:gd name="T46" fmla="*/ 5 w 40"/>
                <a:gd name="T47" fmla="*/ 9 h 36"/>
                <a:gd name="T48" fmla="*/ 12 w 40"/>
                <a:gd name="T49" fmla="*/ 4 h 36"/>
                <a:gd name="T50" fmla="*/ 17 w 40"/>
                <a:gd name="T51" fmla="*/ 1 h 36"/>
                <a:gd name="T52" fmla="*/ 22 w 40"/>
                <a:gd name="T53" fmla="*/ 0 h 36"/>
                <a:gd name="T54" fmla="*/ 27 w 40"/>
                <a:gd name="T55" fmla="*/ 0 h 36"/>
                <a:gd name="T56" fmla="*/ 27 w 40"/>
                <a:gd name="T57" fmla="*/ 0 h 36"/>
                <a:gd name="T58" fmla="*/ 30 w 40"/>
                <a:gd name="T59" fmla="*/ 1 h 36"/>
                <a:gd name="T60" fmla="*/ 32 w 40"/>
                <a:gd name="T61" fmla="*/ 2 h 36"/>
                <a:gd name="T62" fmla="*/ 35 w 40"/>
                <a:gd name="T63" fmla="*/ 3 h 36"/>
                <a:gd name="T64" fmla="*/ 35 w 40"/>
                <a:gd name="T65" fmla="*/ 3 h 36"/>
                <a:gd name="T66" fmla="*/ 37 w 40"/>
                <a:gd name="T67" fmla="*/ 6 h 36"/>
                <a:gd name="T68" fmla="*/ 38 w 40"/>
                <a:gd name="T69" fmla="*/ 8 h 36"/>
                <a:gd name="T70" fmla="*/ 39 w 40"/>
                <a:gd name="T71" fmla="*/ 11 h 36"/>
                <a:gd name="T72" fmla="*/ 40 w 40"/>
                <a:gd name="T73" fmla="*/ 15 h 36"/>
                <a:gd name="T74" fmla="*/ 39 w 40"/>
                <a:gd name="T75" fmla="*/ 18 h 36"/>
                <a:gd name="T76" fmla="*/ 39 w 40"/>
                <a:gd name="T77" fmla="*/ 20 h 36"/>
                <a:gd name="T78" fmla="*/ 36 w 40"/>
                <a:gd name="T79" fmla="*/ 27 h 36"/>
                <a:gd name="T80" fmla="*/ 35 w 40"/>
                <a:gd name="T81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" h="36">
                  <a:moveTo>
                    <a:pt x="35" y="29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4" y="30"/>
                    <a:pt x="33" y="31"/>
                    <a:pt x="32" y="31"/>
                  </a:cubicBezTo>
                  <a:cubicBezTo>
                    <a:pt x="32" y="32"/>
                    <a:pt x="31" y="32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0" y="33"/>
                    <a:pt x="30" y="33"/>
                  </a:cubicBezTo>
                  <a:cubicBezTo>
                    <a:pt x="29" y="34"/>
                    <a:pt x="28" y="34"/>
                    <a:pt x="27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7" y="35"/>
                    <a:pt x="26" y="35"/>
                    <a:pt x="26" y="35"/>
                  </a:cubicBezTo>
                  <a:cubicBezTo>
                    <a:pt x="26" y="35"/>
                    <a:pt x="25" y="36"/>
                    <a:pt x="24" y="36"/>
                  </a:cubicBezTo>
                  <a:cubicBezTo>
                    <a:pt x="24" y="36"/>
                    <a:pt x="23" y="36"/>
                    <a:pt x="23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0" y="36"/>
                    <a:pt x="19" y="36"/>
                    <a:pt x="18" y="36"/>
                  </a:cubicBezTo>
                  <a:cubicBezTo>
                    <a:pt x="18" y="36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6"/>
                    <a:pt x="15" y="36"/>
                    <a:pt x="15" y="36"/>
                  </a:cubicBezTo>
                  <a:cubicBezTo>
                    <a:pt x="14" y="35"/>
                    <a:pt x="13" y="35"/>
                    <a:pt x="12" y="35"/>
                  </a:cubicBezTo>
                  <a:cubicBezTo>
                    <a:pt x="12" y="35"/>
                    <a:pt x="12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0" y="34"/>
                    <a:pt x="9" y="33"/>
                    <a:pt x="8" y="33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2"/>
                    <a:pt x="6" y="31"/>
                    <a:pt x="5" y="31"/>
                  </a:cubicBezTo>
                  <a:cubicBezTo>
                    <a:pt x="5" y="30"/>
                    <a:pt x="4" y="30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8"/>
                    <a:pt x="2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4"/>
                    <a:pt x="1" y="23"/>
                    <a:pt x="1" y="23"/>
                  </a:cubicBezTo>
                  <a:cubicBezTo>
                    <a:pt x="0" y="22"/>
                    <a:pt x="0" y="22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5"/>
                    <a:pt x="1" y="15"/>
                  </a:cubicBezTo>
                  <a:cubicBezTo>
                    <a:pt x="1" y="14"/>
                    <a:pt x="1" y="14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4" y="9"/>
                    <a:pt x="5" y="9"/>
                  </a:cubicBezTo>
                  <a:cubicBezTo>
                    <a:pt x="7" y="7"/>
                    <a:pt x="9" y="6"/>
                    <a:pt x="11" y="5"/>
                  </a:cubicBezTo>
                  <a:cubicBezTo>
                    <a:pt x="11" y="5"/>
                    <a:pt x="11" y="4"/>
                    <a:pt x="12" y="4"/>
                  </a:cubicBezTo>
                  <a:cubicBezTo>
                    <a:pt x="13" y="4"/>
                    <a:pt x="14" y="3"/>
                    <a:pt x="16" y="3"/>
                  </a:cubicBezTo>
                  <a:cubicBezTo>
                    <a:pt x="16" y="3"/>
                    <a:pt x="17" y="2"/>
                    <a:pt x="17" y="1"/>
                  </a:cubicBezTo>
                  <a:cubicBezTo>
                    <a:pt x="19" y="1"/>
                    <a:pt x="20" y="0"/>
                    <a:pt x="21" y="0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23" y="0"/>
                    <a:pt x="23" y="0"/>
                    <a:pt x="24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8" y="0"/>
                  </a:cubicBezTo>
                  <a:cubicBezTo>
                    <a:pt x="29" y="0"/>
                    <a:pt x="29" y="1"/>
                    <a:pt x="30" y="1"/>
                  </a:cubicBezTo>
                  <a:cubicBezTo>
                    <a:pt x="30" y="1"/>
                    <a:pt x="31" y="1"/>
                    <a:pt x="31" y="1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3" y="2"/>
                    <a:pt x="33" y="2"/>
                    <a:pt x="34" y="3"/>
                  </a:cubicBezTo>
                  <a:cubicBezTo>
                    <a:pt x="34" y="3"/>
                    <a:pt x="34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4"/>
                    <a:pt x="36" y="5"/>
                    <a:pt x="37" y="5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10"/>
                    <a:pt x="39" y="10"/>
                    <a:pt x="39" y="11"/>
                  </a:cubicBezTo>
                  <a:cubicBezTo>
                    <a:pt x="39" y="11"/>
                    <a:pt x="39" y="12"/>
                    <a:pt x="39" y="12"/>
                  </a:cubicBezTo>
                  <a:cubicBezTo>
                    <a:pt x="40" y="14"/>
                    <a:pt x="40" y="14"/>
                    <a:pt x="40" y="15"/>
                  </a:cubicBezTo>
                  <a:cubicBezTo>
                    <a:pt x="40" y="16"/>
                    <a:pt x="39" y="16"/>
                    <a:pt x="39" y="17"/>
                  </a:cubicBezTo>
                  <a:cubicBezTo>
                    <a:pt x="39" y="17"/>
                    <a:pt x="39" y="17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9"/>
                    <a:pt x="39" y="19"/>
                    <a:pt x="39" y="20"/>
                  </a:cubicBezTo>
                  <a:cubicBezTo>
                    <a:pt x="37" y="21"/>
                    <a:pt x="37" y="23"/>
                    <a:pt x="37" y="24"/>
                  </a:cubicBezTo>
                  <a:cubicBezTo>
                    <a:pt x="37" y="25"/>
                    <a:pt x="37" y="26"/>
                    <a:pt x="36" y="27"/>
                  </a:cubicBezTo>
                  <a:cubicBezTo>
                    <a:pt x="36" y="27"/>
                    <a:pt x="36" y="28"/>
                    <a:pt x="35" y="28"/>
                  </a:cubicBezTo>
                  <a:cubicBezTo>
                    <a:pt x="35" y="29"/>
                    <a:pt x="35" y="29"/>
                    <a:pt x="35" y="29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2" name="iśḷiḓè">
              <a:extLst>
                <a:ext uri="{FF2B5EF4-FFF2-40B4-BE49-F238E27FC236}">
                  <a16:creationId xmlns:a16="http://schemas.microsoft.com/office/drawing/2014/main" id="{3222E47E-57A1-4B41-90BC-ECB1015609D0}"/>
                </a:ext>
              </a:extLst>
            </p:cNvPr>
            <p:cNvSpPr/>
            <p:nvPr/>
          </p:nvSpPr>
          <p:spPr bwMode="auto">
            <a:xfrm>
              <a:off x="6690985" y="4433496"/>
              <a:ext cx="421818" cy="297493"/>
            </a:xfrm>
            <a:custGeom>
              <a:avLst/>
              <a:gdLst>
                <a:gd name="T0" fmla="*/ 45 w 137"/>
                <a:gd name="T1" fmla="*/ 76 h 97"/>
                <a:gd name="T2" fmla="*/ 45 w 137"/>
                <a:gd name="T3" fmla="*/ 76 h 97"/>
                <a:gd name="T4" fmla="*/ 53 w 137"/>
                <a:gd name="T5" fmla="*/ 79 h 97"/>
                <a:gd name="T6" fmla="*/ 61 w 137"/>
                <a:gd name="T7" fmla="*/ 85 h 97"/>
                <a:gd name="T8" fmla="*/ 64 w 137"/>
                <a:gd name="T9" fmla="*/ 88 h 97"/>
                <a:gd name="T10" fmla="*/ 66 w 137"/>
                <a:gd name="T11" fmla="*/ 91 h 97"/>
                <a:gd name="T12" fmla="*/ 66 w 137"/>
                <a:gd name="T13" fmla="*/ 92 h 97"/>
                <a:gd name="T14" fmla="*/ 68 w 137"/>
                <a:gd name="T15" fmla="*/ 95 h 97"/>
                <a:gd name="T16" fmla="*/ 65 w 137"/>
                <a:gd name="T17" fmla="*/ 93 h 97"/>
                <a:gd name="T18" fmla="*/ 57 w 137"/>
                <a:gd name="T19" fmla="*/ 89 h 97"/>
                <a:gd name="T20" fmla="*/ 49 w 137"/>
                <a:gd name="T21" fmla="*/ 89 h 97"/>
                <a:gd name="T22" fmla="*/ 49 w 137"/>
                <a:gd name="T23" fmla="*/ 92 h 97"/>
                <a:gd name="T24" fmla="*/ 55 w 137"/>
                <a:gd name="T25" fmla="*/ 95 h 97"/>
                <a:gd name="T26" fmla="*/ 61 w 137"/>
                <a:gd name="T27" fmla="*/ 97 h 97"/>
                <a:gd name="T28" fmla="*/ 55 w 137"/>
                <a:gd name="T29" fmla="*/ 96 h 97"/>
                <a:gd name="T30" fmla="*/ 38 w 137"/>
                <a:gd name="T31" fmla="*/ 94 h 97"/>
                <a:gd name="T32" fmla="*/ 38 w 137"/>
                <a:gd name="T33" fmla="*/ 94 h 97"/>
                <a:gd name="T34" fmla="*/ 31 w 137"/>
                <a:gd name="T35" fmla="*/ 85 h 97"/>
                <a:gd name="T36" fmla="*/ 34 w 137"/>
                <a:gd name="T37" fmla="*/ 86 h 97"/>
                <a:gd name="T38" fmla="*/ 39 w 137"/>
                <a:gd name="T39" fmla="*/ 87 h 97"/>
                <a:gd name="T40" fmla="*/ 40 w 137"/>
                <a:gd name="T41" fmla="*/ 85 h 97"/>
                <a:gd name="T42" fmla="*/ 35 w 137"/>
                <a:gd name="T43" fmla="*/ 82 h 97"/>
                <a:gd name="T44" fmla="*/ 30 w 137"/>
                <a:gd name="T45" fmla="*/ 80 h 97"/>
                <a:gd name="T46" fmla="*/ 17 w 137"/>
                <a:gd name="T47" fmla="*/ 74 h 97"/>
                <a:gd name="T48" fmla="*/ 0 w 137"/>
                <a:gd name="T49" fmla="*/ 60 h 97"/>
                <a:gd name="T50" fmla="*/ 1 w 137"/>
                <a:gd name="T51" fmla="*/ 61 h 97"/>
                <a:gd name="T52" fmla="*/ 11 w 137"/>
                <a:gd name="T53" fmla="*/ 68 h 97"/>
                <a:gd name="T54" fmla="*/ 33 w 137"/>
                <a:gd name="T55" fmla="*/ 73 h 97"/>
                <a:gd name="T56" fmla="*/ 45 w 137"/>
                <a:gd name="T57" fmla="*/ 76 h 97"/>
                <a:gd name="T58" fmla="*/ 132 w 137"/>
                <a:gd name="T59" fmla="*/ 36 h 97"/>
                <a:gd name="T60" fmla="*/ 132 w 137"/>
                <a:gd name="T61" fmla="*/ 36 h 97"/>
                <a:gd name="T62" fmla="*/ 129 w 137"/>
                <a:gd name="T63" fmla="*/ 44 h 97"/>
                <a:gd name="T64" fmla="*/ 129 w 137"/>
                <a:gd name="T65" fmla="*/ 44 h 97"/>
                <a:gd name="T66" fmla="*/ 122 w 137"/>
                <a:gd name="T67" fmla="*/ 64 h 97"/>
                <a:gd name="T68" fmla="*/ 121 w 137"/>
                <a:gd name="T69" fmla="*/ 71 h 97"/>
                <a:gd name="T70" fmla="*/ 121 w 137"/>
                <a:gd name="T71" fmla="*/ 75 h 97"/>
                <a:gd name="T72" fmla="*/ 121 w 137"/>
                <a:gd name="T73" fmla="*/ 75 h 97"/>
                <a:gd name="T74" fmla="*/ 120 w 137"/>
                <a:gd name="T75" fmla="*/ 79 h 97"/>
                <a:gd name="T76" fmla="*/ 117 w 137"/>
                <a:gd name="T77" fmla="*/ 83 h 97"/>
                <a:gd name="T78" fmla="*/ 114 w 137"/>
                <a:gd name="T79" fmla="*/ 81 h 97"/>
                <a:gd name="T80" fmla="*/ 110 w 137"/>
                <a:gd name="T81" fmla="*/ 79 h 97"/>
                <a:gd name="T82" fmla="*/ 110 w 137"/>
                <a:gd name="T83" fmla="*/ 77 h 97"/>
                <a:gd name="T84" fmla="*/ 108 w 137"/>
                <a:gd name="T85" fmla="*/ 54 h 97"/>
                <a:gd name="T86" fmla="*/ 114 w 137"/>
                <a:gd name="T87" fmla="*/ 34 h 97"/>
                <a:gd name="T88" fmla="*/ 121 w 137"/>
                <a:gd name="T89" fmla="*/ 14 h 97"/>
                <a:gd name="T90" fmla="*/ 123 w 137"/>
                <a:gd name="T91" fmla="*/ 5 h 97"/>
                <a:gd name="T92" fmla="*/ 126 w 137"/>
                <a:gd name="T93" fmla="*/ 19 h 97"/>
                <a:gd name="T94" fmla="*/ 126 w 137"/>
                <a:gd name="T95" fmla="*/ 44 h 97"/>
                <a:gd name="T96" fmla="*/ 128 w 137"/>
                <a:gd name="T97" fmla="*/ 44 h 97"/>
                <a:gd name="T98" fmla="*/ 130 w 137"/>
                <a:gd name="T99" fmla="*/ 19 h 97"/>
                <a:gd name="T100" fmla="*/ 127 w 137"/>
                <a:gd name="T101" fmla="*/ 6 h 97"/>
                <a:gd name="T102" fmla="*/ 124 w 137"/>
                <a:gd name="T103" fmla="*/ 0 h 97"/>
                <a:gd name="T104" fmla="*/ 128 w 137"/>
                <a:gd name="T105" fmla="*/ 5 h 97"/>
                <a:gd name="T106" fmla="*/ 136 w 137"/>
                <a:gd name="T107" fmla="*/ 22 h 97"/>
                <a:gd name="T108" fmla="*/ 136 w 137"/>
                <a:gd name="T109" fmla="*/ 26 h 97"/>
                <a:gd name="T110" fmla="*/ 137 w 137"/>
                <a:gd name="T111" fmla="*/ 26 h 97"/>
                <a:gd name="T112" fmla="*/ 132 w 137"/>
                <a:gd name="T113" fmla="*/ 3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7" h="97">
                  <a:moveTo>
                    <a:pt x="45" y="76"/>
                  </a:moveTo>
                  <a:cubicBezTo>
                    <a:pt x="45" y="76"/>
                    <a:pt x="45" y="76"/>
                    <a:pt x="45" y="76"/>
                  </a:cubicBezTo>
                  <a:cubicBezTo>
                    <a:pt x="48" y="77"/>
                    <a:pt x="50" y="78"/>
                    <a:pt x="53" y="79"/>
                  </a:cubicBezTo>
                  <a:cubicBezTo>
                    <a:pt x="56" y="81"/>
                    <a:pt x="59" y="83"/>
                    <a:pt x="61" y="85"/>
                  </a:cubicBezTo>
                  <a:cubicBezTo>
                    <a:pt x="62" y="86"/>
                    <a:pt x="63" y="87"/>
                    <a:pt x="64" y="88"/>
                  </a:cubicBezTo>
                  <a:cubicBezTo>
                    <a:pt x="65" y="89"/>
                    <a:pt x="66" y="90"/>
                    <a:pt x="66" y="91"/>
                  </a:cubicBezTo>
                  <a:cubicBezTo>
                    <a:pt x="66" y="92"/>
                    <a:pt x="66" y="92"/>
                    <a:pt x="66" y="92"/>
                  </a:cubicBezTo>
                  <a:cubicBezTo>
                    <a:pt x="67" y="93"/>
                    <a:pt x="67" y="94"/>
                    <a:pt x="68" y="95"/>
                  </a:cubicBezTo>
                  <a:cubicBezTo>
                    <a:pt x="67" y="94"/>
                    <a:pt x="66" y="94"/>
                    <a:pt x="65" y="93"/>
                  </a:cubicBezTo>
                  <a:cubicBezTo>
                    <a:pt x="62" y="91"/>
                    <a:pt x="60" y="90"/>
                    <a:pt x="57" y="89"/>
                  </a:cubicBezTo>
                  <a:cubicBezTo>
                    <a:pt x="55" y="88"/>
                    <a:pt x="52" y="88"/>
                    <a:pt x="49" y="89"/>
                  </a:cubicBezTo>
                  <a:cubicBezTo>
                    <a:pt x="48" y="90"/>
                    <a:pt x="48" y="91"/>
                    <a:pt x="49" y="92"/>
                  </a:cubicBezTo>
                  <a:cubicBezTo>
                    <a:pt x="51" y="93"/>
                    <a:pt x="53" y="94"/>
                    <a:pt x="55" y="95"/>
                  </a:cubicBezTo>
                  <a:cubicBezTo>
                    <a:pt x="57" y="95"/>
                    <a:pt x="60" y="96"/>
                    <a:pt x="61" y="97"/>
                  </a:cubicBezTo>
                  <a:cubicBezTo>
                    <a:pt x="59" y="97"/>
                    <a:pt x="57" y="97"/>
                    <a:pt x="55" y="96"/>
                  </a:cubicBezTo>
                  <a:cubicBezTo>
                    <a:pt x="49" y="96"/>
                    <a:pt x="43" y="95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6" y="90"/>
                    <a:pt x="33" y="88"/>
                    <a:pt x="31" y="85"/>
                  </a:cubicBezTo>
                  <a:cubicBezTo>
                    <a:pt x="32" y="86"/>
                    <a:pt x="33" y="86"/>
                    <a:pt x="34" y="86"/>
                  </a:cubicBezTo>
                  <a:cubicBezTo>
                    <a:pt x="35" y="87"/>
                    <a:pt x="37" y="87"/>
                    <a:pt x="39" y="87"/>
                  </a:cubicBezTo>
                  <a:cubicBezTo>
                    <a:pt x="40" y="87"/>
                    <a:pt x="40" y="85"/>
                    <a:pt x="40" y="85"/>
                  </a:cubicBezTo>
                  <a:cubicBezTo>
                    <a:pt x="38" y="84"/>
                    <a:pt x="37" y="83"/>
                    <a:pt x="35" y="82"/>
                  </a:cubicBezTo>
                  <a:cubicBezTo>
                    <a:pt x="33" y="82"/>
                    <a:pt x="31" y="81"/>
                    <a:pt x="30" y="80"/>
                  </a:cubicBezTo>
                  <a:cubicBezTo>
                    <a:pt x="25" y="78"/>
                    <a:pt x="21" y="76"/>
                    <a:pt x="17" y="74"/>
                  </a:cubicBezTo>
                  <a:cubicBezTo>
                    <a:pt x="11" y="71"/>
                    <a:pt x="4" y="66"/>
                    <a:pt x="0" y="60"/>
                  </a:cubicBezTo>
                  <a:cubicBezTo>
                    <a:pt x="0" y="60"/>
                    <a:pt x="0" y="60"/>
                    <a:pt x="1" y="61"/>
                  </a:cubicBezTo>
                  <a:cubicBezTo>
                    <a:pt x="4" y="64"/>
                    <a:pt x="7" y="66"/>
                    <a:pt x="11" y="68"/>
                  </a:cubicBezTo>
                  <a:cubicBezTo>
                    <a:pt x="18" y="71"/>
                    <a:pt x="26" y="72"/>
                    <a:pt x="33" y="73"/>
                  </a:cubicBezTo>
                  <a:cubicBezTo>
                    <a:pt x="37" y="74"/>
                    <a:pt x="41" y="75"/>
                    <a:pt x="45" y="76"/>
                  </a:cubicBezTo>
                  <a:close/>
                  <a:moveTo>
                    <a:pt x="132" y="36"/>
                  </a:moveTo>
                  <a:cubicBezTo>
                    <a:pt x="132" y="36"/>
                    <a:pt x="132" y="36"/>
                    <a:pt x="132" y="36"/>
                  </a:cubicBezTo>
                  <a:cubicBezTo>
                    <a:pt x="131" y="39"/>
                    <a:pt x="130" y="41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5" y="50"/>
                    <a:pt x="123" y="57"/>
                    <a:pt x="122" y="64"/>
                  </a:cubicBezTo>
                  <a:cubicBezTo>
                    <a:pt x="122" y="66"/>
                    <a:pt x="121" y="69"/>
                    <a:pt x="121" y="71"/>
                  </a:cubicBezTo>
                  <a:cubicBezTo>
                    <a:pt x="121" y="72"/>
                    <a:pt x="121" y="74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6"/>
                    <a:pt x="121" y="78"/>
                    <a:pt x="120" y="79"/>
                  </a:cubicBezTo>
                  <a:cubicBezTo>
                    <a:pt x="119" y="80"/>
                    <a:pt x="118" y="82"/>
                    <a:pt x="117" y="83"/>
                  </a:cubicBezTo>
                  <a:cubicBezTo>
                    <a:pt x="116" y="83"/>
                    <a:pt x="115" y="82"/>
                    <a:pt x="114" y="81"/>
                  </a:cubicBezTo>
                  <a:cubicBezTo>
                    <a:pt x="113" y="80"/>
                    <a:pt x="111" y="80"/>
                    <a:pt x="110" y="79"/>
                  </a:cubicBezTo>
                  <a:cubicBezTo>
                    <a:pt x="110" y="78"/>
                    <a:pt x="110" y="78"/>
                    <a:pt x="110" y="77"/>
                  </a:cubicBezTo>
                  <a:cubicBezTo>
                    <a:pt x="106" y="71"/>
                    <a:pt x="107" y="61"/>
                    <a:pt x="108" y="54"/>
                  </a:cubicBezTo>
                  <a:cubicBezTo>
                    <a:pt x="110" y="47"/>
                    <a:pt x="112" y="41"/>
                    <a:pt x="114" y="34"/>
                  </a:cubicBezTo>
                  <a:cubicBezTo>
                    <a:pt x="117" y="27"/>
                    <a:pt x="119" y="21"/>
                    <a:pt x="121" y="14"/>
                  </a:cubicBezTo>
                  <a:cubicBezTo>
                    <a:pt x="122" y="11"/>
                    <a:pt x="122" y="8"/>
                    <a:pt x="123" y="5"/>
                  </a:cubicBezTo>
                  <a:cubicBezTo>
                    <a:pt x="124" y="9"/>
                    <a:pt x="125" y="15"/>
                    <a:pt x="126" y="19"/>
                  </a:cubicBezTo>
                  <a:cubicBezTo>
                    <a:pt x="126" y="27"/>
                    <a:pt x="125" y="36"/>
                    <a:pt x="126" y="44"/>
                  </a:cubicBezTo>
                  <a:cubicBezTo>
                    <a:pt x="126" y="45"/>
                    <a:pt x="127" y="46"/>
                    <a:pt x="128" y="44"/>
                  </a:cubicBezTo>
                  <a:cubicBezTo>
                    <a:pt x="131" y="37"/>
                    <a:pt x="131" y="27"/>
                    <a:pt x="130" y="19"/>
                  </a:cubicBezTo>
                  <a:cubicBezTo>
                    <a:pt x="130" y="15"/>
                    <a:pt x="129" y="10"/>
                    <a:pt x="127" y="6"/>
                  </a:cubicBezTo>
                  <a:cubicBezTo>
                    <a:pt x="127" y="4"/>
                    <a:pt x="125" y="2"/>
                    <a:pt x="124" y="0"/>
                  </a:cubicBezTo>
                  <a:cubicBezTo>
                    <a:pt x="125" y="1"/>
                    <a:pt x="127" y="3"/>
                    <a:pt x="128" y="5"/>
                  </a:cubicBezTo>
                  <a:cubicBezTo>
                    <a:pt x="132" y="10"/>
                    <a:pt x="135" y="16"/>
                    <a:pt x="136" y="22"/>
                  </a:cubicBezTo>
                  <a:cubicBezTo>
                    <a:pt x="136" y="23"/>
                    <a:pt x="136" y="25"/>
                    <a:pt x="136" y="26"/>
                  </a:cubicBezTo>
                  <a:cubicBezTo>
                    <a:pt x="136" y="26"/>
                    <a:pt x="136" y="26"/>
                    <a:pt x="137" y="26"/>
                  </a:cubicBezTo>
                  <a:cubicBezTo>
                    <a:pt x="135" y="29"/>
                    <a:pt x="134" y="33"/>
                    <a:pt x="132" y="36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3" name="íṧlîḓè">
              <a:extLst>
                <a:ext uri="{FF2B5EF4-FFF2-40B4-BE49-F238E27FC236}">
                  <a16:creationId xmlns:a16="http://schemas.microsoft.com/office/drawing/2014/main" id="{DBA0C6D1-FA27-4F38-ABB2-FF56EC604C54}"/>
                </a:ext>
              </a:extLst>
            </p:cNvPr>
            <p:cNvSpPr/>
            <p:nvPr/>
          </p:nvSpPr>
          <p:spPr bwMode="auto">
            <a:xfrm>
              <a:off x="6812351" y="462886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4" name="iślîḋe">
              <a:extLst>
                <a:ext uri="{FF2B5EF4-FFF2-40B4-BE49-F238E27FC236}">
                  <a16:creationId xmlns:a16="http://schemas.microsoft.com/office/drawing/2014/main" id="{36A987B0-76A8-43DA-838D-2511F9B28776}"/>
                </a:ext>
              </a:extLst>
            </p:cNvPr>
            <p:cNvSpPr/>
            <p:nvPr/>
          </p:nvSpPr>
          <p:spPr bwMode="auto">
            <a:xfrm>
              <a:off x="6537059" y="4257369"/>
              <a:ext cx="278252" cy="288613"/>
            </a:xfrm>
            <a:custGeom>
              <a:avLst/>
              <a:gdLst>
                <a:gd name="T0" fmla="*/ 89 w 90"/>
                <a:gd name="T1" fmla="*/ 83 h 94"/>
                <a:gd name="T2" fmla="*/ 89 w 90"/>
                <a:gd name="T3" fmla="*/ 83 h 94"/>
                <a:gd name="T4" fmla="*/ 88 w 90"/>
                <a:gd name="T5" fmla="*/ 94 h 94"/>
                <a:gd name="T6" fmla="*/ 88 w 90"/>
                <a:gd name="T7" fmla="*/ 94 h 94"/>
                <a:gd name="T8" fmla="*/ 81 w 90"/>
                <a:gd name="T9" fmla="*/ 94 h 94"/>
                <a:gd name="T10" fmla="*/ 81 w 90"/>
                <a:gd name="T11" fmla="*/ 94 h 94"/>
                <a:gd name="T12" fmla="*/ 80 w 90"/>
                <a:gd name="T13" fmla="*/ 94 h 94"/>
                <a:gd name="T14" fmla="*/ 78 w 90"/>
                <a:gd name="T15" fmla="*/ 93 h 94"/>
                <a:gd name="T16" fmla="*/ 73 w 90"/>
                <a:gd name="T17" fmla="*/ 92 h 94"/>
                <a:gd name="T18" fmla="*/ 64 w 90"/>
                <a:gd name="T19" fmla="*/ 91 h 94"/>
                <a:gd name="T20" fmla="*/ 24 w 90"/>
                <a:gd name="T21" fmla="*/ 79 h 94"/>
                <a:gd name="T22" fmla="*/ 10 w 90"/>
                <a:gd name="T23" fmla="*/ 73 h 94"/>
                <a:gd name="T24" fmla="*/ 10 w 90"/>
                <a:gd name="T25" fmla="*/ 72 h 94"/>
                <a:gd name="T26" fmla="*/ 7 w 90"/>
                <a:gd name="T27" fmla="*/ 71 h 94"/>
                <a:gd name="T28" fmla="*/ 7 w 90"/>
                <a:gd name="T29" fmla="*/ 72 h 94"/>
                <a:gd name="T30" fmla="*/ 1 w 90"/>
                <a:gd name="T31" fmla="*/ 70 h 94"/>
                <a:gd name="T32" fmla="*/ 1 w 90"/>
                <a:gd name="T33" fmla="*/ 69 h 94"/>
                <a:gd name="T34" fmla="*/ 6 w 90"/>
                <a:gd name="T35" fmla="*/ 48 h 94"/>
                <a:gd name="T36" fmla="*/ 20 w 90"/>
                <a:gd name="T37" fmla="*/ 30 h 94"/>
                <a:gd name="T38" fmla="*/ 59 w 90"/>
                <a:gd name="T39" fmla="*/ 3 h 94"/>
                <a:gd name="T40" fmla="*/ 63 w 90"/>
                <a:gd name="T41" fmla="*/ 2 h 94"/>
                <a:gd name="T42" fmla="*/ 66 w 90"/>
                <a:gd name="T43" fmla="*/ 1 h 94"/>
                <a:gd name="T44" fmla="*/ 68 w 90"/>
                <a:gd name="T45" fmla="*/ 1 h 94"/>
                <a:gd name="T46" fmla="*/ 68 w 90"/>
                <a:gd name="T47" fmla="*/ 1 h 94"/>
                <a:gd name="T48" fmla="*/ 68 w 90"/>
                <a:gd name="T49" fmla="*/ 1 h 94"/>
                <a:gd name="T50" fmla="*/ 77 w 90"/>
                <a:gd name="T51" fmla="*/ 0 h 94"/>
                <a:gd name="T52" fmla="*/ 77 w 90"/>
                <a:gd name="T53" fmla="*/ 0 h 94"/>
                <a:gd name="T54" fmla="*/ 77 w 90"/>
                <a:gd name="T55" fmla="*/ 2 h 94"/>
                <a:gd name="T56" fmla="*/ 79 w 90"/>
                <a:gd name="T57" fmla="*/ 3 h 94"/>
                <a:gd name="T58" fmla="*/ 80 w 90"/>
                <a:gd name="T59" fmla="*/ 5 h 94"/>
                <a:gd name="T60" fmla="*/ 84 w 90"/>
                <a:gd name="T61" fmla="*/ 14 h 94"/>
                <a:gd name="T62" fmla="*/ 87 w 90"/>
                <a:gd name="T63" fmla="*/ 26 h 94"/>
                <a:gd name="T64" fmla="*/ 88 w 90"/>
                <a:gd name="T65" fmla="*/ 31 h 94"/>
                <a:gd name="T66" fmla="*/ 89 w 90"/>
                <a:gd name="T67" fmla="*/ 36 h 94"/>
                <a:gd name="T68" fmla="*/ 89 w 90"/>
                <a:gd name="T69" fmla="*/ 8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94">
                  <a:moveTo>
                    <a:pt x="89" y="83"/>
                  </a:moveTo>
                  <a:cubicBezTo>
                    <a:pt x="89" y="83"/>
                    <a:pt x="89" y="83"/>
                    <a:pt x="89" y="83"/>
                  </a:cubicBezTo>
                  <a:cubicBezTo>
                    <a:pt x="88" y="87"/>
                    <a:pt x="88" y="91"/>
                    <a:pt x="88" y="94"/>
                  </a:cubicBezTo>
                  <a:cubicBezTo>
                    <a:pt x="88" y="94"/>
                    <a:pt x="88" y="94"/>
                    <a:pt x="88" y="94"/>
                  </a:cubicBezTo>
                  <a:cubicBezTo>
                    <a:pt x="86" y="94"/>
                    <a:pt x="84" y="94"/>
                    <a:pt x="81" y="94"/>
                  </a:cubicBezTo>
                  <a:cubicBezTo>
                    <a:pt x="81" y="94"/>
                    <a:pt x="81" y="94"/>
                    <a:pt x="81" y="9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79" y="94"/>
                    <a:pt x="78" y="93"/>
                    <a:pt x="78" y="93"/>
                  </a:cubicBezTo>
                  <a:cubicBezTo>
                    <a:pt x="76" y="93"/>
                    <a:pt x="74" y="93"/>
                    <a:pt x="73" y="92"/>
                  </a:cubicBezTo>
                  <a:cubicBezTo>
                    <a:pt x="70" y="92"/>
                    <a:pt x="67" y="91"/>
                    <a:pt x="64" y="91"/>
                  </a:cubicBezTo>
                  <a:cubicBezTo>
                    <a:pt x="50" y="88"/>
                    <a:pt x="37" y="84"/>
                    <a:pt x="24" y="79"/>
                  </a:cubicBezTo>
                  <a:cubicBezTo>
                    <a:pt x="19" y="77"/>
                    <a:pt x="14" y="75"/>
                    <a:pt x="10" y="73"/>
                  </a:cubicBezTo>
                  <a:cubicBezTo>
                    <a:pt x="10" y="73"/>
                    <a:pt x="10" y="72"/>
                    <a:pt x="10" y="72"/>
                  </a:cubicBezTo>
                  <a:cubicBezTo>
                    <a:pt x="11" y="70"/>
                    <a:pt x="8" y="69"/>
                    <a:pt x="7" y="71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5" y="71"/>
                    <a:pt x="3" y="71"/>
                    <a:pt x="1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0" y="62"/>
                    <a:pt x="3" y="54"/>
                    <a:pt x="6" y="48"/>
                  </a:cubicBezTo>
                  <a:cubicBezTo>
                    <a:pt x="10" y="41"/>
                    <a:pt x="15" y="35"/>
                    <a:pt x="20" y="30"/>
                  </a:cubicBezTo>
                  <a:cubicBezTo>
                    <a:pt x="32" y="18"/>
                    <a:pt x="44" y="8"/>
                    <a:pt x="59" y="3"/>
                  </a:cubicBezTo>
                  <a:cubicBezTo>
                    <a:pt x="61" y="3"/>
                    <a:pt x="62" y="2"/>
                    <a:pt x="63" y="2"/>
                  </a:cubicBezTo>
                  <a:cubicBezTo>
                    <a:pt x="64" y="2"/>
                    <a:pt x="65" y="2"/>
                    <a:pt x="66" y="1"/>
                  </a:cubicBezTo>
                  <a:cubicBezTo>
                    <a:pt x="67" y="1"/>
                    <a:pt x="67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71" y="1"/>
                    <a:pt x="74" y="1"/>
                    <a:pt x="7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1"/>
                    <a:pt x="77" y="1"/>
                    <a:pt x="77" y="2"/>
                  </a:cubicBezTo>
                  <a:cubicBezTo>
                    <a:pt x="78" y="3"/>
                    <a:pt x="78" y="4"/>
                    <a:pt x="79" y="3"/>
                  </a:cubicBezTo>
                  <a:cubicBezTo>
                    <a:pt x="79" y="4"/>
                    <a:pt x="80" y="5"/>
                    <a:pt x="80" y="5"/>
                  </a:cubicBezTo>
                  <a:cubicBezTo>
                    <a:pt x="82" y="8"/>
                    <a:pt x="83" y="11"/>
                    <a:pt x="84" y="14"/>
                  </a:cubicBezTo>
                  <a:cubicBezTo>
                    <a:pt x="85" y="18"/>
                    <a:pt x="86" y="22"/>
                    <a:pt x="87" y="26"/>
                  </a:cubicBezTo>
                  <a:cubicBezTo>
                    <a:pt x="87" y="28"/>
                    <a:pt x="88" y="29"/>
                    <a:pt x="88" y="31"/>
                  </a:cubicBezTo>
                  <a:cubicBezTo>
                    <a:pt x="88" y="33"/>
                    <a:pt x="88" y="34"/>
                    <a:pt x="89" y="36"/>
                  </a:cubicBezTo>
                  <a:cubicBezTo>
                    <a:pt x="90" y="52"/>
                    <a:pt x="90" y="68"/>
                    <a:pt x="89" y="83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5" name="îšļïḑè">
              <a:extLst>
                <a:ext uri="{FF2B5EF4-FFF2-40B4-BE49-F238E27FC236}">
                  <a16:creationId xmlns:a16="http://schemas.microsoft.com/office/drawing/2014/main" id="{5E63A607-2C3E-4110-BC84-F69627D9BC70}"/>
                </a:ext>
              </a:extLst>
            </p:cNvPr>
            <p:cNvSpPr/>
            <p:nvPr/>
          </p:nvSpPr>
          <p:spPr bwMode="auto">
            <a:xfrm>
              <a:off x="6961837" y="4251448"/>
              <a:ext cx="461779" cy="424778"/>
            </a:xfrm>
            <a:custGeom>
              <a:avLst/>
              <a:gdLst>
                <a:gd name="T0" fmla="*/ 30 w 150"/>
                <a:gd name="T1" fmla="*/ 10 h 138"/>
                <a:gd name="T2" fmla="*/ 32 w 150"/>
                <a:gd name="T3" fmla="*/ 1 h 138"/>
                <a:gd name="T4" fmla="*/ 39 w 150"/>
                <a:gd name="T5" fmla="*/ 1 h 138"/>
                <a:gd name="T6" fmla="*/ 57 w 150"/>
                <a:gd name="T7" fmla="*/ 15 h 138"/>
                <a:gd name="T8" fmla="*/ 46 w 150"/>
                <a:gd name="T9" fmla="*/ 12 h 138"/>
                <a:gd name="T10" fmla="*/ 30 w 150"/>
                <a:gd name="T11" fmla="*/ 10 h 138"/>
                <a:gd name="T12" fmla="*/ 16 w 150"/>
                <a:gd name="T13" fmla="*/ 106 h 138"/>
                <a:gd name="T14" fmla="*/ 7 w 150"/>
                <a:gd name="T15" fmla="*/ 99 h 138"/>
                <a:gd name="T16" fmla="*/ 4 w 150"/>
                <a:gd name="T17" fmla="*/ 86 h 138"/>
                <a:gd name="T18" fmla="*/ 19 w 150"/>
                <a:gd name="T19" fmla="*/ 90 h 138"/>
                <a:gd name="T20" fmla="*/ 16 w 150"/>
                <a:gd name="T21" fmla="*/ 106 h 138"/>
                <a:gd name="T22" fmla="*/ 137 w 150"/>
                <a:gd name="T23" fmla="*/ 138 h 138"/>
                <a:gd name="T24" fmla="*/ 125 w 150"/>
                <a:gd name="T25" fmla="*/ 137 h 138"/>
                <a:gd name="T26" fmla="*/ 116 w 150"/>
                <a:gd name="T27" fmla="*/ 137 h 138"/>
                <a:gd name="T28" fmla="*/ 117 w 150"/>
                <a:gd name="T29" fmla="*/ 118 h 138"/>
                <a:gd name="T30" fmla="*/ 150 w 150"/>
                <a:gd name="T31" fmla="*/ 129 h 138"/>
                <a:gd name="T32" fmla="*/ 143 w 150"/>
                <a:gd name="T33" fmla="*/ 135 h 138"/>
                <a:gd name="T34" fmla="*/ 129 w 150"/>
                <a:gd name="T35" fmla="*/ 84 h 138"/>
                <a:gd name="T36" fmla="*/ 141 w 150"/>
                <a:gd name="T37" fmla="*/ 97 h 138"/>
                <a:gd name="T38" fmla="*/ 129 w 150"/>
                <a:gd name="T39" fmla="*/ 92 h 138"/>
                <a:gd name="T40" fmla="*/ 111 w 150"/>
                <a:gd name="T41" fmla="*/ 87 h 138"/>
                <a:gd name="T42" fmla="*/ 100 w 150"/>
                <a:gd name="T43" fmla="*/ 79 h 138"/>
                <a:gd name="T44" fmla="*/ 94 w 150"/>
                <a:gd name="T45" fmla="*/ 92 h 138"/>
                <a:gd name="T46" fmla="*/ 92 w 150"/>
                <a:gd name="T47" fmla="*/ 79 h 138"/>
                <a:gd name="T48" fmla="*/ 91 w 150"/>
                <a:gd name="T49" fmla="*/ 77 h 138"/>
                <a:gd name="T50" fmla="*/ 88 w 150"/>
                <a:gd name="T51" fmla="*/ 70 h 138"/>
                <a:gd name="T52" fmla="*/ 84 w 150"/>
                <a:gd name="T53" fmla="*/ 71 h 138"/>
                <a:gd name="T54" fmla="*/ 84 w 150"/>
                <a:gd name="T55" fmla="*/ 75 h 138"/>
                <a:gd name="T56" fmla="*/ 74 w 150"/>
                <a:gd name="T57" fmla="*/ 74 h 138"/>
                <a:gd name="T58" fmla="*/ 66 w 150"/>
                <a:gd name="T59" fmla="*/ 66 h 138"/>
                <a:gd name="T60" fmla="*/ 52 w 150"/>
                <a:gd name="T61" fmla="*/ 64 h 138"/>
                <a:gd name="T62" fmla="*/ 42 w 150"/>
                <a:gd name="T63" fmla="*/ 59 h 138"/>
                <a:gd name="T64" fmla="*/ 30 w 150"/>
                <a:gd name="T65" fmla="*/ 48 h 138"/>
                <a:gd name="T66" fmla="*/ 25 w 150"/>
                <a:gd name="T67" fmla="*/ 49 h 138"/>
                <a:gd name="T68" fmla="*/ 28 w 150"/>
                <a:gd name="T69" fmla="*/ 57 h 138"/>
                <a:gd name="T70" fmla="*/ 22 w 150"/>
                <a:gd name="T71" fmla="*/ 57 h 138"/>
                <a:gd name="T72" fmla="*/ 15 w 150"/>
                <a:gd name="T73" fmla="*/ 50 h 138"/>
                <a:gd name="T74" fmla="*/ 26 w 150"/>
                <a:gd name="T75" fmla="*/ 39 h 138"/>
                <a:gd name="T76" fmla="*/ 58 w 150"/>
                <a:gd name="T77" fmla="*/ 46 h 138"/>
                <a:gd name="T78" fmla="*/ 90 w 150"/>
                <a:gd name="T79" fmla="*/ 54 h 138"/>
                <a:gd name="T80" fmla="*/ 100 w 150"/>
                <a:gd name="T81" fmla="*/ 61 h 138"/>
                <a:gd name="T82" fmla="*/ 116 w 150"/>
                <a:gd name="T83" fmla="*/ 7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0" h="138">
                  <a:moveTo>
                    <a:pt x="30" y="10"/>
                  </a:moveTo>
                  <a:cubicBezTo>
                    <a:pt x="30" y="10"/>
                    <a:pt x="30" y="10"/>
                    <a:pt x="30" y="10"/>
                  </a:cubicBezTo>
                  <a:cubicBezTo>
                    <a:pt x="31" y="8"/>
                    <a:pt x="32" y="5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4" y="1"/>
                    <a:pt x="36" y="0"/>
                    <a:pt x="38" y="0"/>
                  </a:cubicBezTo>
                  <a:cubicBezTo>
                    <a:pt x="38" y="0"/>
                    <a:pt x="39" y="0"/>
                    <a:pt x="39" y="1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50" y="10"/>
                    <a:pt x="54" y="13"/>
                    <a:pt x="57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4" y="14"/>
                    <a:pt x="50" y="13"/>
                    <a:pt x="46" y="12"/>
                  </a:cubicBezTo>
                  <a:cubicBezTo>
                    <a:pt x="41" y="11"/>
                    <a:pt x="36" y="10"/>
                    <a:pt x="30" y="11"/>
                  </a:cubicBezTo>
                  <a:cubicBezTo>
                    <a:pt x="30" y="11"/>
                    <a:pt x="30" y="11"/>
                    <a:pt x="30" y="10"/>
                  </a:cubicBezTo>
                  <a:close/>
                  <a:moveTo>
                    <a:pt x="16" y="106"/>
                  </a:moveTo>
                  <a:cubicBezTo>
                    <a:pt x="16" y="106"/>
                    <a:pt x="16" y="106"/>
                    <a:pt x="16" y="106"/>
                  </a:cubicBezTo>
                  <a:cubicBezTo>
                    <a:pt x="15" y="105"/>
                    <a:pt x="14" y="104"/>
                    <a:pt x="13" y="103"/>
                  </a:cubicBezTo>
                  <a:cubicBezTo>
                    <a:pt x="11" y="101"/>
                    <a:pt x="9" y="100"/>
                    <a:pt x="7" y="99"/>
                  </a:cubicBezTo>
                  <a:cubicBezTo>
                    <a:pt x="5" y="99"/>
                    <a:pt x="2" y="98"/>
                    <a:pt x="0" y="98"/>
                  </a:cubicBezTo>
                  <a:cubicBezTo>
                    <a:pt x="2" y="94"/>
                    <a:pt x="3" y="90"/>
                    <a:pt x="4" y="86"/>
                  </a:cubicBezTo>
                  <a:cubicBezTo>
                    <a:pt x="7" y="87"/>
                    <a:pt x="9" y="87"/>
                    <a:pt x="12" y="88"/>
                  </a:cubicBezTo>
                  <a:cubicBezTo>
                    <a:pt x="14" y="89"/>
                    <a:pt x="17" y="90"/>
                    <a:pt x="19" y="90"/>
                  </a:cubicBezTo>
                  <a:cubicBezTo>
                    <a:pt x="20" y="90"/>
                    <a:pt x="21" y="90"/>
                    <a:pt x="21" y="90"/>
                  </a:cubicBezTo>
                  <a:cubicBezTo>
                    <a:pt x="19" y="96"/>
                    <a:pt x="18" y="101"/>
                    <a:pt x="16" y="106"/>
                  </a:cubicBezTo>
                  <a:close/>
                  <a:moveTo>
                    <a:pt x="137" y="138"/>
                  </a:moveTo>
                  <a:cubicBezTo>
                    <a:pt x="137" y="138"/>
                    <a:pt x="137" y="138"/>
                    <a:pt x="137" y="138"/>
                  </a:cubicBezTo>
                  <a:cubicBezTo>
                    <a:pt x="136" y="138"/>
                    <a:pt x="135" y="138"/>
                    <a:pt x="134" y="138"/>
                  </a:cubicBezTo>
                  <a:cubicBezTo>
                    <a:pt x="131" y="137"/>
                    <a:pt x="128" y="137"/>
                    <a:pt x="125" y="137"/>
                  </a:cubicBezTo>
                  <a:cubicBezTo>
                    <a:pt x="122" y="137"/>
                    <a:pt x="119" y="137"/>
                    <a:pt x="116" y="137"/>
                  </a:cubicBezTo>
                  <a:cubicBezTo>
                    <a:pt x="116" y="137"/>
                    <a:pt x="116" y="137"/>
                    <a:pt x="116" y="137"/>
                  </a:cubicBezTo>
                  <a:cubicBezTo>
                    <a:pt x="117" y="132"/>
                    <a:pt x="117" y="127"/>
                    <a:pt x="117" y="123"/>
                  </a:cubicBezTo>
                  <a:cubicBezTo>
                    <a:pt x="117" y="121"/>
                    <a:pt x="117" y="120"/>
                    <a:pt x="117" y="118"/>
                  </a:cubicBezTo>
                  <a:cubicBezTo>
                    <a:pt x="124" y="119"/>
                    <a:pt x="132" y="122"/>
                    <a:pt x="139" y="125"/>
                  </a:cubicBezTo>
                  <a:cubicBezTo>
                    <a:pt x="143" y="126"/>
                    <a:pt x="146" y="128"/>
                    <a:pt x="150" y="129"/>
                  </a:cubicBezTo>
                  <a:cubicBezTo>
                    <a:pt x="150" y="129"/>
                    <a:pt x="150" y="129"/>
                    <a:pt x="150" y="129"/>
                  </a:cubicBezTo>
                  <a:cubicBezTo>
                    <a:pt x="148" y="131"/>
                    <a:pt x="145" y="133"/>
                    <a:pt x="143" y="135"/>
                  </a:cubicBezTo>
                  <a:cubicBezTo>
                    <a:pt x="141" y="136"/>
                    <a:pt x="139" y="137"/>
                    <a:pt x="137" y="138"/>
                  </a:cubicBezTo>
                  <a:close/>
                  <a:moveTo>
                    <a:pt x="129" y="84"/>
                  </a:moveTo>
                  <a:cubicBezTo>
                    <a:pt x="129" y="84"/>
                    <a:pt x="129" y="84"/>
                    <a:pt x="129" y="84"/>
                  </a:cubicBezTo>
                  <a:cubicBezTo>
                    <a:pt x="133" y="88"/>
                    <a:pt x="137" y="93"/>
                    <a:pt x="141" y="97"/>
                  </a:cubicBezTo>
                  <a:cubicBezTo>
                    <a:pt x="140" y="97"/>
                    <a:pt x="140" y="97"/>
                    <a:pt x="140" y="97"/>
                  </a:cubicBezTo>
                  <a:cubicBezTo>
                    <a:pt x="136" y="95"/>
                    <a:pt x="133" y="94"/>
                    <a:pt x="129" y="92"/>
                  </a:cubicBezTo>
                  <a:cubicBezTo>
                    <a:pt x="125" y="91"/>
                    <a:pt x="121" y="90"/>
                    <a:pt x="118" y="88"/>
                  </a:cubicBezTo>
                  <a:cubicBezTo>
                    <a:pt x="116" y="88"/>
                    <a:pt x="114" y="87"/>
                    <a:pt x="111" y="87"/>
                  </a:cubicBezTo>
                  <a:cubicBezTo>
                    <a:pt x="110" y="84"/>
                    <a:pt x="109" y="81"/>
                    <a:pt x="107" y="78"/>
                  </a:cubicBezTo>
                  <a:cubicBezTo>
                    <a:pt x="105" y="76"/>
                    <a:pt x="101" y="76"/>
                    <a:pt x="100" y="79"/>
                  </a:cubicBezTo>
                  <a:cubicBezTo>
                    <a:pt x="99" y="82"/>
                    <a:pt x="98" y="85"/>
                    <a:pt x="96" y="88"/>
                  </a:cubicBezTo>
                  <a:cubicBezTo>
                    <a:pt x="95" y="89"/>
                    <a:pt x="95" y="91"/>
                    <a:pt x="94" y="92"/>
                  </a:cubicBezTo>
                  <a:cubicBezTo>
                    <a:pt x="94" y="88"/>
                    <a:pt x="93" y="85"/>
                    <a:pt x="92" y="82"/>
                  </a:cubicBezTo>
                  <a:cubicBezTo>
                    <a:pt x="92" y="81"/>
                    <a:pt x="92" y="80"/>
                    <a:pt x="92" y="79"/>
                  </a:cubicBezTo>
                  <a:cubicBezTo>
                    <a:pt x="92" y="79"/>
                    <a:pt x="92" y="79"/>
                    <a:pt x="92" y="78"/>
                  </a:cubicBezTo>
                  <a:cubicBezTo>
                    <a:pt x="92" y="78"/>
                    <a:pt x="91" y="77"/>
                    <a:pt x="91" y="77"/>
                  </a:cubicBezTo>
                  <a:cubicBezTo>
                    <a:pt x="90" y="75"/>
                    <a:pt x="89" y="73"/>
                    <a:pt x="88" y="71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69"/>
                    <a:pt x="87" y="69"/>
                    <a:pt x="87" y="69"/>
                  </a:cubicBezTo>
                  <a:cubicBezTo>
                    <a:pt x="85" y="68"/>
                    <a:pt x="84" y="69"/>
                    <a:pt x="84" y="71"/>
                  </a:cubicBezTo>
                  <a:cubicBezTo>
                    <a:pt x="84" y="71"/>
                    <a:pt x="84" y="72"/>
                    <a:pt x="85" y="73"/>
                  </a:cubicBezTo>
                  <a:cubicBezTo>
                    <a:pt x="84" y="74"/>
                    <a:pt x="84" y="74"/>
                    <a:pt x="84" y="75"/>
                  </a:cubicBezTo>
                  <a:cubicBezTo>
                    <a:pt x="83" y="75"/>
                    <a:pt x="82" y="75"/>
                    <a:pt x="80" y="75"/>
                  </a:cubicBezTo>
                  <a:cubicBezTo>
                    <a:pt x="78" y="74"/>
                    <a:pt x="76" y="74"/>
                    <a:pt x="74" y="74"/>
                  </a:cubicBezTo>
                  <a:cubicBezTo>
                    <a:pt x="73" y="74"/>
                    <a:pt x="72" y="74"/>
                    <a:pt x="71" y="74"/>
                  </a:cubicBezTo>
                  <a:cubicBezTo>
                    <a:pt x="70" y="71"/>
                    <a:pt x="68" y="69"/>
                    <a:pt x="66" y="66"/>
                  </a:cubicBezTo>
                  <a:cubicBezTo>
                    <a:pt x="63" y="64"/>
                    <a:pt x="59" y="61"/>
                    <a:pt x="55" y="60"/>
                  </a:cubicBezTo>
                  <a:cubicBezTo>
                    <a:pt x="53" y="60"/>
                    <a:pt x="51" y="61"/>
                    <a:pt x="52" y="64"/>
                  </a:cubicBezTo>
                  <a:cubicBezTo>
                    <a:pt x="53" y="68"/>
                    <a:pt x="53" y="72"/>
                    <a:pt x="52" y="76"/>
                  </a:cubicBezTo>
                  <a:cubicBezTo>
                    <a:pt x="50" y="70"/>
                    <a:pt x="46" y="64"/>
                    <a:pt x="42" y="59"/>
                  </a:cubicBezTo>
                  <a:cubicBezTo>
                    <a:pt x="40" y="56"/>
                    <a:pt x="38" y="54"/>
                    <a:pt x="35" y="52"/>
                  </a:cubicBezTo>
                  <a:cubicBezTo>
                    <a:pt x="34" y="50"/>
                    <a:pt x="32" y="49"/>
                    <a:pt x="30" y="48"/>
                  </a:cubicBezTo>
                  <a:cubicBezTo>
                    <a:pt x="29" y="48"/>
                    <a:pt x="28" y="48"/>
                    <a:pt x="27" y="48"/>
                  </a:cubicBezTo>
                  <a:cubicBezTo>
                    <a:pt x="26" y="48"/>
                    <a:pt x="25" y="49"/>
                    <a:pt x="25" y="49"/>
                  </a:cubicBezTo>
                  <a:cubicBezTo>
                    <a:pt x="25" y="51"/>
                    <a:pt x="26" y="52"/>
                    <a:pt x="26" y="54"/>
                  </a:cubicBezTo>
                  <a:cubicBezTo>
                    <a:pt x="27" y="55"/>
                    <a:pt x="27" y="56"/>
                    <a:pt x="28" y="57"/>
                  </a:cubicBezTo>
                  <a:cubicBezTo>
                    <a:pt x="28" y="58"/>
                    <a:pt x="28" y="59"/>
                    <a:pt x="28" y="59"/>
                  </a:cubicBezTo>
                  <a:cubicBezTo>
                    <a:pt x="26" y="59"/>
                    <a:pt x="23" y="58"/>
                    <a:pt x="22" y="57"/>
                  </a:cubicBezTo>
                  <a:cubicBezTo>
                    <a:pt x="19" y="56"/>
                    <a:pt x="16" y="56"/>
                    <a:pt x="13" y="56"/>
                  </a:cubicBezTo>
                  <a:cubicBezTo>
                    <a:pt x="14" y="54"/>
                    <a:pt x="15" y="52"/>
                    <a:pt x="15" y="50"/>
                  </a:cubicBezTo>
                  <a:cubicBezTo>
                    <a:pt x="17" y="45"/>
                    <a:pt x="18" y="41"/>
                    <a:pt x="20" y="37"/>
                  </a:cubicBezTo>
                  <a:cubicBezTo>
                    <a:pt x="22" y="38"/>
                    <a:pt x="24" y="38"/>
                    <a:pt x="26" y="39"/>
                  </a:cubicBezTo>
                  <a:cubicBezTo>
                    <a:pt x="29" y="40"/>
                    <a:pt x="33" y="41"/>
                    <a:pt x="36" y="42"/>
                  </a:cubicBezTo>
                  <a:cubicBezTo>
                    <a:pt x="44" y="44"/>
                    <a:pt x="50" y="45"/>
                    <a:pt x="58" y="46"/>
                  </a:cubicBezTo>
                  <a:cubicBezTo>
                    <a:pt x="65" y="48"/>
                    <a:pt x="72" y="49"/>
                    <a:pt x="79" y="51"/>
                  </a:cubicBezTo>
                  <a:cubicBezTo>
                    <a:pt x="83" y="52"/>
                    <a:pt x="86" y="53"/>
                    <a:pt x="90" y="54"/>
                  </a:cubicBezTo>
                  <a:cubicBezTo>
                    <a:pt x="92" y="55"/>
                    <a:pt x="95" y="56"/>
                    <a:pt x="97" y="57"/>
                  </a:cubicBezTo>
                  <a:cubicBezTo>
                    <a:pt x="96" y="59"/>
                    <a:pt x="98" y="61"/>
                    <a:pt x="100" y="61"/>
                  </a:cubicBezTo>
                  <a:cubicBezTo>
                    <a:pt x="102" y="61"/>
                    <a:pt x="105" y="61"/>
                    <a:pt x="108" y="60"/>
                  </a:cubicBezTo>
                  <a:cubicBezTo>
                    <a:pt x="109" y="65"/>
                    <a:pt x="113" y="68"/>
                    <a:pt x="116" y="72"/>
                  </a:cubicBezTo>
                  <a:cubicBezTo>
                    <a:pt x="120" y="76"/>
                    <a:pt x="124" y="80"/>
                    <a:pt x="129" y="84"/>
                  </a:cubicBezTo>
                  <a:close/>
                </a:path>
              </a:pathLst>
            </a:custGeom>
            <a:solidFill>
              <a:srgbClr val="FB7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ïŝ1îďè">
              <a:extLst>
                <a:ext uri="{FF2B5EF4-FFF2-40B4-BE49-F238E27FC236}">
                  <a16:creationId xmlns:a16="http://schemas.microsoft.com/office/drawing/2014/main" id="{B5BA4B71-07E3-4588-B65E-64321AB78D9A}"/>
                </a:ext>
              </a:extLst>
            </p:cNvPr>
            <p:cNvSpPr/>
            <p:nvPr/>
          </p:nvSpPr>
          <p:spPr bwMode="auto">
            <a:xfrm>
              <a:off x="7235648" y="3968757"/>
              <a:ext cx="318214" cy="304893"/>
            </a:xfrm>
            <a:custGeom>
              <a:avLst/>
              <a:gdLst>
                <a:gd name="T0" fmla="*/ 61 w 103"/>
                <a:gd name="T1" fmla="*/ 97 h 99"/>
                <a:gd name="T2" fmla="*/ 56 w 103"/>
                <a:gd name="T3" fmla="*/ 92 h 99"/>
                <a:gd name="T4" fmla="*/ 57 w 103"/>
                <a:gd name="T5" fmla="*/ 80 h 99"/>
                <a:gd name="T6" fmla="*/ 59 w 103"/>
                <a:gd name="T7" fmla="*/ 79 h 99"/>
                <a:gd name="T8" fmla="*/ 77 w 103"/>
                <a:gd name="T9" fmla="*/ 93 h 99"/>
                <a:gd name="T10" fmla="*/ 73 w 103"/>
                <a:gd name="T11" fmla="*/ 98 h 99"/>
                <a:gd name="T12" fmla="*/ 64 w 103"/>
                <a:gd name="T13" fmla="*/ 98 h 99"/>
                <a:gd name="T14" fmla="*/ 22 w 103"/>
                <a:gd name="T15" fmla="*/ 6 h 99"/>
                <a:gd name="T16" fmla="*/ 30 w 103"/>
                <a:gd name="T17" fmla="*/ 0 h 99"/>
                <a:gd name="T18" fmla="*/ 33 w 103"/>
                <a:gd name="T19" fmla="*/ 0 h 99"/>
                <a:gd name="T20" fmla="*/ 39 w 103"/>
                <a:gd name="T21" fmla="*/ 2 h 99"/>
                <a:gd name="T22" fmla="*/ 43 w 103"/>
                <a:gd name="T23" fmla="*/ 4 h 99"/>
                <a:gd name="T24" fmla="*/ 44 w 103"/>
                <a:gd name="T25" fmla="*/ 5 h 99"/>
                <a:gd name="T26" fmla="*/ 47 w 103"/>
                <a:gd name="T27" fmla="*/ 8 h 99"/>
                <a:gd name="T28" fmla="*/ 48 w 103"/>
                <a:gd name="T29" fmla="*/ 10 h 99"/>
                <a:gd name="T30" fmla="*/ 49 w 103"/>
                <a:gd name="T31" fmla="*/ 15 h 99"/>
                <a:gd name="T32" fmla="*/ 40 w 103"/>
                <a:gd name="T33" fmla="*/ 30 h 99"/>
                <a:gd name="T34" fmla="*/ 22 w 103"/>
                <a:gd name="T35" fmla="*/ 6 h 99"/>
                <a:gd name="T36" fmla="*/ 65 w 103"/>
                <a:gd name="T37" fmla="*/ 21 h 99"/>
                <a:gd name="T38" fmla="*/ 68 w 103"/>
                <a:gd name="T39" fmla="*/ 22 h 99"/>
                <a:gd name="T40" fmla="*/ 73 w 103"/>
                <a:gd name="T41" fmla="*/ 24 h 99"/>
                <a:gd name="T42" fmla="*/ 76 w 103"/>
                <a:gd name="T43" fmla="*/ 27 h 99"/>
                <a:gd name="T44" fmla="*/ 77 w 103"/>
                <a:gd name="T45" fmla="*/ 30 h 99"/>
                <a:gd name="T46" fmla="*/ 78 w 103"/>
                <a:gd name="T47" fmla="*/ 32 h 99"/>
                <a:gd name="T48" fmla="*/ 78 w 103"/>
                <a:gd name="T49" fmla="*/ 35 h 99"/>
                <a:gd name="T50" fmla="*/ 72 w 103"/>
                <a:gd name="T51" fmla="*/ 45 h 99"/>
                <a:gd name="T52" fmla="*/ 59 w 103"/>
                <a:gd name="T53" fmla="*/ 42 h 99"/>
                <a:gd name="T54" fmla="*/ 50 w 103"/>
                <a:gd name="T55" fmla="*/ 26 h 99"/>
                <a:gd name="T56" fmla="*/ 54 w 103"/>
                <a:gd name="T57" fmla="*/ 19 h 99"/>
                <a:gd name="T58" fmla="*/ 61 w 103"/>
                <a:gd name="T59" fmla="*/ 20 h 99"/>
                <a:gd name="T60" fmla="*/ 93 w 103"/>
                <a:gd name="T61" fmla="*/ 41 h 99"/>
                <a:gd name="T62" fmla="*/ 96 w 103"/>
                <a:gd name="T63" fmla="*/ 43 h 99"/>
                <a:gd name="T64" fmla="*/ 100 w 103"/>
                <a:gd name="T65" fmla="*/ 46 h 99"/>
                <a:gd name="T66" fmla="*/ 102 w 103"/>
                <a:gd name="T67" fmla="*/ 49 h 99"/>
                <a:gd name="T68" fmla="*/ 103 w 103"/>
                <a:gd name="T69" fmla="*/ 51 h 99"/>
                <a:gd name="T70" fmla="*/ 103 w 103"/>
                <a:gd name="T71" fmla="*/ 56 h 99"/>
                <a:gd name="T72" fmla="*/ 101 w 103"/>
                <a:gd name="T73" fmla="*/ 61 h 99"/>
                <a:gd name="T74" fmla="*/ 92 w 103"/>
                <a:gd name="T75" fmla="*/ 61 h 99"/>
                <a:gd name="T76" fmla="*/ 77 w 103"/>
                <a:gd name="T77" fmla="*/ 48 h 99"/>
                <a:gd name="T78" fmla="*/ 88 w 103"/>
                <a:gd name="T79" fmla="*/ 40 h 99"/>
                <a:gd name="T80" fmla="*/ 14 w 103"/>
                <a:gd name="T81" fmla="*/ 69 h 99"/>
                <a:gd name="T82" fmla="*/ 9 w 103"/>
                <a:gd name="T83" fmla="*/ 68 h 99"/>
                <a:gd name="T84" fmla="*/ 6 w 103"/>
                <a:gd name="T85" fmla="*/ 67 h 99"/>
                <a:gd name="T86" fmla="*/ 3 w 103"/>
                <a:gd name="T87" fmla="*/ 64 h 99"/>
                <a:gd name="T88" fmla="*/ 1 w 103"/>
                <a:gd name="T89" fmla="*/ 61 h 99"/>
                <a:gd name="T90" fmla="*/ 0 w 103"/>
                <a:gd name="T91" fmla="*/ 58 h 99"/>
                <a:gd name="T92" fmla="*/ 1 w 103"/>
                <a:gd name="T93" fmla="*/ 51 h 99"/>
                <a:gd name="T94" fmla="*/ 20 w 103"/>
                <a:gd name="T95" fmla="*/ 60 h 99"/>
                <a:gd name="T96" fmla="*/ 19 w 103"/>
                <a:gd name="T97" fmla="*/ 67 h 99"/>
                <a:gd name="T98" fmla="*/ 14 w 103"/>
                <a:gd name="T99" fmla="*/ 69 h 99"/>
                <a:gd name="T100" fmla="*/ 36 w 103"/>
                <a:gd name="T101" fmla="*/ 85 h 99"/>
                <a:gd name="T102" fmla="*/ 30 w 103"/>
                <a:gd name="T103" fmla="*/ 82 h 99"/>
                <a:gd name="T104" fmla="*/ 25 w 103"/>
                <a:gd name="T105" fmla="*/ 73 h 99"/>
                <a:gd name="T106" fmla="*/ 27 w 103"/>
                <a:gd name="T107" fmla="*/ 69 h 99"/>
                <a:gd name="T108" fmla="*/ 49 w 103"/>
                <a:gd name="T109" fmla="*/ 82 h 99"/>
                <a:gd name="T110" fmla="*/ 36 w 103"/>
                <a:gd name="T111" fmla="*/ 85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" h="99">
                  <a:moveTo>
                    <a:pt x="63" y="98"/>
                  </a:moveTo>
                  <a:cubicBezTo>
                    <a:pt x="63" y="98"/>
                    <a:pt x="63" y="98"/>
                    <a:pt x="63" y="98"/>
                  </a:cubicBezTo>
                  <a:cubicBezTo>
                    <a:pt x="62" y="97"/>
                    <a:pt x="62" y="97"/>
                    <a:pt x="61" y="97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0" y="96"/>
                    <a:pt x="60" y="96"/>
                    <a:pt x="60" y="95"/>
                  </a:cubicBezTo>
                  <a:cubicBezTo>
                    <a:pt x="58" y="94"/>
                    <a:pt x="57" y="93"/>
                    <a:pt x="56" y="92"/>
                  </a:cubicBezTo>
                  <a:cubicBezTo>
                    <a:pt x="55" y="90"/>
                    <a:pt x="54" y="89"/>
                    <a:pt x="53" y="88"/>
                  </a:cubicBezTo>
                  <a:cubicBezTo>
                    <a:pt x="53" y="87"/>
                    <a:pt x="54" y="86"/>
                    <a:pt x="55" y="85"/>
                  </a:cubicBezTo>
                  <a:cubicBezTo>
                    <a:pt x="55" y="83"/>
                    <a:pt x="56" y="81"/>
                    <a:pt x="57" y="80"/>
                  </a:cubicBezTo>
                  <a:cubicBezTo>
                    <a:pt x="58" y="80"/>
                    <a:pt x="58" y="79"/>
                    <a:pt x="58" y="79"/>
                  </a:cubicBezTo>
                  <a:cubicBezTo>
                    <a:pt x="58" y="79"/>
                    <a:pt x="58" y="79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60" y="84"/>
                    <a:pt x="62" y="88"/>
                    <a:pt x="65" y="90"/>
                  </a:cubicBezTo>
                  <a:cubicBezTo>
                    <a:pt x="68" y="92"/>
                    <a:pt x="73" y="93"/>
                    <a:pt x="77" y="93"/>
                  </a:cubicBezTo>
                  <a:cubicBezTo>
                    <a:pt x="79" y="93"/>
                    <a:pt x="81" y="93"/>
                    <a:pt x="83" y="93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0" y="96"/>
                    <a:pt x="77" y="97"/>
                    <a:pt x="73" y="98"/>
                  </a:cubicBezTo>
                  <a:cubicBezTo>
                    <a:pt x="71" y="99"/>
                    <a:pt x="70" y="99"/>
                    <a:pt x="68" y="99"/>
                  </a:cubicBezTo>
                  <a:cubicBezTo>
                    <a:pt x="66" y="99"/>
                    <a:pt x="66" y="98"/>
                    <a:pt x="65" y="98"/>
                  </a:cubicBezTo>
                  <a:cubicBezTo>
                    <a:pt x="65" y="98"/>
                    <a:pt x="64" y="98"/>
                    <a:pt x="64" y="98"/>
                  </a:cubicBezTo>
                  <a:cubicBezTo>
                    <a:pt x="63" y="98"/>
                    <a:pt x="63" y="98"/>
                    <a:pt x="63" y="98"/>
                  </a:cubicBezTo>
                  <a:close/>
                  <a:moveTo>
                    <a:pt x="22" y="6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4" y="4"/>
                    <a:pt x="25" y="3"/>
                    <a:pt x="27" y="1"/>
                  </a:cubicBezTo>
                  <a:cubicBezTo>
                    <a:pt x="28" y="1"/>
                    <a:pt x="29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2" y="0"/>
                    <a:pt x="3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0"/>
                    <a:pt x="34" y="0"/>
                    <a:pt x="35" y="0"/>
                  </a:cubicBezTo>
                  <a:cubicBezTo>
                    <a:pt x="36" y="1"/>
                    <a:pt x="37" y="1"/>
                    <a:pt x="38" y="1"/>
                  </a:cubicBezTo>
                  <a:cubicBezTo>
                    <a:pt x="39" y="1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0" y="2"/>
                    <a:pt x="41" y="3"/>
                  </a:cubicBezTo>
                  <a:cubicBezTo>
                    <a:pt x="42" y="3"/>
                    <a:pt x="42" y="3"/>
                    <a:pt x="43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5"/>
                  </a:cubicBezTo>
                  <a:cubicBezTo>
                    <a:pt x="45" y="5"/>
                    <a:pt x="46" y="6"/>
                    <a:pt x="46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8"/>
                    <a:pt x="48" y="9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9" y="11"/>
                    <a:pt x="49" y="11"/>
                    <a:pt x="49" y="12"/>
                  </a:cubicBezTo>
                  <a:cubicBezTo>
                    <a:pt x="49" y="11"/>
                    <a:pt x="49" y="13"/>
                    <a:pt x="49" y="13"/>
                  </a:cubicBezTo>
                  <a:cubicBezTo>
                    <a:pt x="49" y="14"/>
                    <a:pt x="49" y="15"/>
                    <a:pt x="49" y="15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7" y="18"/>
                    <a:pt x="46" y="21"/>
                    <a:pt x="44" y="23"/>
                  </a:cubicBezTo>
                  <a:cubicBezTo>
                    <a:pt x="43" y="26"/>
                    <a:pt x="41" y="28"/>
                    <a:pt x="40" y="30"/>
                  </a:cubicBezTo>
                  <a:cubicBezTo>
                    <a:pt x="40" y="30"/>
                    <a:pt x="39" y="31"/>
                    <a:pt x="39" y="31"/>
                  </a:cubicBezTo>
                  <a:cubicBezTo>
                    <a:pt x="31" y="27"/>
                    <a:pt x="23" y="21"/>
                    <a:pt x="15" y="17"/>
                  </a:cubicBezTo>
                  <a:cubicBezTo>
                    <a:pt x="18" y="14"/>
                    <a:pt x="20" y="10"/>
                    <a:pt x="22" y="6"/>
                  </a:cubicBezTo>
                  <a:close/>
                  <a:moveTo>
                    <a:pt x="61" y="20"/>
                  </a:moveTo>
                  <a:cubicBezTo>
                    <a:pt x="61" y="20"/>
                    <a:pt x="61" y="20"/>
                    <a:pt x="61" y="20"/>
                  </a:cubicBezTo>
                  <a:cubicBezTo>
                    <a:pt x="62" y="20"/>
                    <a:pt x="63" y="20"/>
                    <a:pt x="65" y="21"/>
                  </a:cubicBezTo>
                  <a:cubicBezTo>
                    <a:pt x="65" y="21"/>
                    <a:pt x="66" y="21"/>
                    <a:pt x="66" y="21"/>
                  </a:cubicBezTo>
                  <a:cubicBezTo>
                    <a:pt x="67" y="21"/>
                    <a:pt x="67" y="21"/>
                    <a:pt x="67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71" y="23"/>
                    <a:pt x="72" y="24"/>
                    <a:pt x="73" y="24"/>
                  </a:cubicBezTo>
                  <a:cubicBezTo>
                    <a:pt x="73" y="24"/>
                    <a:pt x="73" y="25"/>
                    <a:pt x="74" y="25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5" y="26"/>
                    <a:pt x="75" y="27"/>
                    <a:pt x="76" y="27"/>
                  </a:cubicBezTo>
                  <a:cubicBezTo>
                    <a:pt x="76" y="27"/>
                    <a:pt x="76" y="28"/>
                    <a:pt x="76" y="28"/>
                  </a:cubicBezTo>
                  <a:cubicBezTo>
                    <a:pt x="76" y="28"/>
                    <a:pt x="76" y="29"/>
                    <a:pt x="77" y="29"/>
                  </a:cubicBezTo>
                  <a:cubicBezTo>
                    <a:pt x="77" y="29"/>
                    <a:pt x="77" y="29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8" y="31"/>
                    <a:pt x="78" y="32"/>
                    <a:pt x="78" y="32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78" y="33"/>
                    <a:pt x="78" y="34"/>
                    <a:pt x="78" y="34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6"/>
                    <a:pt x="78" y="36"/>
                    <a:pt x="77" y="36"/>
                  </a:cubicBezTo>
                  <a:cubicBezTo>
                    <a:pt x="77" y="38"/>
                    <a:pt x="76" y="39"/>
                    <a:pt x="75" y="41"/>
                  </a:cubicBezTo>
                  <a:cubicBezTo>
                    <a:pt x="74" y="42"/>
                    <a:pt x="73" y="43"/>
                    <a:pt x="72" y="45"/>
                  </a:cubicBezTo>
                  <a:cubicBezTo>
                    <a:pt x="71" y="46"/>
                    <a:pt x="71" y="47"/>
                    <a:pt x="71" y="47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7" y="46"/>
                    <a:pt x="63" y="44"/>
                    <a:pt x="59" y="42"/>
                  </a:cubicBezTo>
                  <a:cubicBezTo>
                    <a:pt x="55" y="39"/>
                    <a:pt x="49" y="36"/>
                    <a:pt x="44" y="34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6" y="31"/>
                    <a:pt x="48" y="29"/>
                    <a:pt x="50" y="26"/>
                  </a:cubicBezTo>
                  <a:cubicBezTo>
                    <a:pt x="51" y="24"/>
                    <a:pt x="52" y="21"/>
                    <a:pt x="53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7" y="19"/>
                    <a:pt x="56" y="19"/>
                  </a:cubicBezTo>
                  <a:cubicBezTo>
                    <a:pt x="57" y="19"/>
                    <a:pt x="59" y="20"/>
                    <a:pt x="61" y="20"/>
                  </a:cubicBezTo>
                  <a:close/>
                  <a:moveTo>
                    <a:pt x="91" y="41"/>
                  </a:moveTo>
                  <a:cubicBezTo>
                    <a:pt x="91" y="41"/>
                    <a:pt x="91" y="41"/>
                    <a:pt x="91" y="41"/>
                  </a:cubicBezTo>
                  <a:cubicBezTo>
                    <a:pt x="92" y="41"/>
                    <a:pt x="92" y="41"/>
                    <a:pt x="93" y="41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94" y="42"/>
                    <a:pt x="95" y="42"/>
                    <a:pt x="96" y="43"/>
                  </a:cubicBezTo>
                  <a:cubicBezTo>
                    <a:pt x="97" y="43"/>
                    <a:pt x="97" y="43"/>
                    <a:pt x="9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9" y="45"/>
                    <a:pt x="99" y="45"/>
                    <a:pt x="100" y="46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101" y="47"/>
                    <a:pt x="101" y="47"/>
                  </a:cubicBezTo>
                  <a:cubicBezTo>
                    <a:pt x="101" y="48"/>
                    <a:pt x="102" y="48"/>
                    <a:pt x="102" y="49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2" y="50"/>
                    <a:pt x="102" y="50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3"/>
                    <a:pt x="103" y="54"/>
                    <a:pt x="103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57"/>
                    <a:pt x="103" y="57"/>
                    <a:pt x="102" y="58"/>
                  </a:cubicBezTo>
                  <a:cubicBezTo>
                    <a:pt x="102" y="59"/>
                    <a:pt x="102" y="60"/>
                    <a:pt x="101" y="61"/>
                  </a:cubicBezTo>
                  <a:cubicBezTo>
                    <a:pt x="101" y="62"/>
                    <a:pt x="101" y="63"/>
                    <a:pt x="100" y="64"/>
                  </a:cubicBezTo>
                  <a:cubicBezTo>
                    <a:pt x="100" y="64"/>
                    <a:pt x="100" y="65"/>
                    <a:pt x="100" y="65"/>
                  </a:cubicBezTo>
                  <a:cubicBezTo>
                    <a:pt x="97" y="64"/>
                    <a:pt x="95" y="62"/>
                    <a:pt x="92" y="61"/>
                  </a:cubicBezTo>
                  <a:cubicBezTo>
                    <a:pt x="87" y="58"/>
                    <a:pt x="81" y="54"/>
                    <a:pt x="76" y="51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7" y="49"/>
                    <a:pt x="77" y="48"/>
                  </a:cubicBezTo>
                  <a:cubicBezTo>
                    <a:pt x="78" y="47"/>
                    <a:pt x="79" y="45"/>
                    <a:pt x="80" y="44"/>
                  </a:cubicBezTo>
                  <a:cubicBezTo>
                    <a:pt x="81" y="43"/>
                    <a:pt x="82" y="41"/>
                    <a:pt x="83" y="39"/>
                  </a:cubicBezTo>
                  <a:cubicBezTo>
                    <a:pt x="84" y="39"/>
                    <a:pt x="86" y="39"/>
                    <a:pt x="88" y="40"/>
                  </a:cubicBezTo>
                  <a:cubicBezTo>
                    <a:pt x="89" y="40"/>
                    <a:pt x="90" y="40"/>
                    <a:pt x="91" y="41"/>
                  </a:cubicBezTo>
                  <a:close/>
                  <a:moveTo>
                    <a:pt x="14" y="69"/>
                  </a:moveTo>
                  <a:cubicBezTo>
                    <a:pt x="14" y="69"/>
                    <a:pt x="14" y="69"/>
                    <a:pt x="14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9"/>
                    <a:pt x="12" y="69"/>
                    <a:pt x="12" y="69"/>
                  </a:cubicBezTo>
                  <a:cubicBezTo>
                    <a:pt x="11" y="69"/>
                    <a:pt x="10" y="68"/>
                    <a:pt x="9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7" y="67"/>
                    <a:pt x="7" y="67"/>
                    <a:pt x="6" y="67"/>
                  </a:cubicBezTo>
                  <a:cubicBezTo>
                    <a:pt x="6" y="67"/>
                    <a:pt x="6" y="66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2" y="63"/>
                    <a:pt x="2" y="63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0"/>
                    <a:pt x="0" y="60"/>
                    <a:pt x="0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8"/>
                    <a:pt x="0" y="57"/>
                    <a:pt x="0" y="56"/>
                  </a:cubicBezTo>
                  <a:cubicBezTo>
                    <a:pt x="0" y="55"/>
                    <a:pt x="0" y="54"/>
                    <a:pt x="1" y="53"/>
                  </a:cubicBezTo>
                  <a:cubicBezTo>
                    <a:pt x="1" y="52"/>
                    <a:pt x="1" y="51"/>
                    <a:pt x="1" y="51"/>
                  </a:cubicBezTo>
                  <a:cubicBezTo>
                    <a:pt x="4" y="53"/>
                    <a:pt x="7" y="56"/>
                    <a:pt x="11" y="57"/>
                  </a:cubicBezTo>
                  <a:cubicBezTo>
                    <a:pt x="13" y="58"/>
                    <a:pt x="15" y="59"/>
                    <a:pt x="18" y="59"/>
                  </a:cubicBezTo>
                  <a:cubicBezTo>
                    <a:pt x="18" y="60"/>
                    <a:pt x="19" y="60"/>
                    <a:pt x="20" y="60"/>
                  </a:cubicBezTo>
                  <a:cubicBezTo>
                    <a:pt x="21" y="60"/>
                    <a:pt x="22" y="60"/>
                    <a:pt x="23" y="60"/>
                  </a:cubicBezTo>
                  <a:cubicBezTo>
                    <a:pt x="23" y="60"/>
                    <a:pt x="22" y="61"/>
                    <a:pt x="22" y="61"/>
                  </a:cubicBezTo>
                  <a:cubicBezTo>
                    <a:pt x="21" y="63"/>
                    <a:pt x="20" y="65"/>
                    <a:pt x="19" y="67"/>
                  </a:cubicBezTo>
                  <a:cubicBezTo>
                    <a:pt x="19" y="68"/>
                    <a:pt x="18" y="69"/>
                    <a:pt x="17" y="70"/>
                  </a:cubicBezTo>
                  <a:cubicBezTo>
                    <a:pt x="16" y="70"/>
                    <a:pt x="15" y="69"/>
                    <a:pt x="14" y="69"/>
                  </a:cubicBezTo>
                  <a:cubicBezTo>
                    <a:pt x="14" y="69"/>
                    <a:pt x="14" y="69"/>
                    <a:pt x="14" y="69"/>
                  </a:cubicBezTo>
                  <a:close/>
                  <a:moveTo>
                    <a:pt x="36" y="85"/>
                  </a:moveTo>
                  <a:cubicBezTo>
                    <a:pt x="36" y="85"/>
                    <a:pt x="36" y="85"/>
                    <a:pt x="36" y="85"/>
                  </a:cubicBezTo>
                  <a:cubicBezTo>
                    <a:pt x="37" y="85"/>
                    <a:pt x="36" y="85"/>
                    <a:pt x="36" y="85"/>
                  </a:cubicBezTo>
                  <a:cubicBezTo>
                    <a:pt x="35" y="85"/>
                    <a:pt x="35" y="85"/>
                    <a:pt x="34" y="85"/>
                  </a:cubicBezTo>
                  <a:cubicBezTo>
                    <a:pt x="34" y="84"/>
                    <a:pt x="33" y="84"/>
                    <a:pt x="32" y="83"/>
                  </a:cubicBezTo>
                  <a:cubicBezTo>
                    <a:pt x="31" y="83"/>
                    <a:pt x="31" y="83"/>
                    <a:pt x="30" y="82"/>
                  </a:cubicBezTo>
                  <a:cubicBezTo>
                    <a:pt x="30" y="82"/>
                    <a:pt x="30" y="82"/>
                    <a:pt x="29" y="81"/>
                  </a:cubicBezTo>
                  <a:cubicBezTo>
                    <a:pt x="27" y="79"/>
                    <a:pt x="26" y="79"/>
                    <a:pt x="26" y="77"/>
                  </a:cubicBezTo>
                  <a:cubicBezTo>
                    <a:pt x="25" y="76"/>
                    <a:pt x="25" y="75"/>
                    <a:pt x="25" y="73"/>
                  </a:cubicBezTo>
                  <a:cubicBezTo>
                    <a:pt x="25" y="72"/>
                    <a:pt x="25" y="71"/>
                    <a:pt x="24" y="71"/>
                  </a:cubicBezTo>
                  <a:cubicBezTo>
                    <a:pt x="25" y="69"/>
                    <a:pt x="25" y="68"/>
                    <a:pt x="26" y="67"/>
                  </a:cubicBezTo>
                  <a:cubicBezTo>
                    <a:pt x="26" y="67"/>
                    <a:pt x="27" y="68"/>
                    <a:pt x="27" y="69"/>
                  </a:cubicBezTo>
                  <a:cubicBezTo>
                    <a:pt x="29" y="72"/>
                    <a:pt x="32" y="75"/>
                    <a:pt x="35" y="76"/>
                  </a:cubicBezTo>
                  <a:cubicBezTo>
                    <a:pt x="40" y="79"/>
                    <a:pt x="45" y="80"/>
                    <a:pt x="50" y="80"/>
                  </a:cubicBezTo>
                  <a:cubicBezTo>
                    <a:pt x="50" y="81"/>
                    <a:pt x="50" y="81"/>
                    <a:pt x="49" y="82"/>
                  </a:cubicBezTo>
                  <a:cubicBezTo>
                    <a:pt x="49" y="83"/>
                    <a:pt x="48" y="84"/>
                    <a:pt x="48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4" y="85"/>
                    <a:pt x="40" y="86"/>
                    <a:pt x="36" y="85"/>
                  </a:cubicBezTo>
                  <a:close/>
                </a:path>
              </a:pathLst>
            </a:custGeom>
            <a:solidFill>
              <a:srgbClr val="FFD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íS1îḑè">
              <a:extLst>
                <a:ext uri="{FF2B5EF4-FFF2-40B4-BE49-F238E27FC236}">
                  <a16:creationId xmlns:a16="http://schemas.microsoft.com/office/drawing/2014/main" id="{A94CB283-7FE8-4544-9CB8-389BB337DEC5}"/>
                </a:ext>
              </a:extLst>
            </p:cNvPr>
            <p:cNvSpPr/>
            <p:nvPr/>
          </p:nvSpPr>
          <p:spPr bwMode="auto">
            <a:xfrm>
              <a:off x="6855273" y="3934715"/>
              <a:ext cx="294533" cy="322654"/>
            </a:xfrm>
            <a:custGeom>
              <a:avLst/>
              <a:gdLst>
                <a:gd name="T0" fmla="*/ 23 w 96"/>
                <a:gd name="T1" fmla="*/ 8 h 105"/>
                <a:gd name="T2" fmla="*/ 23 w 96"/>
                <a:gd name="T3" fmla="*/ 8 h 105"/>
                <a:gd name="T4" fmla="*/ 27 w 96"/>
                <a:gd name="T5" fmla="*/ 0 h 105"/>
                <a:gd name="T6" fmla="*/ 28 w 96"/>
                <a:gd name="T7" fmla="*/ 0 h 105"/>
                <a:gd name="T8" fmla="*/ 29 w 96"/>
                <a:gd name="T9" fmla="*/ 0 h 105"/>
                <a:gd name="T10" fmla="*/ 29 w 96"/>
                <a:gd name="T11" fmla="*/ 0 h 105"/>
                <a:gd name="T12" fmla="*/ 32 w 96"/>
                <a:gd name="T13" fmla="*/ 1 h 105"/>
                <a:gd name="T14" fmla="*/ 32 w 96"/>
                <a:gd name="T15" fmla="*/ 1 h 105"/>
                <a:gd name="T16" fmla="*/ 33 w 96"/>
                <a:gd name="T17" fmla="*/ 1 h 105"/>
                <a:gd name="T18" fmla="*/ 35 w 96"/>
                <a:gd name="T19" fmla="*/ 2 h 105"/>
                <a:gd name="T20" fmla="*/ 40 w 96"/>
                <a:gd name="T21" fmla="*/ 6 h 105"/>
                <a:gd name="T22" fmla="*/ 56 w 96"/>
                <a:gd name="T23" fmla="*/ 17 h 105"/>
                <a:gd name="T24" fmla="*/ 90 w 96"/>
                <a:gd name="T25" fmla="*/ 57 h 105"/>
                <a:gd name="T26" fmla="*/ 95 w 96"/>
                <a:gd name="T27" fmla="*/ 69 h 105"/>
                <a:gd name="T28" fmla="*/ 96 w 96"/>
                <a:gd name="T29" fmla="*/ 72 h 105"/>
                <a:gd name="T30" fmla="*/ 96 w 96"/>
                <a:gd name="T31" fmla="*/ 74 h 105"/>
                <a:gd name="T32" fmla="*/ 96 w 96"/>
                <a:gd name="T33" fmla="*/ 75 h 105"/>
                <a:gd name="T34" fmla="*/ 96 w 96"/>
                <a:gd name="T35" fmla="*/ 76 h 105"/>
                <a:gd name="T36" fmla="*/ 96 w 96"/>
                <a:gd name="T37" fmla="*/ 76 h 105"/>
                <a:gd name="T38" fmla="*/ 96 w 96"/>
                <a:gd name="T39" fmla="*/ 76 h 105"/>
                <a:gd name="T40" fmla="*/ 94 w 96"/>
                <a:gd name="T41" fmla="*/ 78 h 105"/>
                <a:gd name="T42" fmla="*/ 94 w 96"/>
                <a:gd name="T43" fmla="*/ 79 h 105"/>
                <a:gd name="T44" fmla="*/ 93 w 96"/>
                <a:gd name="T45" fmla="*/ 80 h 105"/>
                <a:gd name="T46" fmla="*/ 91 w 96"/>
                <a:gd name="T47" fmla="*/ 82 h 105"/>
                <a:gd name="T48" fmla="*/ 90 w 96"/>
                <a:gd name="T49" fmla="*/ 83 h 105"/>
                <a:gd name="T50" fmla="*/ 89 w 96"/>
                <a:gd name="T51" fmla="*/ 83 h 105"/>
                <a:gd name="T52" fmla="*/ 86 w 96"/>
                <a:gd name="T53" fmla="*/ 85 h 105"/>
                <a:gd name="T54" fmla="*/ 80 w 96"/>
                <a:gd name="T55" fmla="*/ 89 h 105"/>
                <a:gd name="T56" fmla="*/ 77 w 96"/>
                <a:gd name="T57" fmla="*/ 90 h 105"/>
                <a:gd name="T58" fmla="*/ 76 w 96"/>
                <a:gd name="T59" fmla="*/ 91 h 105"/>
                <a:gd name="T60" fmla="*/ 76 w 96"/>
                <a:gd name="T61" fmla="*/ 91 h 105"/>
                <a:gd name="T62" fmla="*/ 76 w 96"/>
                <a:gd name="T63" fmla="*/ 91 h 105"/>
                <a:gd name="T64" fmla="*/ 74 w 96"/>
                <a:gd name="T65" fmla="*/ 92 h 105"/>
                <a:gd name="T66" fmla="*/ 57 w 96"/>
                <a:gd name="T67" fmla="*/ 97 h 105"/>
                <a:gd name="T68" fmla="*/ 31 w 96"/>
                <a:gd name="T69" fmla="*/ 104 h 105"/>
                <a:gd name="T70" fmla="*/ 28 w 96"/>
                <a:gd name="T71" fmla="*/ 104 h 105"/>
                <a:gd name="T72" fmla="*/ 28 w 96"/>
                <a:gd name="T73" fmla="*/ 104 h 105"/>
                <a:gd name="T74" fmla="*/ 27 w 96"/>
                <a:gd name="T75" fmla="*/ 104 h 105"/>
                <a:gd name="T76" fmla="*/ 23 w 96"/>
                <a:gd name="T77" fmla="*/ 105 h 105"/>
                <a:gd name="T78" fmla="*/ 13 w 96"/>
                <a:gd name="T79" fmla="*/ 105 h 105"/>
                <a:gd name="T80" fmla="*/ 6 w 96"/>
                <a:gd name="T81" fmla="*/ 105 h 105"/>
                <a:gd name="T82" fmla="*/ 6 w 96"/>
                <a:gd name="T83" fmla="*/ 104 h 105"/>
                <a:gd name="T84" fmla="*/ 3 w 96"/>
                <a:gd name="T85" fmla="*/ 95 h 105"/>
                <a:gd name="T86" fmla="*/ 1 w 96"/>
                <a:gd name="T87" fmla="*/ 80 h 105"/>
                <a:gd name="T88" fmla="*/ 4 w 96"/>
                <a:gd name="T89" fmla="*/ 51 h 105"/>
                <a:gd name="T90" fmla="*/ 8 w 96"/>
                <a:gd name="T91" fmla="*/ 36 h 105"/>
                <a:gd name="T92" fmla="*/ 10 w 96"/>
                <a:gd name="T93" fmla="*/ 29 h 105"/>
                <a:gd name="T94" fmla="*/ 10 w 96"/>
                <a:gd name="T95" fmla="*/ 28 h 105"/>
                <a:gd name="T96" fmla="*/ 10 w 96"/>
                <a:gd name="T97" fmla="*/ 28 h 105"/>
                <a:gd name="T98" fmla="*/ 10 w 96"/>
                <a:gd name="T99" fmla="*/ 28 h 105"/>
                <a:gd name="T100" fmla="*/ 11 w 96"/>
                <a:gd name="T101" fmla="*/ 26 h 105"/>
                <a:gd name="T102" fmla="*/ 16 w 96"/>
                <a:gd name="T103" fmla="*/ 19 h 105"/>
                <a:gd name="T104" fmla="*/ 17 w 96"/>
                <a:gd name="T105" fmla="*/ 17 h 105"/>
                <a:gd name="T106" fmla="*/ 23 w 96"/>
                <a:gd name="T107" fmla="*/ 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6" h="105">
                  <a:moveTo>
                    <a:pt x="23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5" y="5"/>
                    <a:pt x="26" y="2"/>
                    <a:pt x="27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0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3" y="1"/>
                    <a:pt x="33" y="1"/>
                  </a:cubicBezTo>
                  <a:cubicBezTo>
                    <a:pt x="34" y="2"/>
                    <a:pt x="34" y="2"/>
                    <a:pt x="35" y="2"/>
                  </a:cubicBezTo>
                  <a:cubicBezTo>
                    <a:pt x="37" y="3"/>
                    <a:pt x="38" y="4"/>
                    <a:pt x="40" y="6"/>
                  </a:cubicBezTo>
                  <a:cubicBezTo>
                    <a:pt x="45" y="9"/>
                    <a:pt x="51" y="13"/>
                    <a:pt x="56" y="17"/>
                  </a:cubicBezTo>
                  <a:cubicBezTo>
                    <a:pt x="70" y="28"/>
                    <a:pt x="82" y="41"/>
                    <a:pt x="90" y="57"/>
                  </a:cubicBezTo>
                  <a:cubicBezTo>
                    <a:pt x="92" y="61"/>
                    <a:pt x="94" y="64"/>
                    <a:pt x="95" y="69"/>
                  </a:cubicBezTo>
                  <a:cubicBezTo>
                    <a:pt x="95" y="70"/>
                    <a:pt x="96" y="71"/>
                    <a:pt x="96" y="72"/>
                  </a:cubicBezTo>
                  <a:cubicBezTo>
                    <a:pt x="96" y="73"/>
                    <a:pt x="96" y="73"/>
                    <a:pt x="96" y="74"/>
                  </a:cubicBezTo>
                  <a:cubicBezTo>
                    <a:pt x="96" y="74"/>
                    <a:pt x="96" y="74"/>
                    <a:pt x="96" y="75"/>
                  </a:cubicBezTo>
                  <a:cubicBezTo>
                    <a:pt x="96" y="75"/>
                    <a:pt x="96" y="75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5" y="77"/>
                    <a:pt x="95" y="78"/>
                    <a:pt x="94" y="78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79"/>
                    <a:pt x="94" y="80"/>
                    <a:pt x="93" y="80"/>
                  </a:cubicBezTo>
                  <a:cubicBezTo>
                    <a:pt x="93" y="81"/>
                    <a:pt x="92" y="81"/>
                    <a:pt x="91" y="82"/>
                  </a:cubicBezTo>
                  <a:cubicBezTo>
                    <a:pt x="91" y="82"/>
                    <a:pt x="91" y="82"/>
                    <a:pt x="90" y="83"/>
                  </a:cubicBezTo>
                  <a:cubicBezTo>
                    <a:pt x="90" y="83"/>
                    <a:pt x="90" y="83"/>
                    <a:pt x="89" y="83"/>
                  </a:cubicBezTo>
                  <a:cubicBezTo>
                    <a:pt x="88" y="84"/>
                    <a:pt x="87" y="85"/>
                    <a:pt x="86" y="85"/>
                  </a:cubicBezTo>
                  <a:cubicBezTo>
                    <a:pt x="84" y="87"/>
                    <a:pt x="82" y="88"/>
                    <a:pt x="80" y="89"/>
                  </a:cubicBezTo>
                  <a:cubicBezTo>
                    <a:pt x="79" y="89"/>
                    <a:pt x="78" y="90"/>
                    <a:pt x="77" y="90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75" y="91"/>
                    <a:pt x="74" y="92"/>
                    <a:pt x="74" y="92"/>
                  </a:cubicBezTo>
                  <a:cubicBezTo>
                    <a:pt x="68" y="94"/>
                    <a:pt x="63" y="96"/>
                    <a:pt x="57" y="97"/>
                  </a:cubicBezTo>
                  <a:cubicBezTo>
                    <a:pt x="49" y="100"/>
                    <a:pt x="39" y="102"/>
                    <a:pt x="31" y="104"/>
                  </a:cubicBezTo>
                  <a:cubicBezTo>
                    <a:pt x="30" y="104"/>
                    <a:pt x="29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7" y="104"/>
                    <a:pt x="27" y="104"/>
                    <a:pt x="27" y="104"/>
                  </a:cubicBezTo>
                  <a:cubicBezTo>
                    <a:pt x="25" y="105"/>
                    <a:pt x="24" y="105"/>
                    <a:pt x="23" y="105"/>
                  </a:cubicBezTo>
                  <a:cubicBezTo>
                    <a:pt x="19" y="105"/>
                    <a:pt x="16" y="105"/>
                    <a:pt x="13" y="105"/>
                  </a:cubicBezTo>
                  <a:cubicBezTo>
                    <a:pt x="11" y="105"/>
                    <a:pt x="8" y="104"/>
                    <a:pt x="6" y="105"/>
                  </a:cubicBezTo>
                  <a:cubicBezTo>
                    <a:pt x="6" y="104"/>
                    <a:pt x="6" y="104"/>
                    <a:pt x="6" y="104"/>
                  </a:cubicBezTo>
                  <a:cubicBezTo>
                    <a:pt x="5" y="101"/>
                    <a:pt x="4" y="99"/>
                    <a:pt x="3" y="95"/>
                  </a:cubicBezTo>
                  <a:cubicBezTo>
                    <a:pt x="2" y="90"/>
                    <a:pt x="1" y="86"/>
                    <a:pt x="1" y="80"/>
                  </a:cubicBezTo>
                  <a:cubicBezTo>
                    <a:pt x="0" y="71"/>
                    <a:pt x="1" y="60"/>
                    <a:pt x="4" y="51"/>
                  </a:cubicBezTo>
                  <a:cubicBezTo>
                    <a:pt x="5" y="46"/>
                    <a:pt x="6" y="41"/>
                    <a:pt x="8" y="36"/>
                  </a:cubicBezTo>
                  <a:cubicBezTo>
                    <a:pt x="8" y="34"/>
                    <a:pt x="9" y="32"/>
                    <a:pt x="10" y="29"/>
                  </a:cubicBezTo>
                  <a:cubicBezTo>
                    <a:pt x="10" y="29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7"/>
                    <a:pt x="11" y="26"/>
                    <a:pt x="11" y="26"/>
                  </a:cubicBezTo>
                  <a:cubicBezTo>
                    <a:pt x="13" y="23"/>
                    <a:pt x="14" y="21"/>
                    <a:pt x="16" y="19"/>
                  </a:cubicBezTo>
                  <a:cubicBezTo>
                    <a:pt x="16" y="19"/>
                    <a:pt x="17" y="18"/>
                    <a:pt x="17" y="17"/>
                  </a:cubicBezTo>
                  <a:cubicBezTo>
                    <a:pt x="19" y="14"/>
                    <a:pt x="21" y="11"/>
                    <a:pt x="23" y="8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î$ļîdé">
              <a:extLst>
                <a:ext uri="{FF2B5EF4-FFF2-40B4-BE49-F238E27FC236}">
                  <a16:creationId xmlns:a16="http://schemas.microsoft.com/office/drawing/2014/main" id="{7FF7FD85-F929-4A96-80DC-622D372C920E}"/>
                </a:ext>
              </a:extLst>
            </p:cNvPr>
            <p:cNvSpPr/>
            <p:nvPr/>
          </p:nvSpPr>
          <p:spPr bwMode="auto">
            <a:xfrm>
              <a:off x="6528179" y="3857752"/>
              <a:ext cx="276772" cy="79923"/>
            </a:xfrm>
            <a:custGeom>
              <a:avLst/>
              <a:gdLst>
                <a:gd name="T0" fmla="*/ 1 w 90"/>
                <a:gd name="T1" fmla="*/ 4 h 26"/>
                <a:gd name="T2" fmla="*/ 1 w 90"/>
                <a:gd name="T3" fmla="*/ 4 h 26"/>
                <a:gd name="T4" fmla="*/ 15 w 90"/>
                <a:gd name="T5" fmla="*/ 5 h 26"/>
                <a:gd name="T6" fmla="*/ 23 w 90"/>
                <a:gd name="T7" fmla="*/ 5 h 26"/>
                <a:gd name="T8" fmla="*/ 31 w 90"/>
                <a:gd name="T9" fmla="*/ 10 h 26"/>
                <a:gd name="T10" fmla="*/ 36 w 90"/>
                <a:gd name="T11" fmla="*/ 15 h 26"/>
                <a:gd name="T12" fmla="*/ 41 w 90"/>
                <a:gd name="T13" fmla="*/ 18 h 26"/>
                <a:gd name="T14" fmla="*/ 43 w 90"/>
                <a:gd name="T15" fmla="*/ 17 h 26"/>
                <a:gd name="T16" fmla="*/ 39 w 90"/>
                <a:gd name="T17" fmla="*/ 12 h 26"/>
                <a:gd name="T18" fmla="*/ 34 w 90"/>
                <a:gd name="T19" fmla="*/ 7 h 26"/>
                <a:gd name="T20" fmla="*/ 30 w 90"/>
                <a:gd name="T21" fmla="*/ 4 h 26"/>
                <a:gd name="T22" fmla="*/ 47 w 90"/>
                <a:gd name="T23" fmla="*/ 4 h 26"/>
                <a:gd name="T24" fmla="*/ 51 w 90"/>
                <a:gd name="T25" fmla="*/ 4 h 26"/>
                <a:gd name="T26" fmla="*/ 63 w 90"/>
                <a:gd name="T27" fmla="*/ 20 h 26"/>
                <a:gd name="T28" fmla="*/ 67 w 90"/>
                <a:gd name="T29" fmla="*/ 26 h 26"/>
                <a:gd name="T30" fmla="*/ 61 w 90"/>
                <a:gd name="T31" fmla="*/ 24 h 26"/>
                <a:gd name="T32" fmla="*/ 6 w 90"/>
                <a:gd name="T33" fmla="*/ 12 h 26"/>
                <a:gd name="T34" fmla="*/ 5 w 90"/>
                <a:gd name="T35" fmla="*/ 10 h 26"/>
                <a:gd name="T36" fmla="*/ 0 w 90"/>
                <a:gd name="T37" fmla="*/ 4 h 26"/>
                <a:gd name="T38" fmla="*/ 1 w 90"/>
                <a:gd name="T39" fmla="*/ 4 h 26"/>
                <a:gd name="T40" fmla="*/ 88 w 90"/>
                <a:gd name="T41" fmla="*/ 7 h 26"/>
                <a:gd name="T42" fmla="*/ 88 w 90"/>
                <a:gd name="T43" fmla="*/ 7 h 26"/>
                <a:gd name="T44" fmla="*/ 88 w 90"/>
                <a:gd name="T45" fmla="*/ 11 h 26"/>
                <a:gd name="T46" fmla="*/ 85 w 90"/>
                <a:gd name="T47" fmla="*/ 7 h 26"/>
                <a:gd name="T48" fmla="*/ 81 w 90"/>
                <a:gd name="T49" fmla="*/ 0 h 26"/>
                <a:gd name="T50" fmla="*/ 88 w 90"/>
                <a:gd name="T51" fmla="*/ 0 h 26"/>
                <a:gd name="T52" fmla="*/ 90 w 90"/>
                <a:gd name="T53" fmla="*/ 0 h 26"/>
                <a:gd name="T54" fmla="*/ 88 w 90"/>
                <a:gd name="T55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0" h="26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6" y="5"/>
                    <a:pt x="10" y="5"/>
                    <a:pt x="15" y="5"/>
                  </a:cubicBezTo>
                  <a:cubicBezTo>
                    <a:pt x="17" y="5"/>
                    <a:pt x="20" y="5"/>
                    <a:pt x="23" y="5"/>
                  </a:cubicBezTo>
                  <a:cubicBezTo>
                    <a:pt x="25" y="7"/>
                    <a:pt x="28" y="8"/>
                    <a:pt x="31" y="10"/>
                  </a:cubicBezTo>
                  <a:cubicBezTo>
                    <a:pt x="32" y="12"/>
                    <a:pt x="34" y="13"/>
                    <a:pt x="36" y="15"/>
                  </a:cubicBezTo>
                  <a:cubicBezTo>
                    <a:pt x="38" y="16"/>
                    <a:pt x="40" y="18"/>
                    <a:pt x="41" y="18"/>
                  </a:cubicBezTo>
                  <a:cubicBezTo>
                    <a:pt x="42" y="19"/>
                    <a:pt x="43" y="18"/>
                    <a:pt x="43" y="17"/>
                  </a:cubicBezTo>
                  <a:cubicBezTo>
                    <a:pt x="42" y="15"/>
                    <a:pt x="41" y="13"/>
                    <a:pt x="39" y="12"/>
                  </a:cubicBezTo>
                  <a:cubicBezTo>
                    <a:pt x="38" y="10"/>
                    <a:pt x="36" y="9"/>
                    <a:pt x="34" y="7"/>
                  </a:cubicBezTo>
                  <a:cubicBezTo>
                    <a:pt x="33" y="6"/>
                    <a:pt x="31" y="5"/>
                    <a:pt x="30" y="4"/>
                  </a:cubicBezTo>
                  <a:cubicBezTo>
                    <a:pt x="36" y="4"/>
                    <a:pt x="41" y="4"/>
                    <a:pt x="47" y="4"/>
                  </a:cubicBezTo>
                  <a:cubicBezTo>
                    <a:pt x="48" y="4"/>
                    <a:pt x="50" y="4"/>
                    <a:pt x="51" y="4"/>
                  </a:cubicBezTo>
                  <a:cubicBezTo>
                    <a:pt x="54" y="9"/>
                    <a:pt x="58" y="15"/>
                    <a:pt x="63" y="20"/>
                  </a:cubicBezTo>
                  <a:cubicBezTo>
                    <a:pt x="64" y="22"/>
                    <a:pt x="65" y="24"/>
                    <a:pt x="67" y="26"/>
                  </a:cubicBezTo>
                  <a:cubicBezTo>
                    <a:pt x="65" y="25"/>
                    <a:pt x="63" y="25"/>
                    <a:pt x="61" y="24"/>
                  </a:cubicBezTo>
                  <a:cubicBezTo>
                    <a:pt x="42" y="20"/>
                    <a:pt x="24" y="16"/>
                    <a:pt x="6" y="12"/>
                  </a:cubicBezTo>
                  <a:cubicBezTo>
                    <a:pt x="6" y="11"/>
                    <a:pt x="5" y="10"/>
                    <a:pt x="5" y="10"/>
                  </a:cubicBezTo>
                  <a:cubicBezTo>
                    <a:pt x="3" y="8"/>
                    <a:pt x="1" y="6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lose/>
                  <a:moveTo>
                    <a:pt x="88" y="7"/>
                  </a:moveTo>
                  <a:cubicBezTo>
                    <a:pt x="88" y="7"/>
                    <a:pt x="88" y="7"/>
                    <a:pt x="88" y="7"/>
                  </a:cubicBezTo>
                  <a:cubicBezTo>
                    <a:pt x="88" y="8"/>
                    <a:pt x="88" y="9"/>
                    <a:pt x="88" y="11"/>
                  </a:cubicBezTo>
                  <a:cubicBezTo>
                    <a:pt x="87" y="10"/>
                    <a:pt x="86" y="8"/>
                    <a:pt x="85" y="7"/>
                  </a:cubicBezTo>
                  <a:cubicBezTo>
                    <a:pt x="83" y="5"/>
                    <a:pt x="82" y="2"/>
                    <a:pt x="81" y="0"/>
                  </a:cubicBezTo>
                  <a:cubicBezTo>
                    <a:pt x="83" y="0"/>
                    <a:pt x="86" y="0"/>
                    <a:pt x="88" y="0"/>
                  </a:cubicBezTo>
                  <a:cubicBezTo>
                    <a:pt x="89" y="0"/>
                    <a:pt x="89" y="0"/>
                    <a:pt x="90" y="0"/>
                  </a:cubicBezTo>
                  <a:cubicBezTo>
                    <a:pt x="89" y="2"/>
                    <a:pt x="89" y="5"/>
                    <a:pt x="88" y="7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ï$ḷïḑê">
              <a:extLst>
                <a:ext uri="{FF2B5EF4-FFF2-40B4-BE49-F238E27FC236}">
                  <a16:creationId xmlns:a16="http://schemas.microsoft.com/office/drawing/2014/main" id="{BA3438BA-921B-4267-8475-A50FDDDF304D}"/>
                </a:ext>
              </a:extLst>
            </p:cNvPr>
            <p:cNvSpPr/>
            <p:nvPr/>
          </p:nvSpPr>
          <p:spPr bwMode="auto">
            <a:xfrm>
              <a:off x="5728945" y="4036840"/>
              <a:ext cx="768153" cy="371496"/>
            </a:xfrm>
            <a:custGeom>
              <a:avLst/>
              <a:gdLst>
                <a:gd name="T0" fmla="*/ 112 w 250"/>
                <a:gd name="T1" fmla="*/ 27 h 121"/>
                <a:gd name="T2" fmla="*/ 91 w 250"/>
                <a:gd name="T3" fmla="*/ 0 h 121"/>
                <a:gd name="T4" fmla="*/ 142 w 250"/>
                <a:gd name="T5" fmla="*/ 11 h 121"/>
                <a:gd name="T6" fmla="*/ 184 w 250"/>
                <a:gd name="T7" fmla="*/ 28 h 121"/>
                <a:gd name="T8" fmla="*/ 175 w 250"/>
                <a:gd name="T9" fmla="*/ 30 h 121"/>
                <a:gd name="T10" fmla="*/ 158 w 250"/>
                <a:gd name="T11" fmla="*/ 24 h 121"/>
                <a:gd name="T12" fmla="*/ 102 w 250"/>
                <a:gd name="T13" fmla="*/ 9 h 121"/>
                <a:gd name="T14" fmla="*/ 166 w 250"/>
                <a:gd name="T15" fmla="*/ 31 h 121"/>
                <a:gd name="T16" fmla="*/ 133 w 250"/>
                <a:gd name="T17" fmla="*/ 31 h 121"/>
                <a:gd name="T18" fmla="*/ 145 w 250"/>
                <a:gd name="T19" fmla="*/ 109 h 121"/>
                <a:gd name="T20" fmla="*/ 137 w 250"/>
                <a:gd name="T21" fmla="*/ 111 h 121"/>
                <a:gd name="T22" fmla="*/ 148 w 250"/>
                <a:gd name="T23" fmla="*/ 108 h 121"/>
                <a:gd name="T24" fmla="*/ 207 w 250"/>
                <a:gd name="T25" fmla="*/ 106 h 121"/>
                <a:gd name="T26" fmla="*/ 206 w 250"/>
                <a:gd name="T27" fmla="*/ 119 h 121"/>
                <a:gd name="T28" fmla="*/ 199 w 250"/>
                <a:gd name="T29" fmla="*/ 120 h 121"/>
                <a:gd name="T30" fmla="*/ 180 w 250"/>
                <a:gd name="T31" fmla="*/ 119 h 121"/>
                <a:gd name="T32" fmla="*/ 159 w 250"/>
                <a:gd name="T33" fmla="*/ 104 h 121"/>
                <a:gd name="T34" fmla="*/ 169 w 250"/>
                <a:gd name="T35" fmla="*/ 83 h 121"/>
                <a:gd name="T36" fmla="*/ 133 w 250"/>
                <a:gd name="T37" fmla="*/ 53 h 121"/>
                <a:gd name="T38" fmla="*/ 172 w 250"/>
                <a:gd name="T39" fmla="*/ 51 h 121"/>
                <a:gd name="T40" fmla="*/ 206 w 250"/>
                <a:gd name="T41" fmla="*/ 50 h 121"/>
                <a:gd name="T42" fmla="*/ 215 w 250"/>
                <a:gd name="T43" fmla="*/ 50 h 121"/>
                <a:gd name="T44" fmla="*/ 232 w 250"/>
                <a:gd name="T45" fmla="*/ 62 h 121"/>
                <a:gd name="T46" fmla="*/ 249 w 250"/>
                <a:gd name="T47" fmla="*/ 92 h 121"/>
                <a:gd name="T48" fmla="*/ 248 w 250"/>
                <a:gd name="T49" fmla="*/ 97 h 121"/>
                <a:gd name="T50" fmla="*/ 246 w 250"/>
                <a:gd name="T51" fmla="*/ 101 h 121"/>
                <a:gd name="T52" fmla="*/ 225 w 250"/>
                <a:gd name="T53" fmla="*/ 63 h 121"/>
                <a:gd name="T54" fmla="*/ 239 w 250"/>
                <a:gd name="T55" fmla="*/ 85 h 121"/>
                <a:gd name="T56" fmla="*/ 238 w 250"/>
                <a:gd name="T57" fmla="*/ 108 h 121"/>
                <a:gd name="T58" fmla="*/ 225 w 250"/>
                <a:gd name="T59" fmla="*/ 116 h 121"/>
                <a:gd name="T60" fmla="*/ 60 w 250"/>
                <a:gd name="T61" fmla="*/ 11 h 121"/>
                <a:gd name="T62" fmla="*/ 71 w 250"/>
                <a:gd name="T63" fmla="*/ 10 h 121"/>
                <a:gd name="T64" fmla="*/ 80 w 250"/>
                <a:gd name="T65" fmla="*/ 19 h 121"/>
                <a:gd name="T66" fmla="*/ 92 w 250"/>
                <a:gd name="T67" fmla="*/ 30 h 121"/>
                <a:gd name="T68" fmla="*/ 79 w 250"/>
                <a:gd name="T69" fmla="*/ 28 h 121"/>
                <a:gd name="T70" fmla="*/ 77 w 250"/>
                <a:gd name="T71" fmla="*/ 55 h 121"/>
                <a:gd name="T72" fmla="*/ 91 w 250"/>
                <a:gd name="T73" fmla="*/ 68 h 121"/>
                <a:gd name="T74" fmla="*/ 114 w 250"/>
                <a:gd name="T75" fmla="*/ 62 h 121"/>
                <a:gd name="T76" fmla="*/ 124 w 250"/>
                <a:gd name="T77" fmla="*/ 90 h 121"/>
                <a:gd name="T78" fmla="*/ 117 w 250"/>
                <a:gd name="T79" fmla="*/ 102 h 121"/>
                <a:gd name="T80" fmla="*/ 91 w 250"/>
                <a:gd name="T81" fmla="*/ 99 h 121"/>
                <a:gd name="T82" fmla="*/ 60 w 250"/>
                <a:gd name="T83" fmla="*/ 84 h 121"/>
                <a:gd name="T84" fmla="*/ 37 w 250"/>
                <a:gd name="T85" fmla="*/ 79 h 121"/>
                <a:gd name="T86" fmla="*/ 15 w 250"/>
                <a:gd name="T87" fmla="*/ 63 h 121"/>
                <a:gd name="T88" fmla="*/ 0 w 250"/>
                <a:gd name="T89" fmla="*/ 39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0" h="121">
                  <a:moveTo>
                    <a:pt x="114" y="29"/>
                  </a:moveTo>
                  <a:cubicBezTo>
                    <a:pt x="114" y="29"/>
                    <a:pt x="114" y="29"/>
                    <a:pt x="114" y="29"/>
                  </a:cubicBezTo>
                  <a:cubicBezTo>
                    <a:pt x="113" y="28"/>
                    <a:pt x="112" y="27"/>
                    <a:pt x="112" y="27"/>
                  </a:cubicBezTo>
                  <a:cubicBezTo>
                    <a:pt x="110" y="25"/>
                    <a:pt x="109" y="23"/>
                    <a:pt x="108" y="22"/>
                  </a:cubicBezTo>
                  <a:cubicBezTo>
                    <a:pt x="105" y="18"/>
                    <a:pt x="102" y="14"/>
                    <a:pt x="100" y="11"/>
                  </a:cubicBezTo>
                  <a:cubicBezTo>
                    <a:pt x="97" y="7"/>
                    <a:pt x="94" y="4"/>
                    <a:pt x="91" y="0"/>
                  </a:cubicBezTo>
                  <a:cubicBezTo>
                    <a:pt x="97" y="1"/>
                    <a:pt x="103" y="1"/>
                    <a:pt x="108" y="2"/>
                  </a:cubicBezTo>
                  <a:cubicBezTo>
                    <a:pt x="110" y="2"/>
                    <a:pt x="112" y="2"/>
                    <a:pt x="113" y="3"/>
                  </a:cubicBezTo>
                  <a:cubicBezTo>
                    <a:pt x="123" y="5"/>
                    <a:pt x="132" y="8"/>
                    <a:pt x="142" y="11"/>
                  </a:cubicBezTo>
                  <a:cubicBezTo>
                    <a:pt x="147" y="13"/>
                    <a:pt x="152" y="14"/>
                    <a:pt x="157" y="16"/>
                  </a:cubicBezTo>
                  <a:cubicBezTo>
                    <a:pt x="161" y="18"/>
                    <a:pt x="166" y="20"/>
                    <a:pt x="171" y="22"/>
                  </a:cubicBezTo>
                  <a:cubicBezTo>
                    <a:pt x="175" y="24"/>
                    <a:pt x="180" y="26"/>
                    <a:pt x="184" y="28"/>
                  </a:cubicBezTo>
                  <a:cubicBezTo>
                    <a:pt x="187" y="29"/>
                    <a:pt x="190" y="31"/>
                    <a:pt x="193" y="32"/>
                  </a:cubicBezTo>
                  <a:cubicBezTo>
                    <a:pt x="187" y="32"/>
                    <a:pt x="180" y="32"/>
                    <a:pt x="175" y="32"/>
                  </a:cubicBezTo>
                  <a:cubicBezTo>
                    <a:pt x="175" y="31"/>
                    <a:pt x="175" y="31"/>
                    <a:pt x="175" y="30"/>
                  </a:cubicBezTo>
                  <a:cubicBezTo>
                    <a:pt x="174" y="30"/>
                    <a:pt x="173" y="29"/>
                    <a:pt x="171" y="29"/>
                  </a:cubicBezTo>
                  <a:cubicBezTo>
                    <a:pt x="170" y="28"/>
                    <a:pt x="168" y="28"/>
                    <a:pt x="167" y="28"/>
                  </a:cubicBezTo>
                  <a:cubicBezTo>
                    <a:pt x="164" y="27"/>
                    <a:pt x="161" y="25"/>
                    <a:pt x="158" y="24"/>
                  </a:cubicBezTo>
                  <a:cubicBezTo>
                    <a:pt x="152" y="22"/>
                    <a:pt x="147" y="19"/>
                    <a:pt x="141" y="18"/>
                  </a:cubicBezTo>
                  <a:cubicBezTo>
                    <a:pt x="128" y="14"/>
                    <a:pt x="116" y="10"/>
                    <a:pt x="102" y="7"/>
                  </a:cubicBezTo>
                  <a:cubicBezTo>
                    <a:pt x="101" y="7"/>
                    <a:pt x="101" y="9"/>
                    <a:pt x="102" y="9"/>
                  </a:cubicBezTo>
                  <a:cubicBezTo>
                    <a:pt x="115" y="13"/>
                    <a:pt x="127" y="17"/>
                    <a:pt x="140" y="21"/>
                  </a:cubicBezTo>
                  <a:cubicBezTo>
                    <a:pt x="146" y="23"/>
                    <a:pt x="152" y="25"/>
                    <a:pt x="157" y="28"/>
                  </a:cubicBezTo>
                  <a:cubicBezTo>
                    <a:pt x="160" y="29"/>
                    <a:pt x="163" y="30"/>
                    <a:pt x="166" y="31"/>
                  </a:cubicBezTo>
                  <a:cubicBezTo>
                    <a:pt x="167" y="31"/>
                    <a:pt x="167" y="31"/>
                    <a:pt x="168" y="32"/>
                  </a:cubicBezTo>
                  <a:cubicBezTo>
                    <a:pt x="167" y="32"/>
                    <a:pt x="166" y="32"/>
                    <a:pt x="165" y="32"/>
                  </a:cubicBezTo>
                  <a:cubicBezTo>
                    <a:pt x="154" y="31"/>
                    <a:pt x="144" y="31"/>
                    <a:pt x="133" y="31"/>
                  </a:cubicBezTo>
                  <a:cubicBezTo>
                    <a:pt x="127" y="31"/>
                    <a:pt x="121" y="31"/>
                    <a:pt x="115" y="31"/>
                  </a:cubicBezTo>
                  <a:cubicBezTo>
                    <a:pt x="115" y="30"/>
                    <a:pt x="114" y="30"/>
                    <a:pt x="114" y="29"/>
                  </a:cubicBezTo>
                  <a:close/>
                  <a:moveTo>
                    <a:pt x="145" y="109"/>
                  </a:moveTo>
                  <a:cubicBezTo>
                    <a:pt x="145" y="109"/>
                    <a:pt x="145" y="109"/>
                    <a:pt x="145" y="109"/>
                  </a:cubicBezTo>
                  <a:cubicBezTo>
                    <a:pt x="143" y="110"/>
                    <a:pt x="141" y="111"/>
                    <a:pt x="140" y="112"/>
                  </a:cubicBezTo>
                  <a:cubicBezTo>
                    <a:pt x="139" y="111"/>
                    <a:pt x="138" y="111"/>
                    <a:pt x="137" y="111"/>
                  </a:cubicBezTo>
                  <a:cubicBezTo>
                    <a:pt x="137" y="110"/>
                    <a:pt x="138" y="110"/>
                    <a:pt x="138" y="109"/>
                  </a:cubicBezTo>
                  <a:cubicBezTo>
                    <a:pt x="139" y="108"/>
                    <a:pt x="139" y="107"/>
                    <a:pt x="140" y="106"/>
                  </a:cubicBezTo>
                  <a:cubicBezTo>
                    <a:pt x="142" y="108"/>
                    <a:pt x="145" y="108"/>
                    <a:pt x="148" y="108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7" y="108"/>
                    <a:pt x="146" y="109"/>
                    <a:pt x="145" y="109"/>
                  </a:cubicBezTo>
                  <a:close/>
                  <a:moveTo>
                    <a:pt x="207" y="106"/>
                  </a:moveTo>
                  <a:cubicBezTo>
                    <a:pt x="207" y="106"/>
                    <a:pt x="207" y="106"/>
                    <a:pt x="207" y="106"/>
                  </a:cubicBezTo>
                  <a:cubicBezTo>
                    <a:pt x="204" y="109"/>
                    <a:pt x="204" y="115"/>
                    <a:pt x="206" y="119"/>
                  </a:cubicBezTo>
                  <a:cubicBezTo>
                    <a:pt x="206" y="119"/>
                    <a:pt x="206" y="119"/>
                    <a:pt x="206" y="119"/>
                  </a:cubicBezTo>
                  <a:cubicBezTo>
                    <a:pt x="206" y="119"/>
                    <a:pt x="206" y="119"/>
                    <a:pt x="206" y="119"/>
                  </a:cubicBezTo>
                  <a:cubicBezTo>
                    <a:pt x="205" y="118"/>
                    <a:pt x="204" y="119"/>
                    <a:pt x="202" y="119"/>
                  </a:cubicBezTo>
                  <a:cubicBezTo>
                    <a:pt x="201" y="120"/>
                    <a:pt x="200" y="120"/>
                    <a:pt x="199" y="120"/>
                  </a:cubicBezTo>
                  <a:cubicBezTo>
                    <a:pt x="197" y="121"/>
                    <a:pt x="194" y="121"/>
                    <a:pt x="191" y="121"/>
                  </a:cubicBezTo>
                  <a:cubicBezTo>
                    <a:pt x="188" y="120"/>
                    <a:pt x="186" y="120"/>
                    <a:pt x="183" y="120"/>
                  </a:cubicBezTo>
                  <a:cubicBezTo>
                    <a:pt x="182" y="120"/>
                    <a:pt x="181" y="119"/>
                    <a:pt x="180" y="119"/>
                  </a:cubicBezTo>
                  <a:cubicBezTo>
                    <a:pt x="177" y="112"/>
                    <a:pt x="171" y="108"/>
                    <a:pt x="164" y="106"/>
                  </a:cubicBezTo>
                  <a:cubicBezTo>
                    <a:pt x="161" y="106"/>
                    <a:pt x="159" y="106"/>
                    <a:pt x="156" y="106"/>
                  </a:cubicBezTo>
                  <a:cubicBezTo>
                    <a:pt x="157" y="106"/>
                    <a:pt x="159" y="105"/>
                    <a:pt x="159" y="104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63" y="103"/>
                    <a:pt x="166" y="102"/>
                    <a:pt x="168" y="100"/>
                  </a:cubicBezTo>
                  <a:cubicBezTo>
                    <a:pt x="173" y="95"/>
                    <a:pt x="172" y="88"/>
                    <a:pt x="169" y="83"/>
                  </a:cubicBezTo>
                  <a:cubicBezTo>
                    <a:pt x="165" y="77"/>
                    <a:pt x="159" y="73"/>
                    <a:pt x="154" y="70"/>
                  </a:cubicBezTo>
                  <a:cubicBezTo>
                    <a:pt x="150" y="67"/>
                    <a:pt x="145" y="63"/>
                    <a:pt x="140" y="60"/>
                  </a:cubicBezTo>
                  <a:cubicBezTo>
                    <a:pt x="138" y="58"/>
                    <a:pt x="136" y="55"/>
                    <a:pt x="133" y="53"/>
                  </a:cubicBezTo>
                  <a:cubicBezTo>
                    <a:pt x="136" y="53"/>
                    <a:pt x="138" y="53"/>
                    <a:pt x="140" y="53"/>
                  </a:cubicBezTo>
                  <a:cubicBezTo>
                    <a:pt x="144" y="53"/>
                    <a:pt x="147" y="52"/>
                    <a:pt x="151" y="52"/>
                  </a:cubicBezTo>
                  <a:cubicBezTo>
                    <a:pt x="157" y="51"/>
                    <a:pt x="165" y="51"/>
                    <a:pt x="172" y="51"/>
                  </a:cubicBezTo>
                  <a:cubicBezTo>
                    <a:pt x="178" y="51"/>
                    <a:pt x="185" y="50"/>
                    <a:pt x="191" y="51"/>
                  </a:cubicBezTo>
                  <a:cubicBezTo>
                    <a:pt x="195" y="51"/>
                    <a:pt x="198" y="51"/>
                    <a:pt x="201" y="51"/>
                  </a:cubicBezTo>
                  <a:cubicBezTo>
                    <a:pt x="202" y="51"/>
                    <a:pt x="204" y="50"/>
                    <a:pt x="206" y="50"/>
                  </a:cubicBezTo>
                  <a:cubicBezTo>
                    <a:pt x="206" y="50"/>
                    <a:pt x="207" y="50"/>
                    <a:pt x="207" y="49"/>
                  </a:cubicBezTo>
                  <a:cubicBezTo>
                    <a:pt x="209" y="49"/>
                    <a:pt x="211" y="49"/>
                    <a:pt x="212" y="50"/>
                  </a:cubicBezTo>
                  <a:cubicBezTo>
                    <a:pt x="213" y="50"/>
                    <a:pt x="214" y="50"/>
                    <a:pt x="215" y="50"/>
                  </a:cubicBezTo>
                  <a:cubicBezTo>
                    <a:pt x="216" y="50"/>
                    <a:pt x="217" y="51"/>
                    <a:pt x="218" y="51"/>
                  </a:cubicBezTo>
                  <a:cubicBezTo>
                    <a:pt x="219" y="52"/>
                    <a:pt x="221" y="53"/>
                    <a:pt x="223" y="54"/>
                  </a:cubicBezTo>
                  <a:cubicBezTo>
                    <a:pt x="226" y="57"/>
                    <a:pt x="229" y="60"/>
                    <a:pt x="232" y="62"/>
                  </a:cubicBezTo>
                  <a:cubicBezTo>
                    <a:pt x="238" y="69"/>
                    <a:pt x="244" y="75"/>
                    <a:pt x="248" y="82"/>
                  </a:cubicBezTo>
                  <a:cubicBezTo>
                    <a:pt x="249" y="85"/>
                    <a:pt x="250" y="88"/>
                    <a:pt x="250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3"/>
                    <a:pt x="249" y="93"/>
                    <a:pt x="249" y="93"/>
                  </a:cubicBezTo>
                  <a:cubicBezTo>
                    <a:pt x="249" y="94"/>
                    <a:pt x="249" y="95"/>
                    <a:pt x="249" y="96"/>
                  </a:cubicBezTo>
                  <a:cubicBezTo>
                    <a:pt x="249" y="96"/>
                    <a:pt x="248" y="96"/>
                    <a:pt x="248" y="97"/>
                  </a:cubicBezTo>
                  <a:cubicBezTo>
                    <a:pt x="248" y="96"/>
                    <a:pt x="248" y="98"/>
                    <a:pt x="248" y="98"/>
                  </a:cubicBezTo>
                  <a:cubicBezTo>
                    <a:pt x="248" y="99"/>
                    <a:pt x="247" y="100"/>
                    <a:pt x="247" y="100"/>
                  </a:cubicBezTo>
                  <a:cubicBezTo>
                    <a:pt x="247" y="101"/>
                    <a:pt x="246" y="101"/>
                    <a:pt x="246" y="101"/>
                  </a:cubicBezTo>
                  <a:cubicBezTo>
                    <a:pt x="246" y="100"/>
                    <a:pt x="247" y="100"/>
                    <a:pt x="247" y="99"/>
                  </a:cubicBezTo>
                  <a:cubicBezTo>
                    <a:pt x="247" y="94"/>
                    <a:pt x="246" y="89"/>
                    <a:pt x="244" y="85"/>
                  </a:cubicBezTo>
                  <a:cubicBezTo>
                    <a:pt x="239" y="76"/>
                    <a:pt x="232" y="69"/>
                    <a:pt x="225" y="63"/>
                  </a:cubicBezTo>
                  <a:cubicBezTo>
                    <a:pt x="224" y="62"/>
                    <a:pt x="223" y="64"/>
                    <a:pt x="224" y="64"/>
                  </a:cubicBezTo>
                  <a:cubicBezTo>
                    <a:pt x="227" y="67"/>
                    <a:pt x="229" y="70"/>
                    <a:pt x="232" y="73"/>
                  </a:cubicBezTo>
                  <a:cubicBezTo>
                    <a:pt x="235" y="77"/>
                    <a:pt x="237" y="81"/>
                    <a:pt x="239" y="85"/>
                  </a:cubicBezTo>
                  <a:cubicBezTo>
                    <a:pt x="241" y="89"/>
                    <a:pt x="242" y="93"/>
                    <a:pt x="242" y="98"/>
                  </a:cubicBezTo>
                  <a:cubicBezTo>
                    <a:pt x="242" y="99"/>
                    <a:pt x="242" y="101"/>
                    <a:pt x="241" y="103"/>
                  </a:cubicBezTo>
                  <a:cubicBezTo>
                    <a:pt x="240" y="105"/>
                    <a:pt x="238" y="106"/>
                    <a:pt x="238" y="108"/>
                  </a:cubicBezTo>
                  <a:cubicBezTo>
                    <a:pt x="238" y="109"/>
                    <a:pt x="238" y="109"/>
                    <a:pt x="238" y="109"/>
                  </a:cubicBezTo>
                  <a:cubicBezTo>
                    <a:pt x="235" y="112"/>
                    <a:pt x="231" y="113"/>
                    <a:pt x="228" y="115"/>
                  </a:cubicBezTo>
                  <a:cubicBezTo>
                    <a:pt x="227" y="115"/>
                    <a:pt x="226" y="116"/>
                    <a:pt x="225" y="116"/>
                  </a:cubicBezTo>
                  <a:cubicBezTo>
                    <a:pt x="226" y="112"/>
                    <a:pt x="226" y="107"/>
                    <a:pt x="222" y="105"/>
                  </a:cubicBezTo>
                  <a:cubicBezTo>
                    <a:pt x="218" y="102"/>
                    <a:pt x="211" y="102"/>
                    <a:pt x="207" y="106"/>
                  </a:cubicBezTo>
                  <a:close/>
                  <a:moveTo>
                    <a:pt x="60" y="11"/>
                  </a:moveTo>
                  <a:cubicBezTo>
                    <a:pt x="60" y="11"/>
                    <a:pt x="60" y="11"/>
                    <a:pt x="60" y="11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4" y="11"/>
                    <a:pt x="68" y="10"/>
                    <a:pt x="71" y="10"/>
                  </a:cubicBezTo>
                  <a:cubicBezTo>
                    <a:pt x="71" y="10"/>
                    <a:pt x="72" y="10"/>
                    <a:pt x="72" y="10"/>
                  </a:cubicBezTo>
                  <a:cubicBezTo>
                    <a:pt x="72" y="10"/>
                    <a:pt x="73" y="11"/>
                    <a:pt x="73" y="11"/>
                  </a:cubicBezTo>
                  <a:cubicBezTo>
                    <a:pt x="75" y="14"/>
                    <a:pt x="78" y="17"/>
                    <a:pt x="80" y="19"/>
                  </a:cubicBezTo>
                  <a:cubicBezTo>
                    <a:pt x="82" y="21"/>
                    <a:pt x="85" y="23"/>
                    <a:pt x="87" y="25"/>
                  </a:cubicBezTo>
                  <a:cubicBezTo>
                    <a:pt x="88" y="26"/>
                    <a:pt x="90" y="27"/>
                    <a:pt x="91" y="28"/>
                  </a:cubicBezTo>
                  <a:cubicBezTo>
                    <a:pt x="91" y="29"/>
                    <a:pt x="92" y="29"/>
                    <a:pt x="92" y="30"/>
                  </a:cubicBezTo>
                  <a:cubicBezTo>
                    <a:pt x="89" y="29"/>
                    <a:pt x="87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2" y="28"/>
                    <a:pt x="81" y="28"/>
                    <a:pt x="79" y="28"/>
                  </a:cubicBezTo>
                  <a:cubicBezTo>
                    <a:pt x="76" y="27"/>
                    <a:pt x="72" y="27"/>
                    <a:pt x="69" y="28"/>
                  </a:cubicBezTo>
                  <a:cubicBezTo>
                    <a:pt x="61" y="30"/>
                    <a:pt x="57" y="39"/>
                    <a:pt x="61" y="46"/>
                  </a:cubicBezTo>
                  <a:cubicBezTo>
                    <a:pt x="64" y="51"/>
                    <a:pt x="71" y="54"/>
                    <a:pt x="77" y="55"/>
                  </a:cubicBezTo>
                  <a:cubicBezTo>
                    <a:pt x="78" y="55"/>
                    <a:pt x="78" y="55"/>
                    <a:pt x="79" y="55"/>
                  </a:cubicBezTo>
                  <a:cubicBezTo>
                    <a:pt x="78" y="58"/>
                    <a:pt x="78" y="60"/>
                    <a:pt x="79" y="63"/>
                  </a:cubicBezTo>
                  <a:cubicBezTo>
                    <a:pt x="81" y="68"/>
                    <a:pt x="87" y="68"/>
                    <a:pt x="91" y="68"/>
                  </a:cubicBezTo>
                  <a:cubicBezTo>
                    <a:pt x="97" y="68"/>
                    <a:pt x="102" y="66"/>
                    <a:pt x="107" y="63"/>
                  </a:cubicBezTo>
                  <a:cubicBezTo>
                    <a:pt x="109" y="62"/>
                    <a:pt x="111" y="62"/>
                    <a:pt x="113" y="60"/>
                  </a:cubicBezTo>
                  <a:cubicBezTo>
                    <a:pt x="113" y="61"/>
                    <a:pt x="114" y="62"/>
                    <a:pt x="114" y="62"/>
                  </a:cubicBezTo>
                  <a:cubicBezTo>
                    <a:pt x="117" y="66"/>
                    <a:pt x="120" y="69"/>
                    <a:pt x="121" y="73"/>
                  </a:cubicBezTo>
                  <a:cubicBezTo>
                    <a:pt x="122" y="76"/>
                    <a:pt x="122" y="80"/>
                    <a:pt x="122" y="84"/>
                  </a:cubicBezTo>
                  <a:cubicBezTo>
                    <a:pt x="123" y="86"/>
                    <a:pt x="123" y="88"/>
                    <a:pt x="124" y="90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3" y="92"/>
                    <a:pt x="121" y="93"/>
                    <a:pt x="120" y="95"/>
                  </a:cubicBezTo>
                  <a:cubicBezTo>
                    <a:pt x="118" y="96"/>
                    <a:pt x="117" y="99"/>
                    <a:pt x="117" y="102"/>
                  </a:cubicBezTo>
                  <a:cubicBezTo>
                    <a:pt x="117" y="103"/>
                    <a:pt x="117" y="105"/>
                    <a:pt x="118" y="106"/>
                  </a:cubicBezTo>
                  <a:cubicBezTo>
                    <a:pt x="114" y="104"/>
                    <a:pt x="110" y="104"/>
                    <a:pt x="105" y="103"/>
                  </a:cubicBezTo>
                  <a:cubicBezTo>
                    <a:pt x="101" y="102"/>
                    <a:pt x="96" y="101"/>
                    <a:pt x="91" y="99"/>
                  </a:cubicBezTo>
                  <a:cubicBezTo>
                    <a:pt x="83" y="98"/>
                    <a:pt x="76" y="95"/>
                    <a:pt x="69" y="93"/>
                  </a:cubicBezTo>
                  <a:cubicBezTo>
                    <a:pt x="64" y="92"/>
                    <a:pt x="60" y="91"/>
                    <a:pt x="56" y="89"/>
                  </a:cubicBezTo>
                  <a:cubicBezTo>
                    <a:pt x="58" y="87"/>
                    <a:pt x="59" y="86"/>
                    <a:pt x="60" y="84"/>
                  </a:cubicBezTo>
                  <a:cubicBezTo>
                    <a:pt x="63" y="79"/>
                    <a:pt x="63" y="73"/>
                    <a:pt x="60" y="69"/>
                  </a:cubicBezTo>
                  <a:cubicBezTo>
                    <a:pt x="55" y="64"/>
                    <a:pt x="47" y="62"/>
                    <a:pt x="42" y="66"/>
                  </a:cubicBezTo>
                  <a:cubicBezTo>
                    <a:pt x="38" y="69"/>
                    <a:pt x="36" y="74"/>
                    <a:pt x="37" y="79"/>
                  </a:cubicBezTo>
                  <a:cubicBezTo>
                    <a:pt x="37" y="78"/>
                    <a:pt x="36" y="78"/>
                    <a:pt x="35" y="78"/>
                  </a:cubicBezTo>
                  <a:cubicBezTo>
                    <a:pt x="33" y="76"/>
                    <a:pt x="31" y="74"/>
                    <a:pt x="28" y="73"/>
                  </a:cubicBezTo>
                  <a:cubicBezTo>
                    <a:pt x="24" y="70"/>
                    <a:pt x="19" y="67"/>
                    <a:pt x="15" y="63"/>
                  </a:cubicBezTo>
                  <a:cubicBezTo>
                    <a:pt x="10" y="59"/>
                    <a:pt x="6" y="55"/>
                    <a:pt x="4" y="50"/>
                  </a:cubicBezTo>
                  <a:cubicBezTo>
                    <a:pt x="2" y="48"/>
                    <a:pt x="1" y="45"/>
                    <a:pt x="0" y="42"/>
                  </a:cubicBezTo>
                  <a:cubicBezTo>
                    <a:pt x="0" y="41"/>
                    <a:pt x="0" y="40"/>
                    <a:pt x="0" y="39"/>
                  </a:cubicBezTo>
                  <a:cubicBezTo>
                    <a:pt x="20" y="29"/>
                    <a:pt x="40" y="19"/>
                    <a:pt x="60" y="11"/>
                  </a:cubicBezTo>
                  <a:close/>
                </a:path>
              </a:pathLst>
            </a:custGeom>
            <a:solidFill>
              <a:srgbClr val="FFD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iṥľíde">
              <a:extLst>
                <a:ext uri="{FF2B5EF4-FFF2-40B4-BE49-F238E27FC236}">
                  <a16:creationId xmlns:a16="http://schemas.microsoft.com/office/drawing/2014/main" id="{6A628DCB-A742-4727-A4F9-07B622B08FFA}"/>
                </a:ext>
              </a:extLst>
            </p:cNvPr>
            <p:cNvSpPr/>
            <p:nvPr/>
          </p:nvSpPr>
          <p:spPr bwMode="auto">
            <a:xfrm>
              <a:off x="5498055" y="4816832"/>
              <a:ext cx="42922" cy="39962"/>
            </a:xfrm>
            <a:custGeom>
              <a:avLst/>
              <a:gdLst>
                <a:gd name="T0" fmla="*/ 4 w 14"/>
                <a:gd name="T1" fmla="*/ 0 h 13"/>
                <a:gd name="T2" fmla="*/ 4 w 14"/>
                <a:gd name="T3" fmla="*/ 0 h 13"/>
                <a:gd name="T4" fmla="*/ 9 w 14"/>
                <a:gd name="T5" fmla="*/ 5 h 13"/>
                <a:gd name="T6" fmla="*/ 14 w 14"/>
                <a:gd name="T7" fmla="*/ 9 h 13"/>
                <a:gd name="T8" fmla="*/ 11 w 14"/>
                <a:gd name="T9" fmla="*/ 11 h 13"/>
                <a:gd name="T10" fmla="*/ 9 w 14"/>
                <a:gd name="T11" fmla="*/ 12 h 13"/>
                <a:gd name="T12" fmla="*/ 7 w 14"/>
                <a:gd name="T13" fmla="*/ 13 h 13"/>
                <a:gd name="T14" fmla="*/ 3 w 14"/>
                <a:gd name="T15" fmla="*/ 7 h 13"/>
                <a:gd name="T16" fmla="*/ 0 w 14"/>
                <a:gd name="T17" fmla="*/ 4 h 13"/>
                <a:gd name="T18" fmla="*/ 4 w 14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3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5" y="2"/>
                    <a:pt x="7" y="3"/>
                    <a:pt x="9" y="5"/>
                  </a:cubicBezTo>
                  <a:cubicBezTo>
                    <a:pt x="10" y="6"/>
                    <a:pt x="12" y="8"/>
                    <a:pt x="14" y="9"/>
                  </a:cubicBezTo>
                  <a:cubicBezTo>
                    <a:pt x="13" y="10"/>
                    <a:pt x="12" y="10"/>
                    <a:pt x="11" y="11"/>
                  </a:cubicBezTo>
                  <a:cubicBezTo>
                    <a:pt x="10" y="11"/>
                    <a:pt x="10" y="12"/>
                    <a:pt x="9" y="12"/>
                  </a:cubicBezTo>
                  <a:cubicBezTo>
                    <a:pt x="8" y="12"/>
                    <a:pt x="7" y="13"/>
                    <a:pt x="7" y="13"/>
                  </a:cubicBezTo>
                  <a:cubicBezTo>
                    <a:pt x="6" y="11"/>
                    <a:pt x="5" y="9"/>
                    <a:pt x="3" y="7"/>
                  </a:cubicBezTo>
                  <a:cubicBezTo>
                    <a:pt x="2" y="6"/>
                    <a:pt x="1" y="5"/>
                    <a:pt x="0" y="4"/>
                  </a:cubicBezTo>
                  <a:cubicBezTo>
                    <a:pt x="2" y="3"/>
                    <a:pt x="3" y="1"/>
                    <a:pt x="4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îśḷíḋê">
              <a:extLst>
                <a:ext uri="{FF2B5EF4-FFF2-40B4-BE49-F238E27FC236}">
                  <a16:creationId xmlns:a16="http://schemas.microsoft.com/office/drawing/2014/main" id="{FD69CEDE-38B2-49E0-A2DA-E8862745CBCD}"/>
                </a:ext>
              </a:extLst>
            </p:cNvPr>
            <p:cNvSpPr/>
            <p:nvPr/>
          </p:nvSpPr>
          <p:spPr bwMode="auto">
            <a:xfrm>
              <a:off x="5347089" y="4819792"/>
              <a:ext cx="159847" cy="59202"/>
            </a:xfrm>
            <a:custGeom>
              <a:avLst/>
              <a:gdLst>
                <a:gd name="T0" fmla="*/ 6 w 52"/>
                <a:gd name="T1" fmla="*/ 3 h 19"/>
                <a:gd name="T2" fmla="*/ 6 w 52"/>
                <a:gd name="T3" fmla="*/ 3 h 19"/>
                <a:gd name="T4" fmla="*/ 31 w 52"/>
                <a:gd name="T5" fmla="*/ 1 h 19"/>
                <a:gd name="T6" fmla="*/ 44 w 52"/>
                <a:gd name="T7" fmla="*/ 5 h 19"/>
                <a:gd name="T8" fmla="*/ 49 w 52"/>
                <a:gd name="T9" fmla="*/ 9 h 19"/>
                <a:gd name="T10" fmla="*/ 52 w 52"/>
                <a:gd name="T11" fmla="*/ 14 h 19"/>
                <a:gd name="T12" fmla="*/ 45 w 52"/>
                <a:gd name="T13" fmla="*/ 17 h 19"/>
                <a:gd name="T14" fmla="*/ 31 w 52"/>
                <a:gd name="T15" fmla="*/ 18 h 19"/>
                <a:gd name="T16" fmla="*/ 13 w 52"/>
                <a:gd name="T17" fmla="*/ 18 h 19"/>
                <a:gd name="T18" fmla="*/ 4 w 52"/>
                <a:gd name="T19" fmla="*/ 17 h 19"/>
                <a:gd name="T20" fmla="*/ 0 w 52"/>
                <a:gd name="T21" fmla="*/ 17 h 19"/>
                <a:gd name="T22" fmla="*/ 6 w 52"/>
                <a:gd name="T23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19"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14" y="1"/>
                    <a:pt x="23" y="0"/>
                    <a:pt x="31" y="1"/>
                  </a:cubicBezTo>
                  <a:cubicBezTo>
                    <a:pt x="35" y="2"/>
                    <a:pt x="40" y="3"/>
                    <a:pt x="44" y="5"/>
                  </a:cubicBezTo>
                  <a:cubicBezTo>
                    <a:pt x="45" y="6"/>
                    <a:pt x="47" y="7"/>
                    <a:pt x="49" y="9"/>
                  </a:cubicBezTo>
                  <a:cubicBezTo>
                    <a:pt x="50" y="10"/>
                    <a:pt x="51" y="12"/>
                    <a:pt x="52" y="14"/>
                  </a:cubicBezTo>
                  <a:cubicBezTo>
                    <a:pt x="50" y="15"/>
                    <a:pt x="47" y="16"/>
                    <a:pt x="45" y="17"/>
                  </a:cubicBezTo>
                  <a:cubicBezTo>
                    <a:pt x="40" y="18"/>
                    <a:pt x="36" y="18"/>
                    <a:pt x="31" y="18"/>
                  </a:cubicBezTo>
                  <a:cubicBezTo>
                    <a:pt x="26" y="19"/>
                    <a:pt x="19" y="18"/>
                    <a:pt x="13" y="18"/>
                  </a:cubicBezTo>
                  <a:cubicBezTo>
                    <a:pt x="10" y="18"/>
                    <a:pt x="6" y="17"/>
                    <a:pt x="4" y="17"/>
                  </a:cubicBezTo>
                  <a:cubicBezTo>
                    <a:pt x="2" y="17"/>
                    <a:pt x="1" y="17"/>
                    <a:pt x="0" y="17"/>
                  </a:cubicBezTo>
                  <a:cubicBezTo>
                    <a:pt x="2" y="12"/>
                    <a:pt x="5" y="8"/>
                    <a:pt x="6" y="3"/>
                  </a:cubicBezTo>
                  <a:close/>
                </a:path>
              </a:pathLst>
            </a:custGeom>
            <a:solidFill>
              <a:srgbClr val="FF9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íŝḷïḋé">
              <a:extLst>
                <a:ext uri="{FF2B5EF4-FFF2-40B4-BE49-F238E27FC236}">
                  <a16:creationId xmlns:a16="http://schemas.microsoft.com/office/drawing/2014/main" id="{4B278B37-44D1-4F2F-AE35-B2BEE31C55C1}"/>
                </a:ext>
              </a:extLst>
            </p:cNvPr>
            <p:cNvSpPr/>
            <p:nvPr/>
          </p:nvSpPr>
          <p:spPr bwMode="auto">
            <a:xfrm>
              <a:off x="5279006" y="4985559"/>
              <a:ext cx="105085" cy="119886"/>
            </a:xfrm>
            <a:custGeom>
              <a:avLst/>
              <a:gdLst>
                <a:gd name="T0" fmla="*/ 17 w 34"/>
                <a:gd name="T1" fmla="*/ 0 h 39"/>
                <a:gd name="T2" fmla="*/ 17 w 34"/>
                <a:gd name="T3" fmla="*/ 0 h 39"/>
                <a:gd name="T4" fmla="*/ 20 w 34"/>
                <a:gd name="T5" fmla="*/ 15 h 39"/>
                <a:gd name="T6" fmla="*/ 24 w 34"/>
                <a:gd name="T7" fmla="*/ 17 h 39"/>
                <a:gd name="T8" fmla="*/ 34 w 34"/>
                <a:gd name="T9" fmla="*/ 17 h 39"/>
                <a:gd name="T10" fmla="*/ 33 w 34"/>
                <a:gd name="T11" fmla="*/ 19 h 39"/>
                <a:gd name="T12" fmla="*/ 31 w 34"/>
                <a:gd name="T13" fmla="*/ 21 h 39"/>
                <a:gd name="T14" fmla="*/ 29 w 34"/>
                <a:gd name="T15" fmla="*/ 23 h 39"/>
                <a:gd name="T16" fmla="*/ 32 w 34"/>
                <a:gd name="T17" fmla="*/ 35 h 39"/>
                <a:gd name="T18" fmla="*/ 28 w 34"/>
                <a:gd name="T19" fmla="*/ 34 h 39"/>
                <a:gd name="T20" fmla="*/ 24 w 34"/>
                <a:gd name="T21" fmla="*/ 32 h 39"/>
                <a:gd name="T22" fmla="*/ 22 w 34"/>
                <a:gd name="T23" fmla="*/ 30 h 39"/>
                <a:gd name="T24" fmla="*/ 22 w 34"/>
                <a:gd name="T25" fmla="*/ 30 h 39"/>
                <a:gd name="T26" fmla="*/ 22 w 34"/>
                <a:gd name="T27" fmla="*/ 30 h 39"/>
                <a:gd name="T28" fmla="*/ 16 w 34"/>
                <a:gd name="T29" fmla="*/ 28 h 39"/>
                <a:gd name="T30" fmla="*/ 9 w 34"/>
                <a:gd name="T31" fmla="*/ 36 h 39"/>
                <a:gd name="T32" fmla="*/ 6 w 34"/>
                <a:gd name="T33" fmla="*/ 39 h 39"/>
                <a:gd name="T34" fmla="*/ 11 w 34"/>
                <a:gd name="T35" fmla="*/ 32 h 39"/>
                <a:gd name="T36" fmla="*/ 10 w 34"/>
                <a:gd name="T37" fmla="*/ 27 h 39"/>
                <a:gd name="T38" fmla="*/ 3 w 34"/>
                <a:gd name="T39" fmla="*/ 21 h 39"/>
                <a:gd name="T40" fmla="*/ 0 w 34"/>
                <a:gd name="T41" fmla="*/ 19 h 39"/>
                <a:gd name="T42" fmla="*/ 1 w 34"/>
                <a:gd name="T43" fmla="*/ 19 h 39"/>
                <a:gd name="T44" fmla="*/ 4 w 34"/>
                <a:gd name="T45" fmla="*/ 19 h 39"/>
                <a:gd name="T46" fmla="*/ 8 w 34"/>
                <a:gd name="T47" fmla="*/ 17 h 39"/>
                <a:gd name="T48" fmla="*/ 9 w 34"/>
                <a:gd name="T49" fmla="*/ 17 h 39"/>
                <a:gd name="T50" fmla="*/ 11 w 34"/>
                <a:gd name="T51" fmla="*/ 16 h 39"/>
                <a:gd name="T52" fmla="*/ 17 w 34"/>
                <a:gd name="T5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" h="39"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8" y="5"/>
                    <a:pt x="19" y="10"/>
                    <a:pt x="20" y="15"/>
                  </a:cubicBezTo>
                  <a:cubicBezTo>
                    <a:pt x="21" y="16"/>
                    <a:pt x="22" y="17"/>
                    <a:pt x="24" y="17"/>
                  </a:cubicBezTo>
                  <a:cubicBezTo>
                    <a:pt x="27" y="16"/>
                    <a:pt x="30" y="16"/>
                    <a:pt x="34" y="17"/>
                  </a:cubicBezTo>
                  <a:cubicBezTo>
                    <a:pt x="33" y="18"/>
                    <a:pt x="33" y="19"/>
                    <a:pt x="33" y="19"/>
                  </a:cubicBezTo>
                  <a:cubicBezTo>
                    <a:pt x="32" y="20"/>
                    <a:pt x="32" y="21"/>
                    <a:pt x="31" y="21"/>
                  </a:cubicBezTo>
                  <a:cubicBezTo>
                    <a:pt x="30" y="21"/>
                    <a:pt x="29" y="22"/>
                    <a:pt x="29" y="23"/>
                  </a:cubicBezTo>
                  <a:cubicBezTo>
                    <a:pt x="28" y="27"/>
                    <a:pt x="31" y="31"/>
                    <a:pt x="32" y="35"/>
                  </a:cubicBezTo>
                  <a:cubicBezTo>
                    <a:pt x="31" y="34"/>
                    <a:pt x="29" y="34"/>
                    <a:pt x="28" y="34"/>
                  </a:cubicBezTo>
                  <a:cubicBezTo>
                    <a:pt x="27" y="33"/>
                    <a:pt x="25" y="32"/>
                    <a:pt x="24" y="32"/>
                  </a:cubicBezTo>
                  <a:cubicBezTo>
                    <a:pt x="23" y="31"/>
                    <a:pt x="23" y="31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29"/>
                    <a:pt x="22" y="30"/>
                  </a:cubicBezTo>
                  <a:cubicBezTo>
                    <a:pt x="21" y="28"/>
                    <a:pt x="18" y="26"/>
                    <a:pt x="16" y="28"/>
                  </a:cubicBezTo>
                  <a:cubicBezTo>
                    <a:pt x="14" y="31"/>
                    <a:pt x="12" y="33"/>
                    <a:pt x="9" y="36"/>
                  </a:cubicBezTo>
                  <a:cubicBezTo>
                    <a:pt x="8" y="37"/>
                    <a:pt x="7" y="38"/>
                    <a:pt x="6" y="39"/>
                  </a:cubicBezTo>
                  <a:cubicBezTo>
                    <a:pt x="7" y="36"/>
                    <a:pt x="9" y="34"/>
                    <a:pt x="11" y="32"/>
                  </a:cubicBezTo>
                  <a:cubicBezTo>
                    <a:pt x="12" y="31"/>
                    <a:pt x="11" y="28"/>
                    <a:pt x="10" y="27"/>
                  </a:cubicBezTo>
                  <a:cubicBezTo>
                    <a:pt x="7" y="25"/>
                    <a:pt x="5" y="23"/>
                    <a:pt x="3" y="21"/>
                  </a:cubicBezTo>
                  <a:cubicBezTo>
                    <a:pt x="2" y="20"/>
                    <a:pt x="1" y="20"/>
                    <a:pt x="0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19"/>
                    <a:pt x="3" y="19"/>
                    <a:pt x="4" y="19"/>
                  </a:cubicBezTo>
                  <a:cubicBezTo>
                    <a:pt x="6" y="19"/>
                    <a:pt x="7" y="18"/>
                    <a:pt x="8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7"/>
                    <a:pt x="11" y="17"/>
                    <a:pt x="11" y="16"/>
                  </a:cubicBezTo>
                  <a:cubicBezTo>
                    <a:pt x="13" y="11"/>
                    <a:pt x="14" y="5"/>
                    <a:pt x="17" y="0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iṥḷîde">
              <a:extLst>
                <a:ext uri="{FF2B5EF4-FFF2-40B4-BE49-F238E27FC236}">
                  <a16:creationId xmlns:a16="http://schemas.microsoft.com/office/drawing/2014/main" id="{36BD6E0A-1AD0-4E2D-9ED8-7858C3A4A6C0}"/>
                </a:ext>
              </a:extLst>
            </p:cNvPr>
            <p:cNvSpPr/>
            <p:nvPr/>
          </p:nvSpPr>
          <p:spPr bwMode="auto">
            <a:xfrm>
              <a:off x="4861629" y="4970759"/>
              <a:ext cx="350775" cy="183528"/>
            </a:xfrm>
            <a:custGeom>
              <a:avLst/>
              <a:gdLst>
                <a:gd name="T0" fmla="*/ 1 w 114"/>
                <a:gd name="T1" fmla="*/ 17 h 60"/>
                <a:gd name="T2" fmla="*/ 1 w 114"/>
                <a:gd name="T3" fmla="*/ 17 h 60"/>
                <a:gd name="T4" fmla="*/ 4 w 114"/>
                <a:gd name="T5" fmla="*/ 9 h 60"/>
                <a:gd name="T6" fmla="*/ 6 w 114"/>
                <a:gd name="T7" fmla="*/ 0 h 60"/>
                <a:gd name="T8" fmla="*/ 23 w 114"/>
                <a:gd name="T9" fmla="*/ 16 h 60"/>
                <a:gd name="T10" fmla="*/ 59 w 114"/>
                <a:gd name="T11" fmla="*/ 28 h 60"/>
                <a:gd name="T12" fmla="*/ 86 w 114"/>
                <a:gd name="T13" fmla="*/ 31 h 60"/>
                <a:gd name="T14" fmla="*/ 96 w 114"/>
                <a:gd name="T15" fmla="*/ 31 h 60"/>
                <a:gd name="T16" fmla="*/ 108 w 114"/>
                <a:gd name="T17" fmla="*/ 30 h 60"/>
                <a:gd name="T18" fmla="*/ 114 w 114"/>
                <a:gd name="T19" fmla="*/ 27 h 60"/>
                <a:gd name="T20" fmla="*/ 111 w 114"/>
                <a:gd name="T21" fmla="*/ 34 h 60"/>
                <a:gd name="T22" fmla="*/ 104 w 114"/>
                <a:gd name="T23" fmla="*/ 51 h 60"/>
                <a:gd name="T24" fmla="*/ 103 w 114"/>
                <a:gd name="T25" fmla="*/ 51 h 60"/>
                <a:gd name="T26" fmla="*/ 101 w 114"/>
                <a:gd name="T27" fmla="*/ 53 h 60"/>
                <a:gd name="T28" fmla="*/ 96 w 114"/>
                <a:gd name="T29" fmla="*/ 56 h 60"/>
                <a:gd name="T30" fmla="*/ 90 w 114"/>
                <a:gd name="T31" fmla="*/ 58 h 60"/>
                <a:gd name="T32" fmla="*/ 84 w 114"/>
                <a:gd name="T33" fmla="*/ 60 h 60"/>
                <a:gd name="T34" fmla="*/ 36 w 114"/>
                <a:gd name="T35" fmla="*/ 39 h 60"/>
                <a:gd name="T36" fmla="*/ 0 w 114"/>
                <a:gd name="T37" fmla="*/ 20 h 60"/>
                <a:gd name="T38" fmla="*/ 1 w 114"/>
                <a:gd name="T39" fmla="*/ 1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4" h="60">
                  <a:moveTo>
                    <a:pt x="1" y="17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2" y="15"/>
                    <a:pt x="3" y="12"/>
                    <a:pt x="4" y="9"/>
                  </a:cubicBezTo>
                  <a:cubicBezTo>
                    <a:pt x="5" y="6"/>
                    <a:pt x="6" y="3"/>
                    <a:pt x="6" y="0"/>
                  </a:cubicBezTo>
                  <a:cubicBezTo>
                    <a:pt x="10" y="7"/>
                    <a:pt x="17" y="12"/>
                    <a:pt x="23" y="16"/>
                  </a:cubicBezTo>
                  <a:cubicBezTo>
                    <a:pt x="35" y="22"/>
                    <a:pt x="47" y="26"/>
                    <a:pt x="59" y="28"/>
                  </a:cubicBezTo>
                  <a:cubicBezTo>
                    <a:pt x="68" y="30"/>
                    <a:pt x="77" y="31"/>
                    <a:pt x="86" y="31"/>
                  </a:cubicBezTo>
                  <a:cubicBezTo>
                    <a:pt x="89" y="31"/>
                    <a:pt x="93" y="31"/>
                    <a:pt x="96" y="31"/>
                  </a:cubicBezTo>
                  <a:cubicBezTo>
                    <a:pt x="100" y="31"/>
                    <a:pt x="104" y="30"/>
                    <a:pt x="108" y="30"/>
                  </a:cubicBezTo>
                  <a:cubicBezTo>
                    <a:pt x="110" y="29"/>
                    <a:pt x="113" y="29"/>
                    <a:pt x="114" y="27"/>
                  </a:cubicBezTo>
                  <a:cubicBezTo>
                    <a:pt x="113" y="30"/>
                    <a:pt x="113" y="32"/>
                    <a:pt x="111" y="34"/>
                  </a:cubicBezTo>
                  <a:cubicBezTo>
                    <a:pt x="109" y="39"/>
                    <a:pt x="105" y="45"/>
                    <a:pt x="104" y="51"/>
                  </a:cubicBezTo>
                  <a:cubicBezTo>
                    <a:pt x="104" y="51"/>
                    <a:pt x="103" y="51"/>
                    <a:pt x="103" y="51"/>
                  </a:cubicBezTo>
                  <a:cubicBezTo>
                    <a:pt x="102" y="52"/>
                    <a:pt x="102" y="53"/>
                    <a:pt x="101" y="53"/>
                  </a:cubicBezTo>
                  <a:cubicBezTo>
                    <a:pt x="100" y="55"/>
                    <a:pt x="98" y="56"/>
                    <a:pt x="96" y="56"/>
                  </a:cubicBezTo>
                  <a:cubicBezTo>
                    <a:pt x="94" y="57"/>
                    <a:pt x="92" y="58"/>
                    <a:pt x="90" y="58"/>
                  </a:cubicBezTo>
                  <a:cubicBezTo>
                    <a:pt x="88" y="58"/>
                    <a:pt x="86" y="58"/>
                    <a:pt x="84" y="60"/>
                  </a:cubicBezTo>
                  <a:cubicBezTo>
                    <a:pt x="67" y="54"/>
                    <a:pt x="51" y="47"/>
                    <a:pt x="36" y="39"/>
                  </a:cubicBezTo>
                  <a:cubicBezTo>
                    <a:pt x="24" y="33"/>
                    <a:pt x="12" y="27"/>
                    <a:pt x="0" y="20"/>
                  </a:cubicBezTo>
                  <a:cubicBezTo>
                    <a:pt x="1" y="19"/>
                    <a:pt x="1" y="18"/>
                    <a:pt x="1" y="17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îṧḷiḓè">
              <a:extLst>
                <a:ext uri="{FF2B5EF4-FFF2-40B4-BE49-F238E27FC236}">
                  <a16:creationId xmlns:a16="http://schemas.microsoft.com/office/drawing/2014/main" id="{20D5D78C-A636-4E70-B75A-916F11816C08}"/>
                </a:ext>
              </a:extLst>
            </p:cNvPr>
            <p:cNvSpPr/>
            <p:nvPr/>
          </p:nvSpPr>
          <p:spPr bwMode="auto">
            <a:xfrm>
              <a:off x="4691422" y="4582982"/>
              <a:ext cx="680829" cy="667509"/>
            </a:xfrm>
            <a:custGeom>
              <a:avLst/>
              <a:gdLst>
                <a:gd name="T0" fmla="*/ 50 w 221"/>
                <a:gd name="T1" fmla="*/ 139 h 217"/>
                <a:gd name="T2" fmla="*/ 38 w 221"/>
                <a:gd name="T3" fmla="*/ 135 h 217"/>
                <a:gd name="T4" fmla="*/ 49 w 221"/>
                <a:gd name="T5" fmla="*/ 135 h 217"/>
                <a:gd name="T6" fmla="*/ 50 w 221"/>
                <a:gd name="T7" fmla="*/ 139 h 217"/>
                <a:gd name="T8" fmla="*/ 82 w 221"/>
                <a:gd name="T9" fmla="*/ 25 h 217"/>
                <a:gd name="T10" fmla="*/ 100 w 221"/>
                <a:gd name="T11" fmla="*/ 32 h 217"/>
                <a:gd name="T12" fmla="*/ 139 w 221"/>
                <a:gd name="T13" fmla="*/ 42 h 217"/>
                <a:gd name="T14" fmla="*/ 167 w 221"/>
                <a:gd name="T15" fmla="*/ 40 h 217"/>
                <a:gd name="T16" fmla="*/ 153 w 221"/>
                <a:gd name="T17" fmla="*/ 38 h 217"/>
                <a:gd name="T18" fmla="*/ 115 w 221"/>
                <a:gd name="T19" fmla="*/ 33 h 217"/>
                <a:gd name="T20" fmla="*/ 94 w 221"/>
                <a:gd name="T21" fmla="*/ 26 h 217"/>
                <a:gd name="T22" fmla="*/ 114 w 221"/>
                <a:gd name="T23" fmla="*/ 0 h 217"/>
                <a:gd name="T24" fmla="*/ 133 w 221"/>
                <a:gd name="T25" fmla="*/ 0 h 217"/>
                <a:gd name="T26" fmla="*/ 207 w 221"/>
                <a:gd name="T27" fmla="*/ 25 h 217"/>
                <a:gd name="T28" fmla="*/ 217 w 221"/>
                <a:gd name="T29" fmla="*/ 34 h 217"/>
                <a:gd name="T30" fmla="*/ 218 w 221"/>
                <a:gd name="T31" fmla="*/ 36 h 217"/>
                <a:gd name="T32" fmla="*/ 219 w 221"/>
                <a:gd name="T33" fmla="*/ 39 h 217"/>
                <a:gd name="T34" fmla="*/ 219 w 221"/>
                <a:gd name="T35" fmla="*/ 42 h 217"/>
                <a:gd name="T36" fmla="*/ 219 w 221"/>
                <a:gd name="T37" fmla="*/ 47 h 217"/>
                <a:gd name="T38" fmla="*/ 219 w 221"/>
                <a:gd name="T39" fmla="*/ 51 h 217"/>
                <a:gd name="T40" fmla="*/ 214 w 221"/>
                <a:gd name="T41" fmla="*/ 70 h 217"/>
                <a:gd name="T42" fmla="*/ 212 w 221"/>
                <a:gd name="T43" fmla="*/ 74 h 217"/>
                <a:gd name="T44" fmla="*/ 212 w 221"/>
                <a:gd name="T45" fmla="*/ 75 h 217"/>
                <a:gd name="T46" fmla="*/ 193 w 221"/>
                <a:gd name="T47" fmla="*/ 111 h 217"/>
                <a:gd name="T48" fmla="*/ 192 w 221"/>
                <a:gd name="T49" fmla="*/ 114 h 217"/>
                <a:gd name="T50" fmla="*/ 183 w 221"/>
                <a:gd name="T51" fmla="*/ 129 h 217"/>
                <a:gd name="T52" fmla="*/ 172 w 221"/>
                <a:gd name="T53" fmla="*/ 148 h 217"/>
                <a:gd name="T54" fmla="*/ 157 w 221"/>
                <a:gd name="T55" fmla="*/ 151 h 217"/>
                <a:gd name="T56" fmla="*/ 131 w 221"/>
                <a:gd name="T57" fmla="*/ 151 h 217"/>
                <a:gd name="T58" fmla="*/ 62 w 221"/>
                <a:gd name="T59" fmla="*/ 120 h 217"/>
                <a:gd name="T60" fmla="*/ 70 w 221"/>
                <a:gd name="T61" fmla="*/ 61 h 217"/>
                <a:gd name="T62" fmla="*/ 82 w 221"/>
                <a:gd name="T63" fmla="*/ 25 h 217"/>
                <a:gd name="T64" fmla="*/ 153 w 221"/>
                <a:gd name="T65" fmla="*/ 187 h 217"/>
                <a:gd name="T66" fmla="*/ 161 w 221"/>
                <a:gd name="T67" fmla="*/ 179 h 217"/>
                <a:gd name="T68" fmla="*/ 162 w 221"/>
                <a:gd name="T69" fmla="*/ 179 h 217"/>
                <a:gd name="T70" fmla="*/ 171 w 221"/>
                <a:gd name="T71" fmla="*/ 170 h 217"/>
                <a:gd name="T72" fmla="*/ 183 w 221"/>
                <a:gd name="T73" fmla="*/ 175 h 217"/>
                <a:gd name="T74" fmla="*/ 202 w 221"/>
                <a:gd name="T75" fmla="*/ 188 h 217"/>
                <a:gd name="T76" fmla="*/ 208 w 221"/>
                <a:gd name="T77" fmla="*/ 193 h 217"/>
                <a:gd name="T78" fmla="*/ 213 w 221"/>
                <a:gd name="T79" fmla="*/ 199 h 217"/>
                <a:gd name="T80" fmla="*/ 215 w 221"/>
                <a:gd name="T81" fmla="*/ 201 h 217"/>
                <a:gd name="T82" fmla="*/ 217 w 221"/>
                <a:gd name="T83" fmla="*/ 205 h 217"/>
                <a:gd name="T84" fmla="*/ 218 w 221"/>
                <a:gd name="T85" fmla="*/ 207 h 217"/>
                <a:gd name="T86" fmla="*/ 220 w 221"/>
                <a:gd name="T87" fmla="*/ 212 h 217"/>
                <a:gd name="T88" fmla="*/ 221 w 221"/>
                <a:gd name="T89" fmla="*/ 213 h 217"/>
                <a:gd name="T90" fmla="*/ 221 w 221"/>
                <a:gd name="T91" fmla="*/ 213 h 217"/>
                <a:gd name="T92" fmla="*/ 147 w 221"/>
                <a:gd name="T93" fmla="*/ 189 h 217"/>
                <a:gd name="T94" fmla="*/ 49 w 221"/>
                <a:gd name="T95" fmla="*/ 200 h 217"/>
                <a:gd name="T96" fmla="*/ 49 w 221"/>
                <a:gd name="T97" fmla="*/ 217 h 217"/>
                <a:gd name="T98" fmla="*/ 40 w 221"/>
                <a:gd name="T99" fmla="*/ 214 h 217"/>
                <a:gd name="T100" fmla="*/ 0 w 221"/>
                <a:gd name="T101" fmla="*/ 194 h 217"/>
                <a:gd name="T102" fmla="*/ 20 w 221"/>
                <a:gd name="T103" fmla="*/ 186 h 217"/>
                <a:gd name="T104" fmla="*/ 48 w 221"/>
                <a:gd name="T105" fmla="*/ 171 h 217"/>
                <a:gd name="T106" fmla="*/ 49 w 221"/>
                <a:gd name="T107" fmla="*/ 20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17">
                  <a:moveTo>
                    <a:pt x="50" y="139"/>
                  </a:moveTo>
                  <a:cubicBezTo>
                    <a:pt x="50" y="139"/>
                    <a:pt x="50" y="139"/>
                    <a:pt x="50" y="139"/>
                  </a:cubicBezTo>
                  <a:cubicBezTo>
                    <a:pt x="49" y="140"/>
                    <a:pt x="49" y="141"/>
                    <a:pt x="49" y="142"/>
                  </a:cubicBezTo>
                  <a:cubicBezTo>
                    <a:pt x="45" y="140"/>
                    <a:pt x="42" y="137"/>
                    <a:pt x="38" y="135"/>
                  </a:cubicBezTo>
                  <a:cubicBezTo>
                    <a:pt x="39" y="135"/>
                    <a:pt x="40" y="135"/>
                    <a:pt x="42" y="135"/>
                  </a:cubicBezTo>
                  <a:cubicBezTo>
                    <a:pt x="44" y="135"/>
                    <a:pt x="46" y="135"/>
                    <a:pt x="49" y="135"/>
                  </a:cubicBezTo>
                  <a:cubicBezTo>
                    <a:pt x="49" y="135"/>
                    <a:pt x="50" y="135"/>
                    <a:pt x="50" y="135"/>
                  </a:cubicBezTo>
                  <a:cubicBezTo>
                    <a:pt x="50" y="137"/>
                    <a:pt x="50" y="138"/>
                    <a:pt x="50" y="139"/>
                  </a:cubicBezTo>
                  <a:close/>
                  <a:moveTo>
                    <a:pt x="82" y="25"/>
                  </a:moveTo>
                  <a:cubicBezTo>
                    <a:pt x="82" y="25"/>
                    <a:pt x="82" y="25"/>
                    <a:pt x="82" y="25"/>
                  </a:cubicBezTo>
                  <a:cubicBezTo>
                    <a:pt x="85" y="27"/>
                    <a:pt x="88" y="28"/>
                    <a:pt x="91" y="29"/>
                  </a:cubicBezTo>
                  <a:cubicBezTo>
                    <a:pt x="94" y="30"/>
                    <a:pt x="97" y="31"/>
                    <a:pt x="100" y="32"/>
                  </a:cubicBezTo>
                  <a:cubicBezTo>
                    <a:pt x="104" y="34"/>
                    <a:pt x="108" y="36"/>
                    <a:pt x="112" y="37"/>
                  </a:cubicBezTo>
                  <a:cubicBezTo>
                    <a:pt x="121" y="40"/>
                    <a:pt x="130" y="41"/>
                    <a:pt x="139" y="42"/>
                  </a:cubicBezTo>
                  <a:cubicBezTo>
                    <a:pt x="144" y="42"/>
                    <a:pt x="148" y="43"/>
                    <a:pt x="152" y="42"/>
                  </a:cubicBezTo>
                  <a:cubicBezTo>
                    <a:pt x="157" y="42"/>
                    <a:pt x="162" y="42"/>
                    <a:pt x="167" y="40"/>
                  </a:cubicBezTo>
                  <a:cubicBezTo>
                    <a:pt x="168" y="40"/>
                    <a:pt x="168" y="38"/>
                    <a:pt x="167" y="38"/>
                  </a:cubicBezTo>
                  <a:cubicBezTo>
                    <a:pt x="162" y="37"/>
                    <a:pt x="158" y="38"/>
                    <a:pt x="153" y="38"/>
                  </a:cubicBezTo>
                  <a:cubicBezTo>
                    <a:pt x="149" y="38"/>
                    <a:pt x="144" y="38"/>
                    <a:pt x="140" y="37"/>
                  </a:cubicBezTo>
                  <a:cubicBezTo>
                    <a:pt x="131" y="37"/>
                    <a:pt x="123" y="36"/>
                    <a:pt x="115" y="33"/>
                  </a:cubicBezTo>
                  <a:cubicBezTo>
                    <a:pt x="110" y="32"/>
                    <a:pt x="107" y="31"/>
                    <a:pt x="103" y="29"/>
                  </a:cubicBezTo>
                  <a:cubicBezTo>
                    <a:pt x="100" y="28"/>
                    <a:pt x="96" y="27"/>
                    <a:pt x="94" y="26"/>
                  </a:cubicBezTo>
                  <a:cubicBezTo>
                    <a:pt x="91" y="25"/>
                    <a:pt x="88" y="24"/>
                    <a:pt x="85" y="23"/>
                  </a:cubicBezTo>
                  <a:cubicBezTo>
                    <a:pt x="94" y="15"/>
                    <a:pt x="104" y="7"/>
                    <a:pt x="114" y="0"/>
                  </a:cubicBezTo>
                  <a:cubicBezTo>
                    <a:pt x="116" y="0"/>
                    <a:pt x="118" y="0"/>
                    <a:pt x="120" y="0"/>
                  </a:cubicBezTo>
                  <a:cubicBezTo>
                    <a:pt x="124" y="0"/>
                    <a:pt x="129" y="0"/>
                    <a:pt x="133" y="0"/>
                  </a:cubicBezTo>
                  <a:cubicBezTo>
                    <a:pt x="142" y="1"/>
                    <a:pt x="151" y="3"/>
                    <a:pt x="159" y="5"/>
                  </a:cubicBezTo>
                  <a:cubicBezTo>
                    <a:pt x="176" y="9"/>
                    <a:pt x="192" y="15"/>
                    <a:pt x="207" y="25"/>
                  </a:cubicBezTo>
                  <a:cubicBezTo>
                    <a:pt x="209" y="26"/>
                    <a:pt x="212" y="28"/>
                    <a:pt x="214" y="30"/>
                  </a:cubicBezTo>
                  <a:cubicBezTo>
                    <a:pt x="215" y="32"/>
                    <a:pt x="216" y="33"/>
                    <a:pt x="217" y="34"/>
                  </a:cubicBezTo>
                  <a:cubicBezTo>
                    <a:pt x="218" y="35"/>
                    <a:pt x="218" y="36"/>
                    <a:pt x="218" y="36"/>
                  </a:cubicBezTo>
                  <a:cubicBezTo>
                    <a:pt x="218" y="36"/>
                    <a:pt x="218" y="36"/>
                    <a:pt x="218" y="36"/>
                  </a:cubicBezTo>
                  <a:cubicBezTo>
                    <a:pt x="218" y="37"/>
                    <a:pt x="218" y="37"/>
                    <a:pt x="219" y="38"/>
                  </a:cubicBezTo>
                  <a:cubicBezTo>
                    <a:pt x="219" y="38"/>
                    <a:pt x="219" y="39"/>
                    <a:pt x="219" y="39"/>
                  </a:cubicBezTo>
                  <a:cubicBezTo>
                    <a:pt x="219" y="39"/>
                    <a:pt x="219" y="40"/>
                    <a:pt x="219" y="40"/>
                  </a:cubicBezTo>
                  <a:cubicBezTo>
                    <a:pt x="219" y="40"/>
                    <a:pt x="219" y="41"/>
                    <a:pt x="219" y="42"/>
                  </a:cubicBezTo>
                  <a:cubicBezTo>
                    <a:pt x="219" y="42"/>
                    <a:pt x="219" y="43"/>
                    <a:pt x="219" y="43"/>
                  </a:cubicBezTo>
                  <a:cubicBezTo>
                    <a:pt x="219" y="45"/>
                    <a:pt x="219" y="46"/>
                    <a:pt x="219" y="47"/>
                  </a:cubicBezTo>
                  <a:cubicBezTo>
                    <a:pt x="219" y="48"/>
                    <a:pt x="219" y="48"/>
                    <a:pt x="219" y="49"/>
                  </a:cubicBezTo>
                  <a:cubicBezTo>
                    <a:pt x="219" y="51"/>
                    <a:pt x="219" y="51"/>
                    <a:pt x="219" y="51"/>
                  </a:cubicBezTo>
                  <a:cubicBezTo>
                    <a:pt x="218" y="56"/>
                    <a:pt x="217" y="61"/>
                    <a:pt x="215" y="66"/>
                  </a:cubicBezTo>
                  <a:cubicBezTo>
                    <a:pt x="215" y="68"/>
                    <a:pt x="214" y="69"/>
                    <a:pt x="214" y="70"/>
                  </a:cubicBezTo>
                  <a:cubicBezTo>
                    <a:pt x="213" y="71"/>
                    <a:pt x="213" y="72"/>
                    <a:pt x="213" y="72"/>
                  </a:cubicBezTo>
                  <a:cubicBezTo>
                    <a:pt x="213" y="73"/>
                    <a:pt x="213" y="73"/>
                    <a:pt x="212" y="74"/>
                  </a:cubicBezTo>
                  <a:cubicBezTo>
                    <a:pt x="212" y="74"/>
                    <a:pt x="212" y="74"/>
                    <a:pt x="212" y="74"/>
                  </a:cubicBezTo>
                  <a:cubicBezTo>
                    <a:pt x="212" y="74"/>
                    <a:pt x="212" y="74"/>
                    <a:pt x="212" y="75"/>
                  </a:cubicBezTo>
                  <a:cubicBezTo>
                    <a:pt x="211" y="78"/>
                    <a:pt x="210" y="80"/>
                    <a:pt x="208" y="83"/>
                  </a:cubicBezTo>
                  <a:cubicBezTo>
                    <a:pt x="204" y="93"/>
                    <a:pt x="198" y="102"/>
                    <a:pt x="193" y="111"/>
                  </a:cubicBezTo>
                  <a:cubicBezTo>
                    <a:pt x="193" y="111"/>
                    <a:pt x="193" y="111"/>
                    <a:pt x="193" y="112"/>
                  </a:cubicBezTo>
                  <a:cubicBezTo>
                    <a:pt x="192" y="112"/>
                    <a:pt x="192" y="113"/>
                    <a:pt x="192" y="114"/>
                  </a:cubicBezTo>
                  <a:cubicBezTo>
                    <a:pt x="191" y="115"/>
                    <a:pt x="191" y="115"/>
                    <a:pt x="191" y="116"/>
                  </a:cubicBezTo>
                  <a:cubicBezTo>
                    <a:pt x="188" y="120"/>
                    <a:pt x="185" y="124"/>
                    <a:pt x="183" y="129"/>
                  </a:cubicBezTo>
                  <a:cubicBezTo>
                    <a:pt x="180" y="134"/>
                    <a:pt x="177" y="140"/>
                    <a:pt x="174" y="145"/>
                  </a:cubicBezTo>
                  <a:cubicBezTo>
                    <a:pt x="174" y="146"/>
                    <a:pt x="173" y="147"/>
                    <a:pt x="172" y="148"/>
                  </a:cubicBezTo>
                  <a:cubicBezTo>
                    <a:pt x="172" y="148"/>
                    <a:pt x="171" y="148"/>
                    <a:pt x="171" y="148"/>
                  </a:cubicBezTo>
                  <a:cubicBezTo>
                    <a:pt x="166" y="149"/>
                    <a:pt x="162" y="151"/>
                    <a:pt x="157" y="151"/>
                  </a:cubicBezTo>
                  <a:cubicBezTo>
                    <a:pt x="154" y="152"/>
                    <a:pt x="151" y="152"/>
                    <a:pt x="147" y="152"/>
                  </a:cubicBezTo>
                  <a:cubicBezTo>
                    <a:pt x="142" y="152"/>
                    <a:pt x="137" y="152"/>
                    <a:pt x="131" y="151"/>
                  </a:cubicBezTo>
                  <a:cubicBezTo>
                    <a:pt x="119" y="150"/>
                    <a:pt x="107" y="148"/>
                    <a:pt x="94" y="144"/>
                  </a:cubicBezTo>
                  <a:cubicBezTo>
                    <a:pt x="82" y="140"/>
                    <a:pt x="68" y="133"/>
                    <a:pt x="62" y="120"/>
                  </a:cubicBezTo>
                  <a:cubicBezTo>
                    <a:pt x="64" y="111"/>
                    <a:pt x="66" y="101"/>
                    <a:pt x="67" y="91"/>
                  </a:cubicBezTo>
                  <a:cubicBezTo>
                    <a:pt x="69" y="81"/>
                    <a:pt x="69" y="71"/>
                    <a:pt x="70" y="61"/>
                  </a:cubicBezTo>
                  <a:cubicBezTo>
                    <a:pt x="70" y="52"/>
                    <a:pt x="70" y="43"/>
                    <a:pt x="69" y="35"/>
                  </a:cubicBezTo>
                  <a:cubicBezTo>
                    <a:pt x="73" y="32"/>
                    <a:pt x="77" y="28"/>
                    <a:pt x="82" y="25"/>
                  </a:cubicBezTo>
                  <a:close/>
                  <a:moveTo>
                    <a:pt x="153" y="187"/>
                  </a:moveTo>
                  <a:cubicBezTo>
                    <a:pt x="153" y="187"/>
                    <a:pt x="153" y="187"/>
                    <a:pt x="153" y="187"/>
                  </a:cubicBezTo>
                  <a:cubicBezTo>
                    <a:pt x="156" y="186"/>
                    <a:pt x="158" y="185"/>
                    <a:pt x="159" y="183"/>
                  </a:cubicBezTo>
                  <a:cubicBezTo>
                    <a:pt x="160" y="182"/>
                    <a:pt x="161" y="181"/>
                    <a:pt x="161" y="179"/>
                  </a:cubicBezTo>
                  <a:cubicBezTo>
                    <a:pt x="161" y="179"/>
                    <a:pt x="161" y="179"/>
                    <a:pt x="162" y="179"/>
                  </a:cubicBezTo>
                  <a:cubicBezTo>
                    <a:pt x="162" y="179"/>
                    <a:pt x="162" y="179"/>
                    <a:pt x="162" y="179"/>
                  </a:cubicBezTo>
                  <a:cubicBezTo>
                    <a:pt x="165" y="176"/>
                    <a:pt x="168" y="173"/>
                    <a:pt x="169" y="169"/>
                  </a:cubicBezTo>
                  <a:cubicBezTo>
                    <a:pt x="170" y="169"/>
                    <a:pt x="170" y="169"/>
                    <a:pt x="171" y="170"/>
                  </a:cubicBezTo>
                  <a:cubicBezTo>
                    <a:pt x="172" y="170"/>
                    <a:pt x="173" y="171"/>
                    <a:pt x="175" y="171"/>
                  </a:cubicBezTo>
                  <a:cubicBezTo>
                    <a:pt x="177" y="173"/>
                    <a:pt x="180" y="174"/>
                    <a:pt x="183" y="175"/>
                  </a:cubicBezTo>
                  <a:cubicBezTo>
                    <a:pt x="189" y="179"/>
                    <a:pt x="195" y="182"/>
                    <a:pt x="201" y="187"/>
                  </a:cubicBezTo>
                  <a:cubicBezTo>
                    <a:pt x="201" y="187"/>
                    <a:pt x="201" y="187"/>
                    <a:pt x="202" y="188"/>
                  </a:cubicBezTo>
                  <a:cubicBezTo>
                    <a:pt x="203" y="188"/>
                    <a:pt x="203" y="189"/>
                    <a:pt x="204" y="190"/>
                  </a:cubicBezTo>
                  <a:cubicBezTo>
                    <a:pt x="206" y="191"/>
                    <a:pt x="207" y="192"/>
                    <a:pt x="208" y="193"/>
                  </a:cubicBezTo>
                  <a:cubicBezTo>
                    <a:pt x="209" y="194"/>
                    <a:pt x="211" y="196"/>
                    <a:pt x="212" y="197"/>
                  </a:cubicBezTo>
                  <a:cubicBezTo>
                    <a:pt x="212" y="197"/>
                    <a:pt x="213" y="198"/>
                    <a:pt x="213" y="199"/>
                  </a:cubicBezTo>
                  <a:cubicBezTo>
                    <a:pt x="214" y="199"/>
                    <a:pt x="214" y="199"/>
                    <a:pt x="214" y="200"/>
                  </a:cubicBezTo>
                  <a:cubicBezTo>
                    <a:pt x="214" y="200"/>
                    <a:pt x="215" y="200"/>
                    <a:pt x="215" y="201"/>
                  </a:cubicBezTo>
                  <a:cubicBezTo>
                    <a:pt x="215" y="201"/>
                    <a:pt x="215" y="201"/>
                    <a:pt x="215" y="201"/>
                  </a:cubicBezTo>
                  <a:cubicBezTo>
                    <a:pt x="216" y="202"/>
                    <a:pt x="217" y="203"/>
                    <a:pt x="217" y="205"/>
                  </a:cubicBezTo>
                  <a:cubicBezTo>
                    <a:pt x="218" y="205"/>
                    <a:pt x="218" y="206"/>
                    <a:pt x="218" y="206"/>
                  </a:cubicBezTo>
                  <a:cubicBezTo>
                    <a:pt x="218" y="207"/>
                    <a:pt x="218" y="207"/>
                    <a:pt x="218" y="207"/>
                  </a:cubicBezTo>
                  <a:cubicBezTo>
                    <a:pt x="218" y="208"/>
                    <a:pt x="219" y="208"/>
                    <a:pt x="219" y="208"/>
                  </a:cubicBezTo>
                  <a:cubicBezTo>
                    <a:pt x="219" y="210"/>
                    <a:pt x="220" y="211"/>
                    <a:pt x="220" y="212"/>
                  </a:cubicBezTo>
                  <a:cubicBezTo>
                    <a:pt x="220" y="211"/>
                    <a:pt x="221" y="213"/>
                    <a:pt x="221" y="213"/>
                  </a:cubicBezTo>
                  <a:cubicBezTo>
                    <a:pt x="221" y="213"/>
                    <a:pt x="221" y="213"/>
                    <a:pt x="221" y="213"/>
                  </a:cubicBezTo>
                  <a:cubicBezTo>
                    <a:pt x="221" y="213"/>
                    <a:pt x="221" y="213"/>
                    <a:pt x="220" y="213"/>
                  </a:cubicBezTo>
                  <a:cubicBezTo>
                    <a:pt x="221" y="213"/>
                    <a:pt x="221" y="213"/>
                    <a:pt x="221" y="213"/>
                  </a:cubicBezTo>
                  <a:cubicBezTo>
                    <a:pt x="212" y="211"/>
                    <a:pt x="203" y="208"/>
                    <a:pt x="194" y="205"/>
                  </a:cubicBezTo>
                  <a:cubicBezTo>
                    <a:pt x="179" y="200"/>
                    <a:pt x="163" y="194"/>
                    <a:pt x="147" y="189"/>
                  </a:cubicBezTo>
                  <a:cubicBezTo>
                    <a:pt x="150" y="188"/>
                    <a:pt x="152" y="188"/>
                    <a:pt x="153" y="187"/>
                  </a:cubicBezTo>
                  <a:close/>
                  <a:moveTo>
                    <a:pt x="49" y="200"/>
                  </a:moveTo>
                  <a:cubicBezTo>
                    <a:pt x="49" y="200"/>
                    <a:pt x="49" y="200"/>
                    <a:pt x="49" y="200"/>
                  </a:cubicBezTo>
                  <a:cubicBezTo>
                    <a:pt x="49" y="206"/>
                    <a:pt x="49" y="212"/>
                    <a:pt x="49" y="217"/>
                  </a:cubicBezTo>
                  <a:cubicBezTo>
                    <a:pt x="48" y="217"/>
                    <a:pt x="47" y="217"/>
                    <a:pt x="47" y="217"/>
                  </a:cubicBezTo>
                  <a:cubicBezTo>
                    <a:pt x="45" y="216"/>
                    <a:pt x="42" y="215"/>
                    <a:pt x="40" y="214"/>
                  </a:cubicBezTo>
                  <a:cubicBezTo>
                    <a:pt x="34" y="212"/>
                    <a:pt x="29" y="210"/>
                    <a:pt x="24" y="208"/>
                  </a:cubicBezTo>
                  <a:cubicBezTo>
                    <a:pt x="16" y="204"/>
                    <a:pt x="7" y="199"/>
                    <a:pt x="0" y="194"/>
                  </a:cubicBezTo>
                  <a:cubicBezTo>
                    <a:pt x="3" y="193"/>
                    <a:pt x="5" y="191"/>
                    <a:pt x="8" y="190"/>
                  </a:cubicBezTo>
                  <a:cubicBezTo>
                    <a:pt x="12" y="189"/>
                    <a:pt x="16" y="187"/>
                    <a:pt x="20" y="186"/>
                  </a:cubicBezTo>
                  <a:cubicBezTo>
                    <a:pt x="27" y="183"/>
                    <a:pt x="35" y="180"/>
                    <a:pt x="43" y="175"/>
                  </a:cubicBezTo>
                  <a:cubicBezTo>
                    <a:pt x="45" y="174"/>
                    <a:pt x="46" y="172"/>
                    <a:pt x="48" y="171"/>
                  </a:cubicBezTo>
                  <a:cubicBezTo>
                    <a:pt x="49" y="171"/>
                    <a:pt x="50" y="172"/>
                    <a:pt x="51" y="172"/>
                  </a:cubicBezTo>
                  <a:cubicBezTo>
                    <a:pt x="49" y="181"/>
                    <a:pt x="49" y="191"/>
                    <a:pt x="49" y="20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îS1iḓè">
              <a:extLst>
                <a:ext uri="{FF2B5EF4-FFF2-40B4-BE49-F238E27FC236}">
                  <a16:creationId xmlns:a16="http://schemas.microsoft.com/office/drawing/2014/main" id="{52229AA2-14BB-4D06-88B2-52FA2EC9DC31}"/>
                </a:ext>
              </a:extLst>
            </p:cNvPr>
            <p:cNvSpPr/>
            <p:nvPr/>
          </p:nvSpPr>
          <p:spPr bwMode="auto">
            <a:xfrm>
              <a:off x="5455134" y="4828673"/>
              <a:ext cx="544663" cy="550583"/>
            </a:xfrm>
            <a:custGeom>
              <a:avLst/>
              <a:gdLst>
                <a:gd name="T0" fmla="*/ 139 w 177"/>
                <a:gd name="T1" fmla="*/ 23 h 179"/>
                <a:gd name="T2" fmla="*/ 150 w 177"/>
                <a:gd name="T3" fmla="*/ 32 h 179"/>
                <a:gd name="T4" fmla="*/ 161 w 177"/>
                <a:gd name="T5" fmla="*/ 55 h 179"/>
                <a:gd name="T6" fmla="*/ 177 w 177"/>
                <a:gd name="T7" fmla="*/ 142 h 179"/>
                <a:gd name="T8" fmla="*/ 171 w 177"/>
                <a:gd name="T9" fmla="*/ 179 h 179"/>
                <a:gd name="T10" fmla="*/ 156 w 177"/>
                <a:gd name="T11" fmla="*/ 168 h 179"/>
                <a:gd name="T12" fmla="*/ 157 w 177"/>
                <a:gd name="T13" fmla="*/ 120 h 179"/>
                <a:gd name="T14" fmla="*/ 145 w 177"/>
                <a:gd name="T15" fmla="*/ 109 h 179"/>
                <a:gd name="T16" fmla="*/ 145 w 177"/>
                <a:gd name="T17" fmla="*/ 121 h 179"/>
                <a:gd name="T18" fmla="*/ 131 w 177"/>
                <a:gd name="T19" fmla="*/ 148 h 179"/>
                <a:gd name="T20" fmla="*/ 76 w 177"/>
                <a:gd name="T21" fmla="*/ 153 h 179"/>
                <a:gd name="T22" fmla="*/ 55 w 177"/>
                <a:gd name="T23" fmla="*/ 140 h 179"/>
                <a:gd name="T24" fmla="*/ 53 w 177"/>
                <a:gd name="T25" fmla="*/ 146 h 179"/>
                <a:gd name="T26" fmla="*/ 57 w 177"/>
                <a:gd name="T27" fmla="*/ 157 h 179"/>
                <a:gd name="T28" fmla="*/ 27 w 177"/>
                <a:gd name="T29" fmla="*/ 144 h 179"/>
                <a:gd name="T30" fmla="*/ 12 w 177"/>
                <a:gd name="T31" fmla="*/ 121 h 179"/>
                <a:gd name="T32" fmla="*/ 3 w 177"/>
                <a:gd name="T33" fmla="*/ 98 h 179"/>
                <a:gd name="T34" fmla="*/ 1 w 177"/>
                <a:gd name="T35" fmla="*/ 90 h 179"/>
                <a:gd name="T36" fmla="*/ 1 w 177"/>
                <a:gd name="T37" fmla="*/ 89 h 179"/>
                <a:gd name="T38" fmla="*/ 1 w 177"/>
                <a:gd name="T39" fmla="*/ 66 h 179"/>
                <a:gd name="T40" fmla="*/ 1 w 177"/>
                <a:gd name="T41" fmla="*/ 64 h 179"/>
                <a:gd name="T42" fmla="*/ 3 w 177"/>
                <a:gd name="T43" fmla="*/ 56 h 179"/>
                <a:gd name="T44" fmla="*/ 6 w 177"/>
                <a:gd name="T45" fmla="*/ 45 h 179"/>
                <a:gd name="T46" fmla="*/ 8 w 177"/>
                <a:gd name="T47" fmla="*/ 42 h 179"/>
                <a:gd name="T48" fmla="*/ 13 w 177"/>
                <a:gd name="T49" fmla="*/ 33 h 179"/>
                <a:gd name="T50" fmla="*/ 15 w 177"/>
                <a:gd name="T51" fmla="*/ 30 h 179"/>
                <a:gd name="T52" fmla="*/ 16 w 177"/>
                <a:gd name="T53" fmla="*/ 29 h 179"/>
                <a:gd name="T54" fmla="*/ 27 w 177"/>
                <a:gd name="T55" fmla="*/ 17 h 179"/>
                <a:gd name="T56" fmla="*/ 28 w 177"/>
                <a:gd name="T57" fmla="*/ 16 h 179"/>
                <a:gd name="T58" fmla="*/ 41 w 177"/>
                <a:gd name="T59" fmla="*/ 9 h 179"/>
                <a:gd name="T60" fmla="*/ 44 w 177"/>
                <a:gd name="T61" fmla="*/ 7 h 179"/>
                <a:gd name="T62" fmla="*/ 51 w 177"/>
                <a:gd name="T63" fmla="*/ 5 h 179"/>
                <a:gd name="T64" fmla="*/ 73 w 177"/>
                <a:gd name="T65" fmla="*/ 1 h 179"/>
                <a:gd name="T66" fmla="*/ 97 w 177"/>
                <a:gd name="T67" fmla="*/ 1 h 179"/>
                <a:gd name="T68" fmla="*/ 130 w 177"/>
                <a:gd name="T69" fmla="*/ 13 h 179"/>
                <a:gd name="T70" fmla="*/ 139 w 177"/>
                <a:gd name="T71" fmla="*/ 2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7" h="179">
                  <a:moveTo>
                    <a:pt x="139" y="23"/>
                  </a:moveTo>
                  <a:cubicBezTo>
                    <a:pt x="139" y="23"/>
                    <a:pt x="139" y="23"/>
                    <a:pt x="139" y="23"/>
                  </a:cubicBezTo>
                  <a:cubicBezTo>
                    <a:pt x="139" y="29"/>
                    <a:pt x="143" y="33"/>
                    <a:pt x="149" y="32"/>
                  </a:cubicBezTo>
                  <a:cubicBezTo>
                    <a:pt x="149" y="32"/>
                    <a:pt x="150" y="32"/>
                    <a:pt x="150" y="32"/>
                  </a:cubicBezTo>
                  <a:cubicBezTo>
                    <a:pt x="152" y="35"/>
                    <a:pt x="154" y="39"/>
                    <a:pt x="155" y="42"/>
                  </a:cubicBezTo>
                  <a:cubicBezTo>
                    <a:pt x="157" y="46"/>
                    <a:pt x="159" y="51"/>
                    <a:pt x="161" y="55"/>
                  </a:cubicBezTo>
                  <a:cubicBezTo>
                    <a:pt x="164" y="65"/>
                    <a:pt x="167" y="74"/>
                    <a:pt x="169" y="83"/>
                  </a:cubicBezTo>
                  <a:cubicBezTo>
                    <a:pt x="174" y="103"/>
                    <a:pt x="177" y="122"/>
                    <a:pt x="177" y="142"/>
                  </a:cubicBezTo>
                  <a:cubicBezTo>
                    <a:pt x="177" y="148"/>
                    <a:pt x="176" y="155"/>
                    <a:pt x="176" y="162"/>
                  </a:cubicBezTo>
                  <a:cubicBezTo>
                    <a:pt x="175" y="167"/>
                    <a:pt x="173" y="173"/>
                    <a:pt x="171" y="179"/>
                  </a:cubicBezTo>
                  <a:cubicBezTo>
                    <a:pt x="165" y="178"/>
                    <a:pt x="157" y="177"/>
                    <a:pt x="150" y="175"/>
                  </a:cubicBezTo>
                  <a:cubicBezTo>
                    <a:pt x="152" y="173"/>
                    <a:pt x="154" y="171"/>
                    <a:pt x="156" y="168"/>
                  </a:cubicBezTo>
                  <a:cubicBezTo>
                    <a:pt x="161" y="158"/>
                    <a:pt x="162" y="146"/>
                    <a:pt x="161" y="136"/>
                  </a:cubicBezTo>
                  <a:cubicBezTo>
                    <a:pt x="161" y="130"/>
                    <a:pt x="159" y="125"/>
                    <a:pt x="157" y="120"/>
                  </a:cubicBezTo>
                  <a:cubicBezTo>
                    <a:pt x="155" y="115"/>
                    <a:pt x="152" y="110"/>
                    <a:pt x="147" y="108"/>
                  </a:cubicBezTo>
                  <a:cubicBezTo>
                    <a:pt x="146" y="107"/>
                    <a:pt x="145" y="108"/>
                    <a:pt x="145" y="109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5" y="114"/>
                    <a:pt x="145" y="117"/>
                    <a:pt x="145" y="121"/>
                  </a:cubicBezTo>
                  <a:cubicBezTo>
                    <a:pt x="144" y="125"/>
                    <a:pt x="143" y="128"/>
                    <a:pt x="142" y="132"/>
                  </a:cubicBezTo>
                  <a:cubicBezTo>
                    <a:pt x="140" y="138"/>
                    <a:pt x="136" y="144"/>
                    <a:pt x="131" y="148"/>
                  </a:cubicBezTo>
                  <a:cubicBezTo>
                    <a:pt x="121" y="158"/>
                    <a:pt x="108" y="162"/>
                    <a:pt x="94" y="160"/>
                  </a:cubicBezTo>
                  <a:cubicBezTo>
                    <a:pt x="88" y="159"/>
                    <a:pt x="82" y="156"/>
                    <a:pt x="76" y="153"/>
                  </a:cubicBezTo>
                  <a:cubicBezTo>
                    <a:pt x="69" y="149"/>
                    <a:pt x="64" y="143"/>
                    <a:pt x="57" y="140"/>
                  </a:cubicBezTo>
                  <a:cubicBezTo>
                    <a:pt x="56" y="140"/>
                    <a:pt x="56" y="140"/>
                    <a:pt x="55" y="140"/>
                  </a:cubicBezTo>
                  <a:cubicBezTo>
                    <a:pt x="55" y="139"/>
                    <a:pt x="54" y="140"/>
                    <a:pt x="53" y="140"/>
                  </a:cubicBezTo>
                  <a:cubicBezTo>
                    <a:pt x="52" y="142"/>
                    <a:pt x="53" y="144"/>
                    <a:pt x="53" y="146"/>
                  </a:cubicBezTo>
                  <a:cubicBezTo>
                    <a:pt x="53" y="148"/>
                    <a:pt x="54" y="150"/>
                    <a:pt x="54" y="153"/>
                  </a:cubicBezTo>
                  <a:cubicBezTo>
                    <a:pt x="55" y="154"/>
                    <a:pt x="56" y="156"/>
                    <a:pt x="57" y="157"/>
                  </a:cubicBezTo>
                  <a:cubicBezTo>
                    <a:pt x="48" y="155"/>
                    <a:pt x="40" y="153"/>
                    <a:pt x="31" y="150"/>
                  </a:cubicBezTo>
                  <a:cubicBezTo>
                    <a:pt x="29" y="148"/>
                    <a:pt x="28" y="146"/>
                    <a:pt x="27" y="144"/>
                  </a:cubicBezTo>
                  <a:cubicBezTo>
                    <a:pt x="24" y="141"/>
                    <a:pt x="21" y="137"/>
                    <a:pt x="19" y="133"/>
                  </a:cubicBezTo>
                  <a:cubicBezTo>
                    <a:pt x="16" y="129"/>
                    <a:pt x="14" y="125"/>
                    <a:pt x="12" y="121"/>
                  </a:cubicBezTo>
                  <a:cubicBezTo>
                    <a:pt x="9" y="116"/>
                    <a:pt x="8" y="113"/>
                    <a:pt x="6" y="109"/>
                  </a:cubicBezTo>
                  <a:cubicBezTo>
                    <a:pt x="5" y="105"/>
                    <a:pt x="4" y="102"/>
                    <a:pt x="3" y="98"/>
                  </a:cubicBezTo>
                  <a:cubicBezTo>
                    <a:pt x="3" y="96"/>
                    <a:pt x="2" y="95"/>
                    <a:pt x="2" y="93"/>
                  </a:cubicBezTo>
                  <a:cubicBezTo>
                    <a:pt x="2" y="92"/>
                    <a:pt x="2" y="91"/>
                    <a:pt x="1" y="90"/>
                  </a:cubicBezTo>
                  <a:cubicBezTo>
                    <a:pt x="1" y="90"/>
                    <a:pt x="1" y="89"/>
                    <a:pt x="1" y="89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0" y="80"/>
                    <a:pt x="0" y="73"/>
                    <a:pt x="1" y="66"/>
                  </a:cubicBezTo>
                  <a:cubicBezTo>
                    <a:pt x="1" y="66"/>
                    <a:pt x="1" y="65"/>
                    <a:pt x="1" y="65"/>
                  </a:cubicBezTo>
                  <a:cubicBezTo>
                    <a:pt x="1" y="65"/>
                    <a:pt x="1" y="65"/>
                    <a:pt x="1" y="64"/>
                  </a:cubicBezTo>
                  <a:cubicBezTo>
                    <a:pt x="1" y="63"/>
                    <a:pt x="2" y="63"/>
                    <a:pt x="2" y="62"/>
                  </a:cubicBezTo>
                  <a:cubicBezTo>
                    <a:pt x="2" y="60"/>
                    <a:pt x="2" y="58"/>
                    <a:pt x="3" y="56"/>
                  </a:cubicBezTo>
                  <a:cubicBezTo>
                    <a:pt x="4" y="53"/>
                    <a:pt x="5" y="49"/>
                    <a:pt x="6" y="46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8" y="43"/>
                    <a:pt x="8" y="42"/>
                  </a:cubicBezTo>
                  <a:cubicBezTo>
                    <a:pt x="9" y="40"/>
                    <a:pt x="10" y="39"/>
                    <a:pt x="10" y="37"/>
                  </a:cubicBezTo>
                  <a:cubicBezTo>
                    <a:pt x="11" y="36"/>
                    <a:pt x="12" y="34"/>
                    <a:pt x="13" y="33"/>
                  </a:cubicBezTo>
                  <a:cubicBezTo>
                    <a:pt x="14" y="32"/>
                    <a:pt x="14" y="32"/>
                    <a:pt x="15" y="31"/>
                  </a:cubicBezTo>
                  <a:cubicBezTo>
                    <a:pt x="15" y="31"/>
                    <a:pt x="15" y="30"/>
                    <a:pt x="15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8" y="26"/>
                    <a:pt x="20" y="23"/>
                    <a:pt x="23" y="21"/>
                  </a:cubicBezTo>
                  <a:cubicBezTo>
                    <a:pt x="24" y="20"/>
                    <a:pt x="25" y="19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8" y="17"/>
                    <a:pt x="28" y="17"/>
                    <a:pt x="28" y="16"/>
                  </a:cubicBezTo>
                  <a:cubicBezTo>
                    <a:pt x="29" y="16"/>
                    <a:pt x="30" y="15"/>
                    <a:pt x="31" y="15"/>
                  </a:cubicBezTo>
                  <a:cubicBezTo>
                    <a:pt x="34" y="12"/>
                    <a:pt x="37" y="11"/>
                    <a:pt x="41" y="9"/>
                  </a:cubicBezTo>
                  <a:cubicBezTo>
                    <a:pt x="41" y="9"/>
                    <a:pt x="42" y="8"/>
                    <a:pt x="43" y="8"/>
                  </a:cubicBezTo>
                  <a:cubicBezTo>
                    <a:pt x="43" y="8"/>
                    <a:pt x="44" y="7"/>
                    <a:pt x="44" y="7"/>
                  </a:cubicBezTo>
                  <a:cubicBezTo>
                    <a:pt x="44" y="7"/>
                    <a:pt x="44" y="7"/>
                    <a:pt x="45" y="7"/>
                  </a:cubicBezTo>
                  <a:cubicBezTo>
                    <a:pt x="47" y="6"/>
                    <a:pt x="49" y="6"/>
                    <a:pt x="51" y="5"/>
                  </a:cubicBezTo>
                  <a:cubicBezTo>
                    <a:pt x="54" y="4"/>
                    <a:pt x="58" y="3"/>
                    <a:pt x="62" y="2"/>
                  </a:cubicBezTo>
                  <a:cubicBezTo>
                    <a:pt x="66" y="1"/>
                    <a:pt x="68" y="1"/>
                    <a:pt x="73" y="1"/>
                  </a:cubicBezTo>
                  <a:cubicBezTo>
                    <a:pt x="77" y="0"/>
                    <a:pt x="81" y="0"/>
                    <a:pt x="85" y="0"/>
                  </a:cubicBezTo>
                  <a:cubicBezTo>
                    <a:pt x="89" y="1"/>
                    <a:pt x="93" y="1"/>
                    <a:pt x="97" y="1"/>
                  </a:cubicBezTo>
                  <a:cubicBezTo>
                    <a:pt x="105" y="3"/>
                    <a:pt x="113" y="5"/>
                    <a:pt x="120" y="8"/>
                  </a:cubicBezTo>
                  <a:cubicBezTo>
                    <a:pt x="123" y="9"/>
                    <a:pt x="127" y="11"/>
                    <a:pt x="130" y="13"/>
                  </a:cubicBezTo>
                  <a:cubicBezTo>
                    <a:pt x="133" y="15"/>
                    <a:pt x="136" y="17"/>
                    <a:pt x="140" y="18"/>
                  </a:cubicBezTo>
                  <a:cubicBezTo>
                    <a:pt x="139" y="20"/>
                    <a:pt x="139" y="21"/>
                    <a:pt x="139" y="23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işḻide">
              <a:extLst>
                <a:ext uri="{FF2B5EF4-FFF2-40B4-BE49-F238E27FC236}">
                  <a16:creationId xmlns:a16="http://schemas.microsoft.com/office/drawing/2014/main" id="{A028442F-336F-4EC5-A613-A1F00EB7054E}"/>
                </a:ext>
              </a:extLst>
            </p:cNvPr>
            <p:cNvSpPr/>
            <p:nvPr/>
          </p:nvSpPr>
          <p:spPr bwMode="auto">
            <a:xfrm>
              <a:off x="6085640" y="5222369"/>
              <a:ext cx="399617" cy="85844"/>
            </a:xfrm>
            <a:custGeom>
              <a:avLst/>
              <a:gdLst>
                <a:gd name="T0" fmla="*/ 0 w 130"/>
                <a:gd name="T1" fmla="*/ 13 h 28"/>
                <a:gd name="T2" fmla="*/ 0 w 130"/>
                <a:gd name="T3" fmla="*/ 13 h 28"/>
                <a:gd name="T4" fmla="*/ 2 w 130"/>
                <a:gd name="T5" fmla="*/ 0 h 28"/>
                <a:gd name="T6" fmla="*/ 5 w 130"/>
                <a:gd name="T7" fmla="*/ 7 h 28"/>
                <a:gd name="T8" fmla="*/ 0 w 130"/>
                <a:gd name="T9" fmla="*/ 13 h 28"/>
                <a:gd name="T10" fmla="*/ 0 w 130"/>
                <a:gd name="T11" fmla="*/ 13 h 28"/>
                <a:gd name="T12" fmla="*/ 129 w 130"/>
                <a:gd name="T13" fmla="*/ 28 h 28"/>
                <a:gd name="T14" fmla="*/ 129 w 130"/>
                <a:gd name="T15" fmla="*/ 28 h 28"/>
                <a:gd name="T16" fmla="*/ 129 w 130"/>
                <a:gd name="T17" fmla="*/ 28 h 28"/>
                <a:gd name="T18" fmla="*/ 128 w 130"/>
                <a:gd name="T19" fmla="*/ 28 h 28"/>
                <a:gd name="T20" fmla="*/ 127 w 130"/>
                <a:gd name="T21" fmla="*/ 26 h 28"/>
                <a:gd name="T22" fmla="*/ 126 w 130"/>
                <a:gd name="T23" fmla="*/ 25 h 28"/>
                <a:gd name="T24" fmla="*/ 126 w 130"/>
                <a:gd name="T25" fmla="*/ 25 h 28"/>
                <a:gd name="T26" fmla="*/ 126 w 130"/>
                <a:gd name="T27" fmla="*/ 24 h 28"/>
                <a:gd name="T28" fmla="*/ 130 w 130"/>
                <a:gd name="T29" fmla="*/ 20 h 28"/>
                <a:gd name="T30" fmla="*/ 129 w 130"/>
                <a:gd name="T3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0" h="28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1" y="8"/>
                    <a:pt x="1" y="4"/>
                    <a:pt x="2" y="0"/>
                  </a:cubicBezTo>
                  <a:cubicBezTo>
                    <a:pt x="4" y="2"/>
                    <a:pt x="5" y="4"/>
                    <a:pt x="5" y="7"/>
                  </a:cubicBezTo>
                  <a:cubicBezTo>
                    <a:pt x="4" y="10"/>
                    <a:pt x="2" y="11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lose/>
                  <a:moveTo>
                    <a:pt x="129" y="28"/>
                  </a:moveTo>
                  <a:cubicBezTo>
                    <a:pt x="129" y="28"/>
                    <a:pt x="129" y="28"/>
                    <a:pt x="129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7"/>
                    <a:pt x="127" y="27"/>
                    <a:pt x="127" y="26"/>
                  </a:cubicBezTo>
                  <a:cubicBezTo>
                    <a:pt x="127" y="26"/>
                    <a:pt x="126" y="25"/>
                    <a:pt x="126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6" y="22"/>
                    <a:pt x="128" y="21"/>
                    <a:pt x="130" y="20"/>
                  </a:cubicBezTo>
                  <a:cubicBezTo>
                    <a:pt x="129" y="22"/>
                    <a:pt x="129" y="25"/>
                    <a:pt x="129" y="28"/>
                  </a:cubicBezTo>
                  <a:close/>
                </a:path>
              </a:pathLst>
            </a:custGeom>
            <a:solidFill>
              <a:srgbClr val="FEEB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7" name="ïsḻîḍè">
              <a:extLst>
                <a:ext uri="{FF2B5EF4-FFF2-40B4-BE49-F238E27FC236}">
                  <a16:creationId xmlns:a16="http://schemas.microsoft.com/office/drawing/2014/main" id="{7B22F571-4499-4C1B-A413-E97ECC9F275D}"/>
                </a:ext>
              </a:extLst>
            </p:cNvPr>
            <p:cNvSpPr/>
            <p:nvPr/>
          </p:nvSpPr>
          <p:spPr bwMode="auto">
            <a:xfrm>
              <a:off x="6073800" y="5145406"/>
              <a:ext cx="423298" cy="242730"/>
            </a:xfrm>
            <a:custGeom>
              <a:avLst/>
              <a:gdLst>
                <a:gd name="T0" fmla="*/ 8 w 138"/>
                <a:gd name="T1" fmla="*/ 0 h 79"/>
                <a:gd name="T2" fmla="*/ 8 w 138"/>
                <a:gd name="T3" fmla="*/ 0 h 79"/>
                <a:gd name="T4" fmla="*/ 28 w 138"/>
                <a:gd name="T5" fmla="*/ 9 h 79"/>
                <a:gd name="T6" fmla="*/ 54 w 138"/>
                <a:gd name="T7" fmla="*/ 16 h 79"/>
                <a:gd name="T8" fmla="*/ 85 w 138"/>
                <a:gd name="T9" fmla="*/ 22 h 79"/>
                <a:gd name="T10" fmla="*/ 100 w 138"/>
                <a:gd name="T11" fmla="*/ 23 h 79"/>
                <a:gd name="T12" fmla="*/ 116 w 138"/>
                <a:gd name="T13" fmla="*/ 24 h 79"/>
                <a:gd name="T14" fmla="*/ 129 w 138"/>
                <a:gd name="T15" fmla="*/ 25 h 79"/>
                <a:gd name="T16" fmla="*/ 135 w 138"/>
                <a:gd name="T17" fmla="*/ 25 h 79"/>
                <a:gd name="T18" fmla="*/ 138 w 138"/>
                <a:gd name="T19" fmla="*/ 26 h 79"/>
                <a:gd name="T20" fmla="*/ 136 w 138"/>
                <a:gd name="T21" fmla="*/ 33 h 79"/>
                <a:gd name="T22" fmla="*/ 135 w 138"/>
                <a:gd name="T23" fmla="*/ 40 h 79"/>
                <a:gd name="T24" fmla="*/ 134 w 138"/>
                <a:gd name="T25" fmla="*/ 40 h 79"/>
                <a:gd name="T26" fmla="*/ 125 w 138"/>
                <a:gd name="T27" fmla="*/ 48 h 79"/>
                <a:gd name="T28" fmla="*/ 125 w 138"/>
                <a:gd name="T29" fmla="*/ 53 h 79"/>
                <a:gd name="T30" fmla="*/ 126 w 138"/>
                <a:gd name="T31" fmla="*/ 56 h 79"/>
                <a:gd name="T32" fmla="*/ 131 w 138"/>
                <a:gd name="T33" fmla="*/ 61 h 79"/>
                <a:gd name="T34" fmla="*/ 130 w 138"/>
                <a:gd name="T35" fmla="*/ 63 h 79"/>
                <a:gd name="T36" fmla="*/ 129 w 138"/>
                <a:gd name="T37" fmla="*/ 66 h 79"/>
                <a:gd name="T38" fmla="*/ 129 w 138"/>
                <a:gd name="T39" fmla="*/ 66 h 79"/>
                <a:gd name="T40" fmla="*/ 129 w 138"/>
                <a:gd name="T41" fmla="*/ 66 h 79"/>
                <a:gd name="T42" fmla="*/ 128 w 138"/>
                <a:gd name="T43" fmla="*/ 67 h 79"/>
                <a:gd name="T44" fmla="*/ 127 w 138"/>
                <a:gd name="T45" fmla="*/ 69 h 79"/>
                <a:gd name="T46" fmla="*/ 127 w 138"/>
                <a:gd name="T47" fmla="*/ 70 h 79"/>
                <a:gd name="T48" fmla="*/ 126 w 138"/>
                <a:gd name="T49" fmla="*/ 71 h 79"/>
                <a:gd name="T50" fmla="*/ 125 w 138"/>
                <a:gd name="T51" fmla="*/ 73 h 79"/>
                <a:gd name="T52" fmla="*/ 124 w 138"/>
                <a:gd name="T53" fmla="*/ 74 h 79"/>
                <a:gd name="T54" fmla="*/ 124 w 138"/>
                <a:gd name="T55" fmla="*/ 74 h 79"/>
                <a:gd name="T56" fmla="*/ 123 w 138"/>
                <a:gd name="T57" fmla="*/ 74 h 79"/>
                <a:gd name="T58" fmla="*/ 121 w 138"/>
                <a:gd name="T59" fmla="*/ 75 h 79"/>
                <a:gd name="T60" fmla="*/ 120 w 138"/>
                <a:gd name="T61" fmla="*/ 76 h 79"/>
                <a:gd name="T62" fmla="*/ 120 w 138"/>
                <a:gd name="T63" fmla="*/ 76 h 79"/>
                <a:gd name="T64" fmla="*/ 119 w 138"/>
                <a:gd name="T65" fmla="*/ 76 h 79"/>
                <a:gd name="T66" fmla="*/ 114 w 138"/>
                <a:gd name="T67" fmla="*/ 77 h 79"/>
                <a:gd name="T68" fmla="*/ 113 w 138"/>
                <a:gd name="T69" fmla="*/ 78 h 79"/>
                <a:gd name="T70" fmla="*/ 112 w 138"/>
                <a:gd name="T71" fmla="*/ 78 h 79"/>
                <a:gd name="T72" fmla="*/ 109 w 138"/>
                <a:gd name="T73" fmla="*/ 78 h 79"/>
                <a:gd name="T74" fmla="*/ 86 w 138"/>
                <a:gd name="T75" fmla="*/ 77 h 79"/>
                <a:gd name="T76" fmla="*/ 59 w 138"/>
                <a:gd name="T77" fmla="*/ 74 h 79"/>
                <a:gd name="T78" fmla="*/ 29 w 138"/>
                <a:gd name="T79" fmla="*/ 68 h 79"/>
                <a:gd name="T80" fmla="*/ 4 w 138"/>
                <a:gd name="T81" fmla="*/ 61 h 79"/>
                <a:gd name="T82" fmla="*/ 4 w 138"/>
                <a:gd name="T83" fmla="*/ 61 h 79"/>
                <a:gd name="T84" fmla="*/ 0 w 138"/>
                <a:gd name="T85" fmla="*/ 58 h 79"/>
                <a:gd name="T86" fmla="*/ 1 w 138"/>
                <a:gd name="T87" fmla="*/ 54 h 79"/>
                <a:gd name="T88" fmla="*/ 1 w 138"/>
                <a:gd name="T89" fmla="*/ 52 h 79"/>
                <a:gd name="T90" fmla="*/ 6 w 138"/>
                <a:gd name="T91" fmla="*/ 47 h 79"/>
                <a:gd name="T92" fmla="*/ 9 w 138"/>
                <a:gd name="T93" fmla="*/ 42 h 79"/>
                <a:gd name="T94" fmla="*/ 9 w 138"/>
                <a:gd name="T95" fmla="*/ 41 h 79"/>
                <a:gd name="T96" fmla="*/ 13 w 138"/>
                <a:gd name="T97" fmla="*/ 33 h 79"/>
                <a:gd name="T98" fmla="*/ 6 w 138"/>
                <a:gd name="T99" fmla="*/ 21 h 79"/>
                <a:gd name="T100" fmla="*/ 7 w 138"/>
                <a:gd name="T101" fmla="*/ 7 h 79"/>
                <a:gd name="T102" fmla="*/ 8 w 138"/>
                <a:gd name="T103" fmla="*/ 7 h 79"/>
                <a:gd name="T104" fmla="*/ 8 w 138"/>
                <a:gd name="T105" fmla="*/ 5 h 79"/>
                <a:gd name="T106" fmla="*/ 7 w 138"/>
                <a:gd name="T107" fmla="*/ 4 h 79"/>
                <a:gd name="T108" fmla="*/ 8 w 138"/>
                <a:gd name="T10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8" h="79"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4" y="5"/>
                    <a:pt x="21" y="7"/>
                    <a:pt x="28" y="9"/>
                  </a:cubicBezTo>
                  <a:cubicBezTo>
                    <a:pt x="37" y="12"/>
                    <a:pt x="45" y="14"/>
                    <a:pt x="54" y="16"/>
                  </a:cubicBezTo>
                  <a:cubicBezTo>
                    <a:pt x="64" y="19"/>
                    <a:pt x="74" y="21"/>
                    <a:pt x="85" y="22"/>
                  </a:cubicBezTo>
                  <a:cubicBezTo>
                    <a:pt x="89" y="23"/>
                    <a:pt x="95" y="23"/>
                    <a:pt x="100" y="23"/>
                  </a:cubicBezTo>
                  <a:cubicBezTo>
                    <a:pt x="105" y="24"/>
                    <a:pt x="111" y="24"/>
                    <a:pt x="116" y="24"/>
                  </a:cubicBezTo>
                  <a:cubicBezTo>
                    <a:pt x="120" y="25"/>
                    <a:pt x="124" y="25"/>
                    <a:pt x="129" y="25"/>
                  </a:cubicBezTo>
                  <a:cubicBezTo>
                    <a:pt x="131" y="25"/>
                    <a:pt x="133" y="25"/>
                    <a:pt x="135" y="25"/>
                  </a:cubicBezTo>
                  <a:cubicBezTo>
                    <a:pt x="136" y="25"/>
                    <a:pt x="138" y="26"/>
                    <a:pt x="138" y="26"/>
                  </a:cubicBezTo>
                  <a:cubicBezTo>
                    <a:pt x="138" y="28"/>
                    <a:pt x="137" y="31"/>
                    <a:pt x="136" y="33"/>
                  </a:cubicBezTo>
                  <a:cubicBezTo>
                    <a:pt x="136" y="35"/>
                    <a:pt x="135" y="37"/>
                    <a:pt x="135" y="40"/>
                  </a:cubicBezTo>
                  <a:cubicBezTo>
                    <a:pt x="135" y="40"/>
                    <a:pt x="134" y="40"/>
                    <a:pt x="134" y="40"/>
                  </a:cubicBezTo>
                  <a:cubicBezTo>
                    <a:pt x="130" y="41"/>
                    <a:pt x="126" y="43"/>
                    <a:pt x="125" y="48"/>
                  </a:cubicBezTo>
                  <a:cubicBezTo>
                    <a:pt x="124" y="50"/>
                    <a:pt x="125" y="51"/>
                    <a:pt x="125" y="53"/>
                  </a:cubicBezTo>
                  <a:cubicBezTo>
                    <a:pt x="125" y="54"/>
                    <a:pt x="126" y="55"/>
                    <a:pt x="126" y="56"/>
                  </a:cubicBezTo>
                  <a:cubicBezTo>
                    <a:pt x="127" y="58"/>
                    <a:pt x="129" y="61"/>
                    <a:pt x="131" y="61"/>
                  </a:cubicBezTo>
                  <a:cubicBezTo>
                    <a:pt x="130" y="62"/>
                    <a:pt x="130" y="63"/>
                    <a:pt x="130" y="63"/>
                  </a:cubicBezTo>
                  <a:cubicBezTo>
                    <a:pt x="130" y="64"/>
                    <a:pt x="129" y="65"/>
                    <a:pt x="129" y="66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29" y="67"/>
                    <a:pt x="129" y="67"/>
                    <a:pt x="128" y="67"/>
                  </a:cubicBezTo>
                  <a:cubicBezTo>
                    <a:pt x="128" y="68"/>
                    <a:pt x="128" y="69"/>
                    <a:pt x="127" y="69"/>
                  </a:cubicBezTo>
                  <a:cubicBezTo>
                    <a:pt x="127" y="70"/>
                    <a:pt x="127" y="70"/>
                    <a:pt x="127" y="70"/>
                  </a:cubicBezTo>
                  <a:cubicBezTo>
                    <a:pt x="126" y="71"/>
                    <a:pt x="126" y="71"/>
                    <a:pt x="126" y="71"/>
                  </a:cubicBezTo>
                  <a:cubicBezTo>
                    <a:pt x="126" y="72"/>
                    <a:pt x="125" y="72"/>
                    <a:pt x="125" y="73"/>
                  </a:cubicBezTo>
                  <a:cubicBezTo>
                    <a:pt x="124" y="73"/>
                    <a:pt x="124" y="73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3" y="74"/>
                  </a:cubicBezTo>
                  <a:cubicBezTo>
                    <a:pt x="123" y="74"/>
                    <a:pt x="122" y="75"/>
                    <a:pt x="121" y="75"/>
                  </a:cubicBezTo>
                  <a:cubicBezTo>
                    <a:pt x="121" y="75"/>
                    <a:pt x="121" y="75"/>
                    <a:pt x="120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0" y="76"/>
                    <a:pt x="120" y="76"/>
                    <a:pt x="119" y="76"/>
                  </a:cubicBezTo>
                  <a:cubicBezTo>
                    <a:pt x="118" y="77"/>
                    <a:pt x="116" y="77"/>
                    <a:pt x="114" y="77"/>
                  </a:cubicBezTo>
                  <a:cubicBezTo>
                    <a:pt x="114" y="77"/>
                    <a:pt x="114" y="78"/>
                    <a:pt x="113" y="78"/>
                  </a:cubicBezTo>
                  <a:cubicBezTo>
                    <a:pt x="113" y="78"/>
                    <a:pt x="113" y="78"/>
                    <a:pt x="112" y="78"/>
                  </a:cubicBezTo>
                  <a:cubicBezTo>
                    <a:pt x="111" y="78"/>
                    <a:pt x="110" y="78"/>
                    <a:pt x="109" y="78"/>
                  </a:cubicBezTo>
                  <a:cubicBezTo>
                    <a:pt x="101" y="79"/>
                    <a:pt x="93" y="78"/>
                    <a:pt x="86" y="77"/>
                  </a:cubicBezTo>
                  <a:cubicBezTo>
                    <a:pt x="77" y="76"/>
                    <a:pt x="68" y="75"/>
                    <a:pt x="59" y="74"/>
                  </a:cubicBezTo>
                  <a:cubicBezTo>
                    <a:pt x="49" y="73"/>
                    <a:pt x="39" y="71"/>
                    <a:pt x="29" y="68"/>
                  </a:cubicBezTo>
                  <a:cubicBezTo>
                    <a:pt x="21" y="66"/>
                    <a:pt x="13" y="63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2" y="60"/>
                    <a:pt x="1" y="59"/>
                    <a:pt x="0" y="58"/>
                  </a:cubicBezTo>
                  <a:cubicBezTo>
                    <a:pt x="0" y="56"/>
                    <a:pt x="0" y="55"/>
                    <a:pt x="1" y="54"/>
                  </a:cubicBezTo>
                  <a:cubicBezTo>
                    <a:pt x="1" y="53"/>
                    <a:pt x="1" y="52"/>
                    <a:pt x="1" y="52"/>
                  </a:cubicBezTo>
                  <a:cubicBezTo>
                    <a:pt x="3" y="51"/>
                    <a:pt x="4" y="49"/>
                    <a:pt x="6" y="47"/>
                  </a:cubicBezTo>
                  <a:cubicBezTo>
                    <a:pt x="7" y="46"/>
                    <a:pt x="8" y="44"/>
                    <a:pt x="9" y="42"/>
                  </a:cubicBezTo>
                  <a:cubicBezTo>
                    <a:pt x="9" y="42"/>
                    <a:pt x="9" y="41"/>
                    <a:pt x="9" y="41"/>
                  </a:cubicBezTo>
                  <a:cubicBezTo>
                    <a:pt x="11" y="39"/>
                    <a:pt x="13" y="36"/>
                    <a:pt x="13" y="33"/>
                  </a:cubicBezTo>
                  <a:cubicBezTo>
                    <a:pt x="14" y="28"/>
                    <a:pt x="11" y="23"/>
                    <a:pt x="6" y="21"/>
                  </a:cubicBezTo>
                  <a:cubicBezTo>
                    <a:pt x="7" y="16"/>
                    <a:pt x="7" y="12"/>
                    <a:pt x="7" y="7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9" y="6"/>
                    <a:pt x="9" y="5"/>
                    <a:pt x="8" y="5"/>
                  </a:cubicBezTo>
                  <a:cubicBezTo>
                    <a:pt x="8" y="4"/>
                    <a:pt x="8" y="4"/>
                    <a:pt x="7" y="4"/>
                  </a:cubicBezTo>
                  <a:cubicBezTo>
                    <a:pt x="7" y="3"/>
                    <a:pt x="8" y="1"/>
                    <a:pt x="8" y="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8" name="î$ḻïďe">
              <a:extLst>
                <a:ext uri="{FF2B5EF4-FFF2-40B4-BE49-F238E27FC236}">
                  <a16:creationId xmlns:a16="http://schemas.microsoft.com/office/drawing/2014/main" id="{8DA74AA1-2838-496D-A16E-590A3BC239E9}"/>
                </a:ext>
              </a:extLst>
            </p:cNvPr>
            <p:cNvSpPr/>
            <p:nvPr/>
          </p:nvSpPr>
          <p:spPr bwMode="auto">
            <a:xfrm>
              <a:off x="5891752" y="4876035"/>
              <a:ext cx="39962" cy="39962"/>
            </a:xfrm>
            <a:custGeom>
              <a:avLst/>
              <a:gdLst>
                <a:gd name="T0" fmla="*/ 4 w 13"/>
                <a:gd name="T1" fmla="*/ 1 h 13"/>
                <a:gd name="T2" fmla="*/ 4 w 13"/>
                <a:gd name="T3" fmla="*/ 1 h 13"/>
                <a:gd name="T4" fmla="*/ 4 w 13"/>
                <a:gd name="T5" fmla="*/ 1 h 13"/>
                <a:gd name="T6" fmla="*/ 8 w 13"/>
                <a:gd name="T7" fmla="*/ 0 h 13"/>
                <a:gd name="T8" fmla="*/ 10 w 13"/>
                <a:gd name="T9" fmla="*/ 1 h 13"/>
                <a:gd name="T10" fmla="*/ 11 w 13"/>
                <a:gd name="T11" fmla="*/ 1 h 13"/>
                <a:gd name="T12" fmla="*/ 11 w 13"/>
                <a:gd name="T13" fmla="*/ 1 h 13"/>
                <a:gd name="T14" fmla="*/ 12 w 13"/>
                <a:gd name="T15" fmla="*/ 2 h 13"/>
                <a:gd name="T16" fmla="*/ 12 w 13"/>
                <a:gd name="T17" fmla="*/ 3 h 13"/>
                <a:gd name="T18" fmla="*/ 10 w 13"/>
                <a:gd name="T19" fmla="*/ 10 h 13"/>
                <a:gd name="T20" fmla="*/ 8 w 13"/>
                <a:gd name="T21" fmla="*/ 12 h 13"/>
                <a:gd name="T22" fmla="*/ 3 w 13"/>
                <a:gd name="T23" fmla="*/ 12 h 13"/>
                <a:gd name="T24" fmla="*/ 1 w 13"/>
                <a:gd name="T25" fmla="*/ 8 h 13"/>
                <a:gd name="T26" fmla="*/ 4 w 13"/>
                <a:gd name="T2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6" y="1"/>
                    <a:pt x="7" y="1"/>
                    <a:pt x="8" y="0"/>
                  </a:cubicBezTo>
                  <a:cubicBezTo>
                    <a:pt x="9" y="0"/>
                    <a:pt x="9" y="0"/>
                    <a:pt x="10" y="1"/>
                  </a:cubicBezTo>
                  <a:cubicBezTo>
                    <a:pt x="10" y="0"/>
                    <a:pt x="10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2" y="2"/>
                    <a:pt x="12" y="2"/>
                  </a:cubicBezTo>
                  <a:cubicBezTo>
                    <a:pt x="12" y="3"/>
                    <a:pt x="12" y="2"/>
                    <a:pt x="12" y="3"/>
                  </a:cubicBezTo>
                  <a:cubicBezTo>
                    <a:pt x="13" y="6"/>
                    <a:pt x="12" y="8"/>
                    <a:pt x="10" y="10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6" y="13"/>
                    <a:pt x="4" y="13"/>
                    <a:pt x="3" y="12"/>
                  </a:cubicBezTo>
                  <a:cubicBezTo>
                    <a:pt x="2" y="11"/>
                    <a:pt x="1" y="10"/>
                    <a:pt x="1" y="8"/>
                  </a:cubicBezTo>
                  <a:cubicBezTo>
                    <a:pt x="0" y="5"/>
                    <a:pt x="2" y="2"/>
                    <a:pt x="4" y="1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9" name="iśľíḓè">
              <a:extLst>
                <a:ext uri="{FF2B5EF4-FFF2-40B4-BE49-F238E27FC236}">
                  <a16:creationId xmlns:a16="http://schemas.microsoft.com/office/drawing/2014/main" id="{46B2DA18-E635-47DF-8384-28B486780C09}"/>
                </a:ext>
              </a:extLst>
            </p:cNvPr>
            <p:cNvSpPr/>
            <p:nvPr/>
          </p:nvSpPr>
          <p:spPr bwMode="auto">
            <a:xfrm>
              <a:off x="5577979" y="4362453"/>
              <a:ext cx="836236" cy="500261"/>
            </a:xfrm>
            <a:custGeom>
              <a:avLst/>
              <a:gdLst>
                <a:gd name="T0" fmla="*/ 267 w 272"/>
                <a:gd name="T1" fmla="*/ 59 h 163"/>
                <a:gd name="T2" fmla="*/ 262 w 272"/>
                <a:gd name="T3" fmla="*/ 50 h 163"/>
                <a:gd name="T4" fmla="*/ 262 w 272"/>
                <a:gd name="T5" fmla="*/ 47 h 163"/>
                <a:gd name="T6" fmla="*/ 265 w 272"/>
                <a:gd name="T7" fmla="*/ 48 h 163"/>
                <a:gd name="T8" fmla="*/ 272 w 272"/>
                <a:gd name="T9" fmla="*/ 47 h 163"/>
                <a:gd name="T10" fmla="*/ 268 w 272"/>
                <a:gd name="T11" fmla="*/ 61 h 163"/>
                <a:gd name="T12" fmla="*/ 219 w 272"/>
                <a:gd name="T13" fmla="*/ 145 h 163"/>
                <a:gd name="T14" fmla="*/ 217 w 272"/>
                <a:gd name="T15" fmla="*/ 150 h 163"/>
                <a:gd name="T16" fmla="*/ 208 w 272"/>
                <a:gd name="T17" fmla="*/ 163 h 163"/>
                <a:gd name="T18" fmla="*/ 197 w 272"/>
                <a:gd name="T19" fmla="*/ 151 h 163"/>
                <a:gd name="T20" fmla="*/ 157 w 272"/>
                <a:gd name="T21" fmla="*/ 133 h 163"/>
                <a:gd name="T22" fmla="*/ 166 w 272"/>
                <a:gd name="T23" fmla="*/ 80 h 163"/>
                <a:gd name="T24" fmla="*/ 178 w 272"/>
                <a:gd name="T25" fmla="*/ 45 h 163"/>
                <a:gd name="T26" fmla="*/ 191 w 272"/>
                <a:gd name="T27" fmla="*/ 54 h 163"/>
                <a:gd name="T28" fmla="*/ 224 w 272"/>
                <a:gd name="T29" fmla="*/ 51 h 163"/>
                <a:gd name="T30" fmla="*/ 230 w 272"/>
                <a:gd name="T31" fmla="*/ 86 h 163"/>
                <a:gd name="T32" fmla="*/ 221 w 272"/>
                <a:gd name="T33" fmla="*/ 141 h 163"/>
                <a:gd name="T34" fmla="*/ 219 w 272"/>
                <a:gd name="T35" fmla="*/ 144 h 163"/>
                <a:gd name="T36" fmla="*/ 0 w 272"/>
                <a:gd name="T37" fmla="*/ 92 h 163"/>
                <a:gd name="T38" fmla="*/ 1 w 272"/>
                <a:gd name="T39" fmla="*/ 80 h 163"/>
                <a:gd name="T40" fmla="*/ 14 w 272"/>
                <a:gd name="T41" fmla="*/ 36 h 163"/>
                <a:gd name="T42" fmla="*/ 25 w 272"/>
                <a:gd name="T43" fmla="*/ 0 h 163"/>
                <a:gd name="T44" fmla="*/ 26 w 272"/>
                <a:gd name="T45" fmla="*/ 1 h 163"/>
                <a:gd name="T46" fmla="*/ 37 w 272"/>
                <a:gd name="T47" fmla="*/ 10 h 163"/>
                <a:gd name="T48" fmla="*/ 53 w 272"/>
                <a:gd name="T49" fmla="*/ 19 h 163"/>
                <a:gd name="T50" fmla="*/ 68 w 272"/>
                <a:gd name="T51" fmla="*/ 24 h 163"/>
                <a:gd name="T52" fmla="*/ 62 w 272"/>
                <a:gd name="T53" fmla="*/ 52 h 163"/>
                <a:gd name="T54" fmla="*/ 51 w 272"/>
                <a:gd name="T55" fmla="*/ 93 h 163"/>
                <a:gd name="T56" fmla="*/ 38 w 272"/>
                <a:gd name="T57" fmla="*/ 115 h 163"/>
                <a:gd name="T58" fmla="*/ 29 w 272"/>
                <a:gd name="T59" fmla="*/ 124 h 163"/>
                <a:gd name="T60" fmla="*/ 26 w 272"/>
                <a:gd name="T61" fmla="*/ 124 h 163"/>
                <a:gd name="T62" fmla="*/ 2 w 272"/>
                <a:gd name="T63" fmla="*/ 102 h 163"/>
                <a:gd name="T64" fmla="*/ 75 w 272"/>
                <a:gd name="T65" fmla="*/ 150 h 163"/>
                <a:gd name="T66" fmla="*/ 60 w 272"/>
                <a:gd name="T67" fmla="*/ 145 h 163"/>
                <a:gd name="T68" fmla="*/ 53 w 272"/>
                <a:gd name="T69" fmla="*/ 142 h 163"/>
                <a:gd name="T70" fmla="*/ 52 w 272"/>
                <a:gd name="T71" fmla="*/ 137 h 163"/>
                <a:gd name="T72" fmla="*/ 61 w 272"/>
                <a:gd name="T73" fmla="*/ 117 h 163"/>
                <a:gd name="T74" fmla="*/ 80 w 272"/>
                <a:gd name="T75" fmla="*/ 56 h 163"/>
                <a:gd name="T76" fmla="*/ 90 w 272"/>
                <a:gd name="T77" fmla="*/ 31 h 163"/>
                <a:gd name="T78" fmla="*/ 117 w 272"/>
                <a:gd name="T79" fmla="*/ 39 h 163"/>
                <a:gd name="T80" fmla="*/ 147 w 272"/>
                <a:gd name="T81" fmla="*/ 44 h 163"/>
                <a:gd name="T82" fmla="*/ 159 w 272"/>
                <a:gd name="T83" fmla="*/ 45 h 163"/>
                <a:gd name="T84" fmla="*/ 146 w 272"/>
                <a:gd name="T85" fmla="*/ 94 h 163"/>
                <a:gd name="T86" fmla="*/ 145 w 272"/>
                <a:gd name="T87" fmla="*/ 100 h 163"/>
                <a:gd name="T88" fmla="*/ 141 w 272"/>
                <a:gd name="T89" fmla="*/ 107 h 163"/>
                <a:gd name="T90" fmla="*/ 129 w 272"/>
                <a:gd name="T91" fmla="*/ 128 h 163"/>
                <a:gd name="T92" fmla="*/ 124 w 272"/>
                <a:gd name="T93" fmla="*/ 129 h 163"/>
                <a:gd name="T94" fmla="*/ 77 w 272"/>
                <a:gd name="T95" fmla="*/ 14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2" h="163">
                  <a:moveTo>
                    <a:pt x="267" y="59"/>
                  </a:moveTo>
                  <a:cubicBezTo>
                    <a:pt x="267" y="59"/>
                    <a:pt x="267" y="59"/>
                    <a:pt x="267" y="59"/>
                  </a:cubicBezTo>
                  <a:cubicBezTo>
                    <a:pt x="265" y="57"/>
                    <a:pt x="263" y="55"/>
                    <a:pt x="261" y="52"/>
                  </a:cubicBezTo>
                  <a:cubicBezTo>
                    <a:pt x="261" y="51"/>
                    <a:pt x="262" y="51"/>
                    <a:pt x="262" y="50"/>
                  </a:cubicBezTo>
                  <a:cubicBezTo>
                    <a:pt x="262" y="49"/>
                    <a:pt x="262" y="48"/>
                    <a:pt x="262" y="47"/>
                  </a:cubicBezTo>
                  <a:cubicBezTo>
                    <a:pt x="262" y="47"/>
                    <a:pt x="262" y="47"/>
                    <a:pt x="262" y="47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4" y="47"/>
                    <a:pt x="264" y="48"/>
                    <a:pt x="265" y="48"/>
                  </a:cubicBezTo>
                  <a:cubicBezTo>
                    <a:pt x="266" y="48"/>
                    <a:pt x="267" y="48"/>
                    <a:pt x="268" y="48"/>
                  </a:cubicBezTo>
                  <a:cubicBezTo>
                    <a:pt x="270" y="48"/>
                    <a:pt x="271" y="48"/>
                    <a:pt x="272" y="47"/>
                  </a:cubicBezTo>
                  <a:cubicBezTo>
                    <a:pt x="270" y="50"/>
                    <a:pt x="269" y="54"/>
                    <a:pt x="268" y="57"/>
                  </a:cubicBezTo>
                  <a:cubicBezTo>
                    <a:pt x="268" y="58"/>
                    <a:pt x="268" y="59"/>
                    <a:pt x="268" y="61"/>
                  </a:cubicBezTo>
                  <a:cubicBezTo>
                    <a:pt x="267" y="60"/>
                    <a:pt x="267" y="60"/>
                    <a:pt x="267" y="59"/>
                  </a:cubicBezTo>
                  <a:close/>
                  <a:moveTo>
                    <a:pt x="219" y="145"/>
                  </a:moveTo>
                  <a:cubicBezTo>
                    <a:pt x="219" y="145"/>
                    <a:pt x="219" y="145"/>
                    <a:pt x="219" y="145"/>
                  </a:cubicBezTo>
                  <a:cubicBezTo>
                    <a:pt x="219" y="147"/>
                    <a:pt x="218" y="149"/>
                    <a:pt x="217" y="150"/>
                  </a:cubicBezTo>
                  <a:cubicBezTo>
                    <a:pt x="215" y="154"/>
                    <a:pt x="213" y="157"/>
                    <a:pt x="211" y="160"/>
                  </a:cubicBezTo>
                  <a:cubicBezTo>
                    <a:pt x="210" y="161"/>
                    <a:pt x="210" y="162"/>
                    <a:pt x="208" y="163"/>
                  </a:cubicBezTo>
                  <a:cubicBezTo>
                    <a:pt x="208" y="162"/>
                    <a:pt x="207" y="161"/>
                    <a:pt x="206" y="159"/>
                  </a:cubicBezTo>
                  <a:cubicBezTo>
                    <a:pt x="203" y="156"/>
                    <a:pt x="200" y="153"/>
                    <a:pt x="197" y="151"/>
                  </a:cubicBezTo>
                  <a:cubicBezTo>
                    <a:pt x="190" y="145"/>
                    <a:pt x="183" y="142"/>
                    <a:pt x="176" y="139"/>
                  </a:cubicBezTo>
                  <a:cubicBezTo>
                    <a:pt x="170" y="137"/>
                    <a:pt x="164" y="135"/>
                    <a:pt x="157" y="133"/>
                  </a:cubicBezTo>
                  <a:cubicBezTo>
                    <a:pt x="160" y="126"/>
                    <a:pt x="161" y="118"/>
                    <a:pt x="161" y="110"/>
                  </a:cubicBezTo>
                  <a:cubicBezTo>
                    <a:pt x="163" y="100"/>
                    <a:pt x="165" y="91"/>
                    <a:pt x="166" y="80"/>
                  </a:cubicBezTo>
                  <a:cubicBezTo>
                    <a:pt x="168" y="69"/>
                    <a:pt x="170" y="57"/>
                    <a:pt x="173" y="45"/>
                  </a:cubicBezTo>
                  <a:cubicBezTo>
                    <a:pt x="175" y="46"/>
                    <a:pt x="176" y="46"/>
                    <a:pt x="178" y="45"/>
                  </a:cubicBezTo>
                  <a:cubicBezTo>
                    <a:pt x="178" y="45"/>
                    <a:pt x="179" y="45"/>
                    <a:pt x="180" y="45"/>
                  </a:cubicBezTo>
                  <a:cubicBezTo>
                    <a:pt x="183" y="49"/>
                    <a:pt x="187" y="51"/>
                    <a:pt x="191" y="54"/>
                  </a:cubicBezTo>
                  <a:cubicBezTo>
                    <a:pt x="201" y="58"/>
                    <a:pt x="214" y="55"/>
                    <a:pt x="222" y="47"/>
                  </a:cubicBezTo>
                  <a:cubicBezTo>
                    <a:pt x="222" y="48"/>
                    <a:pt x="223" y="50"/>
                    <a:pt x="224" y="51"/>
                  </a:cubicBezTo>
                  <a:cubicBezTo>
                    <a:pt x="225" y="55"/>
                    <a:pt x="226" y="59"/>
                    <a:pt x="227" y="62"/>
                  </a:cubicBezTo>
                  <a:cubicBezTo>
                    <a:pt x="229" y="70"/>
                    <a:pt x="230" y="77"/>
                    <a:pt x="230" y="86"/>
                  </a:cubicBezTo>
                  <a:cubicBezTo>
                    <a:pt x="230" y="102"/>
                    <a:pt x="228" y="117"/>
                    <a:pt x="224" y="133"/>
                  </a:cubicBezTo>
                  <a:cubicBezTo>
                    <a:pt x="223" y="136"/>
                    <a:pt x="222" y="139"/>
                    <a:pt x="221" y="141"/>
                  </a:cubicBezTo>
                  <a:cubicBezTo>
                    <a:pt x="220" y="142"/>
                    <a:pt x="220" y="143"/>
                    <a:pt x="220" y="143"/>
                  </a:cubicBezTo>
                  <a:cubicBezTo>
                    <a:pt x="220" y="144"/>
                    <a:pt x="220" y="144"/>
                    <a:pt x="219" y="144"/>
                  </a:cubicBezTo>
                  <a:cubicBezTo>
                    <a:pt x="219" y="145"/>
                    <a:pt x="219" y="145"/>
                    <a:pt x="219" y="145"/>
                  </a:cubicBezTo>
                  <a:close/>
                  <a:moveTo>
                    <a:pt x="0" y="92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0" y="88"/>
                    <a:pt x="0" y="84"/>
                    <a:pt x="1" y="80"/>
                  </a:cubicBezTo>
                  <a:cubicBezTo>
                    <a:pt x="3" y="71"/>
                    <a:pt x="6" y="63"/>
                    <a:pt x="8" y="54"/>
                  </a:cubicBezTo>
                  <a:cubicBezTo>
                    <a:pt x="10" y="48"/>
                    <a:pt x="12" y="42"/>
                    <a:pt x="14" y="36"/>
                  </a:cubicBezTo>
                  <a:cubicBezTo>
                    <a:pt x="14" y="33"/>
                    <a:pt x="15" y="31"/>
                    <a:pt x="15" y="29"/>
                  </a:cubicBezTo>
                  <a:cubicBezTo>
                    <a:pt x="18" y="19"/>
                    <a:pt x="22" y="1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6" y="1"/>
                    <a:pt x="26" y="1"/>
                  </a:cubicBezTo>
                  <a:cubicBezTo>
                    <a:pt x="28" y="3"/>
                    <a:pt x="29" y="5"/>
                    <a:pt x="31" y="6"/>
                  </a:cubicBezTo>
                  <a:cubicBezTo>
                    <a:pt x="33" y="7"/>
                    <a:pt x="35" y="9"/>
                    <a:pt x="37" y="10"/>
                  </a:cubicBezTo>
                  <a:cubicBezTo>
                    <a:pt x="39" y="12"/>
                    <a:pt x="40" y="14"/>
                    <a:pt x="43" y="15"/>
                  </a:cubicBezTo>
                  <a:cubicBezTo>
                    <a:pt x="46" y="17"/>
                    <a:pt x="49" y="18"/>
                    <a:pt x="53" y="19"/>
                  </a:cubicBezTo>
                  <a:cubicBezTo>
                    <a:pt x="56" y="20"/>
                    <a:pt x="59" y="21"/>
                    <a:pt x="63" y="22"/>
                  </a:cubicBezTo>
                  <a:cubicBezTo>
                    <a:pt x="64" y="23"/>
                    <a:pt x="66" y="23"/>
                    <a:pt x="68" y="24"/>
                  </a:cubicBezTo>
                  <a:cubicBezTo>
                    <a:pt x="69" y="24"/>
                    <a:pt x="70" y="24"/>
                    <a:pt x="71" y="25"/>
                  </a:cubicBezTo>
                  <a:cubicBezTo>
                    <a:pt x="67" y="34"/>
                    <a:pt x="65" y="42"/>
                    <a:pt x="62" y="52"/>
                  </a:cubicBezTo>
                  <a:cubicBezTo>
                    <a:pt x="59" y="62"/>
                    <a:pt x="56" y="73"/>
                    <a:pt x="53" y="83"/>
                  </a:cubicBezTo>
                  <a:cubicBezTo>
                    <a:pt x="53" y="87"/>
                    <a:pt x="52" y="90"/>
                    <a:pt x="51" y="93"/>
                  </a:cubicBezTo>
                  <a:cubicBezTo>
                    <a:pt x="49" y="96"/>
                    <a:pt x="48" y="99"/>
                    <a:pt x="46" y="103"/>
                  </a:cubicBezTo>
                  <a:cubicBezTo>
                    <a:pt x="44" y="107"/>
                    <a:pt x="41" y="111"/>
                    <a:pt x="38" y="115"/>
                  </a:cubicBezTo>
                  <a:cubicBezTo>
                    <a:pt x="37" y="117"/>
                    <a:pt x="35" y="119"/>
                    <a:pt x="34" y="120"/>
                  </a:cubicBezTo>
                  <a:cubicBezTo>
                    <a:pt x="32" y="122"/>
                    <a:pt x="31" y="123"/>
                    <a:pt x="29" y="124"/>
                  </a:cubicBezTo>
                  <a:cubicBezTo>
                    <a:pt x="29" y="125"/>
                    <a:pt x="28" y="125"/>
                    <a:pt x="28" y="126"/>
                  </a:cubicBezTo>
                  <a:cubicBezTo>
                    <a:pt x="28" y="125"/>
                    <a:pt x="27" y="124"/>
                    <a:pt x="26" y="124"/>
                  </a:cubicBezTo>
                  <a:cubicBezTo>
                    <a:pt x="21" y="120"/>
                    <a:pt x="17" y="117"/>
                    <a:pt x="12" y="112"/>
                  </a:cubicBezTo>
                  <a:cubicBezTo>
                    <a:pt x="8" y="109"/>
                    <a:pt x="4" y="105"/>
                    <a:pt x="2" y="102"/>
                  </a:cubicBezTo>
                  <a:cubicBezTo>
                    <a:pt x="2" y="98"/>
                    <a:pt x="1" y="95"/>
                    <a:pt x="0" y="92"/>
                  </a:cubicBezTo>
                  <a:close/>
                  <a:moveTo>
                    <a:pt x="75" y="150"/>
                  </a:moveTo>
                  <a:cubicBezTo>
                    <a:pt x="75" y="150"/>
                    <a:pt x="75" y="150"/>
                    <a:pt x="75" y="150"/>
                  </a:cubicBezTo>
                  <a:cubicBezTo>
                    <a:pt x="70" y="148"/>
                    <a:pt x="65" y="147"/>
                    <a:pt x="60" y="145"/>
                  </a:cubicBezTo>
                  <a:cubicBezTo>
                    <a:pt x="59" y="145"/>
                    <a:pt x="59" y="145"/>
                    <a:pt x="58" y="145"/>
                  </a:cubicBezTo>
                  <a:cubicBezTo>
                    <a:pt x="56" y="144"/>
                    <a:pt x="55" y="143"/>
                    <a:pt x="53" y="142"/>
                  </a:cubicBezTo>
                  <a:cubicBezTo>
                    <a:pt x="53" y="142"/>
                    <a:pt x="52" y="141"/>
                    <a:pt x="51" y="141"/>
                  </a:cubicBezTo>
                  <a:cubicBezTo>
                    <a:pt x="51" y="140"/>
                    <a:pt x="52" y="138"/>
                    <a:pt x="52" y="137"/>
                  </a:cubicBezTo>
                  <a:cubicBezTo>
                    <a:pt x="53" y="135"/>
                    <a:pt x="54" y="133"/>
                    <a:pt x="55" y="130"/>
                  </a:cubicBezTo>
                  <a:cubicBezTo>
                    <a:pt x="57" y="126"/>
                    <a:pt x="59" y="121"/>
                    <a:pt x="61" y="117"/>
                  </a:cubicBezTo>
                  <a:cubicBezTo>
                    <a:pt x="65" y="107"/>
                    <a:pt x="68" y="97"/>
                    <a:pt x="72" y="87"/>
                  </a:cubicBezTo>
                  <a:cubicBezTo>
                    <a:pt x="75" y="76"/>
                    <a:pt x="77" y="66"/>
                    <a:pt x="80" y="56"/>
                  </a:cubicBezTo>
                  <a:cubicBezTo>
                    <a:pt x="83" y="47"/>
                    <a:pt x="85" y="38"/>
                    <a:pt x="88" y="30"/>
                  </a:cubicBezTo>
                  <a:cubicBezTo>
                    <a:pt x="88" y="30"/>
                    <a:pt x="89" y="30"/>
                    <a:pt x="90" y="31"/>
                  </a:cubicBezTo>
                  <a:cubicBezTo>
                    <a:pt x="94" y="33"/>
                    <a:pt x="99" y="34"/>
                    <a:pt x="103" y="35"/>
                  </a:cubicBezTo>
                  <a:cubicBezTo>
                    <a:pt x="108" y="37"/>
                    <a:pt x="112" y="38"/>
                    <a:pt x="117" y="39"/>
                  </a:cubicBezTo>
                  <a:cubicBezTo>
                    <a:pt x="125" y="41"/>
                    <a:pt x="132" y="43"/>
                    <a:pt x="140" y="44"/>
                  </a:cubicBezTo>
                  <a:cubicBezTo>
                    <a:pt x="142" y="44"/>
                    <a:pt x="145" y="44"/>
                    <a:pt x="147" y="44"/>
                  </a:cubicBezTo>
                  <a:cubicBezTo>
                    <a:pt x="149" y="44"/>
                    <a:pt x="150" y="45"/>
                    <a:pt x="151" y="45"/>
                  </a:cubicBezTo>
                  <a:cubicBezTo>
                    <a:pt x="153" y="45"/>
                    <a:pt x="156" y="46"/>
                    <a:pt x="159" y="45"/>
                  </a:cubicBezTo>
                  <a:cubicBezTo>
                    <a:pt x="157" y="51"/>
                    <a:pt x="156" y="57"/>
                    <a:pt x="154" y="62"/>
                  </a:cubicBezTo>
                  <a:cubicBezTo>
                    <a:pt x="151" y="73"/>
                    <a:pt x="149" y="83"/>
                    <a:pt x="146" y="94"/>
                  </a:cubicBezTo>
                  <a:cubicBezTo>
                    <a:pt x="146" y="95"/>
                    <a:pt x="146" y="97"/>
                    <a:pt x="145" y="99"/>
                  </a:cubicBezTo>
                  <a:cubicBezTo>
                    <a:pt x="145" y="99"/>
                    <a:pt x="145" y="99"/>
                    <a:pt x="145" y="100"/>
                  </a:cubicBezTo>
                  <a:cubicBezTo>
                    <a:pt x="144" y="101"/>
                    <a:pt x="143" y="102"/>
                    <a:pt x="143" y="103"/>
                  </a:cubicBezTo>
                  <a:cubicBezTo>
                    <a:pt x="142" y="104"/>
                    <a:pt x="142" y="106"/>
                    <a:pt x="141" y="107"/>
                  </a:cubicBezTo>
                  <a:cubicBezTo>
                    <a:pt x="140" y="109"/>
                    <a:pt x="139" y="111"/>
                    <a:pt x="138" y="114"/>
                  </a:cubicBezTo>
                  <a:cubicBezTo>
                    <a:pt x="136" y="119"/>
                    <a:pt x="133" y="124"/>
                    <a:pt x="129" y="128"/>
                  </a:cubicBezTo>
                  <a:cubicBezTo>
                    <a:pt x="129" y="128"/>
                    <a:pt x="129" y="128"/>
                    <a:pt x="129" y="129"/>
                  </a:cubicBezTo>
                  <a:cubicBezTo>
                    <a:pt x="127" y="129"/>
                    <a:pt x="126" y="129"/>
                    <a:pt x="124" y="129"/>
                  </a:cubicBezTo>
                  <a:cubicBezTo>
                    <a:pt x="116" y="129"/>
                    <a:pt x="107" y="130"/>
                    <a:pt x="99" y="133"/>
                  </a:cubicBezTo>
                  <a:cubicBezTo>
                    <a:pt x="91" y="137"/>
                    <a:pt x="84" y="142"/>
                    <a:pt x="77" y="148"/>
                  </a:cubicBezTo>
                  <a:cubicBezTo>
                    <a:pt x="76" y="148"/>
                    <a:pt x="75" y="149"/>
                    <a:pt x="75" y="150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0" name="íṥľíďe">
              <a:extLst>
                <a:ext uri="{FF2B5EF4-FFF2-40B4-BE49-F238E27FC236}">
                  <a16:creationId xmlns:a16="http://schemas.microsoft.com/office/drawing/2014/main" id="{30884708-4E79-4D7B-A90A-0C4B00562062}"/>
                </a:ext>
              </a:extLst>
            </p:cNvPr>
            <p:cNvSpPr/>
            <p:nvPr/>
          </p:nvSpPr>
          <p:spPr bwMode="auto">
            <a:xfrm>
              <a:off x="7126124" y="391103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1" name="ï$1íḓe">
              <a:extLst>
                <a:ext uri="{FF2B5EF4-FFF2-40B4-BE49-F238E27FC236}">
                  <a16:creationId xmlns:a16="http://schemas.microsoft.com/office/drawing/2014/main" id="{03BEB88B-3955-43A5-92FF-E5F6A322E444}"/>
                </a:ext>
              </a:extLst>
            </p:cNvPr>
            <p:cNvSpPr/>
            <p:nvPr/>
          </p:nvSpPr>
          <p:spPr bwMode="auto">
            <a:xfrm>
              <a:off x="7126124" y="391399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2" name="ïsľîďê">
              <a:extLst>
                <a:ext uri="{FF2B5EF4-FFF2-40B4-BE49-F238E27FC236}">
                  <a16:creationId xmlns:a16="http://schemas.microsoft.com/office/drawing/2014/main" id="{75C0CBA2-6629-474D-9C48-5E9A34BBD8C6}"/>
                </a:ext>
              </a:extLst>
            </p:cNvPr>
            <p:cNvSpPr/>
            <p:nvPr/>
          </p:nvSpPr>
          <p:spPr bwMode="auto">
            <a:xfrm>
              <a:off x="6818271" y="3820751"/>
              <a:ext cx="307853" cy="170208"/>
            </a:xfrm>
            <a:custGeom>
              <a:avLst/>
              <a:gdLst>
                <a:gd name="T0" fmla="*/ 99 w 100"/>
                <a:gd name="T1" fmla="*/ 29 h 55"/>
                <a:gd name="T2" fmla="*/ 99 w 100"/>
                <a:gd name="T3" fmla="*/ 29 h 55"/>
                <a:gd name="T4" fmla="*/ 100 w 100"/>
                <a:gd name="T5" fmla="*/ 29 h 55"/>
                <a:gd name="T6" fmla="*/ 100 w 100"/>
                <a:gd name="T7" fmla="*/ 29 h 55"/>
                <a:gd name="T8" fmla="*/ 100 w 100"/>
                <a:gd name="T9" fmla="*/ 30 h 55"/>
                <a:gd name="T10" fmla="*/ 100 w 100"/>
                <a:gd name="T11" fmla="*/ 30 h 55"/>
                <a:gd name="T12" fmla="*/ 100 w 100"/>
                <a:gd name="T13" fmla="*/ 31 h 55"/>
                <a:gd name="T14" fmla="*/ 95 w 100"/>
                <a:gd name="T15" fmla="*/ 40 h 55"/>
                <a:gd name="T16" fmla="*/ 94 w 100"/>
                <a:gd name="T17" fmla="*/ 43 h 55"/>
                <a:gd name="T18" fmla="*/ 92 w 100"/>
                <a:gd name="T19" fmla="*/ 45 h 55"/>
                <a:gd name="T20" fmla="*/ 88 w 100"/>
                <a:gd name="T21" fmla="*/ 50 h 55"/>
                <a:gd name="T22" fmla="*/ 83 w 100"/>
                <a:gd name="T23" fmla="*/ 55 h 55"/>
                <a:gd name="T24" fmla="*/ 70 w 100"/>
                <a:gd name="T25" fmla="*/ 45 h 55"/>
                <a:gd name="T26" fmla="*/ 53 w 100"/>
                <a:gd name="T27" fmla="*/ 33 h 55"/>
                <a:gd name="T28" fmla="*/ 44 w 100"/>
                <a:gd name="T29" fmla="*/ 30 h 55"/>
                <a:gd name="T30" fmla="*/ 38 w 100"/>
                <a:gd name="T31" fmla="*/ 30 h 55"/>
                <a:gd name="T32" fmla="*/ 34 w 100"/>
                <a:gd name="T33" fmla="*/ 31 h 55"/>
                <a:gd name="T34" fmla="*/ 34 w 100"/>
                <a:gd name="T35" fmla="*/ 31 h 55"/>
                <a:gd name="T36" fmla="*/ 33 w 100"/>
                <a:gd name="T37" fmla="*/ 33 h 55"/>
                <a:gd name="T38" fmla="*/ 32 w 100"/>
                <a:gd name="T39" fmla="*/ 34 h 55"/>
                <a:gd name="T40" fmla="*/ 32 w 100"/>
                <a:gd name="T41" fmla="*/ 34 h 55"/>
                <a:gd name="T42" fmla="*/ 31 w 100"/>
                <a:gd name="T43" fmla="*/ 36 h 55"/>
                <a:gd name="T44" fmla="*/ 30 w 100"/>
                <a:gd name="T45" fmla="*/ 38 h 55"/>
                <a:gd name="T46" fmla="*/ 29 w 100"/>
                <a:gd name="T47" fmla="*/ 39 h 55"/>
                <a:gd name="T48" fmla="*/ 29 w 100"/>
                <a:gd name="T49" fmla="*/ 39 h 55"/>
                <a:gd name="T50" fmla="*/ 27 w 100"/>
                <a:gd name="T51" fmla="*/ 43 h 55"/>
                <a:gd name="T52" fmla="*/ 23 w 100"/>
                <a:gd name="T53" fmla="*/ 47 h 55"/>
                <a:gd name="T54" fmla="*/ 22 w 100"/>
                <a:gd name="T55" fmla="*/ 49 h 55"/>
                <a:gd name="T56" fmla="*/ 13 w 100"/>
                <a:gd name="T57" fmla="*/ 47 h 55"/>
                <a:gd name="T58" fmla="*/ 1 w 100"/>
                <a:gd name="T59" fmla="*/ 44 h 55"/>
                <a:gd name="T60" fmla="*/ 1 w 100"/>
                <a:gd name="T61" fmla="*/ 43 h 55"/>
                <a:gd name="T62" fmla="*/ 1 w 100"/>
                <a:gd name="T63" fmla="*/ 43 h 55"/>
                <a:gd name="T64" fmla="*/ 0 w 100"/>
                <a:gd name="T65" fmla="*/ 41 h 55"/>
                <a:gd name="T66" fmla="*/ 0 w 100"/>
                <a:gd name="T67" fmla="*/ 34 h 55"/>
                <a:gd name="T68" fmla="*/ 0 w 100"/>
                <a:gd name="T69" fmla="*/ 31 h 55"/>
                <a:gd name="T70" fmla="*/ 1 w 100"/>
                <a:gd name="T71" fmla="*/ 27 h 55"/>
                <a:gd name="T72" fmla="*/ 1 w 100"/>
                <a:gd name="T73" fmla="*/ 26 h 55"/>
                <a:gd name="T74" fmla="*/ 1 w 100"/>
                <a:gd name="T75" fmla="*/ 24 h 55"/>
                <a:gd name="T76" fmla="*/ 2 w 100"/>
                <a:gd name="T77" fmla="*/ 20 h 55"/>
                <a:gd name="T78" fmla="*/ 6 w 100"/>
                <a:gd name="T79" fmla="*/ 5 h 55"/>
                <a:gd name="T80" fmla="*/ 8 w 100"/>
                <a:gd name="T81" fmla="*/ 0 h 55"/>
                <a:gd name="T82" fmla="*/ 15 w 100"/>
                <a:gd name="T83" fmla="*/ 3 h 55"/>
                <a:gd name="T84" fmla="*/ 27 w 100"/>
                <a:gd name="T85" fmla="*/ 6 h 55"/>
                <a:gd name="T86" fmla="*/ 52 w 100"/>
                <a:gd name="T87" fmla="*/ 10 h 55"/>
                <a:gd name="T88" fmla="*/ 57 w 100"/>
                <a:gd name="T89" fmla="*/ 12 h 55"/>
                <a:gd name="T90" fmla="*/ 60 w 100"/>
                <a:gd name="T91" fmla="*/ 13 h 55"/>
                <a:gd name="T92" fmla="*/ 62 w 100"/>
                <a:gd name="T93" fmla="*/ 13 h 55"/>
                <a:gd name="T94" fmla="*/ 63 w 100"/>
                <a:gd name="T95" fmla="*/ 14 h 55"/>
                <a:gd name="T96" fmla="*/ 76 w 100"/>
                <a:gd name="T97" fmla="*/ 20 h 55"/>
                <a:gd name="T98" fmla="*/ 92 w 100"/>
                <a:gd name="T99" fmla="*/ 26 h 55"/>
                <a:gd name="T100" fmla="*/ 97 w 100"/>
                <a:gd name="T101" fmla="*/ 28 h 55"/>
                <a:gd name="T102" fmla="*/ 99 w 100"/>
                <a:gd name="T103" fmla="*/ 2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0" h="55">
                  <a:moveTo>
                    <a:pt x="99" y="29"/>
                  </a:move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1"/>
                  </a:cubicBezTo>
                  <a:cubicBezTo>
                    <a:pt x="99" y="34"/>
                    <a:pt x="97" y="37"/>
                    <a:pt x="95" y="40"/>
                  </a:cubicBezTo>
                  <a:cubicBezTo>
                    <a:pt x="94" y="41"/>
                    <a:pt x="94" y="41"/>
                    <a:pt x="94" y="43"/>
                  </a:cubicBezTo>
                  <a:cubicBezTo>
                    <a:pt x="93" y="43"/>
                    <a:pt x="93" y="44"/>
                    <a:pt x="92" y="45"/>
                  </a:cubicBezTo>
                  <a:cubicBezTo>
                    <a:pt x="91" y="47"/>
                    <a:pt x="89" y="48"/>
                    <a:pt x="88" y="50"/>
                  </a:cubicBezTo>
                  <a:cubicBezTo>
                    <a:pt x="86" y="51"/>
                    <a:pt x="85" y="53"/>
                    <a:pt x="83" y="55"/>
                  </a:cubicBezTo>
                  <a:cubicBezTo>
                    <a:pt x="79" y="51"/>
                    <a:pt x="74" y="48"/>
                    <a:pt x="70" y="45"/>
                  </a:cubicBezTo>
                  <a:cubicBezTo>
                    <a:pt x="65" y="40"/>
                    <a:pt x="59" y="37"/>
                    <a:pt x="53" y="33"/>
                  </a:cubicBezTo>
                  <a:cubicBezTo>
                    <a:pt x="50" y="32"/>
                    <a:pt x="47" y="30"/>
                    <a:pt x="44" y="30"/>
                  </a:cubicBezTo>
                  <a:cubicBezTo>
                    <a:pt x="42" y="29"/>
                    <a:pt x="40" y="29"/>
                    <a:pt x="38" y="30"/>
                  </a:cubicBezTo>
                  <a:cubicBezTo>
                    <a:pt x="37" y="30"/>
                    <a:pt x="35" y="30"/>
                    <a:pt x="34" y="31"/>
                  </a:cubicBezTo>
                  <a:cubicBezTo>
                    <a:pt x="35" y="31"/>
                    <a:pt x="34" y="31"/>
                    <a:pt x="34" y="31"/>
                  </a:cubicBezTo>
                  <a:cubicBezTo>
                    <a:pt x="34" y="32"/>
                    <a:pt x="34" y="32"/>
                    <a:pt x="33" y="33"/>
                  </a:cubicBezTo>
                  <a:cubicBezTo>
                    <a:pt x="33" y="33"/>
                    <a:pt x="33" y="34"/>
                    <a:pt x="32" y="34"/>
                  </a:cubicBezTo>
                  <a:cubicBezTo>
                    <a:pt x="32" y="34"/>
                    <a:pt x="32" y="35"/>
                    <a:pt x="32" y="34"/>
                  </a:cubicBezTo>
                  <a:cubicBezTo>
                    <a:pt x="32" y="35"/>
                    <a:pt x="31" y="35"/>
                    <a:pt x="31" y="36"/>
                  </a:cubicBezTo>
                  <a:cubicBezTo>
                    <a:pt x="31" y="37"/>
                    <a:pt x="30" y="37"/>
                    <a:pt x="30" y="38"/>
                  </a:cubicBezTo>
                  <a:cubicBezTo>
                    <a:pt x="29" y="38"/>
                    <a:pt x="29" y="39"/>
                    <a:pt x="29" y="39"/>
                  </a:cubicBezTo>
                  <a:cubicBezTo>
                    <a:pt x="29" y="39"/>
                    <a:pt x="28" y="40"/>
                    <a:pt x="29" y="39"/>
                  </a:cubicBezTo>
                  <a:cubicBezTo>
                    <a:pt x="28" y="40"/>
                    <a:pt x="27" y="41"/>
                    <a:pt x="27" y="43"/>
                  </a:cubicBezTo>
                  <a:cubicBezTo>
                    <a:pt x="25" y="44"/>
                    <a:pt x="24" y="46"/>
                    <a:pt x="23" y="47"/>
                  </a:cubicBezTo>
                  <a:cubicBezTo>
                    <a:pt x="23" y="48"/>
                    <a:pt x="22" y="48"/>
                    <a:pt x="22" y="49"/>
                  </a:cubicBezTo>
                  <a:cubicBezTo>
                    <a:pt x="19" y="48"/>
                    <a:pt x="16" y="47"/>
                    <a:pt x="13" y="47"/>
                  </a:cubicBezTo>
                  <a:cubicBezTo>
                    <a:pt x="9" y="46"/>
                    <a:pt x="5" y="45"/>
                    <a:pt x="1" y="44"/>
                  </a:cubicBezTo>
                  <a:cubicBezTo>
                    <a:pt x="1" y="44"/>
                    <a:pt x="1" y="44"/>
                    <a:pt x="1" y="43"/>
                  </a:cubicBezTo>
                  <a:cubicBezTo>
                    <a:pt x="1" y="44"/>
                    <a:pt x="1" y="43"/>
                    <a:pt x="1" y="43"/>
                  </a:cubicBezTo>
                  <a:cubicBezTo>
                    <a:pt x="0" y="42"/>
                    <a:pt x="0" y="41"/>
                    <a:pt x="0" y="41"/>
                  </a:cubicBezTo>
                  <a:cubicBezTo>
                    <a:pt x="0" y="39"/>
                    <a:pt x="0" y="36"/>
                    <a:pt x="0" y="34"/>
                  </a:cubicBezTo>
                  <a:cubicBezTo>
                    <a:pt x="0" y="33"/>
                    <a:pt x="0" y="32"/>
                    <a:pt x="0" y="31"/>
                  </a:cubicBezTo>
                  <a:cubicBezTo>
                    <a:pt x="1" y="29"/>
                    <a:pt x="1" y="29"/>
                    <a:pt x="1" y="27"/>
                  </a:cubicBezTo>
                  <a:cubicBezTo>
                    <a:pt x="1" y="28"/>
                    <a:pt x="1" y="27"/>
                    <a:pt x="1" y="26"/>
                  </a:cubicBezTo>
                  <a:cubicBezTo>
                    <a:pt x="1" y="26"/>
                    <a:pt x="1" y="25"/>
                    <a:pt x="1" y="24"/>
                  </a:cubicBezTo>
                  <a:cubicBezTo>
                    <a:pt x="2" y="23"/>
                    <a:pt x="2" y="22"/>
                    <a:pt x="2" y="20"/>
                  </a:cubicBezTo>
                  <a:cubicBezTo>
                    <a:pt x="3" y="15"/>
                    <a:pt x="4" y="11"/>
                    <a:pt x="6" y="5"/>
                  </a:cubicBezTo>
                  <a:cubicBezTo>
                    <a:pt x="7" y="3"/>
                    <a:pt x="7" y="2"/>
                    <a:pt x="8" y="0"/>
                  </a:cubicBezTo>
                  <a:cubicBezTo>
                    <a:pt x="10" y="1"/>
                    <a:pt x="13" y="2"/>
                    <a:pt x="15" y="3"/>
                  </a:cubicBezTo>
                  <a:cubicBezTo>
                    <a:pt x="19" y="4"/>
                    <a:pt x="22" y="5"/>
                    <a:pt x="27" y="6"/>
                  </a:cubicBezTo>
                  <a:cubicBezTo>
                    <a:pt x="35" y="7"/>
                    <a:pt x="44" y="8"/>
                    <a:pt x="52" y="10"/>
                  </a:cubicBezTo>
                  <a:cubicBezTo>
                    <a:pt x="54" y="11"/>
                    <a:pt x="55" y="11"/>
                    <a:pt x="57" y="12"/>
                  </a:cubicBezTo>
                  <a:cubicBezTo>
                    <a:pt x="58" y="12"/>
                    <a:pt x="59" y="12"/>
                    <a:pt x="60" y="13"/>
                  </a:cubicBezTo>
                  <a:cubicBezTo>
                    <a:pt x="61" y="13"/>
                    <a:pt x="61" y="13"/>
                    <a:pt x="62" y="13"/>
                  </a:cubicBezTo>
                  <a:cubicBezTo>
                    <a:pt x="62" y="13"/>
                    <a:pt x="63" y="14"/>
                    <a:pt x="63" y="14"/>
                  </a:cubicBezTo>
                  <a:cubicBezTo>
                    <a:pt x="67" y="16"/>
                    <a:pt x="72" y="18"/>
                    <a:pt x="76" y="20"/>
                  </a:cubicBezTo>
                  <a:cubicBezTo>
                    <a:pt x="81" y="22"/>
                    <a:pt x="87" y="24"/>
                    <a:pt x="92" y="26"/>
                  </a:cubicBezTo>
                  <a:cubicBezTo>
                    <a:pt x="93" y="27"/>
                    <a:pt x="95" y="27"/>
                    <a:pt x="97" y="28"/>
                  </a:cubicBezTo>
                  <a:cubicBezTo>
                    <a:pt x="97" y="28"/>
                    <a:pt x="98" y="29"/>
                    <a:pt x="99" y="29"/>
                  </a:cubicBezTo>
                  <a:close/>
                </a:path>
              </a:pathLst>
            </a:custGeom>
            <a:solidFill>
              <a:srgbClr val="FB7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3" name="isľîḋé">
              <a:extLst>
                <a:ext uri="{FF2B5EF4-FFF2-40B4-BE49-F238E27FC236}">
                  <a16:creationId xmlns:a16="http://schemas.microsoft.com/office/drawing/2014/main" id="{081CEC64-E753-469E-9983-18EF23FC20CA}"/>
                </a:ext>
              </a:extLst>
            </p:cNvPr>
            <p:cNvSpPr/>
            <p:nvPr/>
          </p:nvSpPr>
          <p:spPr bwMode="auto">
            <a:xfrm>
              <a:off x="4546376" y="525049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4" name="íṣlïďè">
              <a:extLst>
                <a:ext uri="{FF2B5EF4-FFF2-40B4-BE49-F238E27FC236}">
                  <a16:creationId xmlns:a16="http://schemas.microsoft.com/office/drawing/2014/main" id="{B9D2DE56-A204-44B8-B72B-1EFAAF0A454C}"/>
                </a:ext>
              </a:extLst>
            </p:cNvPr>
            <p:cNvSpPr/>
            <p:nvPr/>
          </p:nvSpPr>
          <p:spPr bwMode="auto">
            <a:xfrm>
              <a:off x="4531575" y="4958918"/>
              <a:ext cx="1611788" cy="791834"/>
            </a:xfrm>
            <a:custGeom>
              <a:avLst/>
              <a:gdLst>
                <a:gd name="T0" fmla="*/ 23 w 524"/>
                <a:gd name="T1" fmla="*/ 0 h 258"/>
                <a:gd name="T2" fmla="*/ 23 w 524"/>
                <a:gd name="T3" fmla="*/ 0 h 258"/>
                <a:gd name="T4" fmla="*/ 26 w 524"/>
                <a:gd name="T5" fmla="*/ 2 h 258"/>
                <a:gd name="T6" fmla="*/ 35 w 524"/>
                <a:gd name="T7" fmla="*/ 9 h 258"/>
                <a:gd name="T8" fmla="*/ 53 w 524"/>
                <a:gd name="T9" fmla="*/ 23 h 258"/>
                <a:gd name="T10" fmla="*/ 73 w 524"/>
                <a:gd name="T11" fmla="*/ 34 h 258"/>
                <a:gd name="T12" fmla="*/ 83 w 524"/>
                <a:gd name="T13" fmla="*/ 39 h 258"/>
                <a:gd name="T14" fmla="*/ 89 w 524"/>
                <a:gd name="T15" fmla="*/ 41 h 258"/>
                <a:gd name="T16" fmla="*/ 95 w 524"/>
                <a:gd name="T17" fmla="*/ 45 h 258"/>
                <a:gd name="T18" fmla="*/ 88 w 524"/>
                <a:gd name="T19" fmla="*/ 48 h 258"/>
                <a:gd name="T20" fmla="*/ 77 w 524"/>
                <a:gd name="T21" fmla="*/ 53 h 258"/>
                <a:gd name="T22" fmla="*/ 53 w 524"/>
                <a:gd name="T23" fmla="*/ 62 h 258"/>
                <a:gd name="T24" fmla="*/ 41 w 524"/>
                <a:gd name="T25" fmla="*/ 67 h 258"/>
                <a:gd name="T26" fmla="*/ 28 w 524"/>
                <a:gd name="T27" fmla="*/ 74 h 258"/>
                <a:gd name="T28" fmla="*/ 3 w 524"/>
                <a:gd name="T29" fmla="*/ 86 h 258"/>
                <a:gd name="T30" fmla="*/ 0 w 524"/>
                <a:gd name="T31" fmla="*/ 87 h 258"/>
                <a:gd name="T32" fmla="*/ 1 w 524"/>
                <a:gd name="T33" fmla="*/ 56 h 258"/>
                <a:gd name="T34" fmla="*/ 2 w 524"/>
                <a:gd name="T35" fmla="*/ 38 h 258"/>
                <a:gd name="T36" fmla="*/ 3 w 524"/>
                <a:gd name="T37" fmla="*/ 24 h 258"/>
                <a:gd name="T38" fmla="*/ 23 w 524"/>
                <a:gd name="T39" fmla="*/ 0 h 258"/>
                <a:gd name="T40" fmla="*/ 413 w 524"/>
                <a:gd name="T41" fmla="*/ 151 h 258"/>
                <a:gd name="T42" fmla="*/ 413 w 524"/>
                <a:gd name="T43" fmla="*/ 151 h 258"/>
                <a:gd name="T44" fmla="*/ 415 w 524"/>
                <a:gd name="T45" fmla="*/ 152 h 258"/>
                <a:gd name="T46" fmla="*/ 428 w 524"/>
                <a:gd name="T47" fmla="*/ 156 h 258"/>
                <a:gd name="T48" fmla="*/ 442 w 524"/>
                <a:gd name="T49" fmla="*/ 160 h 258"/>
                <a:gd name="T50" fmla="*/ 471 w 524"/>
                <a:gd name="T51" fmla="*/ 166 h 258"/>
                <a:gd name="T52" fmla="*/ 524 w 524"/>
                <a:gd name="T53" fmla="*/ 179 h 258"/>
                <a:gd name="T54" fmla="*/ 524 w 524"/>
                <a:gd name="T55" fmla="*/ 179 h 258"/>
                <a:gd name="T56" fmla="*/ 522 w 524"/>
                <a:gd name="T57" fmla="*/ 181 h 258"/>
                <a:gd name="T58" fmla="*/ 502 w 524"/>
                <a:gd name="T59" fmla="*/ 198 h 258"/>
                <a:gd name="T60" fmla="*/ 481 w 524"/>
                <a:gd name="T61" fmla="*/ 216 h 258"/>
                <a:gd name="T62" fmla="*/ 461 w 524"/>
                <a:gd name="T63" fmla="*/ 232 h 258"/>
                <a:gd name="T64" fmla="*/ 438 w 524"/>
                <a:gd name="T65" fmla="*/ 258 h 258"/>
                <a:gd name="T66" fmla="*/ 427 w 524"/>
                <a:gd name="T67" fmla="*/ 213 h 258"/>
                <a:gd name="T68" fmla="*/ 409 w 524"/>
                <a:gd name="T69" fmla="*/ 156 h 258"/>
                <a:gd name="T70" fmla="*/ 408 w 524"/>
                <a:gd name="T71" fmla="*/ 153 h 258"/>
                <a:gd name="T72" fmla="*/ 408 w 524"/>
                <a:gd name="T73" fmla="*/ 153 h 258"/>
                <a:gd name="T74" fmla="*/ 408 w 524"/>
                <a:gd name="T75" fmla="*/ 150 h 258"/>
                <a:gd name="T76" fmla="*/ 407 w 524"/>
                <a:gd name="T77" fmla="*/ 149 h 258"/>
                <a:gd name="T78" fmla="*/ 407 w 524"/>
                <a:gd name="T79" fmla="*/ 149 h 258"/>
                <a:gd name="T80" fmla="*/ 413 w 524"/>
                <a:gd name="T81" fmla="*/ 151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4" h="258"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1"/>
                    <a:pt x="24" y="2"/>
                    <a:pt x="26" y="2"/>
                  </a:cubicBezTo>
                  <a:cubicBezTo>
                    <a:pt x="29" y="5"/>
                    <a:pt x="32" y="7"/>
                    <a:pt x="35" y="9"/>
                  </a:cubicBezTo>
                  <a:cubicBezTo>
                    <a:pt x="41" y="14"/>
                    <a:pt x="47" y="19"/>
                    <a:pt x="53" y="23"/>
                  </a:cubicBezTo>
                  <a:cubicBezTo>
                    <a:pt x="60" y="27"/>
                    <a:pt x="67" y="30"/>
                    <a:pt x="73" y="34"/>
                  </a:cubicBezTo>
                  <a:cubicBezTo>
                    <a:pt x="76" y="35"/>
                    <a:pt x="80" y="37"/>
                    <a:pt x="83" y="39"/>
                  </a:cubicBezTo>
                  <a:cubicBezTo>
                    <a:pt x="85" y="39"/>
                    <a:pt x="87" y="40"/>
                    <a:pt x="89" y="41"/>
                  </a:cubicBezTo>
                  <a:cubicBezTo>
                    <a:pt x="91" y="42"/>
                    <a:pt x="93" y="43"/>
                    <a:pt x="95" y="45"/>
                  </a:cubicBezTo>
                  <a:cubicBezTo>
                    <a:pt x="93" y="46"/>
                    <a:pt x="90" y="47"/>
                    <a:pt x="88" y="48"/>
                  </a:cubicBezTo>
                  <a:cubicBezTo>
                    <a:pt x="85" y="50"/>
                    <a:pt x="81" y="51"/>
                    <a:pt x="77" y="53"/>
                  </a:cubicBezTo>
                  <a:cubicBezTo>
                    <a:pt x="69" y="56"/>
                    <a:pt x="61" y="58"/>
                    <a:pt x="53" y="62"/>
                  </a:cubicBezTo>
                  <a:cubicBezTo>
                    <a:pt x="49" y="63"/>
                    <a:pt x="45" y="65"/>
                    <a:pt x="41" y="67"/>
                  </a:cubicBezTo>
                  <a:cubicBezTo>
                    <a:pt x="36" y="69"/>
                    <a:pt x="32" y="72"/>
                    <a:pt x="28" y="74"/>
                  </a:cubicBezTo>
                  <a:cubicBezTo>
                    <a:pt x="20" y="79"/>
                    <a:pt x="12" y="83"/>
                    <a:pt x="3" y="86"/>
                  </a:cubicBezTo>
                  <a:cubicBezTo>
                    <a:pt x="2" y="86"/>
                    <a:pt x="1" y="87"/>
                    <a:pt x="0" y="87"/>
                  </a:cubicBezTo>
                  <a:cubicBezTo>
                    <a:pt x="0" y="76"/>
                    <a:pt x="1" y="66"/>
                    <a:pt x="1" y="56"/>
                  </a:cubicBezTo>
                  <a:cubicBezTo>
                    <a:pt x="2" y="50"/>
                    <a:pt x="2" y="44"/>
                    <a:pt x="2" y="38"/>
                  </a:cubicBezTo>
                  <a:cubicBezTo>
                    <a:pt x="3" y="33"/>
                    <a:pt x="3" y="29"/>
                    <a:pt x="3" y="24"/>
                  </a:cubicBezTo>
                  <a:cubicBezTo>
                    <a:pt x="9" y="15"/>
                    <a:pt x="16" y="7"/>
                    <a:pt x="23" y="0"/>
                  </a:cubicBezTo>
                  <a:close/>
                  <a:moveTo>
                    <a:pt x="413" y="151"/>
                  </a:moveTo>
                  <a:cubicBezTo>
                    <a:pt x="413" y="151"/>
                    <a:pt x="413" y="151"/>
                    <a:pt x="413" y="151"/>
                  </a:cubicBezTo>
                  <a:cubicBezTo>
                    <a:pt x="413" y="151"/>
                    <a:pt x="414" y="152"/>
                    <a:pt x="415" y="152"/>
                  </a:cubicBezTo>
                  <a:cubicBezTo>
                    <a:pt x="419" y="154"/>
                    <a:pt x="423" y="155"/>
                    <a:pt x="428" y="156"/>
                  </a:cubicBezTo>
                  <a:cubicBezTo>
                    <a:pt x="433" y="157"/>
                    <a:pt x="437" y="159"/>
                    <a:pt x="442" y="160"/>
                  </a:cubicBezTo>
                  <a:cubicBezTo>
                    <a:pt x="451" y="163"/>
                    <a:pt x="461" y="165"/>
                    <a:pt x="471" y="166"/>
                  </a:cubicBezTo>
                  <a:cubicBezTo>
                    <a:pt x="489" y="169"/>
                    <a:pt x="507" y="172"/>
                    <a:pt x="524" y="179"/>
                  </a:cubicBezTo>
                  <a:cubicBezTo>
                    <a:pt x="524" y="179"/>
                    <a:pt x="524" y="179"/>
                    <a:pt x="524" y="179"/>
                  </a:cubicBezTo>
                  <a:cubicBezTo>
                    <a:pt x="524" y="180"/>
                    <a:pt x="523" y="180"/>
                    <a:pt x="522" y="181"/>
                  </a:cubicBezTo>
                  <a:cubicBezTo>
                    <a:pt x="516" y="187"/>
                    <a:pt x="509" y="193"/>
                    <a:pt x="502" y="198"/>
                  </a:cubicBezTo>
                  <a:cubicBezTo>
                    <a:pt x="495" y="205"/>
                    <a:pt x="489" y="210"/>
                    <a:pt x="481" y="216"/>
                  </a:cubicBezTo>
                  <a:cubicBezTo>
                    <a:pt x="474" y="221"/>
                    <a:pt x="467" y="227"/>
                    <a:pt x="461" y="232"/>
                  </a:cubicBezTo>
                  <a:cubicBezTo>
                    <a:pt x="452" y="240"/>
                    <a:pt x="444" y="249"/>
                    <a:pt x="438" y="258"/>
                  </a:cubicBezTo>
                  <a:cubicBezTo>
                    <a:pt x="431" y="244"/>
                    <a:pt x="430" y="228"/>
                    <a:pt x="427" y="213"/>
                  </a:cubicBezTo>
                  <a:cubicBezTo>
                    <a:pt x="423" y="193"/>
                    <a:pt x="415" y="175"/>
                    <a:pt x="409" y="156"/>
                  </a:cubicBezTo>
                  <a:cubicBezTo>
                    <a:pt x="409" y="155"/>
                    <a:pt x="408" y="154"/>
                    <a:pt x="408" y="153"/>
                  </a:cubicBezTo>
                  <a:cubicBezTo>
                    <a:pt x="408" y="153"/>
                    <a:pt x="408" y="153"/>
                    <a:pt x="408" y="153"/>
                  </a:cubicBezTo>
                  <a:cubicBezTo>
                    <a:pt x="409" y="152"/>
                    <a:pt x="409" y="151"/>
                    <a:pt x="408" y="150"/>
                  </a:cubicBezTo>
                  <a:cubicBezTo>
                    <a:pt x="408" y="149"/>
                    <a:pt x="407" y="149"/>
                    <a:pt x="407" y="149"/>
                  </a:cubicBezTo>
                  <a:cubicBezTo>
                    <a:pt x="407" y="149"/>
                    <a:pt x="407" y="149"/>
                    <a:pt x="407" y="149"/>
                  </a:cubicBezTo>
                  <a:cubicBezTo>
                    <a:pt x="409" y="149"/>
                    <a:pt x="411" y="150"/>
                    <a:pt x="413" y="151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5" name="iṧlîḓè">
              <a:extLst>
                <a:ext uri="{FF2B5EF4-FFF2-40B4-BE49-F238E27FC236}">
                  <a16:creationId xmlns:a16="http://schemas.microsoft.com/office/drawing/2014/main" id="{C942B5B8-0403-4C0E-9D43-1A9B0D48A59D}"/>
                </a:ext>
              </a:extLst>
            </p:cNvPr>
            <p:cNvSpPr/>
            <p:nvPr/>
          </p:nvSpPr>
          <p:spPr bwMode="auto">
            <a:xfrm>
              <a:off x="4673661" y="5188328"/>
              <a:ext cx="5920" cy="2960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  <a:gd name="T8" fmla="*/ 0 w 2"/>
                <a:gd name="T9" fmla="*/ 0 h 1"/>
                <a:gd name="T10" fmla="*/ 0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6" name="îṥlîḑè">
              <a:extLst>
                <a:ext uri="{FF2B5EF4-FFF2-40B4-BE49-F238E27FC236}">
                  <a16:creationId xmlns:a16="http://schemas.microsoft.com/office/drawing/2014/main" id="{814FD1DB-F4E9-4565-86E8-6254924245F4}"/>
                </a:ext>
              </a:extLst>
            </p:cNvPr>
            <p:cNvSpPr/>
            <p:nvPr/>
          </p:nvSpPr>
          <p:spPr bwMode="auto">
            <a:xfrm>
              <a:off x="4636659" y="4899716"/>
              <a:ext cx="2141651" cy="562424"/>
            </a:xfrm>
            <a:custGeom>
              <a:avLst/>
              <a:gdLst>
                <a:gd name="T0" fmla="*/ 694 w 696"/>
                <a:gd name="T1" fmla="*/ 171 h 183"/>
                <a:gd name="T2" fmla="*/ 694 w 696"/>
                <a:gd name="T3" fmla="*/ 171 h 183"/>
                <a:gd name="T4" fmla="*/ 694 w 696"/>
                <a:gd name="T5" fmla="*/ 171 h 183"/>
                <a:gd name="T6" fmla="*/ 693 w 696"/>
                <a:gd name="T7" fmla="*/ 171 h 183"/>
                <a:gd name="T8" fmla="*/ 690 w 696"/>
                <a:gd name="T9" fmla="*/ 172 h 183"/>
                <a:gd name="T10" fmla="*/ 683 w 696"/>
                <a:gd name="T11" fmla="*/ 174 h 183"/>
                <a:gd name="T12" fmla="*/ 669 w 696"/>
                <a:gd name="T13" fmla="*/ 176 h 183"/>
                <a:gd name="T14" fmla="*/ 638 w 696"/>
                <a:gd name="T15" fmla="*/ 180 h 183"/>
                <a:gd name="T16" fmla="*/ 607 w 696"/>
                <a:gd name="T17" fmla="*/ 181 h 183"/>
                <a:gd name="T18" fmla="*/ 578 w 696"/>
                <a:gd name="T19" fmla="*/ 183 h 183"/>
                <a:gd name="T20" fmla="*/ 513 w 696"/>
                <a:gd name="T21" fmla="*/ 182 h 183"/>
                <a:gd name="T22" fmla="*/ 507 w 696"/>
                <a:gd name="T23" fmla="*/ 180 h 183"/>
                <a:gd name="T24" fmla="*/ 507 w 696"/>
                <a:gd name="T25" fmla="*/ 181 h 183"/>
                <a:gd name="T26" fmla="*/ 483 w 696"/>
                <a:gd name="T27" fmla="*/ 180 h 183"/>
                <a:gd name="T28" fmla="*/ 426 w 696"/>
                <a:gd name="T29" fmla="*/ 173 h 183"/>
                <a:gd name="T30" fmla="*/ 370 w 696"/>
                <a:gd name="T31" fmla="*/ 159 h 183"/>
                <a:gd name="T32" fmla="*/ 368 w 696"/>
                <a:gd name="T33" fmla="*/ 158 h 183"/>
                <a:gd name="T34" fmla="*/ 362 w 696"/>
                <a:gd name="T35" fmla="*/ 155 h 183"/>
                <a:gd name="T36" fmla="*/ 360 w 696"/>
                <a:gd name="T37" fmla="*/ 156 h 183"/>
                <a:gd name="T38" fmla="*/ 256 w 696"/>
                <a:gd name="T39" fmla="*/ 132 h 183"/>
                <a:gd name="T40" fmla="*/ 155 w 696"/>
                <a:gd name="T41" fmla="*/ 102 h 183"/>
                <a:gd name="T42" fmla="*/ 68 w 696"/>
                <a:gd name="T43" fmla="*/ 61 h 183"/>
                <a:gd name="T44" fmla="*/ 30 w 696"/>
                <a:gd name="T45" fmla="*/ 34 h 183"/>
                <a:gd name="T46" fmla="*/ 0 w 696"/>
                <a:gd name="T47" fmla="*/ 7 h 183"/>
                <a:gd name="T48" fmla="*/ 8 w 696"/>
                <a:gd name="T49" fmla="*/ 0 h 183"/>
                <a:gd name="T50" fmla="*/ 93 w 696"/>
                <a:gd name="T51" fmla="*/ 64 h 183"/>
                <a:gd name="T52" fmla="*/ 196 w 696"/>
                <a:gd name="T53" fmla="*/ 107 h 183"/>
                <a:gd name="T54" fmla="*/ 296 w 696"/>
                <a:gd name="T55" fmla="*/ 137 h 183"/>
                <a:gd name="T56" fmla="*/ 297 w 696"/>
                <a:gd name="T57" fmla="*/ 138 h 183"/>
                <a:gd name="T58" fmla="*/ 299 w 696"/>
                <a:gd name="T59" fmla="*/ 138 h 183"/>
                <a:gd name="T60" fmla="*/ 309 w 696"/>
                <a:gd name="T61" fmla="*/ 141 h 183"/>
                <a:gd name="T62" fmla="*/ 435 w 696"/>
                <a:gd name="T63" fmla="*/ 166 h 183"/>
                <a:gd name="T64" fmla="*/ 562 w 696"/>
                <a:gd name="T65" fmla="*/ 176 h 183"/>
                <a:gd name="T66" fmla="*/ 622 w 696"/>
                <a:gd name="T67" fmla="*/ 176 h 183"/>
                <a:gd name="T68" fmla="*/ 682 w 696"/>
                <a:gd name="T69" fmla="*/ 168 h 183"/>
                <a:gd name="T70" fmla="*/ 696 w 696"/>
                <a:gd name="T71" fmla="*/ 164 h 183"/>
                <a:gd name="T72" fmla="*/ 694 w 696"/>
                <a:gd name="T73" fmla="*/ 171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6" h="183">
                  <a:moveTo>
                    <a:pt x="694" y="171"/>
                  </a:moveTo>
                  <a:cubicBezTo>
                    <a:pt x="694" y="171"/>
                    <a:pt x="694" y="171"/>
                    <a:pt x="694" y="171"/>
                  </a:cubicBezTo>
                  <a:cubicBezTo>
                    <a:pt x="694" y="171"/>
                    <a:pt x="694" y="171"/>
                    <a:pt x="694" y="171"/>
                  </a:cubicBezTo>
                  <a:cubicBezTo>
                    <a:pt x="694" y="171"/>
                    <a:pt x="693" y="171"/>
                    <a:pt x="693" y="171"/>
                  </a:cubicBezTo>
                  <a:cubicBezTo>
                    <a:pt x="692" y="172"/>
                    <a:pt x="691" y="172"/>
                    <a:pt x="690" y="172"/>
                  </a:cubicBezTo>
                  <a:cubicBezTo>
                    <a:pt x="688" y="173"/>
                    <a:pt x="685" y="173"/>
                    <a:pt x="683" y="174"/>
                  </a:cubicBezTo>
                  <a:cubicBezTo>
                    <a:pt x="679" y="175"/>
                    <a:pt x="674" y="175"/>
                    <a:pt x="669" y="176"/>
                  </a:cubicBezTo>
                  <a:cubicBezTo>
                    <a:pt x="659" y="178"/>
                    <a:pt x="649" y="179"/>
                    <a:pt x="638" y="180"/>
                  </a:cubicBezTo>
                  <a:cubicBezTo>
                    <a:pt x="628" y="181"/>
                    <a:pt x="618" y="181"/>
                    <a:pt x="607" y="181"/>
                  </a:cubicBezTo>
                  <a:cubicBezTo>
                    <a:pt x="598" y="181"/>
                    <a:pt x="587" y="182"/>
                    <a:pt x="578" y="183"/>
                  </a:cubicBezTo>
                  <a:cubicBezTo>
                    <a:pt x="556" y="182"/>
                    <a:pt x="534" y="182"/>
                    <a:pt x="513" y="182"/>
                  </a:cubicBezTo>
                  <a:cubicBezTo>
                    <a:pt x="512" y="179"/>
                    <a:pt x="509" y="178"/>
                    <a:pt x="507" y="180"/>
                  </a:cubicBezTo>
                  <a:cubicBezTo>
                    <a:pt x="507" y="181"/>
                    <a:pt x="507" y="181"/>
                    <a:pt x="507" y="181"/>
                  </a:cubicBezTo>
                  <a:cubicBezTo>
                    <a:pt x="499" y="181"/>
                    <a:pt x="491" y="181"/>
                    <a:pt x="483" y="180"/>
                  </a:cubicBezTo>
                  <a:cubicBezTo>
                    <a:pt x="464" y="179"/>
                    <a:pt x="445" y="177"/>
                    <a:pt x="426" y="173"/>
                  </a:cubicBezTo>
                  <a:cubicBezTo>
                    <a:pt x="407" y="169"/>
                    <a:pt x="388" y="164"/>
                    <a:pt x="370" y="159"/>
                  </a:cubicBezTo>
                  <a:cubicBezTo>
                    <a:pt x="369" y="159"/>
                    <a:pt x="369" y="158"/>
                    <a:pt x="368" y="158"/>
                  </a:cubicBezTo>
                  <a:cubicBezTo>
                    <a:pt x="368" y="156"/>
                    <a:pt x="365" y="154"/>
                    <a:pt x="362" y="155"/>
                  </a:cubicBezTo>
                  <a:cubicBezTo>
                    <a:pt x="361" y="155"/>
                    <a:pt x="361" y="156"/>
                    <a:pt x="360" y="156"/>
                  </a:cubicBezTo>
                  <a:cubicBezTo>
                    <a:pt x="325" y="148"/>
                    <a:pt x="290" y="141"/>
                    <a:pt x="256" y="132"/>
                  </a:cubicBezTo>
                  <a:cubicBezTo>
                    <a:pt x="222" y="123"/>
                    <a:pt x="188" y="114"/>
                    <a:pt x="155" y="102"/>
                  </a:cubicBezTo>
                  <a:cubicBezTo>
                    <a:pt x="125" y="91"/>
                    <a:pt x="96" y="78"/>
                    <a:pt x="68" y="61"/>
                  </a:cubicBezTo>
                  <a:cubicBezTo>
                    <a:pt x="55" y="53"/>
                    <a:pt x="42" y="44"/>
                    <a:pt x="30" y="34"/>
                  </a:cubicBezTo>
                  <a:cubicBezTo>
                    <a:pt x="19" y="25"/>
                    <a:pt x="10" y="16"/>
                    <a:pt x="0" y="7"/>
                  </a:cubicBezTo>
                  <a:cubicBezTo>
                    <a:pt x="3" y="5"/>
                    <a:pt x="5" y="2"/>
                    <a:pt x="8" y="0"/>
                  </a:cubicBezTo>
                  <a:cubicBezTo>
                    <a:pt x="31" y="27"/>
                    <a:pt x="62" y="48"/>
                    <a:pt x="93" y="64"/>
                  </a:cubicBezTo>
                  <a:cubicBezTo>
                    <a:pt x="126" y="82"/>
                    <a:pt x="162" y="95"/>
                    <a:pt x="196" y="107"/>
                  </a:cubicBezTo>
                  <a:cubicBezTo>
                    <a:pt x="230" y="118"/>
                    <a:pt x="262" y="128"/>
                    <a:pt x="296" y="137"/>
                  </a:cubicBezTo>
                  <a:cubicBezTo>
                    <a:pt x="296" y="138"/>
                    <a:pt x="296" y="138"/>
                    <a:pt x="297" y="138"/>
                  </a:cubicBezTo>
                  <a:cubicBezTo>
                    <a:pt x="297" y="138"/>
                    <a:pt x="298" y="138"/>
                    <a:pt x="299" y="138"/>
                  </a:cubicBezTo>
                  <a:cubicBezTo>
                    <a:pt x="302" y="139"/>
                    <a:pt x="305" y="140"/>
                    <a:pt x="309" y="141"/>
                  </a:cubicBezTo>
                  <a:cubicBezTo>
                    <a:pt x="350" y="151"/>
                    <a:pt x="392" y="160"/>
                    <a:pt x="435" y="166"/>
                  </a:cubicBezTo>
                  <a:cubicBezTo>
                    <a:pt x="477" y="171"/>
                    <a:pt x="520" y="175"/>
                    <a:pt x="562" y="176"/>
                  </a:cubicBezTo>
                  <a:cubicBezTo>
                    <a:pt x="582" y="176"/>
                    <a:pt x="602" y="176"/>
                    <a:pt x="622" y="176"/>
                  </a:cubicBezTo>
                  <a:cubicBezTo>
                    <a:pt x="642" y="175"/>
                    <a:pt x="662" y="173"/>
                    <a:pt x="682" y="168"/>
                  </a:cubicBezTo>
                  <a:cubicBezTo>
                    <a:pt x="687" y="167"/>
                    <a:pt x="691" y="166"/>
                    <a:pt x="696" y="164"/>
                  </a:cubicBezTo>
                  <a:cubicBezTo>
                    <a:pt x="695" y="166"/>
                    <a:pt x="695" y="169"/>
                    <a:pt x="694" y="171"/>
                  </a:cubicBezTo>
                  <a:close/>
                </a:path>
              </a:pathLst>
            </a:custGeom>
            <a:solidFill>
              <a:srgbClr val="FEEB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7" name="iṡľîdé">
              <a:extLst>
                <a:ext uri="{FF2B5EF4-FFF2-40B4-BE49-F238E27FC236}">
                  <a16:creationId xmlns:a16="http://schemas.microsoft.com/office/drawing/2014/main" id="{D8EB6F5B-7462-4967-8B1A-25CC32448B24}"/>
                </a:ext>
              </a:extLst>
            </p:cNvPr>
            <p:cNvSpPr/>
            <p:nvPr/>
          </p:nvSpPr>
          <p:spPr bwMode="auto">
            <a:xfrm>
              <a:off x="5318968" y="5305253"/>
              <a:ext cx="1434181" cy="322654"/>
            </a:xfrm>
            <a:custGeom>
              <a:avLst/>
              <a:gdLst>
                <a:gd name="T0" fmla="*/ 3 w 466"/>
                <a:gd name="T1" fmla="*/ 105 h 105"/>
                <a:gd name="T2" fmla="*/ 3 w 466"/>
                <a:gd name="T3" fmla="*/ 105 h 105"/>
                <a:gd name="T4" fmla="*/ 4 w 466"/>
                <a:gd name="T5" fmla="*/ 54 h 105"/>
                <a:gd name="T6" fmla="*/ 2 w 466"/>
                <a:gd name="T7" fmla="*/ 24 h 105"/>
                <a:gd name="T8" fmla="*/ 1 w 466"/>
                <a:gd name="T9" fmla="*/ 9 h 105"/>
                <a:gd name="T10" fmla="*/ 0 w 466"/>
                <a:gd name="T11" fmla="*/ 2 h 105"/>
                <a:gd name="T12" fmla="*/ 0 w 466"/>
                <a:gd name="T13" fmla="*/ 0 h 105"/>
                <a:gd name="T14" fmla="*/ 5 w 466"/>
                <a:gd name="T15" fmla="*/ 1 h 105"/>
                <a:gd name="T16" fmla="*/ 27 w 466"/>
                <a:gd name="T17" fmla="*/ 10 h 105"/>
                <a:gd name="T18" fmla="*/ 57 w 466"/>
                <a:gd name="T19" fmla="*/ 20 h 105"/>
                <a:gd name="T20" fmla="*/ 87 w 466"/>
                <a:gd name="T21" fmla="*/ 29 h 105"/>
                <a:gd name="T22" fmla="*/ 102 w 466"/>
                <a:gd name="T23" fmla="*/ 33 h 105"/>
                <a:gd name="T24" fmla="*/ 117 w 466"/>
                <a:gd name="T25" fmla="*/ 36 h 105"/>
                <a:gd name="T26" fmla="*/ 118 w 466"/>
                <a:gd name="T27" fmla="*/ 36 h 105"/>
                <a:gd name="T28" fmla="*/ 118 w 466"/>
                <a:gd name="T29" fmla="*/ 36 h 105"/>
                <a:gd name="T30" fmla="*/ 120 w 466"/>
                <a:gd name="T31" fmla="*/ 37 h 105"/>
                <a:gd name="T32" fmla="*/ 116 w 466"/>
                <a:gd name="T33" fmla="*/ 39 h 105"/>
                <a:gd name="T34" fmla="*/ 93 w 466"/>
                <a:gd name="T35" fmla="*/ 57 h 105"/>
                <a:gd name="T36" fmla="*/ 68 w 466"/>
                <a:gd name="T37" fmla="*/ 74 h 105"/>
                <a:gd name="T38" fmla="*/ 42 w 466"/>
                <a:gd name="T39" fmla="*/ 89 h 105"/>
                <a:gd name="T40" fmla="*/ 3 w 466"/>
                <a:gd name="T41" fmla="*/ 105 h 105"/>
                <a:gd name="T42" fmla="*/ 458 w 466"/>
                <a:gd name="T43" fmla="*/ 84 h 105"/>
                <a:gd name="T44" fmla="*/ 458 w 466"/>
                <a:gd name="T45" fmla="*/ 84 h 105"/>
                <a:gd name="T46" fmla="*/ 451 w 466"/>
                <a:gd name="T47" fmla="*/ 73 h 105"/>
                <a:gd name="T48" fmla="*/ 442 w 466"/>
                <a:gd name="T49" fmla="*/ 59 h 105"/>
                <a:gd name="T50" fmla="*/ 451 w 466"/>
                <a:gd name="T51" fmla="*/ 59 h 105"/>
                <a:gd name="T52" fmla="*/ 466 w 466"/>
                <a:gd name="T53" fmla="*/ 56 h 105"/>
                <a:gd name="T54" fmla="*/ 458 w 466"/>
                <a:gd name="T55" fmla="*/ 81 h 105"/>
                <a:gd name="T56" fmla="*/ 458 w 466"/>
                <a:gd name="T57" fmla="*/ 84 h 105"/>
                <a:gd name="T58" fmla="*/ 458 w 466"/>
                <a:gd name="T59" fmla="*/ 8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66" h="105">
                  <a:moveTo>
                    <a:pt x="3" y="105"/>
                  </a:moveTo>
                  <a:cubicBezTo>
                    <a:pt x="3" y="105"/>
                    <a:pt x="3" y="105"/>
                    <a:pt x="3" y="105"/>
                  </a:cubicBezTo>
                  <a:cubicBezTo>
                    <a:pt x="4" y="88"/>
                    <a:pt x="4" y="71"/>
                    <a:pt x="4" y="54"/>
                  </a:cubicBezTo>
                  <a:cubicBezTo>
                    <a:pt x="4" y="44"/>
                    <a:pt x="3" y="35"/>
                    <a:pt x="2" y="24"/>
                  </a:cubicBezTo>
                  <a:cubicBezTo>
                    <a:pt x="2" y="19"/>
                    <a:pt x="2" y="14"/>
                    <a:pt x="1" y="9"/>
                  </a:cubicBezTo>
                  <a:cubicBezTo>
                    <a:pt x="1" y="7"/>
                    <a:pt x="1" y="5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2" y="0"/>
                    <a:pt x="4" y="1"/>
                    <a:pt x="5" y="1"/>
                  </a:cubicBezTo>
                  <a:cubicBezTo>
                    <a:pt x="13" y="4"/>
                    <a:pt x="20" y="7"/>
                    <a:pt x="27" y="10"/>
                  </a:cubicBezTo>
                  <a:cubicBezTo>
                    <a:pt x="37" y="14"/>
                    <a:pt x="47" y="17"/>
                    <a:pt x="57" y="20"/>
                  </a:cubicBezTo>
                  <a:cubicBezTo>
                    <a:pt x="66" y="24"/>
                    <a:pt x="77" y="26"/>
                    <a:pt x="87" y="29"/>
                  </a:cubicBezTo>
                  <a:cubicBezTo>
                    <a:pt x="92" y="31"/>
                    <a:pt x="97" y="32"/>
                    <a:pt x="102" y="33"/>
                  </a:cubicBezTo>
                  <a:cubicBezTo>
                    <a:pt x="107" y="35"/>
                    <a:pt x="112" y="36"/>
                    <a:pt x="117" y="36"/>
                  </a:cubicBezTo>
                  <a:cubicBezTo>
                    <a:pt x="117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9" y="36"/>
                    <a:pt x="119" y="37"/>
                    <a:pt x="120" y="37"/>
                  </a:cubicBezTo>
                  <a:cubicBezTo>
                    <a:pt x="119" y="37"/>
                    <a:pt x="117" y="38"/>
                    <a:pt x="116" y="39"/>
                  </a:cubicBezTo>
                  <a:cubicBezTo>
                    <a:pt x="109" y="45"/>
                    <a:pt x="101" y="51"/>
                    <a:pt x="93" y="57"/>
                  </a:cubicBezTo>
                  <a:cubicBezTo>
                    <a:pt x="85" y="63"/>
                    <a:pt x="77" y="69"/>
                    <a:pt x="68" y="74"/>
                  </a:cubicBezTo>
                  <a:cubicBezTo>
                    <a:pt x="60" y="79"/>
                    <a:pt x="51" y="84"/>
                    <a:pt x="42" y="89"/>
                  </a:cubicBezTo>
                  <a:cubicBezTo>
                    <a:pt x="30" y="95"/>
                    <a:pt x="15" y="98"/>
                    <a:pt x="3" y="105"/>
                  </a:cubicBezTo>
                  <a:close/>
                  <a:moveTo>
                    <a:pt x="458" y="84"/>
                  </a:moveTo>
                  <a:cubicBezTo>
                    <a:pt x="458" y="84"/>
                    <a:pt x="458" y="84"/>
                    <a:pt x="458" y="84"/>
                  </a:cubicBezTo>
                  <a:cubicBezTo>
                    <a:pt x="456" y="80"/>
                    <a:pt x="453" y="76"/>
                    <a:pt x="451" y="73"/>
                  </a:cubicBezTo>
                  <a:cubicBezTo>
                    <a:pt x="448" y="68"/>
                    <a:pt x="445" y="63"/>
                    <a:pt x="442" y="59"/>
                  </a:cubicBezTo>
                  <a:cubicBezTo>
                    <a:pt x="445" y="59"/>
                    <a:pt x="448" y="59"/>
                    <a:pt x="451" y="59"/>
                  </a:cubicBezTo>
                  <a:cubicBezTo>
                    <a:pt x="456" y="58"/>
                    <a:pt x="461" y="57"/>
                    <a:pt x="466" y="56"/>
                  </a:cubicBezTo>
                  <a:cubicBezTo>
                    <a:pt x="464" y="65"/>
                    <a:pt x="461" y="73"/>
                    <a:pt x="458" y="81"/>
                  </a:cubicBezTo>
                  <a:cubicBezTo>
                    <a:pt x="458" y="82"/>
                    <a:pt x="458" y="83"/>
                    <a:pt x="458" y="84"/>
                  </a:cubicBezTo>
                  <a:cubicBezTo>
                    <a:pt x="458" y="84"/>
                    <a:pt x="458" y="84"/>
                    <a:pt x="458" y="84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8" name="îṩľîḋé">
              <a:extLst>
                <a:ext uri="{FF2B5EF4-FFF2-40B4-BE49-F238E27FC236}">
                  <a16:creationId xmlns:a16="http://schemas.microsoft.com/office/drawing/2014/main" id="{6B3A8C5D-C892-4F18-BDEA-D18C03CD59D1}"/>
                </a:ext>
              </a:extLst>
            </p:cNvPr>
            <p:cNvSpPr/>
            <p:nvPr/>
          </p:nvSpPr>
          <p:spPr bwMode="auto">
            <a:xfrm>
              <a:off x="4734343" y="4208527"/>
              <a:ext cx="2147571" cy="1604388"/>
            </a:xfrm>
            <a:custGeom>
              <a:avLst/>
              <a:gdLst>
                <a:gd name="T0" fmla="*/ 158 w 698"/>
                <a:gd name="T1" fmla="*/ 384 h 522"/>
                <a:gd name="T2" fmla="*/ 183 w 698"/>
                <a:gd name="T3" fmla="*/ 455 h 522"/>
                <a:gd name="T4" fmla="*/ 678 w 698"/>
                <a:gd name="T5" fmla="*/ 132 h 522"/>
                <a:gd name="T6" fmla="*/ 662 w 698"/>
                <a:gd name="T7" fmla="*/ 117 h 522"/>
                <a:gd name="T8" fmla="*/ 685 w 698"/>
                <a:gd name="T9" fmla="*/ 93 h 522"/>
                <a:gd name="T10" fmla="*/ 669 w 698"/>
                <a:gd name="T11" fmla="*/ 10 h 522"/>
                <a:gd name="T12" fmla="*/ 682 w 698"/>
                <a:gd name="T13" fmla="*/ 2 h 522"/>
                <a:gd name="T14" fmla="*/ 690 w 698"/>
                <a:gd name="T15" fmla="*/ 24 h 522"/>
                <a:gd name="T16" fmla="*/ 698 w 698"/>
                <a:gd name="T17" fmla="*/ 36 h 522"/>
                <a:gd name="T18" fmla="*/ 689 w 698"/>
                <a:gd name="T19" fmla="*/ 121 h 522"/>
                <a:gd name="T20" fmla="*/ 569 w 698"/>
                <a:gd name="T21" fmla="*/ 189 h 522"/>
                <a:gd name="T22" fmla="*/ 576 w 698"/>
                <a:gd name="T23" fmla="*/ 194 h 522"/>
                <a:gd name="T24" fmla="*/ 571 w 698"/>
                <a:gd name="T25" fmla="*/ 163 h 522"/>
                <a:gd name="T26" fmla="*/ 603 w 698"/>
                <a:gd name="T27" fmla="*/ 177 h 522"/>
                <a:gd name="T28" fmla="*/ 589 w 698"/>
                <a:gd name="T29" fmla="*/ 124 h 522"/>
                <a:gd name="T30" fmla="*/ 610 w 698"/>
                <a:gd name="T31" fmla="*/ 102 h 522"/>
                <a:gd name="T32" fmla="*/ 612 w 698"/>
                <a:gd name="T33" fmla="*/ 131 h 522"/>
                <a:gd name="T34" fmla="*/ 266 w 698"/>
                <a:gd name="T35" fmla="*/ 13 h 522"/>
                <a:gd name="T36" fmla="*/ 264 w 698"/>
                <a:gd name="T37" fmla="*/ 119 h 522"/>
                <a:gd name="T38" fmla="*/ 254 w 698"/>
                <a:gd name="T39" fmla="*/ 144 h 522"/>
                <a:gd name="T40" fmla="*/ 245 w 698"/>
                <a:gd name="T41" fmla="*/ 200 h 522"/>
                <a:gd name="T42" fmla="*/ 227 w 698"/>
                <a:gd name="T43" fmla="*/ 191 h 522"/>
                <a:gd name="T44" fmla="*/ 228 w 698"/>
                <a:gd name="T45" fmla="*/ 50 h 522"/>
                <a:gd name="T46" fmla="*/ 174 w 698"/>
                <a:gd name="T47" fmla="*/ 114 h 522"/>
                <a:gd name="T48" fmla="*/ 140 w 698"/>
                <a:gd name="T49" fmla="*/ 116 h 522"/>
                <a:gd name="T50" fmla="*/ 176 w 698"/>
                <a:gd name="T51" fmla="*/ 68 h 522"/>
                <a:gd name="T52" fmla="*/ 249 w 698"/>
                <a:gd name="T53" fmla="*/ 348 h 522"/>
                <a:gd name="T54" fmla="*/ 207 w 698"/>
                <a:gd name="T55" fmla="*/ 302 h 522"/>
                <a:gd name="T56" fmla="*/ 214 w 698"/>
                <a:gd name="T57" fmla="*/ 284 h 522"/>
                <a:gd name="T58" fmla="*/ 202 w 698"/>
                <a:gd name="T59" fmla="*/ 264 h 522"/>
                <a:gd name="T60" fmla="*/ 183 w 698"/>
                <a:gd name="T61" fmla="*/ 247 h 522"/>
                <a:gd name="T62" fmla="*/ 201 w 698"/>
                <a:gd name="T63" fmla="*/ 222 h 522"/>
                <a:gd name="T64" fmla="*/ 217 w 698"/>
                <a:gd name="T65" fmla="*/ 264 h 522"/>
                <a:gd name="T66" fmla="*/ 249 w 698"/>
                <a:gd name="T67" fmla="*/ 348 h 522"/>
                <a:gd name="T68" fmla="*/ 425 w 698"/>
                <a:gd name="T69" fmla="*/ 361 h 522"/>
                <a:gd name="T70" fmla="*/ 432 w 698"/>
                <a:gd name="T71" fmla="*/ 311 h 522"/>
                <a:gd name="T72" fmla="*/ 615 w 698"/>
                <a:gd name="T73" fmla="*/ 376 h 522"/>
                <a:gd name="T74" fmla="*/ 586 w 698"/>
                <a:gd name="T75" fmla="*/ 391 h 522"/>
                <a:gd name="T76" fmla="*/ 576 w 698"/>
                <a:gd name="T77" fmla="*/ 366 h 522"/>
                <a:gd name="T78" fmla="*/ 631 w 698"/>
                <a:gd name="T79" fmla="*/ 355 h 522"/>
                <a:gd name="T80" fmla="*/ 34 w 698"/>
                <a:gd name="T81" fmla="*/ 227 h 522"/>
                <a:gd name="T82" fmla="*/ 28 w 698"/>
                <a:gd name="T83" fmla="*/ 250 h 522"/>
                <a:gd name="T84" fmla="*/ 5 w 698"/>
                <a:gd name="T85" fmla="*/ 226 h 522"/>
                <a:gd name="T86" fmla="*/ 202 w 698"/>
                <a:gd name="T87" fmla="*/ 469 h 522"/>
                <a:gd name="T88" fmla="*/ 350 w 698"/>
                <a:gd name="T89" fmla="*/ 495 h 522"/>
                <a:gd name="T90" fmla="*/ 392 w 698"/>
                <a:gd name="T91" fmla="*/ 493 h 522"/>
                <a:gd name="T92" fmla="*/ 483 w 698"/>
                <a:gd name="T93" fmla="*/ 450 h 522"/>
                <a:gd name="T94" fmla="*/ 325 w 698"/>
                <a:gd name="T95" fmla="*/ 519 h 522"/>
                <a:gd name="T96" fmla="*/ 306 w 698"/>
                <a:gd name="T97" fmla="*/ 408 h 522"/>
                <a:gd name="T98" fmla="*/ 340 w 698"/>
                <a:gd name="T99" fmla="*/ 420 h 522"/>
                <a:gd name="T100" fmla="*/ 341 w 698"/>
                <a:gd name="T101" fmla="*/ 455 h 522"/>
                <a:gd name="T102" fmla="*/ 290 w 698"/>
                <a:gd name="T103" fmla="*/ 42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8" h="522">
                  <a:moveTo>
                    <a:pt x="152" y="369"/>
                  </a:moveTo>
                  <a:cubicBezTo>
                    <a:pt x="152" y="369"/>
                    <a:pt x="152" y="369"/>
                    <a:pt x="152" y="369"/>
                  </a:cubicBezTo>
                  <a:cubicBezTo>
                    <a:pt x="152" y="369"/>
                    <a:pt x="152" y="369"/>
                    <a:pt x="152" y="369"/>
                  </a:cubicBezTo>
                  <a:cubicBezTo>
                    <a:pt x="152" y="372"/>
                    <a:pt x="154" y="374"/>
                    <a:pt x="155" y="376"/>
                  </a:cubicBezTo>
                  <a:cubicBezTo>
                    <a:pt x="156" y="379"/>
                    <a:pt x="157" y="381"/>
                    <a:pt x="158" y="384"/>
                  </a:cubicBezTo>
                  <a:cubicBezTo>
                    <a:pt x="161" y="390"/>
                    <a:pt x="163" y="395"/>
                    <a:pt x="166" y="400"/>
                  </a:cubicBezTo>
                  <a:cubicBezTo>
                    <a:pt x="170" y="404"/>
                    <a:pt x="174" y="407"/>
                    <a:pt x="178" y="410"/>
                  </a:cubicBezTo>
                  <a:cubicBezTo>
                    <a:pt x="180" y="411"/>
                    <a:pt x="182" y="412"/>
                    <a:pt x="183" y="414"/>
                  </a:cubicBezTo>
                  <a:cubicBezTo>
                    <a:pt x="184" y="414"/>
                    <a:pt x="184" y="415"/>
                    <a:pt x="184" y="416"/>
                  </a:cubicBezTo>
                  <a:cubicBezTo>
                    <a:pt x="184" y="428"/>
                    <a:pt x="184" y="441"/>
                    <a:pt x="183" y="455"/>
                  </a:cubicBezTo>
                  <a:cubicBezTo>
                    <a:pt x="174" y="443"/>
                    <a:pt x="165" y="431"/>
                    <a:pt x="155" y="420"/>
                  </a:cubicBezTo>
                  <a:cubicBezTo>
                    <a:pt x="146" y="407"/>
                    <a:pt x="133" y="397"/>
                    <a:pt x="128" y="381"/>
                  </a:cubicBezTo>
                  <a:cubicBezTo>
                    <a:pt x="136" y="378"/>
                    <a:pt x="144" y="373"/>
                    <a:pt x="152" y="369"/>
                  </a:cubicBezTo>
                  <a:close/>
                  <a:moveTo>
                    <a:pt x="689" y="134"/>
                  </a:moveTo>
                  <a:cubicBezTo>
                    <a:pt x="685" y="133"/>
                    <a:pt x="681" y="132"/>
                    <a:pt x="678" y="132"/>
                  </a:cubicBezTo>
                  <a:cubicBezTo>
                    <a:pt x="674" y="131"/>
                    <a:pt x="670" y="133"/>
                    <a:pt x="670" y="138"/>
                  </a:cubicBezTo>
                  <a:cubicBezTo>
                    <a:pt x="670" y="139"/>
                    <a:pt x="670" y="139"/>
                    <a:pt x="671" y="140"/>
                  </a:cubicBezTo>
                  <a:cubicBezTo>
                    <a:pt x="667" y="139"/>
                    <a:pt x="663" y="138"/>
                    <a:pt x="659" y="138"/>
                  </a:cubicBezTo>
                  <a:cubicBezTo>
                    <a:pt x="661" y="134"/>
                    <a:pt x="661" y="131"/>
                    <a:pt x="661" y="128"/>
                  </a:cubicBezTo>
                  <a:cubicBezTo>
                    <a:pt x="662" y="124"/>
                    <a:pt x="662" y="121"/>
                    <a:pt x="662" y="117"/>
                  </a:cubicBezTo>
                  <a:cubicBezTo>
                    <a:pt x="664" y="117"/>
                    <a:pt x="666" y="118"/>
                    <a:pt x="668" y="118"/>
                  </a:cubicBezTo>
                  <a:cubicBezTo>
                    <a:pt x="670" y="118"/>
                    <a:pt x="672" y="118"/>
                    <a:pt x="674" y="118"/>
                  </a:cubicBezTo>
                  <a:cubicBezTo>
                    <a:pt x="677" y="118"/>
                    <a:pt x="681" y="118"/>
                    <a:pt x="682" y="115"/>
                  </a:cubicBezTo>
                  <a:cubicBezTo>
                    <a:pt x="682" y="114"/>
                    <a:pt x="682" y="113"/>
                    <a:pt x="682" y="113"/>
                  </a:cubicBezTo>
                  <a:cubicBezTo>
                    <a:pt x="684" y="107"/>
                    <a:pt x="684" y="99"/>
                    <a:pt x="685" y="93"/>
                  </a:cubicBezTo>
                  <a:cubicBezTo>
                    <a:pt x="685" y="85"/>
                    <a:pt x="685" y="78"/>
                    <a:pt x="685" y="69"/>
                  </a:cubicBezTo>
                  <a:cubicBezTo>
                    <a:pt x="685" y="53"/>
                    <a:pt x="682" y="37"/>
                    <a:pt x="676" y="23"/>
                  </a:cubicBezTo>
                  <a:cubicBezTo>
                    <a:pt x="674" y="20"/>
                    <a:pt x="672" y="17"/>
                    <a:pt x="671" y="15"/>
                  </a:cubicBezTo>
                  <a:cubicBezTo>
                    <a:pt x="670" y="14"/>
                    <a:pt x="670" y="13"/>
                    <a:pt x="669" y="13"/>
                  </a:cubicBezTo>
                  <a:cubicBezTo>
                    <a:pt x="669" y="12"/>
                    <a:pt x="669" y="11"/>
                    <a:pt x="669" y="10"/>
                  </a:cubicBezTo>
                  <a:cubicBezTo>
                    <a:pt x="670" y="8"/>
                    <a:pt x="670" y="6"/>
                    <a:pt x="670" y="4"/>
                  </a:cubicBezTo>
                  <a:cubicBezTo>
                    <a:pt x="670" y="3"/>
                    <a:pt x="670" y="1"/>
                    <a:pt x="670" y="0"/>
                  </a:cubicBezTo>
                  <a:cubicBezTo>
                    <a:pt x="670" y="0"/>
                    <a:pt x="670" y="0"/>
                    <a:pt x="670" y="0"/>
                  </a:cubicBezTo>
                  <a:cubicBezTo>
                    <a:pt x="673" y="1"/>
                    <a:pt x="678" y="2"/>
                    <a:pt x="682" y="2"/>
                  </a:cubicBezTo>
                  <a:cubicBezTo>
                    <a:pt x="682" y="2"/>
                    <a:pt x="682" y="2"/>
                    <a:pt x="682" y="2"/>
                  </a:cubicBezTo>
                  <a:cubicBezTo>
                    <a:pt x="683" y="6"/>
                    <a:pt x="684" y="10"/>
                    <a:pt x="685" y="13"/>
                  </a:cubicBezTo>
                  <a:cubicBezTo>
                    <a:pt x="686" y="16"/>
                    <a:pt x="686" y="18"/>
                    <a:pt x="688" y="20"/>
                  </a:cubicBezTo>
                  <a:cubicBezTo>
                    <a:pt x="687" y="21"/>
                    <a:pt x="688" y="22"/>
                    <a:pt x="689" y="23"/>
                  </a:cubicBezTo>
                  <a:cubicBezTo>
                    <a:pt x="689" y="23"/>
                    <a:pt x="690" y="24"/>
                    <a:pt x="690" y="24"/>
                  </a:cubicBezTo>
                  <a:cubicBezTo>
                    <a:pt x="690" y="24"/>
                    <a:pt x="690" y="24"/>
                    <a:pt x="690" y="24"/>
                  </a:cubicBezTo>
                  <a:cubicBezTo>
                    <a:pt x="691" y="25"/>
                    <a:pt x="692" y="25"/>
                    <a:pt x="693" y="25"/>
                  </a:cubicBezTo>
                  <a:cubicBezTo>
                    <a:pt x="694" y="25"/>
                    <a:pt x="696" y="25"/>
                    <a:pt x="696" y="25"/>
                  </a:cubicBezTo>
                  <a:cubicBezTo>
                    <a:pt x="697" y="25"/>
                    <a:pt x="697" y="25"/>
                    <a:pt x="697" y="25"/>
                  </a:cubicBezTo>
                  <a:cubicBezTo>
                    <a:pt x="698" y="27"/>
                    <a:pt x="697" y="29"/>
                    <a:pt x="697" y="30"/>
                  </a:cubicBezTo>
                  <a:cubicBezTo>
                    <a:pt x="698" y="32"/>
                    <a:pt x="698" y="34"/>
                    <a:pt x="698" y="36"/>
                  </a:cubicBezTo>
                  <a:cubicBezTo>
                    <a:pt x="698" y="41"/>
                    <a:pt x="698" y="46"/>
                    <a:pt x="698" y="50"/>
                  </a:cubicBezTo>
                  <a:cubicBezTo>
                    <a:pt x="697" y="58"/>
                    <a:pt x="696" y="67"/>
                    <a:pt x="696" y="76"/>
                  </a:cubicBezTo>
                  <a:cubicBezTo>
                    <a:pt x="695" y="84"/>
                    <a:pt x="693" y="93"/>
                    <a:pt x="692" y="101"/>
                  </a:cubicBezTo>
                  <a:cubicBezTo>
                    <a:pt x="691" y="106"/>
                    <a:pt x="690" y="110"/>
                    <a:pt x="690" y="115"/>
                  </a:cubicBezTo>
                  <a:cubicBezTo>
                    <a:pt x="689" y="117"/>
                    <a:pt x="689" y="119"/>
                    <a:pt x="689" y="121"/>
                  </a:cubicBezTo>
                  <a:cubicBezTo>
                    <a:pt x="689" y="122"/>
                    <a:pt x="689" y="124"/>
                    <a:pt x="689" y="126"/>
                  </a:cubicBezTo>
                  <a:cubicBezTo>
                    <a:pt x="689" y="129"/>
                    <a:pt x="689" y="131"/>
                    <a:pt x="689" y="133"/>
                  </a:cubicBezTo>
                  <a:lnTo>
                    <a:pt x="689" y="134"/>
                  </a:lnTo>
                  <a:close/>
                  <a:moveTo>
                    <a:pt x="569" y="189"/>
                  </a:moveTo>
                  <a:cubicBezTo>
                    <a:pt x="569" y="189"/>
                    <a:pt x="569" y="189"/>
                    <a:pt x="569" y="189"/>
                  </a:cubicBezTo>
                  <a:cubicBezTo>
                    <a:pt x="569" y="186"/>
                    <a:pt x="569" y="183"/>
                    <a:pt x="569" y="180"/>
                  </a:cubicBezTo>
                  <a:cubicBezTo>
                    <a:pt x="569" y="181"/>
                    <a:pt x="570" y="182"/>
                    <a:pt x="570" y="183"/>
                  </a:cubicBezTo>
                  <a:cubicBezTo>
                    <a:pt x="572" y="185"/>
                    <a:pt x="574" y="188"/>
                    <a:pt x="576" y="190"/>
                  </a:cubicBezTo>
                  <a:cubicBezTo>
                    <a:pt x="577" y="191"/>
                    <a:pt x="578" y="192"/>
                    <a:pt x="579" y="193"/>
                  </a:cubicBezTo>
                  <a:cubicBezTo>
                    <a:pt x="578" y="194"/>
                    <a:pt x="577" y="194"/>
                    <a:pt x="576" y="194"/>
                  </a:cubicBezTo>
                  <a:cubicBezTo>
                    <a:pt x="574" y="195"/>
                    <a:pt x="572" y="195"/>
                    <a:pt x="570" y="195"/>
                  </a:cubicBezTo>
                  <a:cubicBezTo>
                    <a:pt x="570" y="195"/>
                    <a:pt x="569" y="195"/>
                    <a:pt x="569" y="196"/>
                  </a:cubicBezTo>
                  <a:cubicBezTo>
                    <a:pt x="569" y="193"/>
                    <a:pt x="569" y="191"/>
                    <a:pt x="569" y="189"/>
                  </a:cubicBezTo>
                  <a:close/>
                  <a:moveTo>
                    <a:pt x="571" y="163"/>
                  </a:moveTo>
                  <a:cubicBezTo>
                    <a:pt x="571" y="163"/>
                    <a:pt x="571" y="163"/>
                    <a:pt x="571" y="163"/>
                  </a:cubicBezTo>
                  <a:cubicBezTo>
                    <a:pt x="575" y="159"/>
                    <a:pt x="578" y="152"/>
                    <a:pt x="580" y="147"/>
                  </a:cubicBezTo>
                  <a:cubicBezTo>
                    <a:pt x="582" y="142"/>
                    <a:pt x="584" y="138"/>
                    <a:pt x="586" y="133"/>
                  </a:cubicBezTo>
                  <a:cubicBezTo>
                    <a:pt x="588" y="142"/>
                    <a:pt x="590" y="151"/>
                    <a:pt x="593" y="159"/>
                  </a:cubicBezTo>
                  <a:cubicBezTo>
                    <a:pt x="595" y="164"/>
                    <a:pt x="598" y="170"/>
                    <a:pt x="601" y="174"/>
                  </a:cubicBezTo>
                  <a:cubicBezTo>
                    <a:pt x="602" y="175"/>
                    <a:pt x="603" y="176"/>
                    <a:pt x="603" y="177"/>
                  </a:cubicBezTo>
                  <a:cubicBezTo>
                    <a:pt x="602" y="177"/>
                    <a:pt x="601" y="177"/>
                    <a:pt x="600" y="176"/>
                  </a:cubicBezTo>
                  <a:cubicBezTo>
                    <a:pt x="592" y="174"/>
                    <a:pt x="583" y="172"/>
                    <a:pt x="575" y="168"/>
                  </a:cubicBezTo>
                  <a:cubicBezTo>
                    <a:pt x="573" y="167"/>
                    <a:pt x="572" y="165"/>
                    <a:pt x="570" y="164"/>
                  </a:cubicBezTo>
                  <a:cubicBezTo>
                    <a:pt x="570" y="164"/>
                    <a:pt x="571" y="164"/>
                    <a:pt x="571" y="163"/>
                  </a:cubicBezTo>
                  <a:close/>
                  <a:moveTo>
                    <a:pt x="589" y="124"/>
                  </a:moveTo>
                  <a:cubicBezTo>
                    <a:pt x="589" y="124"/>
                    <a:pt x="589" y="124"/>
                    <a:pt x="589" y="124"/>
                  </a:cubicBezTo>
                  <a:cubicBezTo>
                    <a:pt x="589" y="124"/>
                    <a:pt x="589" y="124"/>
                    <a:pt x="588" y="124"/>
                  </a:cubicBezTo>
                  <a:cubicBezTo>
                    <a:pt x="591" y="115"/>
                    <a:pt x="593" y="105"/>
                    <a:pt x="595" y="95"/>
                  </a:cubicBezTo>
                  <a:cubicBezTo>
                    <a:pt x="595" y="96"/>
                    <a:pt x="596" y="96"/>
                    <a:pt x="597" y="96"/>
                  </a:cubicBezTo>
                  <a:cubicBezTo>
                    <a:pt x="601" y="99"/>
                    <a:pt x="606" y="101"/>
                    <a:pt x="610" y="102"/>
                  </a:cubicBezTo>
                  <a:cubicBezTo>
                    <a:pt x="614" y="104"/>
                    <a:pt x="618" y="106"/>
                    <a:pt x="621" y="107"/>
                  </a:cubicBezTo>
                  <a:cubicBezTo>
                    <a:pt x="621" y="107"/>
                    <a:pt x="620" y="107"/>
                    <a:pt x="620" y="108"/>
                  </a:cubicBezTo>
                  <a:cubicBezTo>
                    <a:pt x="619" y="110"/>
                    <a:pt x="619" y="112"/>
                    <a:pt x="618" y="114"/>
                  </a:cubicBezTo>
                  <a:cubicBezTo>
                    <a:pt x="617" y="117"/>
                    <a:pt x="616" y="120"/>
                    <a:pt x="615" y="123"/>
                  </a:cubicBezTo>
                  <a:cubicBezTo>
                    <a:pt x="614" y="126"/>
                    <a:pt x="613" y="128"/>
                    <a:pt x="612" y="131"/>
                  </a:cubicBezTo>
                  <a:cubicBezTo>
                    <a:pt x="611" y="132"/>
                    <a:pt x="610" y="133"/>
                    <a:pt x="610" y="135"/>
                  </a:cubicBezTo>
                  <a:cubicBezTo>
                    <a:pt x="608" y="134"/>
                    <a:pt x="606" y="133"/>
                    <a:pt x="605" y="132"/>
                  </a:cubicBezTo>
                  <a:cubicBezTo>
                    <a:pt x="599" y="130"/>
                    <a:pt x="594" y="127"/>
                    <a:pt x="589" y="124"/>
                  </a:cubicBezTo>
                  <a:close/>
                  <a:moveTo>
                    <a:pt x="266" y="13"/>
                  </a:moveTo>
                  <a:cubicBezTo>
                    <a:pt x="266" y="13"/>
                    <a:pt x="266" y="13"/>
                    <a:pt x="266" y="13"/>
                  </a:cubicBezTo>
                  <a:cubicBezTo>
                    <a:pt x="267" y="15"/>
                    <a:pt x="268" y="17"/>
                    <a:pt x="268" y="19"/>
                  </a:cubicBezTo>
                  <a:cubicBezTo>
                    <a:pt x="269" y="24"/>
                    <a:pt x="270" y="28"/>
                    <a:pt x="270" y="33"/>
                  </a:cubicBezTo>
                  <a:cubicBezTo>
                    <a:pt x="271" y="43"/>
                    <a:pt x="271" y="52"/>
                    <a:pt x="271" y="61"/>
                  </a:cubicBezTo>
                  <a:cubicBezTo>
                    <a:pt x="270" y="71"/>
                    <a:pt x="269" y="81"/>
                    <a:pt x="268" y="90"/>
                  </a:cubicBezTo>
                  <a:cubicBezTo>
                    <a:pt x="267" y="99"/>
                    <a:pt x="265" y="109"/>
                    <a:pt x="264" y="119"/>
                  </a:cubicBezTo>
                  <a:cubicBezTo>
                    <a:pt x="263" y="122"/>
                    <a:pt x="263" y="125"/>
                    <a:pt x="262" y="128"/>
                  </a:cubicBezTo>
                  <a:cubicBezTo>
                    <a:pt x="262" y="129"/>
                    <a:pt x="262" y="129"/>
                    <a:pt x="262" y="129"/>
                  </a:cubicBezTo>
                  <a:cubicBezTo>
                    <a:pt x="261" y="130"/>
                    <a:pt x="260" y="131"/>
                    <a:pt x="260" y="132"/>
                  </a:cubicBezTo>
                  <a:cubicBezTo>
                    <a:pt x="259" y="133"/>
                    <a:pt x="258" y="134"/>
                    <a:pt x="258" y="136"/>
                  </a:cubicBezTo>
                  <a:cubicBezTo>
                    <a:pt x="256" y="138"/>
                    <a:pt x="255" y="141"/>
                    <a:pt x="254" y="144"/>
                  </a:cubicBezTo>
                  <a:cubicBezTo>
                    <a:pt x="253" y="147"/>
                    <a:pt x="252" y="150"/>
                    <a:pt x="251" y="153"/>
                  </a:cubicBezTo>
                  <a:cubicBezTo>
                    <a:pt x="248" y="160"/>
                    <a:pt x="245" y="167"/>
                    <a:pt x="244" y="174"/>
                  </a:cubicBezTo>
                  <a:cubicBezTo>
                    <a:pt x="243" y="181"/>
                    <a:pt x="245" y="188"/>
                    <a:pt x="249" y="194"/>
                  </a:cubicBezTo>
                  <a:cubicBezTo>
                    <a:pt x="249" y="194"/>
                    <a:pt x="248" y="194"/>
                    <a:pt x="248" y="195"/>
                  </a:cubicBezTo>
                  <a:cubicBezTo>
                    <a:pt x="247" y="197"/>
                    <a:pt x="246" y="198"/>
                    <a:pt x="245" y="200"/>
                  </a:cubicBezTo>
                  <a:cubicBezTo>
                    <a:pt x="245" y="200"/>
                    <a:pt x="245" y="200"/>
                    <a:pt x="245" y="200"/>
                  </a:cubicBezTo>
                  <a:cubicBezTo>
                    <a:pt x="241" y="198"/>
                    <a:pt x="236" y="196"/>
                    <a:pt x="231" y="195"/>
                  </a:cubicBezTo>
                  <a:cubicBezTo>
                    <a:pt x="229" y="195"/>
                    <a:pt x="228" y="195"/>
                    <a:pt x="226" y="195"/>
                  </a:cubicBezTo>
                  <a:cubicBezTo>
                    <a:pt x="226" y="195"/>
                    <a:pt x="226" y="195"/>
                    <a:pt x="226" y="194"/>
                  </a:cubicBezTo>
                  <a:cubicBezTo>
                    <a:pt x="227" y="193"/>
                    <a:pt x="227" y="192"/>
                    <a:pt x="227" y="191"/>
                  </a:cubicBezTo>
                  <a:cubicBezTo>
                    <a:pt x="227" y="188"/>
                    <a:pt x="227" y="185"/>
                    <a:pt x="227" y="182"/>
                  </a:cubicBezTo>
                  <a:cubicBezTo>
                    <a:pt x="228" y="177"/>
                    <a:pt x="228" y="171"/>
                    <a:pt x="228" y="165"/>
                  </a:cubicBezTo>
                  <a:cubicBezTo>
                    <a:pt x="229" y="155"/>
                    <a:pt x="229" y="144"/>
                    <a:pt x="229" y="132"/>
                  </a:cubicBezTo>
                  <a:cubicBezTo>
                    <a:pt x="229" y="110"/>
                    <a:pt x="228" y="88"/>
                    <a:pt x="228" y="65"/>
                  </a:cubicBezTo>
                  <a:cubicBezTo>
                    <a:pt x="228" y="60"/>
                    <a:pt x="228" y="55"/>
                    <a:pt x="228" y="50"/>
                  </a:cubicBezTo>
                  <a:cubicBezTo>
                    <a:pt x="227" y="47"/>
                    <a:pt x="227" y="45"/>
                    <a:pt x="227" y="42"/>
                  </a:cubicBezTo>
                  <a:cubicBezTo>
                    <a:pt x="227" y="40"/>
                    <a:pt x="227" y="38"/>
                    <a:pt x="226" y="36"/>
                  </a:cubicBezTo>
                  <a:cubicBezTo>
                    <a:pt x="239" y="28"/>
                    <a:pt x="253" y="20"/>
                    <a:pt x="266" y="13"/>
                  </a:cubicBezTo>
                  <a:close/>
                  <a:moveTo>
                    <a:pt x="174" y="114"/>
                  </a:moveTo>
                  <a:cubicBezTo>
                    <a:pt x="174" y="114"/>
                    <a:pt x="174" y="114"/>
                    <a:pt x="174" y="114"/>
                  </a:cubicBezTo>
                  <a:cubicBezTo>
                    <a:pt x="175" y="117"/>
                    <a:pt x="175" y="121"/>
                    <a:pt x="176" y="124"/>
                  </a:cubicBezTo>
                  <a:cubicBezTo>
                    <a:pt x="176" y="126"/>
                    <a:pt x="177" y="127"/>
                    <a:pt x="177" y="129"/>
                  </a:cubicBezTo>
                  <a:cubicBezTo>
                    <a:pt x="176" y="128"/>
                    <a:pt x="175" y="128"/>
                    <a:pt x="174" y="127"/>
                  </a:cubicBezTo>
                  <a:cubicBezTo>
                    <a:pt x="163" y="123"/>
                    <a:pt x="152" y="120"/>
                    <a:pt x="141" y="118"/>
                  </a:cubicBezTo>
                  <a:cubicBezTo>
                    <a:pt x="141" y="117"/>
                    <a:pt x="140" y="117"/>
                    <a:pt x="140" y="116"/>
                  </a:cubicBezTo>
                  <a:cubicBezTo>
                    <a:pt x="139" y="114"/>
                    <a:pt x="138" y="111"/>
                    <a:pt x="137" y="108"/>
                  </a:cubicBezTo>
                  <a:cubicBezTo>
                    <a:pt x="136" y="106"/>
                    <a:pt x="135" y="102"/>
                    <a:pt x="134" y="100"/>
                  </a:cubicBezTo>
                  <a:cubicBezTo>
                    <a:pt x="134" y="99"/>
                    <a:pt x="134" y="98"/>
                    <a:pt x="134" y="97"/>
                  </a:cubicBezTo>
                  <a:cubicBezTo>
                    <a:pt x="145" y="89"/>
                    <a:pt x="155" y="82"/>
                    <a:pt x="166" y="75"/>
                  </a:cubicBezTo>
                  <a:cubicBezTo>
                    <a:pt x="169" y="73"/>
                    <a:pt x="173" y="70"/>
                    <a:pt x="176" y="68"/>
                  </a:cubicBezTo>
                  <a:cubicBezTo>
                    <a:pt x="176" y="69"/>
                    <a:pt x="176" y="70"/>
                    <a:pt x="175" y="71"/>
                  </a:cubicBezTo>
                  <a:cubicBezTo>
                    <a:pt x="174" y="78"/>
                    <a:pt x="173" y="86"/>
                    <a:pt x="173" y="93"/>
                  </a:cubicBezTo>
                  <a:cubicBezTo>
                    <a:pt x="173" y="100"/>
                    <a:pt x="173" y="107"/>
                    <a:pt x="174" y="114"/>
                  </a:cubicBezTo>
                  <a:close/>
                  <a:moveTo>
                    <a:pt x="249" y="348"/>
                  </a:moveTo>
                  <a:cubicBezTo>
                    <a:pt x="249" y="348"/>
                    <a:pt x="249" y="348"/>
                    <a:pt x="249" y="348"/>
                  </a:cubicBezTo>
                  <a:cubicBezTo>
                    <a:pt x="248" y="347"/>
                    <a:pt x="248" y="347"/>
                    <a:pt x="247" y="346"/>
                  </a:cubicBezTo>
                  <a:cubicBezTo>
                    <a:pt x="246" y="345"/>
                    <a:pt x="244" y="344"/>
                    <a:pt x="243" y="343"/>
                  </a:cubicBezTo>
                  <a:cubicBezTo>
                    <a:pt x="240" y="341"/>
                    <a:pt x="237" y="339"/>
                    <a:pt x="235" y="336"/>
                  </a:cubicBezTo>
                  <a:cubicBezTo>
                    <a:pt x="230" y="331"/>
                    <a:pt x="225" y="326"/>
                    <a:pt x="221" y="320"/>
                  </a:cubicBezTo>
                  <a:cubicBezTo>
                    <a:pt x="216" y="314"/>
                    <a:pt x="212" y="308"/>
                    <a:pt x="207" y="302"/>
                  </a:cubicBezTo>
                  <a:cubicBezTo>
                    <a:pt x="205" y="299"/>
                    <a:pt x="204" y="296"/>
                    <a:pt x="202" y="294"/>
                  </a:cubicBezTo>
                  <a:cubicBezTo>
                    <a:pt x="202" y="293"/>
                    <a:pt x="201" y="293"/>
                    <a:pt x="201" y="292"/>
                  </a:cubicBezTo>
                  <a:cubicBezTo>
                    <a:pt x="205" y="294"/>
                    <a:pt x="209" y="295"/>
                    <a:pt x="213" y="296"/>
                  </a:cubicBezTo>
                  <a:cubicBezTo>
                    <a:pt x="215" y="297"/>
                    <a:pt x="217" y="295"/>
                    <a:pt x="217" y="293"/>
                  </a:cubicBezTo>
                  <a:cubicBezTo>
                    <a:pt x="217" y="289"/>
                    <a:pt x="216" y="287"/>
                    <a:pt x="214" y="284"/>
                  </a:cubicBezTo>
                  <a:cubicBezTo>
                    <a:pt x="214" y="282"/>
                    <a:pt x="213" y="281"/>
                    <a:pt x="213" y="280"/>
                  </a:cubicBezTo>
                  <a:cubicBezTo>
                    <a:pt x="212" y="280"/>
                    <a:pt x="212" y="279"/>
                    <a:pt x="212" y="279"/>
                  </a:cubicBezTo>
                  <a:cubicBezTo>
                    <a:pt x="216" y="277"/>
                    <a:pt x="217" y="272"/>
                    <a:pt x="217" y="268"/>
                  </a:cubicBezTo>
                  <a:cubicBezTo>
                    <a:pt x="217" y="267"/>
                    <a:pt x="216" y="266"/>
                    <a:pt x="215" y="265"/>
                  </a:cubicBezTo>
                  <a:cubicBezTo>
                    <a:pt x="210" y="264"/>
                    <a:pt x="206" y="263"/>
                    <a:pt x="202" y="264"/>
                  </a:cubicBezTo>
                  <a:cubicBezTo>
                    <a:pt x="201" y="257"/>
                    <a:pt x="200" y="252"/>
                    <a:pt x="197" y="247"/>
                  </a:cubicBezTo>
                  <a:cubicBezTo>
                    <a:pt x="196" y="245"/>
                    <a:pt x="194" y="245"/>
                    <a:pt x="193" y="246"/>
                  </a:cubicBezTo>
                  <a:cubicBezTo>
                    <a:pt x="189" y="249"/>
                    <a:pt x="188" y="253"/>
                    <a:pt x="187" y="257"/>
                  </a:cubicBezTo>
                  <a:cubicBezTo>
                    <a:pt x="186" y="256"/>
                    <a:pt x="186" y="255"/>
                    <a:pt x="185" y="254"/>
                  </a:cubicBezTo>
                  <a:cubicBezTo>
                    <a:pt x="184" y="252"/>
                    <a:pt x="184" y="249"/>
                    <a:pt x="183" y="247"/>
                  </a:cubicBezTo>
                  <a:cubicBezTo>
                    <a:pt x="183" y="246"/>
                    <a:pt x="183" y="245"/>
                    <a:pt x="183" y="245"/>
                  </a:cubicBezTo>
                  <a:cubicBezTo>
                    <a:pt x="186" y="239"/>
                    <a:pt x="189" y="234"/>
                    <a:pt x="192" y="229"/>
                  </a:cubicBezTo>
                  <a:cubicBezTo>
                    <a:pt x="193" y="226"/>
                    <a:pt x="195" y="223"/>
                    <a:pt x="196" y="221"/>
                  </a:cubicBezTo>
                  <a:cubicBezTo>
                    <a:pt x="197" y="221"/>
                    <a:pt x="198" y="222"/>
                    <a:pt x="199" y="222"/>
                  </a:cubicBezTo>
                  <a:cubicBezTo>
                    <a:pt x="200" y="222"/>
                    <a:pt x="200" y="222"/>
                    <a:pt x="201" y="222"/>
                  </a:cubicBezTo>
                  <a:cubicBezTo>
                    <a:pt x="201" y="223"/>
                    <a:pt x="201" y="224"/>
                    <a:pt x="200" y="224"/>
                  </a:cubicBezTo>
                  <a:cubicBezTo>
                    <a:pt x="200" y="225"/>
                    <a:pt x="201" y="227"/>
                    <a:pt x="201" y="228"/>
                  </a:cubicBezTo>
                  <a:cubicBezTo>
                    <a:pt x="201" y="230"/>
                    <a:pt x="202" y="233"/>
                    <a:pt x="202" y="235"/>
                  </a:cubicBezTo>
                  <a:cubicBezTo>
                    <a:pt x="204" y="240"/>
                    <a:pt x="206" y="245"/>
                    <a:pt x="209" y="249"/>
                  </a:cubicBezTo>
                  <a:cubicBezTo>
                    <a:pt x="212" y="254"/>
                    <a:pt x="214" y="259"/>
                    <a:pt x="217" y="264"/>
                  </a:cubicBezTo>
                  <a:cubicBezTo>
                    <a:pt x="219" y="266"/>
                    <a:pt x="220" y="268"/>
                    <a:pt x="221" y="270"/>
                  </a:cubicBezTo>
                  <a:cubicBezTo>
                    <a:pt x="222" y="272"/>
                    <a:pt x="223" y="275"/>
                    <a:pt x="226" y="276"/>
                  </a:cubicBezTo>
                  <a:cubicBezTo>
                    <a:pt x="225" y="286"/>
                    <a:pt x="227" y="296"/>
                    <a:pt x="229" y="305"/>
                  </a:cubicBezTo>
                  <a:cubicBezTo>
                    <a:pt x="233" y="321"/>
                    <a:pt x="241" y="336"/>
                    <a:pt x="251" y="348"/>
                  </a:cubicBezTo>
                  <a:cubicBezTo>
                    <a:pt x="251" y="348"/>
                    <a:pt x="250" y="348"/>
                    <a:pt x="249" y="348"/>
                  </a:cubicBezTo>
                  <a:close/>
                  <a:moveTo>
                    <a:pt x="432" y="315"/>
                  </a:moveTo>
                  <a:cubicBezTo>
                    <a:pt x="432" y="315"/>
                    <a:pt x="432" y="315"/>
                    <a:pt x="432" y="315"/>
                  </a:cubicBezTo>
                  <a:cubicBezTo>
                    <a:pt x="431" y="324"/>
                    <a:pt x="431" y="334"/>
                    <a:pt x="429" y="343"/>
                  </a:cubicBezTo>
                  <a:cubicBezTo>
                    <a:pt x="428" y="348"/>
                    <a:pt x="427" y="352"/>
                    <a:pt x="426" y="357"/>
                  </a:cubicBezTo>
                  <a:cubicBezTo>
                    <a:pt x="426" y="358"/>
                    <a:pt x="426" y="360"/>
                    <a:pt x="425" y="361"/>
                  </a:cubicBezTo>
                  <a:cubicBezTo>
                    <a:pt x="423" y="359"/>
                    <a:pt x="421" y="357"/>
                    <a:pt x="419" y="355"/>
                  </a:cubicBezTo>
                  <a:cubicBezTo>
                    <a:pt x="420" y="346"/>
                    <a:pt x="420" y="337"/>
                    <a:pt x="419" y="328"/>
                  </a:cubicBezTo>
                  <a:cubicBezTo>
                    <a:pt x="419" y="319"/>
                    <a:pt x="418" y="310"/>
                    <a:pt x="416" y="302"/>
                  </a:cubicBezTo>
                  <a:cubicBezTo>
                    <a:pt x="418" y="303"/>
                    <a:pt x="420" y="304"/>
                    <a:pt x="422" y="306"/>
                  </a:cubicBezTo>
                  <a:cubicBezTo>
                    <a:pt x="425" y="308"/>
                    <a:pt x="428" y="309"/>
                    <a:pt x="432" y="311"/>
                  </a:cubicBezTo>
                  <a:cubicBezTo>
                    <a:pt x="432" y="311"/>
                    <a:pt x="432" y="311"/>
                    <a:pt x="432" y="311"/>
                  </a:cubicBezTo>
                  <a:cubicBezTo>
                    <a:pt x="432" y="312"/>
                    <a:pt x="432" y="313"/>
                    <a:pt x="432" y="315"/>
                  </a:cubicBezTo>
                  <a:close/>
                  <a:moveTo>
                    <a:pt x="631" y="355"/>
                  </a:moveTo>
                  <a:cubicBezTo>
                    <a:pt x="631" y="355"/>
                    <a:pt x="631" y="355"/>
                    <a:pt x="631" y="355"/>
                  </a:cubicBezTo>
                  <a:cubicBezTo>
                    <a:pt x="628" y="363"/>
                    <a:pt x="622" y="370"/>
                    <a:pt x="615" y="376"/>
                  </a:cubicBezTo>
                  <a:cubicBezTo>
                    <a:pt x="611" y="379"/>
                    <a:pt x="606" y="382"/>
                    <a:pt x="602" y="384"/>
                  </a:cubicBezTo>
                  <a:cubicBezTo>
                    <a:pt x="599" y="385"/>
                    <a:pt x="597" y="386"/>
                    <a:pt x="595" y="387"/>
                  </a:cubicBezTo>
                  <a:cubicBezTo>
                    <a:pt x="594" y="387"/>
                    <a:pt x="592" y="387"/>
                    <a:pt x="591" y="388"/>
                  </a:cubicBezTo>
                  <a:cubicBezTo>
                    <a:pt x="590" y="388"/>
                    <a:pt x="589" y="388"/>
                    <a:pt x="587" y="389"/>
                  </a:cubicBezTo>
                  <a:cubicBezTo>
                    <a:pt x="586" y="389"/>
                    <a:pt x="586" y="390"/>
                    <a:pt x="586" y="391"/>
                  </a:cubicBezTo>
                  <a:cubicBezTo>
                    <a:pt x="580" y="391"/>
                    <a:pt x="573" y="391"/>
                    <a:pt x="567" y="391"/>
                  </a:cubicBezTo>
                  <a:cubicBezTo>
                    <a:pt x="568" y="391"/>
                    <a:pt x="568" y="391"/>
                    <a:pt x="568" y="391"/>
                  </a:cubicBezTo>
                  <a:cubicBezTo>
                    <a:pt x="570" y="390"/>
                    <a:pt x="571" y="388"/>
                    <a:pt x="572" y="386"/>
                  </a:cubicBezTo>
                  <a:cubicBezTo>
                    <a:pt x="573" y="382"/>
                    <a:pt x="573" y="377"/>
                    <a:pt x="574" y="373"/>
                  </a:cubicBezTo>
                  <a:cubicBezTo>
                    <a:pt x="575" y="371"/>
                    <a:pt x="575" y="368"/>
                    <a:pt x="576" y="366"/>
                  </a:cubicBezTo>
                  <a:cubicBezTo>
                    <a:pt x="583" y="364"/>
                    <a:pt x="589" y="360"/>
                    <a:pt x="595" y="355"/>
                  </a:cubicBezTo>
                  <a:cubicBezTo>
                    <a:pt x="598" y="351"/>
                    <a:pt x="601" y="348"/>
                    <a:pt x="604" y="345"/>
                  </a:cubicBezTo>
                  <a:cubicBezTo>
                    <a:pt x="604" y="344"/>
                    <a:pt x="605" y="343"/>
                    <a:pt x="605" y="342"/>
                  </a:cubicBezTo>
                  <a:cubicBezTo>
                    <a:pt x="606" y="343"/>
                    <a:pt x="608" y="343"/>
                    <a:pt x="609" y="344"/>
                  </a:cubicBezTo>
                  <a:cubicBezTo>
                    <a:pt x="616" y="348"/>
                    <a:pt x="623" y="351"/>
                    <a:pt x="631" y="355"/>
                  </a:cubicBezTo>
                  <a:close/>
                  <a:moveTo>
                    <a:pt x="26" y="181"/>
                  </a:moveTo>
                  <a:cubicBezTo>
                    <a:pt x="26" y="181"/>
                    <a:pt x="26" y="181"/>
                    <a:pt x="26" y="181"/>
                  </a:cubicBezTo>
                  <a:cubicBezTo>
                    <a:pt x="27" y="185"/>
                    <a:pt x="27" y="188"/>
                    <a:pt x="28" y="192"/>
                  </a:cubicBezTo>
                  <a:cubicBezTo>
                    <a:pt x="28" y="198"/>
                    <a:pt x="29" y="203"/>
                    <a:pt x="30" y="209"/>
                  </a:cubicBezTo>
                  <a:cubicBezTo>
                    <a:pt x="31" y="215"/>
                    <a:pt x="32" y="221"/>
                    <a:pt x="34" y="227"/>
                  </a:cubicBezTo>
                  <a:cubicBezTo>
                    <a:pt x="35" y="231"/>
                    <a:pt x="36" y="234"/>
                    <a:pt x="37" y="238"/>
                  </a:cubicBezTo>
                  <a:cubicBezTo>
                    <a:pt x="38" y="240"/>
                    <a:pt x="38" y="242"/>
                    <a:pt x="39" y="245"/>
                  </a:cubicBezTo>
                  <a:cubicBezTo>
                    <a:pt x="39" y="246"/>
                    <a:pt x="38" y="248"/>
                    <a:pt x="38" y="250"/>
                  </a:cubicBezTo>
                  <a:cubicBezTo>
                    <a:pt x="37" y="250"/>
                    <a:pt x="36" y="250"/>
                    <a:pt x="35" y="250"/>
                  </a:cubicBezTo>
                  <a:cubicBezTo>
                    <a:pt x="32" y="250"/>
                    <a:pt x="30" y="250"/>
                    <a:pt x="28" y="250"/>
                  </a:cubicBezTo>
                  <a:cubicBezTo>
                    <a:pt x="25" y="249"/>
                    <a:pt x="23" y="249"/>
                    <a:pt x="20" y="250"/>
                  </a:cubicBezTo>
                  <a:cubicBezTo>
                    <a:pt x="19" y="250"/>
                    <a:pt x="17" y="250"/>
                    <a:pt x="15" y="251"/>
                  </a:cubicBezTo>
                  <a:cubicBezTo>
                    <a:pt x="15" y="250"/>
                    <a:pt x="15" y="249"/>
                    <a:pt x="14" y="247"/>
                  </a:cubicBezTo>
                  <a:cubicBezTo>
                    <a:pt x="13" y="245"/>
                    <a:pt x="12" y="243"/>
                    <a:pt x="11" y="240"/>
                  </a:cubicBezTo>
                  <a:cubicBezTo>
                    <a:pt x="9" y="236"/>
                    <a:pt x="7" y="231"/>
                    <a:pt x="5" y="226"/>
                  </a:cubicBezTo>
                  <a:cubicBezTo>
                    <a:pt x="3" y="218"/>
                    <a:pt x="1" y="211"/>
                    <a:pt x="0" y="204"/>
                  </a:cubicBezTo>
                  <a:cubicBezTo>
                    <a:pt x="6" y="198"/>
                    <a:pt x="13" y="192"/>
                    <a:pt x="20" y="187"/>
                  </a:cubicBezTo>
                  <a:cubicBezTo>
                    <a:pt x="22" y="185"/>
                    <a:pt x="24" y="183"/>
                    <a:pt x="26" y="181"/>
                  </a:cubicBezTo>
                  <a:close/>
                  <a:moveTo>
                    <a:pt x="202" y="469"/>
                  </a:moveTo>
                  <a:cubicBezTo>
                    <a:pt x="202" y="469"/>
                    <a:pt x="202" y="469"/>
                    <a:pt x="202" y="469"/>
                  </a:cubicBezTo>
                  <a:cubicBezTo>
                    <a:pt x="205" y="467"/>
                    <a:pt x="209" y="465"/>
                    <a:pt x="213" y="464"/>
                  </a:cubicBezTo>
                  <a:cubicBezTo>
                    <a:pt x="222" y="461"/>
                    <a:pt x="230" y="458"/>
                    <a:pt x="238" y="454"/>
                  </a:cubicBezTo>
                  <a:cubicBezTo>
                    <a:pt x="253" y="464"/>
                    <a:pt x="269" y="472"/>
                    <a:pt x="285" y="480"/>
                  </a:cubicBezTo>
                  <a:cubicBezTo>
                    <a:pt x="303" y="488"/>
                    <a:pt x="321" y="493"/>
                    <a:pt x="340" y="495"/>
                  </a:cubicBezTo>
                  <a:cubicBezTo>
                    <a:pt x="344" y="495"/>
                    <a:pt x="347" y="495"/>
                    <a:pt x="350" y="495"/>
                  </a:cubicBezTo>
                  <a:cubicBezTo>
                    <a:pt x="353" y="494"/>
                    <a:pt x="356" y="494"/>
                    <a:pt x="360" y="493"/>
                  </a:cubicBezTo>
                  <a:cubicBezTo>
                    <a:pt x="360" y="495"/>
                    <a:pt x="361" y="497"/>
                    <a:pt x="361" y="499"/>
                  </a:cubicBezTo>
                  <a:cubicBezTo>
                    <a:pt x="363" y="503"/>
                    <a:pt x="365" y="508"/>
                    <a:pt x="367" y="512"/>
                  </a:cubicBezTo>
                  <a:cubicBezTo>
                    <a:pt x="369" y="515"/>
                    <a:pt x="372" y="516"/>
                    <a:pt x="374" y="513"/>
                  </a:cubicBezTo>
                  <a:cubicBezTo>
                    <a:pt x="379" y="506"/>
                    <a:pt x="385" y="499"/>
                    <a:pt x="392" y="493"/>
                  </a:cubicBezTo>
                  <a:cubicBezTo>
                    <a:pt x="395" y="493"/>
                    <a:pt x="398" y="492"/>
                    <a:pt x="401" y="491"/>
                  </a:cubicBezTo>
                  <a:cubicBezTo>
                    <a:pt x="406" y="489"/>
                    <a:pt x="411" y="488"/>
                    <a:pt x="415" y="486"/>
                  </a:cubicBezTo>
                  <a:cubicBezTo>
                    <a:pt x="424" y="482"/>
                    <a:pt x="433" y="477"/>
                    <a:pt x="442" y="472"/>
                  </a:cubicBezTo>
                  <a:cubicBezTo>
                    <a:pt x="449" y="468"/>
                    <a:pt x="455" y="465"/>
                    <a:pt x="463" y="461"/>
                  </a:cubicBezTo>
                  <a:cubicBezTo>
                    <a:pt x="470" y="458"/>
                    <a:pt x="477" y="454"/>
                    <a:pt x="483" y="450"/>
                  </a:cubicBezTo>
                  <a:cubicBezTo>
                    <a:pt x="489" y="446"/>
                    <a:pt x="495" y="441"/>
                    <a:pt x="499" y="435"/>
                  </a:cubicBezTo>
                  <a:cubicBezTo>
                    <a:pt x="502" y="442"/>
                    <a:pt x="506" y="449"/>
                    <a:pt x="510" y="456"/>
                  </a:cubicBezTo>
                  <a:cubicBezTo>
                    <a:pt x="510" y="456"/>
                    <a:pt x="510" y="456"/>
                    <a:pt x="510" y="456"/>
                  </a:cubicBezTo>
                  <a:cubicBezTo>
                    <a:pt x="485" y="482"/>
                    <a:pt x="453" y="499"/>
                    <a:pt x="420" y="510"/>
                  </a:cubicBezTo>
                  <a:cubicBezTo>
                    <a:pt x="389" y="519"/>
                    <a:pt x="357" y="522"/>
                    <a:pt x="325" y="519"/>
                  </a:cubicBezTo>
                  <a:cubicBezTo>
                    <a:pt x="293" y="516"/>
                    <a:pt x="262" y="506"/>
                    <a:pt x="233" y="491"/>
                  </a:cubicBezTo>
                  <a:cubicBezTo>
                    <a:pt x="222" y="485"/>
                    <a:pt x="211" y="478"/>
                    <a:pt x="201" y="469"/>
                  </a:cubicBezTo>
                  <a:cubicBezTo>
                    <a:pt x="201" y="469"/>
                    <a:pt x="201" y="469"/>
                    <a:pt x="202" y="469"/>
                  </a:cubicBezTo>
                  <a:close/>
                  <a:moveTo>
                    <a:pt x="306" y="408"/>
                  </a:moveTo>
                  <a:cubicBezTo>
                    <a:pt x="306" y="408"/>
                    <a:pt x="306" y="408"/>
                    <a:pt x="306" y="408"/>
                  </a:cubicBezTo>
                  <a:cubicBezTo>
                    <a:pt x="306" y="409"/>
                    <a:pt x="307" y="409"/>
                    <a:pt x="307" y="409"/>
                  </a:cubicBezTo>
                  <a:cubicBezTo>
                    <a:pt x="308" y="411"/>
                    <a:pt x="310" y="412"/>
                    <a:pt x="312" y="413"/>
                  </a:cubicBezTo>
                  <a:cubicBezTo>
                    <a:pt x="315" y="415"/>
                    <a:pt x="319" y="417"/>
                    <a:pt x="323" y="418"/>
                  </a:cubicBezTo>
                  <a:cubicBezTo>
                    <a:pt x="326" y="419"/>
                    <a:pt x="330" y="420"/>
                    <a:pt x="334" y="420"/>
                  </a:cubicBezTo>
                  <a:cubicBezTo>
                    <a:pt x="336" y="420"/>
                    <a:pt x="338" y="420"/>
                    <a:pt x="340" y="420"/>
                  </a:cubicBezTo>
                  <a:cubicBezTo>
                    <a:pt x="340" y="420"/>
                    <a:pt x="341" y="420"/>
                    <a:pt x="342" y="420"/>
                  </a:cubicBezTo>
                  <a:cubicBezTo>
                    <a:pt x="345" y="428"/>
                    <a:pt x="348" y="437"/>
                    <a:pt x="351" y="445"/>
                  </a:cubicBezTo>
                  <a:cubicBezTo>
                    <a:pt x="351" y="449"/>
                    <a:pt x="352" y="452"/>
                    <a:pt x="353" y="455"/>
                  </a:cubicBezTo>
                  <a:cubicBezTo>
                    <a:pt x="352" y="455"/>
                    <a:pt x="351" y="455"/>
                    <a:pt x="350" y="455"/>
                  </a:cubicBezTo>
                  <a:cubicBezTo>
                    <a:pt x="347" y="456"/>
                    <a:pt x="344" y="455"/>
                    <a:pt x="341" y="455"/>
                  </a:cubicBezTo>
                  <a:cubicBezTo>
                    <a:pt x="334" y="454"/>
                    <a:pt x="327" y="451"/>
                    <a:pt x="321" y="449"/>
                  </a:cubicBezTo>
                  <a:cubicBezTo>
                    <a:pt x="314" y="445"/>
                    <a:pt x="307" y="441"/>
                    <a:pt x="301" y="438"/>
                  </a:cubicBezTo>
                  <a:cubicBezTo>
                    <a:pt x="295" y="434"/>
                    <a:pt x="289" y="431"/>
                    <a:pt x="283" y="428"/>
                  </a:cubicBezTo>
                  <a:cubicBezTo>
                    <a:pt x="283" y="428"/>
                    <a:pt x="282" y="428"/>
                    <a:pt x="282" y="427"/>
                  </a:cubicBezTo>
                  <a:cubicBezTo>
                    <a:pt x="285" y="425"/>
                    <a:pt x="287" y="423"/>
                    <a:pt x="290" y="421"/>
                  </a:cubicBezTo>
                  <a:cubicBezTo>
                    <a:pt x="296" y="417"/>
                    <a:pt x="301" y="413"/>
                    <a:pt x="306" y="408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9" name="ïŝlïďe">
              <a:extLst>
                <a:ext uri="{FF2B5EF4-FFF2-40B4-BE49-F238E27FC236}">
                  <a16:creationId xmlns:a16="http://schemas.microsoft.com/office/drawing/2014/main" id="{3A792E17-59A0-4F65-97FC-F300EC092BB6}"/>
                </a:ext>
              </a:extLst>
            </p:cNvPr>
            <p:cNvSpPr/>
            <p:nvPr/>
          </p:nvSpPr>
          <p:spPr bwMode="auto">
            <a:xfrm>
              <a:off x="5826629" y="4485298"/>
              <a:ext cx="1058245" cy="668988"/>
            </a:xfrm>
            <a:custGeom>
              <a:avLst/>
              <a:gdLst>
                <a:gd name="T0" fmla="*/ 344 w 344"/>
                <a:gd name="T1" fmla="*/ 200 h 218"/>
                <a:gd name="T2" fmla="*/ 341 w 344"/>
                <a:gd name="T3" fmla="*/ 205 h 218"/>
                <a:gd name="T4" fmla="*/ 304 w 344"/>
                <a:gd name="T5" fmla="*/ 168 h 218"/>
                <a:gd name="T6" fmla="*/ 298 w 344"/>
                <a:gd name="T7" fmla="*/ 166 h 218"/>
                <a:gd name="T8" fmla="*/ 284 w 344"/>
                <a:gd name="T9" fmla="*/ 162 h 218"/>
                <a:gd name="T10" fmla="*/ 277 w 344"/>
                <a:gd name="T11" fmla="*/ 162 h 218"/>
                <a:gd name="T12" fmla="*/ 254 w 344"/>
                <a:gd name="T13" fmla="*/ 166 h 218"/>
                <a:gd name="T14" fmla="*/ 196 w 344"/>
                <a:gd name="T15" fmla="*/ 177 h 218"/>
                <a:gd name="T16" fmla="*/ 177 w 344"/>
                <a:gd name="T17" fmla="*/ 182 h 218"/>
                <a:gd name="T18" fmla="*/ 174 w 344"/>
                <a:gd name="T19" fmla="*/ 189 h 218"/>
                <a:gd name="T20" fmla="*/ 179 w 344"/>
                <a:gd name="T21" fmla="*/ 196 h 218"/>
                <a:gd name="T22" fmla="*/ 190 w 344"/>
                <a:gd name="T23" fmla="*/ 209 h 218"/>
                <a:gd name="T24" fmla="*/ 193 w 344"/>
                <a:gd name="T25" fmla="*/ 218 h 218"/>
                <a:gd name="T26" fmla="*/ 169 w 344"/>
                <a:gd name="T27" fmla="*/ 215 h 218"/>
                <a:gd name="T28" fmla="*/ 114 w 344"/>
                <a:gd name="T29" fmla="*/ 206 h 218"/>
                <a:gd name="T30" fmla="*/ 89 w 344"/>
                <a:gd name="T31" fmla="*/ 196 h 218"/>
                <a:gd name="T32" fmla="*/ 77 w 344"/>
                <a:gd name="T33" fmla="*/ 166 h 218"/>
                <a:gd name="T34" fmla="*/ 45 w 344"/>
                <a:gd name="T35" fmla="*/ 148 h 218"/>
                <a:gd name="T36" fmla="*/ 35 w 344"/>
                <a:gd name="T37" fmla="*/ 141 h 218"/>
                <a:gd name="T38" fmla="*/ 30 w 344"/>
                <a:gd name="T39" fmla="*/ 122 h 218"/>
                <a:gd name="T40" fmla="*/ 21 w 344"/>
                <a:gd name="T41" fmla="*/ 126 h 218"/>
                <a:gd name="T42" fmla="*/ 3 w 344"/>
                <a:gd name="T43" fmla="*/ 113 h 218"/>
                <a:gd name="T44" fmla="*/ 10 w 344"/>
                <a:gd name="T45" fmla="*/ 105 h 218"/>
                <a:gd name="T46" fmla="*/ 49 w 344"/>
                <a:gd name="T47" fmla="*/ 98 h 218"/>
                <a:gd name="T48" fmla="*/ 56 w 344"/>
                <a:gd name="T49" fmla="*/ 99 h 218"/>
                <a:gd name="T50" fmla="*/ 62 w 344"/>
                <a:gd name="T51" fmla="*/ 100 h 218"/>
                <a:gd name="T52" fmla="*/ 87 w 344"/>
                <a:gd name="T53" fmla="*/ 107 h 218"/>
                <a:gd name="T54" fmla="*/ 95 w 344"/>
                <a:gd name="T55" fmla="*/ 110 h 218"/>
                <a:gd name="T56" fmla="*/ 97 w 344"/>
                <a:gd name="T57" fmla="*/ 111 h 218"/>
                <a:gd name="T58" fmla="*/ 109 w 344"/>
                <a:gd name="T59" fmla="*/ 118 h 218"/>
                <a:gd name="T60" fmla="*/ 112 w 344"/>
                <a:gd name="T61" fmla="*/ 120 h 218"/>
                <a:gd name="T62" fmla="*/ 113 w 344"/>
                <a:gd name="T63" fmla="*/ 121 h 218"/>
                <a:gd name="T64" fmla="*/ 114 w 344"/>
                <a:gd name="T65" fmla="*/ 122 h 218"/>
                <a:gd name="T66" fmla="*/ 119 w 344"/>
                <a:gd name="T67" fmla="*/ 126 h 218"/>
                <a:gd name="T68" fmla="*/ 124 w 344"/>
                <a:gd name="T69" fmla="*/ 134 h 218"/>
                <a:gd name="T70" fmla="*/ 134 w 344"/>
                <a:gd name="T71" fmla="*/ 130 h 218"/>
                <a:gd name="T72" fmla="*/ 146 w 344"/>
                <a:gd name="T73" fmla="*/ 112 h 218"/>
                <a:gd name="T74" fmla="*/ 157 w 344"/>
                <a:gd name="T75" fmla="*/ 40 h 218"/>
                <a:gd name="T76" fmla="*/ 150 w 344"/>
                <a:gd name="T77" fmla="*/ 15 h 218"/>
                <a:gd name="T78" fmla="*/ 152 w 344"/>
                <a:gd name="T79" fmla="*/ 4 h 218"/>
                <a:gd name="T80" fmla="*/ 152 w 344"/>
                <a:gd name="T81" fmla="*/ 1 h 218"/>
                <a:gd name="T82" fmla="*/ 163 w 344"/>
                <a:gd name="T83" fmla="*/ 8 h 218"/>
                <a:gd name="T84" fmla="*/ 167 w 344"/>
                <a:gd name="T85" fmla="*/ 12 h 218"/>
                <a:gd name="T86" fmla="*/ 180 w 344"/>
                <a:gd name="T87" fmla="*/ 27 h 218"/>
                <a:gd name="T88" fmla="*/ 185 w 344"/>
                <a:gd name="T89" fmla="*/ 37 h 218"/>
                <a:gd name="T90" fmla="*/ 194 w 344"/>
                <a:gd name="T91" fmla="*/ 50 h 218"/>
                <a:gd name="T92" fmla="*/ 207 w 344"/>
                <a:gd name="T93" fmla="*/ 102 h 218"/>
                <a:gd name="T94" fmla="*/ 213 w 344"/>
                <a:gd name="T95" fmla="*/ 129 h 218"/>
                <a:gd name="T96" fmla="*/ 214 w 344"/>
                <a:gd name="T97" fmla="*/ 129 h 218"/>
                <a:gd name="T98" fmla="*/ 227 w 344"/>
                <a:gd name="T99" fmla="*/ 123 h 218"/>
                <a:gd name="T100" fmla="*/ 262 w 344"/>
                <a:gd name="T101" fmla="*/ 121 h 218"/>
                <a:gd name="T102" fmla="*/ 317 w 344"/>
                <a:gd name="T103" fmla="*/ 158 h 218"/>
                <a:gd name="T104" fmla="*/ 341 w 344"/>
                <a:gd name="T105" fmla="*/ 191 h 218"/>
                <a:gd name="T106" fmla="*/ 344 w 344"/>
                <a:gd name="T107" fmla="*/ 20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4" h="218">
                  <a:moveTo>
                    <a:pt x="344" y="200"/>
                  </a:moveTo>
                  <a:cubicBezTo>
                    <a:pt x="344" y="200"/>
                    <a:pt x="344" y="200"/>
                    <a:pt x="344" y="200"/>
                  </a:cubicBezTo>
                  <a:cubicBezTo>
                    <a:pt x="343" y="202"/>
                    <a:pt x="342" y="203"/>
                    <a:pt x="342" y="204"/>
                  </a:cubicBezTo>
                  <a:cubicBezTo>
                    <a:pt x="342" y="204"/>
                    <a:pt x="341" y="204"/>
                    <a:pt x="341" y="205"/>
                  </a:cubicBezTo>
                  <a:cubicBezTo>
                    <a:pt x="336" y="193"/>
                    <a:pt x="328" y="184"/>
                    <a:pt x="318" y="176"/>
                  </a:cubicBezTo>
                  <a:cubicBezTo>
                    <a:pt x="314" y="173"/>
                    <a:pt x="309" y="170"/>
                    <a:pt x="304" y="168"/>
                  </a:cubicBezTo>
                  <a:cubicBezTo>
                    <a:pt x="303" y="167"/>
                    <a:pt x="303" y="167"/>
                    <a:pt x="303" y="167"/>
                  </a:cubicBezTo>
                  <a:cubicBezTo>
                    <a:pt x="301" y="167"/>
                    <a:pt x="300" y="166"/>
                    <a:pt x="298" y="166"/>
                  </a:cubicBezTo>
                  <a:cubicBezTo>
                    <a:pt x="298" y="165"/>
                    <a:pt x="297" y="165"/>
                    <a:pt x="296" y="165"/>
                  </a:cubicBezTo>
                  <a:cubicBezTo>
                    <a:pt x="292" y="164"/>
                    <a:pt x="288" y="163"/>
                    <a:pt x="284" y="162"/>
                  </a:cubicBezTo>
                  <a:cubicBezTo>
                    <a:pt x="283" y="162"/>
                    <a:pt x="283" y="162"/>
                    <a:pt x="282" y="162"/>
                  </a:cubicBezTo>
                  <a:cubicBezTo>
                    <a:pt x="280" y="162"/>
                    <a:pt x="279" y="162"/>
                    <a:pt x="277" y="162"/>
                  </a:cubicBezTo>
                  <a:cubicBezTo>
                    <a:pt x="276" y="162"/>
                    <a:pt x="275" y="162"/>
                    <a:pt x="274" y="162"/>
                  </a:cubicBezTo>
                  <a:cubicBezTo>
                    <a:pt x="268" y="163"/>
                    <a:pt x="261" y="165"/>
                    <a:pt x="254" y="166"/>
                  </a:cubicBezTo>
                  <a:cubicBezTo>
                    <a:pt x="241" y="169"/>
                    <a:pt x="228" y="172"/>
                    <a:pt x="215" y="174"/>
                  </a:cubicBezTo>
                  <a:cubicBezTo>
                    <a:pt x="209" y="175"/>
                    <a:pt x="202" y="176"/>
                    <a:pt x="196" y="177"/>
                  </a:cubicBezTo>
                  <a:cubicBezTo>
                    <a:pt x="193" y="178"/>
                    <a:pt x="190" y="179"/>
                    <a:pt x="186" y="179"/>
                  </a:cubicBezTo>
                  <a:cubicBezTo>
                    <a:pt x="183" y="180"/>
                    <a:pt x="180" y="181"/>
                    <a:pt x="177" y="182"/>
                  </a:cubicBezTo>
                  <a:cubicBezTo>
                    <a:pt x="175" y="183"/>
                    <a:pt x="174" y="185"/>
                    <a:pt x="175" y="186"/>
                  </a:cubicBezTo>
                  <a:cubicBezTo>
                    <a:pt x="174" y="187"/>
                    <a:pt x="174" y="188"/>
                    <a:pt x="174" y="189"/>
                  </a:cubicBezTo>
                  <a:cubicBezTo>
                    <a:pt x="175" y="191"/>
                    <a:pt x="176" y="192"/>
                    <a:pt x="177" y="194"/>
                  </a:cubicBezTo>
                  <a:cubicBezTo>
                    <a:pt x="178" y="195"/>
                    <a:pt x="178" y="196"/>
                    <a:pt x="179" y="196"/>
                  </a:cubicBezTo>
                  <a:cubicBezTo>
                    <a:pt x="179" y="198"/>
                    <a:pt x="180" y="199"/>
                    <a:pt x="181" y="200"/>
                  </a:cubicBezTo>
                  <a:cubicBezTo>
                    <a:pt x="184" y="203"/>
                    <a:pt x="187" y="206"/>
                    <a:pt x="190" y="209"/>
                  </a:cubicBezTo>
                  <a:cubicBezTo>
                    <a:pt x="193" y="212"/>
                    <a:pt x="195" y="215"/>
                    <a:pt x="198" y="218"/>
                  </a:cubicBezTo>
                  <a:cubicBezTo>
                    <a:pt x="196" y="218"/>
                    <a:pt x="194" y="218"/>
                    <a:pt x="193" y="218"/>
                  </a:cubicBezTo>
                  <a:cubicBezTo>
                    <a:pt x="190" y="218"/>
                    <a:pt x="187" y="217"/>
                    <a:pt x="185" y="217"/>
                  </a:cubicBezTo>
                  <a:cubicBezTo>
                    <a:pt x="179" y="217"/>
                    <a:pt x="174" y="216"/>
                    <a:pt x="169" y="215"/>
                  </a:cubicBezTo>
                  <a:cubicBezTo>
                    <a:pt x="159" y="214"/>
                    <a:pt x="148" y="213"/>
                    <a:pt x="138" y="211"/>
                  </a:cubicBezTo>
                  <a:cubicBezTo>
                    <a:pt x="130" y="209"/>
                    <a:pt x="122" y="208"/>
                    <a:pt x="114" y="206"/>
                  </a:cubicBezTo>
                  <a:cubicBezTo>
                    <a:pt x="106" y="203"/>
                    <a:pt x="97" y="201"/>
                    <a:pt x="90" y="196"/>
                  </a:cubicBezTo>
                  <a:cubicBezTo>
                    <a:pt x="90" y="196"/>
                    <a:pt x="89" y="196"/>
                    <a:pt x="89" y="196"/>
                  </a:cubicBezTo>
                  <a:cubicBezTo>
                    <a:pt x="89" y="194"/>
                    <a:pt x="89" y="191"/>
                    <a:pt x="89" y="189"/>
                  </a:cubicBezTo>
                  <a:cubicBezTo>
                    <a:pt x="87" y="180"/>
                    <a:pt x="83" y="173"/>
                    <a:pt x="77" y="166"/>
                  </a:cubicBezTo>
                  <a:cubicBezTo>
                    <a:pt x="71" y="160"/>
                    <a:pt x="64" y="155"/>
                    <a:pt x="56" y="152"/>
                  </a:cubicBezTo>
                  <a:cubicBezTo>
                    <a:pt x="52" y="150"/>
                    <a:pt x="48" y="149"/>
                    <a:pt x="45" y="148"/>
                  </a:cubicBezTo>
                  <a:cubicBezTo>
                    <a:pt x="43" y="148"/>
                    <a:pt x="41" y="147"/>
                    <a:pt x="39" y="147"/>
                  </a:cubicBezTo>
                  <a:cubicBezTo>
                    <a:pt x="38" y="145"/>
                    <a:pt x="37" y="143"/>
                    <a:pt x="35" y="141"/>
                  </a:cubicBezTo>
                  <a:cubicBezTo>
                    <a:pt x="37" y="139"/>
                    <a:pt x="38" y="136"/>
                    <a:pt x="39" y="133"/>
                  </a:cubicBezTo>
                  <a:cubicBezTo>
                    <a:pt x="39" y="128"/>
                    <a:pt x="36" y="123"/>
                    <a:pt x="30" y="122"/>
                  </a:cubicBezTo>
                  <a:cubicBezTo>
                    <a:pt x="29" y="122"/>
                    <a:pt x="27" y="122"/>
                    <a:pt x="25" y="124"/>
                  </a:cubicBezTo>
                  <a:cubicBezTo>
                    <a:pt x="24" y="124"/>
                    <a:pt x="23" y="125"/>
                    <a:pt x="21" y="126"/>
                  </a:cubicBezTo>
                  <a:cubicBezTo>
                    <a:pt x="19" y="123"/>
                    <a:pt x="16" y="121"/>
                    <a:pt x="13" y="119"/>
                  </a:cubicBezTo>
                  <a:cubicBezTo>
                    <a:pt x="10" y="117"/>
                    <a:pt x="6" y="115"/>
                    <a:pt x="3" y="113"/>
                  </a:cubicBezTo>
                  <a:cubicBezTo>
                    <a:pt x="2" y="113"/>
                    <a:pt x="1" y="112"/>
                    <a:pt x="0" y="112"/>
                  </a:cubicBezTo>
                  <a:cubicBezTo>
                    <a:pt x="3" y="110"/>
                    <a:pt x="7" y="108"/>
                    <a:pt x="10" y="105"/>
                  </a:cubicBezTo>
                  <a:cubicBezTo>
                    <a:pt x="14" y="103"/>
                    <a:pt x="19" y="101"/>
                    <a:pt x="23" y="101"/>
                  </a:cubicBezTo>
                  <a:cubicBezTo>
                    <a:pt x="31" y="99"/>
                    <a:pt x="40" y="98"/>
                    <a:pt x="49" y="98"/>
                  </a:cubicBezTo>
                  <a:cubicBezTo>
                    <a:pt x="51" y="99"/>
                    <a:pt x="53" y="99"/>
                    <a:pt x="56" y="99"/>
                  </a:cubicBezTo>
                  <a:cubicBezTo>
                    <a:pt x="56" y="99"/>
                    <a:pt x="56" y="99"/>
                    <a:pt x="56" y="99"/>
                  </a:cubicBezTo>
                  <a:cubicBezTo>
                    <a:pt x="57" y="100"/>
                    <a:pt x="58" y="100"/>
                    <a:pt x="59" y="99"/>
                  </a:cubicBezTo>
                  <a:cubicBezTo>
                    <a:pt x="60" y="100"/>
                    <a:pt x="61" y="100"/>
                    <a:pt x="62" y="100"/>
                  </a:cubicBezTo>
                  <a:cubicBezTo>
                    <a:pt x="67" y="101"/>
                    <a:pt x="71" y="102"/>
                    <a:pt x="75" y="103"/>
                  </a:cubicBezTo>
                  <a:cubicBezTo>
                    <a:pt x="79" y="104"/>
                    <a:pt x="83" y="105"/>
                    <a:pt x="87" y="107"/>
                  </a:cubicBezTo>
                  <a:cubicBezTo>
                    <a:pt x="89" y="108"/>
                    <a:pt x="90" y="108"/>
                    <a:pt x="92" y="109"/>
                  </a:cubicBezTo>
                  <a:cubicBezTo>
                    <a:pt x="93" y="109"/>
                    <a:pt x="94" y="110"/>
                    <a:pt x="95" y="110"/>
                  </a:cubicBezTo>
                  <a:cubicBezTo>
                    <a:pt x="95" y="110"/>
                    <a:pt x="95" y="110"/>
                    <a:pt x="95" y="110"/>
                  </a:cubicBezTo>
                  <a:cubicBezTo>
                    <a:pt x="96" y="111"/>
                    <a:pt x="96" y="111"/>
                    <a:pt x="97" y="111"/>
                  </a:cubicBezTo>
                  <a:cubicBezTo>
                    <a:pt x="100" y="112"/>
                    <a:pt x="102" y="114"/>
                    <a:pt x="105" y="115"/>
                  </a:cubicBezTo>
                  <a:cubicBezTo>
                    <a:pt x="107" y="116"/>
                    <a:pt x="108" y="117"/>
                    <a:pt x="109" y="118"/>
                  </a:cubicBezTo>
                  <a:cubicBezTo>
                    <a:pt x="110" y="118"/>
                    <a:pt x="110" y="119"/>
                    <a:pt x="111" y="119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12" y="120"/>
                    <a:pt x="112" y="120"/>
                    <a:pt x="113" y="121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14" y="121"/>
                    <a:pt x="114" y="121"/>
                    <a:pt x="114" y="122"/>
                  </a:cubicBezTo>
                  <a:cubicBezTo>
                    <a:pt x="115" y="122"/>
                    <a:pt x="115" y="123"/>
                    <a:pt x="116" y="123"/>
                  </a:cubicBezTo>
                  <a:cubicBezTo>
                    <a:pt x="117" y="124"/>
                    <a:pt x="118" y="125"/>
                    <a:pt x="119" y="126"/>
                  </a:cubicBezTo>
                  <a:cubicBezTo>
                    <a:pt x="120" y="128"/>
                    <a:pt x="121" y="130"/>
                    <a:pt x="122" y="131"/>
                  </a:cubicBezTo>
                  <a:cubicBezTo>
                    <a:pt x="122" y="132"/>
                    <a:pt x="123" y="133"/>
                    <a:pt x="124" y="134"/>
                  </a:cubicBezTo>
                  <a:cubicBezTo>
                    <a:pt x="125" y="135"/>
                    <a:pt x="127" y="135"/>
                    <a:pt x="129" y="135"/>
                  </a:cubicBezTo>
                  <a:cubicBezTo>
                    <a:pt x="131" y="134"/>
                    <a:pt x="133" y="132"/>
                    <a:pt x="134" y="130"/>
                  </a:cubicBezTo>
                  <a:cubicBezTo>
                    <a:pt x="136" y="128"/>
                    <a:pt x="138" y="126"/>
                    <a:pt x="139" y="124"/>
                  </a:cubicBezTo>
                  <a:cubicBezTo>
                    <a:pt x="142" y="120"/>
                    <a:pt x="144" y="116"/>
                    <a:pt x="146" y="112"/>
                  </a:cubicBezTo>
                  <a:cubicBezTo>
                    <a:pt x="149" y="104"/>
                    <a:pt x="151" y="97"/>
                    <a:pt x="153" y="89"/>
                  </a:cubicBezTo>
                  <a:cubicBezTo>
                    <a:pt x="157" y="73"/>
                    <a:pt x="159" y="56"/>
                    <a:pt x="157" y="40"/>
                  </a:cubicBezTo>
                  <a:cubicBezTo>
                    <a:pt x="156" y="32"/>
                    <a:pt x="154" y="25"/>
                    <a:pt x="151" y="18"/>
                  </a:cubicBezTo>
                  <a:cubicBezTo>
                    <a:pt x="151" y="17"/>
                    <a:pt x="150" y="16"/>
                    <a:pt x="150" y="15"/>
                  </a:cubicBezTo>
                  <a:cubicBezTo>
                    <a:pt x="150" y="15"/>
                    <a:pt x="150" y="15"/>
                    <a:pt x="151" y="14"/>
                  </a:cubicBezTo>
                  <a:cubicBezTo>
                    <a:pt x="152" y="11"/>
                    <a:pt x="152" y="7"/>
                    <a:pt x="152" y="4"/>
                  </a:cubicBezTo>
                  <a:cubicBezTo>
                    <a:pt x="152" y="3"/>
                    <a:pt x="152" y="2"/>
                    <a:pt x="152" y="0"/>
                  </a:cubicBezTo>
                  <a:cubicBezTo>
                    <a:pt x="152" y="0"/>
                    <a:pt x="152" y="0"/>
                    <a:pt x="152" y="1"/>
                  </a:cubicBezTo>
                  <a:cubicBezTo>
                    <a:pt x="154" y="2"/>
                    <a:pt x="156" y="3"/>
                    <a:pt x="158" y="4"/>
                  </a:cubicBezTo>
                  <a:cubicBezTo>
                    <a:pt x="159" y="5"/>
                    <a:pt x="161" y="7"/>
                    <a:pt x="163" y="8"/>
                  </a:cubicBezTo>
                  <a:cubicBezTo>
                    <a:pt x="164" y="9"/>
                    <a:pt x="165" y="10"/>
                    <a:pt x="166" y="11"/>
                  </a:cubicBezTo>
                  <a:cubicBezTo>
                    <a:pt x="166" y="11"/>
                    <a:pt x="167" y="11"/>
                    <a:pt x="167" y="12"/>
                  </a:cubicBezTo>
                  <a:cubicBezTo>
                    <a:pt x="167" y="12"/>
                    <a:pt x="168" y="13"/>
                    <a:pt x="168" y="12"/>
                  </a:cubicBezTo>
                  <a:cubicBezTo>
                    <a:pt x="172" y="17"/>
                    <a:pt x="177" y="22"/>
                    <a:pt x="180" y="27"/>
                  </a:cubicBezTo>
                  <a:cubicBezTo>
                    <a:pt x="182" y="29"/>
                    <a:pt x="183" y="31"/>
                    <a:pt x="184" y="33"/>
                  </a:cubicBezTo>
                  <a:cubicBezTo>
                    <a:pt x="185" y="34"/>
                    <a:pt x="185" y="36"/>
                    <a:pt x="185" y="37"/>
                  </a:cubicBezTo>
                  <a:cubicBezTo>
                    <a:pt x="186" y="38"/>
                    <a:pt x="187" y="38"/>
                    <a:pt x="188" y="38"/>
                  </a:cubicBezTo>
                  <a:cubicBezTo>
                    <a:pt x="190" y="42"/>
                    <a:pt x="192" y="46"/>
                    <a:pt x="194" y="50"/>
                  </a:cubicBezTo>
                  <a:cubicBezTo>
                    <a:pt x="198" y="58"/>
                    <a:pt x="202" y="67"/>
                    <a:pt x="204" y="76"/>
                  </a:cubicBezTo>
                  <a:cubicBezTo>
                    <a:pt x="206" y="85"/>
                    <a:pt x="207" y="93"/>
                    <a:pt x="207" y="102"/>
                  </a:cubicBezTo>
                  <a:cubicBezTo>
                    <a:pt x="207" y="111"/>
                    <a:pt x="207" y="120"/>
                    <a:pt x="208" y="129"/>
                  </a:cubicBezTo>
                  <a:cubicBezTo>
                    <a:pt x="209" y="132"/>
                    <a:pt x="212" y="132"/>
                    <a:pt x="213" y="129"/>
                  </a:cubicBezTo>
                  <a:cubicBezTo>
                    <a:pt x="213" y="129"/>
                    <a:pt x="213" y="129"/>
                    <a:pt x="213" y="129"/>
                  </a:cubicBezTo>
                  <a:cubicBezTo>
                    <a:pt x="213" y="129"/>
                    <a:pt x="214" y="129"/>
                    <a:pt x="214" y="129"/>
                  </a:cubicBezTo>
                  <a:cubicBezTo>
                    <a:pt x="216" y="128"/>
                    <a:pt x="218" y="126"/>
                    <a:pt x="220" y="126"/>
                  </a:cubicBezTo>
                  <a:cubicBezTo>
                    <a:pt x="222" y="125"/>
                    <a:pt x="225" y="124"/>
                    <a:pt x="227" y="123"/>
                  </a:cubicBezTo>
                  <a:cubicBezTo>
                    <a:pt x="231" y="122"/>
                    <a:pt x="235" y="121"/>
                    <a:pt x="239" y="120"/>
                  </a:cubicBezTo>
                  <a:cubicBezTo>
                    <a:pt x="247" y="119"/>
                    <a:pt x="255" y="119"/>
                    <a:pt x="262" y="121"/>
                  </a:cubicBezTo>
                  <a:cubicBezTo>
                    <a:pt x="278" y="124"/>
                    <a:pt x="292" y="133"/>
                    <a:pt x="304" y="144"/>
                  </a:cubicBezTo>
                  <a:cubicBezTo>
                    <a:pt x="309" y="148"/>
                    <a:pt x="314" y="153"/>
                    <a:pt x="317" y="158"/>
                  </a:cubicBezTo>
                  <a:cubicBezTo>
                    <a:pt x="322" y="163"/>
                    <a:pt x="326" y="168"/>
                    <a:pt x="330" y="174"/>
                  </a:cubicBezTo>
                  <a:cubicBezTo>
                    <a:pt x="333" y="179"/>
                    <a:pt x="337" y="185"/>
                    <a:pt x="341" y="191"/>
                  </a:cubicBezTo>
                  <a:cubicBezTo>
                    <a:pt x="342" y="193"/>
                    <a:pt x="343" y="196"/>
                    <a:pt x="344" y="199"/>
                  </a:cubicBezTo>
                  <a:cubicBezTo>
                    <a:pt x="344" y="199"/>
                    <a:pt x="344" y="199"/>
                    <a:pt x="344" y="200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0" name="išlîḋê">
              <a:extLst>
                <a:ext uri="{FF2B5EF4-FFF2-40B4-BE49-F238E27FC236}">
                  <a16:creationId xmlns:a16="http://schemas.microsoft.com/office/drawing/2014/main" id="{04D42F85-123D-4A83-BF98-13EFA0F17174}"/>
                </a:ext>
              </a:extLst>
            </p:cNvPr>
            <p:cNvSpPr/>
            <p:nvPr/>
          </p:nvSpPr>
          <p:spPr bwMode="auto">
            <a:xfrm>
              <a:off x="6867113" y="5173528"/>
              <a:ext cx="1481" cy="1481"/>
            </a:xfrm>
            <a:prstGeom prst="rect">
              <a:avLst/>
            </a:pr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1" name="iśľïďè">
              <a:extLst>
                <a:ext uri="{FF2B5EF4-FFF2-40B4-BE49-F238E27FC236}">
                  <a16:creationId xmlns:a16="http://schemas.microsoft.com/office/drawing/2014/main" id="{2FEE67D8-96E8-4EAD-800B-48AE5B0D876F}"/>
                </a:ext>
              </a:extLst>
            </p:cNvPr>
            <p:cNvSpPr/>
            <p:nvPr/>
          </p:nvSpPr>
          <p:spPr bwMode="auto">
            <a:xfrm>
              <a:off x="6864153" y="5139486"/>
              <a:ext cx="125806" cy="122846"/>
            </a:xfrm>
            <a:custGeom>
              <a:avLst/>
              <a:gdLst>
                <a:gd name="T0" fmla="*/ 21 w 41"/>
                <a:gd name="T1" fmla="*/ 0 h 40"/>
                <a:gd name="T2" fmla="*/ 27 w 41"/>
                <a:gd name="T3" fmla="*/ 0 h 40"/>
                <a:gd name="T4" fmla="*/ 29 w 41"/>
                <a:gd name="T5" fmla="*/ 1 h 40"/>
                <a:gd name="T6" fmla="*/ 33 w 41"/>
                <a:gd name="T7" fmla="*/ 2 h 40"/>
                <a:gd name="T8" fmla="*/ 36 w 41"/>
                <a:gd name="T9" fmla="*/ 4 h 40"/>
                <a:gd name="T10" fmla="*/ 38 w 41"/>
                <a:gd name="T11" fmla="*/ 6 h 40"/>
                <a:gd name="T12" fmla="*/ 38 w 41"/>
                <a:gd name="T13" fmla="*/ 6 h 40"/>
                <a:gd name="T14" fmla="*/ 40 w 41"/>
                <a:gd name="T15" fmla="*/ 9 h 40"/>
                <a:gd name="T16" fmla="*/ 40 w 41"/>
                <a:gd name="T17" fmla="*/ 11 h 40"/>
                <a:gd name="T18" fmla="*/ 41 w 41"/>
                <a:gd name="T19" fmla="*/ 14 h 40"/>
                <a:gd name="T20" fmla="*/ 41 w 41"/>
                <a:gd name="T21" fmla="*/ 18 h 40"/>
                <a:gd name="T22" fmla="*/ 40 w 41"/>
                <a:gd name="T23" fmla="*/ 23 h 40"/>
                <a:gd name="T24" fmla="*/ 39 w 41"/>
                <a:gd name="T25" fmla="*/ 27 h 40"/>
                <a:gd name="T26" fmla="*/ 36 w 41"/>
                <a:gd name="T27" fmla="*/ 31 h 40"/>
                <a:gd name="T28" fmla="*/ 34 w 41"/>
                <a:gd name="T29" fmla="*/ 33 h 40"/>
                <a:gd name="T30" fmla="*/ 31 w 41"/>
                <a:gd name="T31" fmla="*/ 36 h 40"/>
                <a:gd name="T32" fmla="*/ 28 w 41"/>
                <a:gd name="T33" fmla="*/ 38 h 40"/>
                <a:gd name="T34" fmla="*/ 27 w 41"/>
                <a:gd name="T35" fmla="*/ 38 h 40"/>
                <a:gd name="T36" fmla="*/ 22 w 41"/>
                <a:gd name="T37" fmla="*/ 40 h 40"/>
                <a:gd name="T38" fmla="*/ 18 w 41"/>
                <a:gd name="T39" fmla="*/ 40 h 40"/>
                <a:gd name="T40" fmla="*/ 16 w 41"/>
                <a:gd name="T41" fmla="*/ 40 h 40"/>
                <a:gd name="T42" fmla="*/ 12 w 41"/>
                <a:gd name="T43" fmla="*/ 39 h 40"/>
                <a:gd name="T44" fmla="*/ 10 w 41"/>
                <a:gd name="T45" fmla="*/ 38 h 40"/>
                <a:gd name="T46" fmla="*/ 8 w 41"/>
                <a:gd name="T47" fmla="*/ 37 h 40"/>
                <a:gd name="T48" fmla="*/ 5 w 41"/>
                <a:gd name="T49" fmla="*/ 33 h 40"/>
                <a:gd name="T50" fmla="*/ 4 w 41"/>
                <a:gd name="T51" fmla="*/ 33 h 40"/>
                <a:gd name="T52" fmla="*/ 2 w 41"/>
                <a:gd name="T53" fmla="*/ 28 h 40"/>
                <a:gd name="T54" fmla="*/ 1 w 41"/>
                <a:gd name="T55" fmla="*/ 27 h 40"/>
                <a:gd name="T56" fmla="*/ 0 w 41"/>
                <a:gd name="T57" fmla="*/ 22 h 40"/>
                <a:gd name="T58" fmla="*/ 0 w 41"/>
                <a:gd name="T59" fmla="*/ 21 h 40"/>
                <a:gd name="T60" fmla="*/ 0 w 41"/>
                <a:gd name="T61" fmla="*/ 15 h 40"/>
                <a:gd name="T62" fmla="*/ 0 w 41"/>
                <a:gd name="T63" fmla="*/ 13 h 40"/>
                <a:gd name="T64" fmla="*/ 1 w 41"/>
                <a:gd name="T65" fmla="*/ 11 h 40"/>
                <a:gd name="T66" fmla="*/ 5 w 41"/>
                <a:gd name="T67" fmla="*/ 8 h 40"/>
                <a:gd name="T68" fmla="*/ 13 w 41"/>
                <a:gd name="T69" fmla="*/ 3 h 40"/>
                <a:gd name="T70" fmla="*/ 15 w 41"/>
                <a:gd name="T71" fmla="*/ 2 h 40"/>
                <a:gd name="T72" fmla="*/ 19 w 41"/>
                <a:gd name="T73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" h="40"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4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9" y="1"/>
                    <a:pt x="29" y="1"/>
                  </a:cubicBezTo>
                  <a:cubicBezTo>
                    <a:pt x="30" y="1"/>
                    <a:pt x="31" y="1"/>
                    <a:pt x="32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4" y="2"/>
                    <a:pt x="34" y="3"/>
                    <a:pt x="35" y="3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7" y="4"/>
                  </a:cubicBezTo>
                  <a:cubicBezTo>
                    <a:pt x="37" y="5"/>
                    <a:pt x="37" y="5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7"/>
                    <a:pt x="39" y="8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10"/>
                    <a:pt x="40" y="10"/>
                    <a:pt x="40" y="11"/>
                  </a:cubicBezTo>
                  <a:cubicBezTo>
                    <a:pt x="41" y="12"/>
                    <a:pt x="41" y="12"/>
                    <a:pt x="41" y="13"/>
                  </a:cubicBezTo>
                  <a:cubicBezTo>
                    <a:pt x="41" y="13"/>
                    <a:pt x="41" y="13"/>
                    <a:pt x="41" y="14"/>
                  </a:cubicBezTo>
                  <a:cubicBezTo>
                    <a:pt x="41" y="15"/>
                    <a:pt x="41" y="16"/>
                    <a:pt x="41" y="17"/>
                  </a:cubicBezTo>
                  <a:cubicBezTo>
                    <a:pt x="41" y="17"/>
                    <a:pt x="41" y="18"/>
                    <a:pt x="41" y="18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1" y="20"/>
                    <a:pt x="40" y="22"/>
                    <a:pt x="40" y="23"/>
                  </a:cubicBezTo>
                  <a:cubicBezTo>
                    <a:pt x="40" y="24"/>
                    <a:pt x="40" y="24"/>
                    <a:pt x="39" y="25"/>
                  </a:cubicBezTo>
                  <a:cubicBezTo>
                    <a:pt x="39" y="25"/>
                    <a:pt x="39" y="26"/>
                    <a:pt x="39" y="27"/>
                  </a:cubicBezTo>
                  <a:cubicBezTo>
                    <a:pt x="38" y="27"/>
                    <a:pt x="38" y="28"/>
                    <a:pt x="38" y="28"/>
                  </a:cubicBezTo>
                  <a:cubicBezTo>
                    <a:pt x="37" y="29"/>
                    <a:pt x="37" y="30"/>
                    <a:pt x="36" y="31"/>
                  </a:cubicBezTo>
                  <a:cubicBezTo>
                    <a:pt x="36" y="31"/>
                    <a:pt x="36" y="32"/>
                    <a:pt x="35" y="32"/>
                  </a:cubicBezTo>
                  <a:cubicBezTo>
                    <a:pt x="35" y="32"/>
                    <a:pt x="34" y="33"/>
                    <a:pt x="34" y="33"/>
                  </a:cubicBezTo>
                  <a:cubicBezTo>
                    <a:pt x="33" y="34"/>
                    <a:pt x="33" y="35"/>
                    <a:pt x="32" y="35"/>
                  </a:cubicBezTo>
                  <a:cubicBezTo>
                    <a:pt x="32" y="35"/>
                    <a:pt x="31" y="36"/>
                    <a:pt x="31" y="36"/>
                  </a:cubicBezTo>
                  <a:cubicBezTo>
                    <a:pt x="30" y="36"/>
                    <a:pt x="29" y="37"/>
                    <a:pt x="29" y="37"/>
                  </a:cubicBezTo>
                  <a:cubicBezTo>
                    <a:pt x="29" y="38"/>
                    <a:pt x="28" y="38"/>
                    <a:pt x="28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6" y="39"/>
                    <a:pt x="24" y="39"/>
                    <a:pt x="23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20" y="40"/>
                    <a:pt x="20" y="40"/>
                  </a:cubicBezTo>
                  <a:cubicBezTo>
                    <a:pt x="19" y="40"/>
                    <a:pt x="19" y="40"/>
                    <a:pt x="18" y="40"/>
                  </a:cubicBezTo>
                  <a:cubicBezTo>
                    <a:pt x="18" y="40"/>
                    <a:pt x="17" y="40"/>
                    <a:pt x="17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4" y="39"/>
                    <a:pt x="13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1" y="38"/>
                    <a:pt x="11" y="38"/>
                    <a:pt x="10" y="38"/>
                  </a:cubicBezTo>
                  <a:cubicBezTo>
                    <a:pt x="10" y="37"/>
                    <a:pt x="9" y="37"/>
                    <a:pt x="9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7" y="35"/>
                    <a:pt x="6" y="34"/>
                    <a:pt x="5" y="33"/>
                  </a:cubicBezTo>
                  <a:cubicBezTo>
                    <a:pt x="5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2"/>
                    <a:pt x="4" y="32"/>
                    <a:pt x="4" y="31"/>
                  </a:cubicBezTo>
                  <a:cubicBezTo>
                    <a:pt x="3" y="30"/>
                    <a:pt x="2" y="29"/>
                    <a:pt x="2" y="28"/>
                  </a:cubicBezTo>
                  <a:cubicBezTo>
                    <a:pt x="2" y="27"/>
                    <a:pt x="2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5"/>
                    <a:pt x="1" y="25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22"/>
                    <a:pt x="0" y="22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0"/>
                    <a:pt x="0" y="18"/>
                    <a:pt x="0" y="16"/>
                  </a:cubicBezTo>
                  <a:cubicBezTo>
                    <a:pt x="0" y="16"/>
                    <a:pt x="0" y="15"/>
                    <a:pt x="0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3" y="10"/>
                    <a:pt x="4" y="9"/>
                    <a:pt x="5" y="8"/>
                  </a:cubicBezTo>
                  <a:cubicBezTo>
                    <a:pt x="7" y="7"/>
                    <a:pt x="9" y="5"/>
                    <a:pt x="10" y="4"/>
                  </a:cubicBezTo>
                  <a:cubicBezTo>
                    <a:pt x="11" y="4"/>
                    <a:pt x="12" y="3"/>
                    <a:pt x="13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1"/>
                    <a:pt x="17" y="1"/>
                    <a:pt x="18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20" y="0"/>
                    <a:pt x="21" y="0"/>
                    <a:pt x="21" y="0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2" name="îṡľiḍê">
              <a:extLst>
                <a:ext uri="{FF2B5EF4-FFF2-40B4-BE49-F238E27FC236}">
                  <a16:creationId xmlns:a16="http://schemas.microsoft.com/office/drawing/2014/main" id="{C0C9AFE0-1E17-48C6-8ABA-1B8D019B0274}"/>
                </a:ext>
              </a:extLst>
            </p:cNvPr>
            <p:cNvSpPr/>
            <p:nvPr/>
          </p:nvSpPr>
          <p:spPr bwMode="auto">
            <a:xfrm>
              <a:off x="6482297" y="4516380"/>
              <a:ext cx="815515" cy="359656"/>
            </a:xfrm>
            <a:custGeom>
              <a:avLst/>
              <a:gdLst>
                <a:gd name="T0" fmla="*/ 250 w 265"/>
                <a:gd name="T1" fmla="*/ 75 h 117"/>
                <a:gd name="T2" fmla="*/ 246 w 265"/>
                <a:gd name="T3" fmla="*/ 32 h 117"/>
                <a:gd name="T4" fmla="*/ 241 w 265"/>
                <a:gd name="T5" fmla="*/ 31 h 117"/>
                <a:gd name="T6" fmla="*/ 226 w 265"/>
                <a:gd name="T7" fmla="*/ 37 h 117"/>
                <a:gd name="T8" fmla="*/ 208 w 265"/>
                <a:gd name="T9" fmla="*/ 70 h 117"/>
                <a:gd name="T10" fmla="*/ 206 w 265"/>
                <a:gd name="T11" fmla="*/ 82 h 117"/>
                <a:gd name="T12" fmla="*/ 204 w 265"/>
                <a:gd name="T13" fmla="*/ 101 h 117"/>
                <a:gd name="T14" fmla="*/ 180 w 265"/>
                <a:gd name="T15" fmla="*/ 111 h 117"/>
                <a:gd name="T16" fmla="*/ 163 w 265"/>
                <a:gd name="T17" fmla="*/ 115 h 117"/>
                <a:gd name="T18" fmla="*/ 150 w 265"/>
                <a:gd name="T19" fmla="*/ 108 h 117"/>
                <a:gd name="T20" fmla="*/ 107 w 265"/>
                <a:gd name="T21" fmla="*/ 93 h 117"/>
                <a:gd name="T22" fmla="*/ 49 w 265"/>
                <a:gd name="T23" fmla="*/ 103 h 117"/>
                <a:gd name="T24" fmla="*/ 41 w 265"/>
                <a:gd name="T25" fmla="*/ 102 h 117"/>
                <a:gd name="T26" fmla="*/ 10 w 265"/>
                <a:gd name="T27" fmla="*/ 110 h 117"/>
                <a:gd name="T28" fmla="*/ 1 w 265"/>
                <a:gd name="T29" fmla="*/ 102 h 117"/>
                <a:gd name="T30" fmla="*/ 18 w 265"/>
                <a:gd name="T31" fmla="*/ 98 h 117"/>
                <a:gd name="T32" fmla="*/ 12 w 265"/>
                <a:gd name="T33" fmla="*/ 87 h 117"/>
                <a:gd name="T34" fmla="*/ 1 w 265"/>
                <a:gd name="T35" fmla="*/ 72 h 117"/>
                <a:gd name="T36" fmla="*/ 19 w 265"/>
                <a:gd name="T37" fmla="*/ 81 h 117"/>
                <a:gd name="T38" fmla="*/ 109 w 265"/>
                <a:gd name="T39" fmla="*/ 82 h 117"/>
                <a:gd name="T40" fmla="*/ 135 w 265"/>
                <a:gd name="T41" fmla="*/ 82 h 117"/>
                <a:gd name="T42" fmla="*/ 140 w 265"/>
                <a:gd name="T43" fmla="*/ 83 h 117"/>
                <a:gd name="T44" fmla="*/ 144 w 265"/>
                <a:gd name="T45" fmla="*/ 83 h 117"/>
                <a:gd name="T46" fmla="*/ 157 w 265"/>
                <a:gd name="T47" fmla="*/ 87 h 117"/>
                <a:gd name="T48" fmla="*/ 160 w 265"/>
                <a:gd name="T49" fmla="*/ 88 h 117"/>
                <a:gd name="T50" fmla="*/ 168 w 265"/>
                <a:gd name="T51" fmla="*/ 92 h 117"/>
                <a:gd name="T52" fmla="*/ 169 w 265"/>
                <a:gd name="T53" fmla="*/ 93 h 117"/>
                <a:gd name="T54" fmla="*/ 173 w 265"/>
                <a:gd name="T55" fmla="*/ 98 h 117"/>
                <a:gd name="T56" fmla="*/ 175 w 265"/>
                <a:gd name="T57" fmla="*/ 99 h 117"/>
                <a:gd name="T58" fmla="*/ 179 w 265"/>
                <a:gd name="T59" fmla="*/ 101 h 117"/>
                <a:gd name="T60" fmla="*/ 183 w 265"/>
                <a:gd name="T61" fmla="*/ 97 h 117"/>
                <a:gd name="T62" fmla="*/ 186 w 265"/>
                <a:gd name="T63" fmla="*/ 84 h 117"/>
                <a:gd name="T64" fmla="*/ 190 w 265"/>
                <a:gd name="T65" fmla="*/ 66 h 117"/>
                <a:gd name="T66" fmla="*/ 190 w 265"/>
                <a:gd name="T67" fmla="*/ 65 h 117"/>
                <a:gd name="T68" fmla="*/ 191 w 265"/>
                <a:gd name="T69" fmla="*/ 62 h 117"/>
                <a:gd name="T70" fmla="*/ 194 w 265"/>
                <a:gd name="T71" fmla="*/ 57 h 117"/>
                <a:gd name="T72" fmla="*/ 195 w 265"/>
                <a:gd name="T73" fmla="*/ 56 h 117"/>
                <a:gd name="T74" fmla="*/ 221 w 265"/>
                <a:gd name="T75" fmla="*/ 31 h 117"/>
                <a:gd name="T76" fmla="*/ 243 w 265"/>
                <a:gd name="T77" fmla="*/ 0 h 117"/>
                <a:gd name="T78" fmla="*/ 250 w 265"/>
                <a:gd name="T79" fmla="*/ 15 h 117"/>
                <a:gd name="T80" fmla="*/ 259 w 265"/>
                <a:gd name="T81" fmla="*/ 3 h 117"/>
                <a:gd name="T82" fmla="*/ 263 w 265"/>
                <a:gd name="T83" fmla="*/ 14 h 117"/>
                <a:gd name="T84" fmla="*/ 263 w 265"/>
                <a:gd name="T85" fmla="*/ 58 h 117"/>
                <a:gd name="T86" fmla="*/ 258 w 265"/>
                <a:gd name="T87" fmla="*/ 75 h 117"/>
                <a:gd name="T88" fmla="*/ 250 w 265"/>
                <a:gd name="T89" fmla="*/ 7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5" h="117">
                  <a:moveTo>
                    <a:pt x="250" y="75"/>
                  </a:moveTo>
                  <a:cubicBezTo>
                    <a:pt x="250" y="75"/>
                    <a:pt x="250" y="75"/>
                    <a:pt x="250" y="75"/>
                  </a:cubicBezTo>
                  <a:cubicBezTo>
                    <a:pt x="251" y="70"/>
                    <a:pt x="252" y="64"/>
                    <a:pt x="253" y="58"/>
                  </a:cubicBezTo>
                  <a:cubicBezTo>
                    <a:pt x="254" y="50"/>
                    <a:pt x="255" y="37"/>
                    <a:pt x="246" y="32"/>
                  </a:cubicBezTo>
                  <a:cubicBezTo>
                    <a:pt x="245" y="32"/>
                    <a:pt x="243" y="31"/>
                    <a:pt x="241" y="31"/>
                  </a:cubicBezTo>
                  <a:cubicBezTo>
                    <a:pt x="241" y="31"/>
                    <a:pt x="241" y="31"/>
                    <a:pt x="241" y="31"/>
                  </a:cubicBezTo>
                  <a:cubicBezTo>
                    <a:pt x="238" y="31"/>
                    <a:pt x="235" y="32"/>
                    <a:pt x="232" y="33"/>
                  </a:cubicBezTo>
                  <a:cubicBezTo>
                    <a:pt x="230" y="34"/>
                    <a:pt x="227" y="36"/>
                    <a:pt x="226" y="37"/>
                  </a:cubicBezTo>
                  <a:cubicBezTo>
                    <a:pt x="221" y="41"/>
                    <a:pt x="218" y="46"/>
                    <a:pt x="215" y="51"/>
                  </a:cubicBezTo>
                  <a:cubicBezTo>
                    <a:pt x="212" y="57"/>
                    <a:pt x="210" y="63"/>
                    <a:pt x="208" y="70"/>
                  </a:cubicBezTo>
                  <a:cubicBezTo>
                    <a:pt x="208" y="72"/>
                    <a:pt x="207" y="75"/>
                    <a:pt x="207" y="77"/>
                  </a:cubicBezTo>
                  <a:cubicBezTo>
                    <a:pt x="207" y="79"/>
                    <a:pt x="206" y="80"/>
                    <a:pt x="206" y="82"/>
                  </a:cubicBezTo>
                  <a:cubicBezTo>
                    <a:pt x="205" y="86"/>
                    <a:pt x="205" y="90"/>
                    <a:pt x="204" y="94"/>
                  </a:cubicBezTo>
                  <a:cubicBezTo>
                    <a:pt x="204" y="96"/>
                    <a:pt x="204" y="99"/>
                    <a:pt x="204" y="101"/>
                  </a:cubicBezTo>
                  <a:cubicBezTo>
                    <a:pt x="202" y="102"/>
                    <a:pt x="200" y="103"/>
                    <a:pt x="197" y="104"/>
                  </a:cubicBezTo>
                  <a:cubicBezTo>
                    <a:pt x="192" y="106"/>
                    <a:pt x="186" y="109"/>
                    <a:pt x="180" y="111"/>
                  </a:cubicBezTo>
                  <a:cubicBezTo>
                    <a:pt x="175" y="113"/>
                    <a:pt x="169" y="115"/>
                    <a:pt x="163" y="117"/>
                  </a:cubicBezTo>
                  <a:cubicBezTo>
                    <a:pt x="164" y="117"/>
                    <a:pt x="164" y="116"/>
                    <a:pt x="163" y="115"/>
                  </a:cubicBezTo>
                  <a:cubicBezTo>
                    <a:pt x="161" y="113"/>
                    <a:pt x="159" y="112"/>
                    <a:pt x="157" y="111"/>
                  </a:cubicBezTo>
                  <a:cubicBezTo>
                    <a:pt x="155" y="110"/>
                    <a:pt x="153" y="109"/>
                    <a:pt x="150" y="108"/>
                  </a:cubicBezTo>
                  <a:cubicBezTo>
                    <a:pt x="146" y="105"/>
                    <a:pt x="141" y="103"/>
                    <a:pt x="136" y="101"/>
                  </a:cubicBezTo>
                  <a:cubicBezTo>
                    <a:pt x="127" y="97"/>
                    <a:pt x="117" y="94"/>
                    <a:pt x="107" y="93"/>
                  </a:cubicBezTo>
                  <a:cubicBezTo>
                    <a:pt x="97" y="91"/>
                    <a:pt x="88" y="91"/>
                    <a:pt x="78" y="93"/>
                  </a:cubicBezTo>
                  <a:cubicBezTo>
                    <a:pt x="68" y="94"/>
                    <a:pt x="58" y="99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6" y="103"/>
                    <a:pt x="43" y="102"/>
                    <a:pt x="41" y="102"/>
                  </a:cubicBezTo>
                  <a:cubicBezTo>
                    <a:pt x="34" y="102"/>
                    <a:pt x="27" y="103"/>
                    <a:pt x="20" y="105"/>
                  </a:cubicBezTo>
                  <a:cubicBezTo>
                    <a:pt x="17" y="106"/>
                    <a:pt x="13" y="108"/>
                    <a:pt x="10" y="110"/>
                  </a:cubicBezTo>
                  <a:cubicBezTo>
                    <a:pt x="6" y="112"/>
                    <a:pt x="3" y="114"/>
                    <a:pt x="0" y="116"/>
                  </a:cubicBezTo>
                  <a:cubicBezTo>
                    <a:pt x="0" y="112"/>
                    <a:pt x="1" y="107"/>
                    <a:pt x="1" y="102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6" y="104"/>
                    <a:pt x="13" y="101"/>
                    <a:pt x="18" y="98"/>
                  </a:cubicBezTo>
                  <a:cubicBezTo>
                    <a:pt x="21" y="97"/>
                    <a:pt x="20" y="93"/>
                    <a:pt x="18" y="92"/>
                  </a:cubicBezTo>
                  <a:cubicBezTo>
                    <a:pt x="16" y="90"/>
                    <a:pt x="14" y="88"/>
                    <a:pt x="12" y="87"/>
                  </a:cubicBezTo>
                  <a:cubicBezTo>
                    <a:pt x="10" y="85"/>
                    <a:pt x="8" y="83"/>
                    <a:pt x="6" y="80"/>
                  </a:cubicBezTo>
                  <a:cubicBezTo>
                    <a:pt x="5" y="78"/>
                    <a:pt x="3" y="75"/>
                    <a:pt x="1" y="72"/>
                  </a:cubicBezTo>
                  <a:cubicBezTo>
                    <a:pt x="3" y="73"/>
                    <a:pt x="5" y="74"/>
                    <a:pt x="6" y="75"/>
                  </a:cubicBezTo>
                  <a:cubicBezTo>
                    <a:pt x="11" y="78"/>
                    <a:pt x="15" y="79"/>
                    <a:pt x="19" y="81"/>
                  </a:cubicBezTo>
                  <a:cubicBezTo>
                    <a:pt x="29" y="84"/>
                    <a:pt x="39" y="86"/>
                    <a:pt x="49" y="87"/>
                  </a:cubicBezTo>
                  <a:cubicBezTo>
                    <a:pt x="69" y="88"/>
                    <a:pt x="89" y="84"/>
                    <a:pt x="109" y="82"/>
                  </a:cubicBezTo>
                  <a:cubicBezTo>
                    <a:pt x="115" y="81"/>
                    <a:pt x="120" y="81"/>
                    <a:pt x="126" y="81"/>
                  </a:cubicBezTo>
                  <a:cubicBezTo>
                    <a:pt x="128" y="81"/>
                    <a:pt x="131" y="82"/>
                    <a:pt x="135" y="82"/>
                  </a:cubicBezTo>
                  <a:cubicBezTo>
                    <a:pt x="136" y="82"/>
                    <a:pt x="138" y="82"/>
                    <a:pt x="139" y="82"/>
                  </a:cubicBezTo>
                  <a:cubicBezTo>
                    <a:pt x="140" y="83"/>
                    <a:pt x="140" y="83"/>
                    <a:pt x="140" y="83"/>
                  </a:cubicBezTo>
                  <a:cubicBezTo>
                    <a:pt x="140" y="83"/>
                    <a:pt x="141" y="83"/>
                    <a:pt x="141" y="83"/>
                  </a:cubicBezTo>
                  <a:cubicBezTo>
                    <a:pt x="142" y="83"/>
                    <a:pt x="143" y="83"/>
                    <a:pt x="144" y="83"/>
                  </a:cubicBezTo>
                  <a:cubicBezTo>
                    <a:pt x="147" y="84"/>
                    <a:pt x="150" y="84"/>
                    <a:pt x="153" y="85"/>
                  </a:cubicBezTo>
                  <a:cubicBezTo>
                    <a:pt x="154" y="86"/>
                    <a:pt x="156" y="86"/>
                    <a:pt x="157" y="87"/>
                  </a:cubicBezTo>
                  <a:cubicBezTo>
                    <a:pt x="158" y="87"/>
                    <a:pt x="158" y="87"/>
                    <a:pt x="159" y="87"/>
                  </a:cubicBezTo>
                  <a:cubicBezTo>
                    <a:pt x="159" y="88"/>
                    <a:pt x="160" y="88"/>
                    <a:pt x="160" y="88"/>
                  </a:cubicBezTo>
                  <a:cubicBezTo>
                    <a:pt x="160" y="88"/>
                    <a:pt x="161" y="88"/>
                    <a:pt x="161" y="88"/>
                  </a:cubicBezTo>
                  <a:cubicBezTo>
                    <a:pt x="164" y="89"/>
                    <a:pt x="166" y="91"/>
                    <a:pt x="168" y="92"/>
                  </a:cubicBezTo>
                  <a:cubicBezTo>
                    <a:pt x="168" y="93"/>
                    <a:pt x="169" y="93"/>
                    <a:pt x="169" y="93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70" y="94"/>
                    <a:pt x="170" y="94"/>
                    <a:pt x="171" y="95"/>
                  </a:cubicBezTo>
                  <a:cubicBezTo>
                    <a:pt x="172" y="95"/>
                    <a:pt x="173" y="97"/>
                    <a:pt x="173" y="98"/>
                  </a:cubicBezTo>
                  <a:cubicBezTo>
                    <a:pt x="173" y="97"/>
                    <a:pt x="174" y="98"/>
                    <a:pt x="174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75" y="100"/>
                    <a:pt x="176" y="100"/>
                    <a:pt x="176" y="101"/>
                  </a:cubicBezTo>
                  <a:cubicBezTo>
                    <a:pt x="177" y="102"/>
                    <a:pt x="178" y="102"/>
                    <a:pt x="179" y="101"/>
                  </a:cubicBezTo>
                  <a:cubicBezTo>
                    <a:pt x="180" y="101"/>
                    <a:pt x="181" y="101"/>
                    <a:pt x="181" y="100"/>
                  </a:cubicBezTo>
                  <a:cubicBezTo>
                    <a:pt x="182" y="99"/>
                    <a:pt x="183" y="98"/>
                    <a:pt x="183" y="97"/>
                  </a:cubicBezTo>
                  <a:cubicBezTo>
                    <a:pt x="183" y="95"/>
                    <a:pt x="184" y="94"/>
                    <a:pt x="184" y="92"/>
                  </a:cubicBezTo>
                  <a:cubicBezTo>
                    <a:pt x="185" y="90"/>
                    <a:pt x="185" y="87"/>
                    <a:pt x="186" y="84"/>
                  </a:cubicBezTo>
                  <a:cubicBezTo>
                    <a:pt x="186" y="80"/>
                    <a:pt x="187" y="75"/>
                    <a:pt x="188" y="70"/>
                  </a:cubicBezTo>
                  <a:cubicBezTo>
                    <a:pt x="189" y="69"/>
                    <a:pt x="189" y="67"/>
                    <a:pt x="190" y="66"/>
                  </a:cubicBezTo>
                  <a:cubicBezTo>
                    <a:pt x="190" y="66"/>
                    <a:pt x="190" y="66"/>
                    <a:pt x="190" y="66"/>
                  </a:cubicBezTo>
                  <a:cubicBezTo>
                    <a:pt x="190" y="65"/>
                    <a:pt x="190" y="65"/>
                    <a:pt x="190" y="65"/>
                  </a:cubicBezTo>
                  <a:cubicBezTo>
                    <a:pt x="190" y="65"/>
                    <a:pt x="190" y="65"/>
                    <a:pt x="190" y="64"/>
                  </a:cubicBezTo>
                  <a:cubicBezTo>
                    <a:pt x="190" y="64"/>
                    <a:pt x="191" y="63"/>
                    <a:pt x="191" y="62"/>
                  </a:cubicBezTo>
                  <a:cubicBezTo>
                    <a:pt x="192" y="61"/>
                    <a:pt x="192" y="60"/>
                    <a:pt x="193" y="59"/>
                  </a:cubicBezTo>
                  <a:cubicBezTo>
                    <a:pt x="194" y="58"/>
                    <a:pt x="194" y="58"/>
                    <a:pt x="194" y="57"/>
                  </a:cubicBezTo>
                  <a:cubicBezTo>
                    <a:pt x="195" y="57"/>
                    <a:pt x="195" y="57"/>
                    <a:pt x="195" y="56"/>
                  </a:cubicBezTo>
                  <a:cubicBezTo>
                    <a:pt x="195" y="56"/>
                    <a:pt x="195" y="56"/>
                    <a:pt x="195" y="56"/>
                  </a:cubicBezTo>
                  <a:cubicBezTo>
                    <a:pt x="195" y="56"/>
                    <a:pt x="195" y="56"/>
                    <a:pt x="195" y="56"/>
                  </a:cubicBezTo>
                  <a:cubicBezTo>
                    <a:pt x="202" y="46"/>
                    <a:pt x="212" y="39"/>
                    <a:pt x="221" y="31"/>
                  </a:cubicBezTo>
                  <a:cubicBezTo>
                    <a:pt x="228" y="25"/>
                    <a:pt x="234" y="18"/>
                    <a:pt x="239" y="11"/>
                  </a:cubicBezTo>
                  <a:cubicBezTo>
                    <a:pt x="241" y="7"/>
                    <a:pt x="242" y="4"/>
                    <a:pt x="243" y="0"/>
                  </a:cubicBezTo>
                  <a:cubicBezTo>
                    <a:pt x="244" y="4"/>
                    <a:pt x="245" y="9"/>
                    <a:pt x="245" y="13"/>
                  </a:cubicBezTo>
                  <a:cubicBezTo>
                    <a:pt x="245" y="15"/>
                    <a:pt x="248" y="16"/>
                    <a:pt x="250" y="15"/>
                  </a:cubicBezTo>
                  <a:cubicBezTo>
                    <a:pt x="253" y="13"/>
                    <a:pt x="255" y="10"/>
                    <a:pt x="258" y="7"/>
                  </a:cubicBezTo>
                  <a:cubicBezTo>
                    <a:pt x="258" y="5"/>
                    <a:pt x="259" y="4"/>
                    <a:pt x="259" y="3"/>
                  </a:cubicBezTo>
                  <a:cubicBezTo>
                    <a:pt x="260" y="4"/>
                    <a:pt x="260" y="4"/>
                    <a:pt x="260" y="5"/>
                  </a:cubicBezTo>
                  <a:cubicBezTo>
                    <a:pt x="261" y="8"/>
                    <a:pt x="262" y="11"/>
                    <a:pt x="263" y="14"/>
                  </a:cubicBezTo>
                  <a:cubicBezTo>
                    <a:pt x="264" y="21"/>
                    <a:pt x="265" y="28"/>
                    <a:pt x="265" y="36"/>
                  </a:cubicBezTo>
                  <a:cubicBezTo>
                    <a:pt x="265" y="44"/>
                    <a:pt x="264" y="51"/>
                    <a:pt x="263" y="58"/>
                  </a:cubicBezTo>
                  <a:cubicBezTo>
                    <a:pt x="262" y="61"/>
                    <a:pt x="261" y="64"/>
                    <a:pt x="260" y="68"/>
                  </a:cubicBezTo>
                  <a:cubicBezTo>
                    <a:pt x="259" y="70"/>
                    <a:pt x="258" y="72"/>
                    <a:pt x="258" y="75"/>
                  </a:cubicBezTo>
                  <a:cubicBezTo>
                    <a:pt x="255" y="77"/>
                    <a:pt x="251" y="78"/>
                    <a:pt x="248" y="80"/>
                  </a:cubicBezTo>
                  <a:cubicBezTo>
                    <a:pt x="249" y="78"/>
                    <a:pt x="249" y="77"/>
                    <a:pt x="250" y="75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3" name="iŝľíḍè">
              <a:extLst>
                <a:ext uri="{FF2B5EF4-FFF2-40B4-BE49-F238E27FC236}">
                  <a16:creationId xmlns:a16="http://schemas.microsoft.com/office/drawing/2014/main" id="{BAA79E99-3C1A-4B0F-A39B-78522E74A136}"/>
                </a:ext>
              </a:extLst>
            </p:cNvPr>
            <p:cNvSpPr/>
            <p:nvPr/>
          </p:nvSpPr>
          <p:spPr bwMode="auto">
            <a:xfrm>
              <a:off x="6725027" y="4679187"/>
              <a:ext cx="501742" cy="260491"/>
            </a:xfrm>
            <a:custGeom>
              <a:avLst/>
              <a:gdLst>
                <a:gd name="T0" fmla="*/ 129 w 163"/>
                <a:gd name="T1" fmla="*/ 41 h 85"/>
                <a:gd name="T2" fmla="*/ 129 w 163"/>
                <a:gd name="T3" fmla="*/ 41 h 85"/>
                <a:gd name="T4" fmla="*/ 131 w 163"/>
                <a:gd name="T5" fmla="*/ 31 h 85"/>
                <a:gd name="T6" fmla="*/ 135 w 163"/>
                <a:gd name="T7" fmla="*/ 20 h 85"/>
                <a:gd name="T8" fmla="*/ 137 w 163"/>
                <a:gd name="T9" fmla="*/ 18 h 85"/>
                <a:gd name="T10" fmla="*/ 139 w 163"/>
                <a:gd name="T11" fmla="*/ 14 h 85"/>
                <a:gd name="T12" fmla="*/ 147 w 163"/>
                <a:gd name="T13" fmla="*/ 7 h 85"/>
                <a:gd name="T14" fmla="*/ 154 w 163"/>
                <a:gd name="T15" fmla="*/ 2 h 85"/>
                <a:gd name="T16" fmla="*/ 160 w 163"/>
                <a:gd name="T17" fmla="*/ 0 h 85"/>
                <a:gd name="T18" fmla="*/ 161 w 163"/>
                <a:gd name="T19" fmla="*/ 3 h 85"/>
                <a:gd name="T20" fmla="*/ 163 w 163"/>
                <a:gd name="T21" fmla="*/ 6 h 85"/>
                <a:gd name="T22" fmla="*/ 162 w 163"/>
                <a:gd name="T23" fmla="*/ 12 h 85"/>
                <a:gd name="T24" fmla="*/ 161 w 163"/>
                <a:gd name="T25" fmla="*/ 23 h 85"/>
                <a:gd name="T26" fmla="*/ 161 w 163"/>
                <a:gd name="T27" fmla="*/ 32 h 85"/>
                <a:gd name="T28" fmla="*/ 134 w 163"/>
                <a:gd name="T29" fmla="*/ 45 h 85"/>
                <a:gd name="T30" fmla="*/ 130 w 163"/>
                <a:gd name="T31" fmla="*/ 46 h 85"/>
                <a:gd name="T32" fmla="*/ 129 w 163"/>
                <a:gd name="T33" fmla="*/ 46 h 85"/>
                <a:gd name="T34" fmla="*/ 129 w 163"/>
                <a:gd name="T35" fmla="*/ 47 h 85"/>
                <a:gd name="T36" fmla="*/ 129 w 163"/>
                <a:gd name="T37" fmla="*/ 41 h 85"/>
                <a:gd name="T38" fmla="*/ 28 w 163"/>
                <a:gd name="T39" fmla="*/ 85 h 85"/>
                <a:gd name="T40" fmla="*/ 28 w 163"/>
                <a:gd name="T41" fmla="*/ 85 h 85"/>
                <a:gd name="T42" fmla="*/ 1 w 163"/>
                <a:gd name="T43" fmla="*/ 62 h 85"/>
                <a:gd name="T44" fmla="*/ 0 w 163"/>
                <a:gd name="T45" fmla="*/ 61 h 85"/>
                <a:gd name="T46" fmla="*/ 16 w 163"/>
                <a:gd name="T47" fmla="*/ 57 h 85"/>
                <a:gd name="T48" fmla="*/ 27 w 163"/>
                <a:gd name="T49" fmla="*/ 55 h 85"/>
                <a:gd name="T50" fmla="*/ 33 w 163"/>
                <a:gd name="T51" fmla="*/ 54 h 85"/>
                <a:gd name="T52" fmla="*/ 39 w 163"/>
                <a:gd name="T53" fmla="*/ 54 h 85"/>
                <a:gd name="T54" fmla="*/ 40 w 163"/>
                <a:gd name="T55" fmla="*/ 53 h 85"/>
                <a:gd name="T56" fmla="*/ 79 w 163"/>
                <a:gd name="T57" fmla="*/ 66 h 85"/>
                <a:gd name="T58" fmla="*/ 34 w 163"/>
                <a:gd name="T59" fmla="*/ 83 h 85"/>
                <a:gd name="T60" fmla="*/ 28 w 163"/>
                <a:gd name="T61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63" h="85">
                  <a:moveTo>
                    <a:pt x="129" y="41"/>
                  </a:moveTo>
                  <a:cubicBezTo>
                    <a:pt x="129" y="41"/>
                    <a:pt x="129" y="41"/>
                    <a:pt x="129" y="41"/>
                  </a:cubicBezTo>
                  <a:cubicBezTo>
                    <a:pt x="130" y="38"/>
                    <a:pt x="130" y="34"/>
                    <a:pt x="131" y="31"/>
                  </a:cubicBezTo>
                  <a:cubicBezTo>
                    <a:pt x="132" y="27"/>
                    <a:pt x="134" y="23"/>
                    <a:pt x="135" y="20"/>
                  </a:cubicBezTo>
                  <a:cubicBezTo>
                    <a:pt x="136" y="19"/>
                    <a:pt x="136" y="18"/>
                    <a:pt x="137" y="18"/>
                  </a:cubicBezTo>
                  <a:cubicBezTo>
                    <a:pt x="137" y="17"/>
                    <a:pt x="138" y="15"/>
                    <a:pt x="139" y="14"/>
                  </a:cubicBezTo>
                  <a:cubicBezTo>
                    <a:pt x="141" y="11"/>
                    <a:pt x="144" y="9"/>
                    <a:pt x="147" y="7"/>
                  </a:cubicBezTo>
                  <a:cubicBezTo>
                    <a:pt x="149" y="5"/>
                    <a:pt x="151" y="3"/>
                    <a:pt x="154" y="2"/>
                  </a:cubicBezTo>
                  <a:cubicBezTo>
                    <a:pt x="156" y="1"/>
                    <a:pt x="158" y="0"/>
                    <a:pt x="160" y="0"/>
                  </a:cubicBezTo>
                  <a:cubicBezTo>
                    <a:pt x="161" y="1"/>
                    <a:pt x="161" y="2"/>
                    <a:pt x="161" y="3"/>
                  </a:cubicBezTo>
                  <a:cubicBezTo>
                    <a:pt x="162" y="4"/>
                    <a:pt x="162" y="5"/>
                    <a:pt x="163" y="6"/>
                  </a:cubicBezTo>
                  <a:cubicBezTo>
                    <a:pt x="163" y="8"/>
                    <a:pt x="162" y="10"/>
                    <a:pt x="162" y="12"/>
                  </a:cubicBezTo>
                  <a:cubicBezTo>
                    <a:pt x="162" y="16"/>
                    <a:pt x="162" y="19"/>
                    <a:pt x="161" y="23"/>
                  </a:cubicBezTo>
                  <a:cubicBezTo>
                    <a:pt x="161" y="25"/>
                    <a:pt x="159" y="29"/>
                    <a:pt x="161" y="32"/>
                  </a:cubicBezTo>
                  <a:cubicBezTo>
                    <a:pt x="152" y="36"/>
                    <a:pt x="143" y="40"/>
                    <a:pt x="134" y="45"/>
                  </a:cubicBezTo>
                  <a:cubicBezTo>
                    <a:pt x="132" y="45"/>
                    <a:pt x="131" y="46"/>
                    <a:pt x="130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5"/>
                    <a:pt x="129" y="43"/>
                    <a:pt x="129" y="41"/>
                  </a:cubicBezTo>
                  <a:close/>
                  <a:moveTo>
                    <a:pt x="28" y="85"/>
                  </a:moveTo>
                  <a:cubicBezTo>
                    <a:pt x="28" y="85"/>
                    <a:pt x="28" y="85"/>
                    <a:pt x="28" y="85"/>
                  </a:cubicBezTo>
                  <a:cubicBezTo>
                    <a:pt x="21" y="76"/>
                    <a:pt x="11" y="68"/>
                    <a:pt x="1" y="62"/>
                  </a:cubicBezTo>
                  <a:cubicBezTo>
                    <a:pt x="1" y="61"/>
                    <a:pt x="0" y="61"/>
                    <a:pt x="0" y="61"/>
                  </a:cubicBezTo>
                  <a:cubicBezTo>
                    <a:pt x="5" y="60"/>
                    <a:pt x="10" y="58"/>
                    <a:pt x="16" y="57"/>
                  </a:cubicBezTo>
                  <a:cubicBezTo>
                    <a:pt x="20" y="56"/>
                    <a:pt x="24" y="55"/>
                    <a:pt x="27" y="55"/>
                  </a:cubicBezTo>
                  <a:cubicBezTo>
                    <a:pt x="29" y="54"/>
                    <a:pt x="31" y="54"/>
                    <a:pt x="33" y="54"/>
                  </a:cubicBezTo>
                  <a:cubicBezTo>
                    <a:pt x="35" y="54"/>
                    <a:pt x="37" y="54"/>
                    <a:pt x="39" y="54"/>
                  </a:cubicBezTo>
                  <a:cubicBezTo>
                    <a:pt x="39" y="54"/>
                    <a:pt x="40" y="54"/>
                    <a:pt x="40" y="53"/>
                  </a:cubicBezTo>
                  <a:cubicBezTo>
                    <a:pt x="54" y="55"/>
                    <a:pt x="67" y="60"/>
                    <a:pt x="79" y="66"/>
                  </a:cubicBezTo>
                  <a:cubicBezTo>
                    <a:pt x="64" y="72"/>
                    <a:pt x="49" y="78"/>
                    <a:pt x="34" y="83"/>
                  </a:cubicBezTo>
                  <a:cubicBezTo>
                    <a:pt x="32" y="83"/>
                    <a:pt x="30" y="84"/>
                    <a:pt x="28" y="85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4" name="iṩļíḑe">
              <a:extLst>
                <a:ext uri="{FF2B5EF4-FFF2-40B4-BE49-F238E27FC236}">
                  <a16:creationId xmlns:a16="http://schemas.microsoft.com/office/drawing/2014/main" id="{CC3C77D8-2760-4D86-AD60-F41894164B64}"/>
                </a:ext>
              </a:extLst>
            </p:cNvPr>
            <p:cNvSpPr/>
            <p:nvPr/>
          </p:nvSpPr>
          <p:spPr bwMode="auto">
            <a:xfrm>
              <a:off x="6642144" y="4619984"/>
              <a:ext cx="609786" cy="222009"/>
            </a:xfrm>
            <a:custGeom>
              <a:avLst/>
              <a:gdLst>
                <a:gd name="T0" fmla="*/ 185 w 198"/>
                <a:gd name="T1" fmla="*/ 0 h 72"/>
                <a:gd name="T2" fmla="*/ 185 w 198"/>
                <a:gd name="T3" fmla="*/ 0 h 72"/>
                <a:gd name="T4" fmla="*/ 186 w 198"/>
                <a:gd name="T5" fmla="*/ 0 h 72"/>
                <a:gd name="T6" fmla="*/ 192 w 198"/>
                <a:gd name="T7" fmla="*/ 2 h 72"/>
                <a:gd name="T8" fmla="*/ 196 w 198"/>
                <a:gd name="T9" fmla="*/ 6 h 72"/>
                <a:gd name="T10" fmla="*/ 197 w 198"/>
                <a:gd name="T11" fmla="*/ 11 h 72"/>
                <a:gd name="T12" fmla="*/ 197 w 198"/>
                <a:gd name="T13" fmla="*/ 19 h 72"/>
                <a:gd name="T14" fmla="*/ 195 w 198"/>
                <a:gd name="T15" fmla="*/ 35 h 72"/>
                <a:gd name="T16" fmla="*/ 194 w 198"/>
                <a:gd name="T17" fmla="*/ 37 h 72"/>
                <a:gd name="T18" fmla="*/ 195 w 198"/>
                <a:gd name="T19" fmla="*/ 31 h 72"/>
                <a:gd name="T20" fmla="*/ 195 w 198"/>
                <a:gd name="T21" fmla="*/ 20 h 72"/>
                <a:gd name="T22" fmla="*/ 194 w 198"/>
                <a:gd name="T23" fmla="*/ 9 h 72"/>
                <a:gd name="T24" fmla="*/ 193 w 198"/>
                <a:gd name="T25" fmla="*/ 7 h 72"/>
                <a:gd name="T26" fmla="*/ 192 w 198"/>
                <a:gd name="T27" fmla="*/ 6 h 72"/>
                <a:gd name="T28" fmla="*/ 183 w 198"/>
                <a:gd name="T29" fmla="*/ 9 h 72"/>
                <a:gd name="T30" fmla="*/ 175 w 198"/>
                <a:gd name="T31" fmla="*/ 13 h 72"/>
                <a:gd name="T32" fmla="*/ 164 w 198"/>
                <a:gd name="T33" fmla="*/ 23 h 72"/>
                <a:gd name="T34" fmla="*/ 165 w 198"/>
                <a:gd name="T35" fmla="*/ 21 h 72"/>
                <a:gd name="T36" fmla="*/ 175 w 198"/>
                <a:gd name="T37" fmla="*/ 6 h 72"/>
                <a:gd name="T38" fmla="*/ 181 w 198"/>
                <a:gd name="T39" fmla="*/ 2 h 72"/>
                <a:gd name="T40" fmla="*/ 185 w 198"/>
                <a:gd name="T41" fmla="*/ 0 h 72"/>
                <a:gd name="T42" fmla="*/ 66 w 198"/>
                <a:gd name="T43" fmla="*/ 67 h 72"/>
                <a:gd name="T44" fmla="*/ 66 w 198"/>
                <a:gd name="T45" fmla="*/ 67 h 72"/>
                <a:gd name="T46" fmla="*/ 39 w 198"/>
                <a:gd name="T47" fmla="*/ 66 h 72"/>
                <a:gd name="T48" fmla="*/ 25 w 198"/>
                <a:gd name="T49" fmla="*/ 67 h 72"/>
                <a:gd name="T50" fmla="*/ 12 w 198"/>
                <a:gd name="T51" fmla="*/ 71 h 72"/>
                <a:gd name="T52" fmla="*/ 10 w 198"/>
                <a:gd name="T53" fmla="*/ 72 h 72"/>
                <a:gd name="T54" fmla="*/ 0 w 198"/>
                <a:gd name="T55" fmla="*/ 69 h 72"/>
                <a:gd name="T56" fmla="*/ 12 w 198"/>
                <a:gd name="T57" fmla="*/ 65 h 72"/>
                <a:gd name="T58" fmla="*/ 26 w 198"/>
                <a:gd name="T59" fmla="*/ 63 h 72"/>
                <a:gd name="T60" fmla="*/ 54 w 198"/>
                <a:gd name="T61" fmla="*/ 62 h 72"/>
                <a:gd name="T62" fmla="*/ 83 w 198"/>
                <a:gd name="T63" fmla="*/ 70 h 72"/>
                <a:gd name="T64" fmla="*/ 84 w 198"/>
                <a:gd name="T65" fmla="*/ 71 h 72"/>
                <a:gd name="T66" fmla="*/ 66 w 198"/>
                <a:gd name="T67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8" h="72">
                  <a:moveTo>
                    <a:pt x="185" y="0"/>
                  </a:moveTo>
                  <a:cubicBezTo>
                    <a:pt x="185" y="0"/>
                    <a:pt x="185" y="0"/>
                    <a:pt x="185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8" y="0"/>
                    <a:pt x="190" y="1"/>
                    <a:pt x="192" y="2"/>
                  </a:cubicBezTo>
                  <a:cubicBezTo>
                    <a:pt x="194" y="3"/>
                    <a:pt x="195" y="4"/>
                    <a:pt x="196" y="6"/>
                  </a:cubicBezTo>
                  <a:cubicBezTo>
                    <a:pt x="197" y="7"/>
                    <a:pt x="197" y="10"/>
                    <a:pt x="197" y="11"/>
                  </a:cubicBezTo>
                  <a:cubicBezTo>
                    <a:pt x="198" y="14"/>
                    <a:pt x="198" y="16"/>
                    <a:pt x="197" y="19"/>
                  </a:cubicBezTo>
                  <a:cubicBezTo>
                    <a:pt x="197" y="24"/>
                    <a:pt x="196" y="29"/>
                    <a:pt x="195" y="35"/>
                  </a:cubicBezTo>
                  <a:cubicBezTo>
                    <a:pt x="194" y="36"/>
                    <a:pt x="194" y="36"/>
                    <a:pt x="194" y="37"/>
                  </a:cubicBezTo>
                  <a:cubicBezTo>
                    <a:pt x="194" y="35"/>
                    <a:pt x="194" y="33"/>
                    <a:pt x="195" y="31"/>
                  </a:cubicBezTo>
                  <a:cubicBezTo>
                    <a:pt x="195" y="27"/>
                    <a:pt x="195" y="24"/>
                    <a:pt x="195" y="20"/>
                  </a:cubicBezTo>
                  <a:cubicBezTo>
                    <a:pt x="195" y="16"/>
                    <a:pt x="194" y="13"/>
                    <a:pt x="194" y="9"/>
                  </a:cubicBezTo>
                  <a:cubicBezTo>
                    <a:pt x="194" y="8"/>
                    <a:pt x="194" y="8"/>
                    <a:pt x="193" y="7"/>
                  </a:cubicBezTo>
                  <a:cubicBezTo>
                    <a:pt x="193" y="7"/>
                    <a:pt x="193" y="6"/>
                    <a:pt x="192" y="6"/>
                  </a:cubicBezTo>
                  <a:cubicBezTo>
                    <a:pt x="189" y="5"/>
                    <a:pt x="185" y="8"/>
                    <a:pt x="183" y="9"/>
                  </a:cubicBezTo>
                  <a:cubicBezTo>
                    <a:pt x="180" y="10"/>
                    <a:pt x="177" y="12"/>
                    <a:pt x="175" y="13"/>
                  </a:cubicBezTo>
                  <a:cubicBezTo>
                    <a:pt x="171" y="16"/>
                    <a:pt x="167" y="19"/>
                    <a:pt x="164" y="23"/>
                  </a:cubicBezTo>
                  <a:cubicBezTo>
                    <a:pt x="164" y="22"/>
                    <a:pt x="165" y="21"/>
                    <a:pt x="165" y="21"/>
                  </a:cubicBezTo>
                  <a:cubicBezTo>
                    <a:pt x="168" y="15"/>
                    <a:pt x="171" y="10"/>
                    <a:pt x="175" y="6"/>
                  </a:cubicBezTo>
                  <a:cubicBezTo>
                    <a:pt x="176" y="4"/>
                    <a:pt x="178" y="3"/>
                    <a:pt x="181" y="2"/>
                  </a:cubicBezTo>
                  <a:cubicBezTo>
                    <a:pt x="182" y="0"/>
                    <a:pt x="184" y="0"/>
                    <a:pt x="185" y="0"/>
                  </a:cubicBezTo>
                  <a:close/>
                  <a:moveTo>
                    <a:pt x="66" y="67"/>
                  </a:moveTo>
                  <a:cubicBezTo>
                    <a:pt x="66" y="67"/>
                    <a:pt x="66" y="67"/>
                    <a:pt x="66" y="67"/>
                  </a:cubicBezTo>
                  <a:cubicBezTo>
                    <a:pt x="57" y="66"/>
                    <a:pt x="48" y="66"/>
                    <a:pt x="39" y="66"/>
                  </a:cubicBezTo>
                  <a:cubicBezTo>
                    <a:pt x="34" y="66"/>
                    <a:pt x="30" y="67"/>
                    <a:pt x="25" y="67"/>
                  </a:cubicBezTo>
                  <a:cubicBezTo>
                    <a:pt x="21" y="68"/>
                    <a:pt x="16" y="69"/>
                    <a:pt x="12" y="71"/>
                  </a:cubicBezTo>
                  <a:cubicBezTo>
                    <a:pt x="11" y="72"/>
                    <a:pt x="11" y="72"/>
                    <a:pt x="10" y="72"/>
                  </a:cubicBezTo>
                  <a:cubicBezTo>
                    <a:pt x="7" y="71"/>
                    <a:pt x="3" y="70"/>
                    <a:pt x="0" y="69"/>
                  </a:cubicBezTo>
                  <a:cubicBezTo>
                    <a:pt x="4" y="68"/>
                    <a:pt x="8" y="66"/>
                    <a:pt x="12" y="65"/>
                  </a:cubicBezTo>
                  <a:cubicBezTo>
                    <a:pt x="17" y="65"/>
                    <a:pt x="22" y="63"/>
                    <a:pt x="26" y="63"/>
                  </a:cubicBezTo>
                  <a:cubicBezTo>
                    <a:pt x="35" y="61"/>
                    <a:pt x="45" y="61"/>
                    <a:pt x="54" y="62"/>
                  </a:cubicBezTo>
                  <a:cubicBezTo>
                    <a:pt x="64" y="64"/>
                    <a:pt x="74" y="67"/>
                    <a:pt x="83" y="70"/>
                  </a:cubicBezTo>
                  <a:cubicBezTo>
                    <a:pt x="83" y="71"/>
                    <a:pt x="84" y="71"/>
                    <a:pt x="84" y="71"/>
                  </a:cubicBezTo>
                  <a:cubicBezTo>
                    <a:pt x="78" y="69"/>
                    <a:pt x="72" y="68"/>
                    <a:pt x="66" y="67"/>
                  </a:cubicBezTo>
                  <a:close/>
                </a:path>
              </a:pathLst>
            </a:custGeom>
            <a:solidFill>
              <a:srgbClr val="FF9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5" name="išḷiḓé">
              <a:extLst>
                <a:ext uri="{FF2B5EF4-FFF2-40B4-BE49-F238E27FC236}">
                  <a16:creationId xmlns:a16="http://schemas.microsoft.com/office/drawing/2014/main" id="{10D48AC4-A6FB-4CB5-8F5D-42581A4F25B0}"/>
                </a:ext>
              </a:extLst>
            </p:cNvPr>
            <p:cNvSpPr/>
            <p:nvPr/>
          </p:nvSpPr>
          <p:spPr bwMode="auto">
            <a:xfrm>
              <a:off x="7549422" y="443645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6" name="iṥ1îḓê">
              <a:extLst>
                <a:ext uri="{FF2B5EF4-FFF2-40B4-BE49-F238E27FC236}">
                  <a16:creationId xmlns:a16="http://schemas.microsoft.com/office/drawing/2014/main" id="{CF91994F-BCAF-43C2-A391-F19576A6C5C2}"/>
                </a:ext>
              </a:extLst>
            </p:cNvPr>
            <p:cNvSpPr/>
            <p:nvPr/>
          </p:nvSpPr>
          <p:spPr bwMode="auto">
            <a:xfrm>
              <a:off x="7562743" y="4485298"/>
              <a:ext cx="5920" cy="14801"/>
            </a:xfrm>
            <a:custGeom>
              <a:avLst/>
              <a:gdLst>
                <a:gd name="T0" fmla="*/ 1 w 2"/>
                <a:gd name="T1" fmla="*/ 5 h 5"/>
                <a:gd name="T2" fmla="*/ 1 w 2"/>
                <a:gd name="T3" fmla="*/ 5 h 5"/>
                <a:gd name="T4" fmla="*/ 1 w 2"/>
                <a:gd name="T5" fmla="*/ 1 h 5"/>
                <a:gd name="T6" fmla="*/ 0 w 2"/>
                <a:gd name="T7" fmla="*/ 0 h 5"/>
                <a:gd name="T8" fmla="*/ 1 w 2"/>
                <a:gd name="T9" fmla="*/ 0 h 5"/>
                <a:gd name="T10" fmla="*/ 1 w 2"/>
                <a:gd name="T11" fmla="*/ 2 h 5"/>
                <a:gd name="T12" fmla="*/ 2 w 2"/>
                <a:gd name="T13" fmla="*/ 5 h 5"/>
                <a:gd name="T14" fmla="*/ 1 w 2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3"/>
                    <a:pt x="1" y="4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7" name="íṣļiďê">
              <a:extLst>
                <a:ext uri="{FF2B5EF4-FFF2-40B4-BE49-F238E27FC236}">
                  <a16:creationId xmlns:a16="http://schemas.microsoft.com/office/drawing/2014/main" id="{9B9BD079-030F-4D7F-AC45-A2704FF92569}"/>
                </a:ext>
              </a:extLst>
            </p:cNvPr>
            <p:cNvSpPr/>
            <p:nvPr/>
          </p:nvSpPr>
          <p:spPr bwMode="auto">
            <a:xfrm>
              <a:off x="7285971" y="4282530"/>
              <a:ext cx="168727" cy="146527"/>
            </a:xfrm>
            <a:custGeom>
              <a:avLst/>
              <a:gdLst>
                <a:gd name="T0" fmla="*/ 16 w 55"/>
                <a:gd name="T1" fmla="*/ 37 h 48"/>
                <a:gd name="T2" fmla="*/ 16 w 55"/>
                <a:gd name="T3" fmla="*/ 37 h 48"/>
                <a:gd name="T4" fmla="*/ 16 w 55"/>
                <a:gd name="T5" fmla="*/ 37 h 48"/>
                <a:gd name="T6" fmla="*/ 0 w 55"/>
                <a:gd name="T7" fmla="*/ 44 h 48"/>
                <a:gd name="T8" fmla="*/ 11 w 55"/>
                <a:gd name="T9" fmla="*/ 32 h 48"/>
                <a:gd name="T10" fmla="*/ 11 w 55"/>
                <a:gd name="T11" fmla="*/ 27 h 48"/>
                <a:gd name="T12" fmla="*/ 0 w 55"/>
                <a:gd name="T13" fmla="*/ 19 h 48"/>
                <a:gd name="T14" fmla="*/ 4 w 55"/>
                <a:gd name="T15" fmla="*/ 18 h 48"/>
                <a:gd name="T16" fmla="*/ 10 w 55"/>
                <a:gd name="T17" fmla="*/ 18 h 48"/>
                <a:gd name="T18" fmla="*/ 12 w 55"/>
                <a:gd name="T19" fmla="*/ 18 h 48"/>
                <a:gd name="T20" fmla="*/ 15 w 55"/>
                <a:gd name="T21" fmla="*/ 17 h 48"/>
                <a:gd name="T22" fmla="*/ 16 w 55"/>
                <a:gd name="T23" fmla="*/ 17 h 48"/>
                <a:gd name="T24" fmla="*/ 16 w 55"/>
                <a:gd name="T25" fmla="*/ 16 h 48"/>
                <a:gd name="T26" fmla="*/ 17 w 55"/>
                <a:gd name="T27" fmla="*/ 16 h 48"/>
                <a:gd name="T28" fmla="*/ 19 w 55"/>
                <a:gd name="T29" fmla="*/ 13 h 48"/>
                <a:gd name="T30" fmla="*/ 23 w 55"/>
                <a:gd name="T31" fmla="*/ 8 h 48"/>
                <a:gd name="T32" fmla="*/ 29 w 55"/>
                <a:gd name="T33" fmla="*/ 0 h 48"/>
                <a:gd name="T34" fmla="*/ 32 w 55"/>
                <a:gd name="T35" fmla="*/ 7 h 48"/>
                <a:gd name="T36" fmla="*/ 35 w 55"/>
                <a:gd name="T37" fmla="*/ 13 h 48"/>
                <a:gd name="T38" fmla="*/ 37 w 55"/>
                <a:gd name="T39" fmla="*/ 19 h 48"/>
                <a:gd name="T40" fmla="*/ 41 w 55"/>
                <a:gd name="T41" fmla="*/ 19 h 48"/>
                <a:gd name="T42" fmla="*/ 49 w 55"/>
                <a:gd name="T43" fmla="*/ 21 h 48"/>
                <a:gd name="T44" fmla="*/ 55 w 55"/>
                <a:gd name="T45" fmla="*/ 23 h 48"/>
                <a:gd name="T46" fmla="*/ 49 w 55"/>
                <a:gd name="T47" fmla="*/ 27 h 48"/>
                <a:gd name="T48" fmla="*/ 44 w 55"/>
                <a:gd name="T49" fmla="*/ 31 h 48"/>
                <a:gd name="T50" fmla="*/ 41 w 55"/>
                <a:gd name="T51" fmla="*/ 34 h 48"/>
                <a:gd name="T52" fmla="*/ 41 w 55"/>
                <a:gd name="T53" fmla="*/ 36 h 48"/>
                <a:gd name="T54" fmla="*/ 40 w 55"/>
                <a:gd name="T55" fmla="*/ 38 h 48"/>
                <a:gd name="T56" fmla="*/ 41 w 55"/>
                <a:gd name="T57" fmla="*/ 39 h 48"/>
                <a:gd name="T58" fmla="*/ 41 w 55"/>
                <a:gd name="T59" fmla="*/ 48 h 48"/>
                <a:gd name="T60" fmla="*/ 20 w 55"/>
                <a:gd name="T61" fmla="*/ 37 h 48"/>
                <a:gd name="T62" fmla="*/ 16 w 55"/>
                <a:gd name="T63" fmla="*/ 3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5" h="48">
                  <a:moveTo>
                    <a:pt x="16" y="37"/>
                  </a:moveTo>
                  <a:cubicBezTo>
                    <a:pt x="16" y="37"/>
                    <a:pt x="16" y="37"/>
                    <a:pt x="16" y="37"/>
                  </a:cubicBezTo>
                  <a:moveTo>
                    <a:pt x="16" y="37"/>
                  </a:moveTo>
                  <a:cubicBezTo>
                    <a:pt x="12" y="40"/>
                    <a:pt x="6" y="43"/>
                    <a:pt x="0" y="44"/>
                  </a:cubicBezTo>
                  <a:cubicBezTo>
                    <a:pt x="3" y="39"/>
                    <a:pt x="7" y="35"/>
                    <a:pt x="11" y="32"/>
                  </a:cubicBezTo>
                  <a:cubicBezTo>
                    <a:pt x="12" y="31"/>
                    <a:pt x="13" y="29"/>
                    <a:pt x="11" y="27"/>
                  </a:cubicBezTo>
                  <a:cubicBezTo>
                    <a:pt x="8" y="24"/>
                    <a:pt x="4" y="21"/>
                    <a:pt x="0" y="19"/>
                  </a:cubicBezTo>
                  <a:cubicBezTo>
                    <a:pt x="2" y="19"/>
                    <a:pt x="3" y="18"/>
                    <a:pt x="4" y="18"/>
                  </a:cubicBezTo>
                  <a:cubicBezTo>
                    <a:pt x="6" y="18"/>
                    <a:pt x="8" y="18"/>
                    <a:pt x="10" y="18"/>
                  </a:cubicBezTo>
                  <a:cubicBezTo>
                    <a:pt x="10" y="18"/>
                    <a:pt x="11" y="18"/>
                    <a:pt x="12" y="18"/>
                  </a:cubicBezTo>
                  <a:cubicBezTo>
                    <a:pt x="13" y="18"/>
                    <a:pt x="14" y="18"/>
                    <a:pt x="15" y="17"/>
                  </a:cubicBezTo>
                  <a:cubicBezTo>
                    <a:pt x="15" y="17"/>
                    <a:pt x="16" y="18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5"/>
                    <a:pt x="19" y="14"/>
                    <a:pt x="19" y="13"/>
                  </a:cubicBezTo>
                  <a:cubicBezTo>
                    <a:pt x="20" y="11"/>
                    <a:pt x="22" y="10"/>
                    <a:pt x="23" y="8"/>
                  </a:cubicBezTo>
                  <a:cubicBezTo>
                    <a:pt x="25" y="5"/>
                    <a:pt x="26" y="3"/>
                    <a:pt x="29" y="0"/>
                  </a:cubicBezTo>
                  <a:cubicBezTo>
                    <a:pt x="30" y="3"/>
                    <a:pt x="31" y="5"/>
                    <a:pt x="32" y="7"/>
                  </a:cubicBezTo>
                  <a:cubicBezTo>
                    <a:pt x="33" y="9"/>
                    <a:pt x="34" y="11"/>
                    <a:pt x="35" y="13"/>
                  </a:cubicBezTo>
                  <a:cubicBezTo>
                    <a:pt x="36" y="14"/>
                    <a:pt x="36" y="17"/>
                    <a:pt x="37" y="19"/>
                  </a:cubicBezTo>
                  <a:cubicBezTo>
                    <a:pt x="38" y="20"/>
                    <a:pt x="40" y="20"/>
                    <a:pt x="41" y="19"/>
                  </a:cubicBezTo>
                  <a:cubicBezTo>
                    <a:pt x="43" y="20"/>
                    <a:pt x="46" y="21"/>
                    <a:pt x="49" y="21"/>
                  </a:cubicBezTo>
                  <a:cubicBezTo>
                    <a:pt x="51" y="22"/>
                    <a:pt x="53" y="23"/>
                    <a:pt x="55" y="23"/>
                  </a:cubicBezTo>
                  <a:cubicBezTo>
                    <a:pt x="53" y="24"/>
                    <a:pt x="51" y="26"/>
                    <a:pt x="49" y="27"/>
                  </a:cubicBezTo>
                  <a:cubicBezTo>
                    <a:pt x="47" y="28"/>
                    <a:pt x="46" y="30"/>
                    <a:pt x="44" y="31"/>
                  </a:cubicBezTo>
                  <a:cubicBezTo>
                    <a:pt x="42" y="31"/>
                    <a:pt x="41" y="32"/>
                    <a:pt x="41" y="34"/>
                  </a:cubicBezTo>
                  <a:cubicBezTo>
                    <a:pt x="41" y="35"/>
                    <a:pt x="41" y="35"/>
                    <a:pt x="41" y="36"/>
                  </a:cubicBezTo>
                  <a:cubicBezTo>
                    <a:pt x="40" y="36"/>
                    <a:pt x="40" y="37"/>
                    <a:pt x="40" y="38"/>
                  </a:cubicBezTo>
                  <a:cubicBezTo>
                    <a:pt x="40" y="38"/>
                    <a:pt x="40" y="39"/>
                    <a:pt x="41" y="39"/>
                  </a:cubicBezTo>
                  <a:cubicBezTo>
                    <a:pt x="41" y="42"/>
                    <a:pt x="41" y="45"/>
                    <a:pt x="41" y="48"/>
                  </a:cubicBezTo>
                  <a:cubicBezTo>
                    <a:pt x="34" y="45"/>
                    <a:pt x="25" y="44"/>
                    <a:pt x="20" y="37"/>
                  </a:cubicBezTo>
                  <a:cubicBezTo>
                    <a:pt x="19" y="36"/>
                    <a:pt x="17" y="36"/>
                    <a:pt x="16" y="37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8" name="íšľíḓe">
              <a:extLst>
                <a:ext uri="{FF2B5EF4-FFF2-40B4-BE49-F238E27FC236}">
                  <a16:creationId xmlns:a16="http://schemas.microsoft.com/office/drawing/2014/main" id="{7F9B0BC5-0FE3-4E35-8165-A0570D136F3A}"/>
                </a:ext>
              </a:extLst>
            </p:cNvPr>
            <p:cNvSpPr/>
            <p:nvPr/>
          </p:nvSpPr>
          <p:spPr bwMode="auto">
            <a:xfrm>
              <a:off x="7029920" y="3723067"/>
              <a:ext cx="781473" cy="540223"/>
            </a:xfrm>
            <a:custGeom>
              <a:avLst/>
              <a:gdLst>
                <a:gd name="T0" fmla="*/ 254 w 254"/>
                <a:gd name="T1" fmla="*/ 144 h 176"/>
                <a:gd name="T2" fmla="*/ 254 w 254"/>
                <a:gd name="T3" fmla="*/ 145 h 176"/>
                <a:gd name="T4" fmla="*/ 252 w 254"/>
                <a:gd name="T5" fmla="*/ 152 h 176"/>
                <a:gd name="T6" fmla="*/ 251 w 254"/>
                <a:gd name="T7" fmla="*/ 154 h 176"/>
                <a:gd name="T8" fmla="*/ 245 w 254"/>
                <a:gd name="T9" fmla="*/ 164 h 176"/>
                <a:gd name="T10" fmla="*/ 243 w 254"/>
                <a:gd name="T11" fmla="*/ 168 h 176"/>
                <a:gd name="T12" fmla="*/ 240 w 254"/>
                <a:gd name="T13" fmla="*/ 170 h 176"/>
                <a:gd name="T14" fmla="*/ 235 w 254"/>
                <a:gd name="T15" fmla="*/ 173 h 176"/>
                <a:gd name="T16" fmla="*/ 233 w 254"/>
                <a:gd name="T17" fmla="*/ 174 h 176"/>
                <a:gd name="T18" fmla="*/ 226 w 254"/>
                <a:gd name="T19" fmla="*/ 176 h 176"/>
                <a:gd name="T20" fmla="*/ 224 w 254"/>
                <a:gd name="T21" fmla="*/ 176 h 176"/>
                <a:gd name="T22" fmla="*/ 211 w 254"/>
                <a:gd name="T23" fmla="*/ 176 h 176"/>
                <a:gd name="T24" fmla="*/ 209 w 254"/>
                <a:gd name="T25" fmla="*/ 176 h 176"/>
                <a:gd name="T26" fmla="*/ 201 w 254"/>
                <a:gd name="T27" fmla="*/ 174 h 176"/>
                <a:gd name="T28" fmla="*/ 121 w 254"/>
                <a:gd name="T29" fmla="*/ 141 h 176"/>
                <a:gd name="T30" fmla="*/ 75 w 254"/>
                <a:gd name="T31" fmla="*/ 113 h 176"/>
                <a:gd name="T32" fmla="*/ 71 w 254"/>
                <a:gd name="T33" fmla="*/ 112 h 176"/>
                <a:gd name="T34" fmla="*/ 38 w 254"/>
                <a:gd name="T35" fmla="*/ 89 h 176"/>
                <a:gd name="T36" fmla="*/ 35 w 254"/>
                <a:gd name="T37" fmla="*/ 77 h 176"/>
                <a:gd name="T38" fmla="*/ 43 w 254"/>
                <a:gd name="T39" fmla="*/ 74 h 176"/>
                <a:gd name="T40" fmla="*/ 77 w 254"/>
                <a:gd name="T41" fmla="*/ 100 h 176"/>
                <a:gd name="T42" fmla="*/ 158 w 254"/>
                <a:gd name="T43" fmla="*/ 148 h 176"/>
                <a:gd name="T44" fmla="*/ 215 w 254"/>
                <a:gd name="T45" fmla="*/ 164 h 176"/>
                <a:gd name="T46" fmla="*/ 240 w 254"/>
                <a:gd name="T47" fmla="*/ 131 h 176"/>
                <a:gd name="T48" fmla="*/ 246 w 254"/>
                <a:gd name="T49" fmla="*/ 132 h 176"/>
                <a:gd name="T50" fmla="*/ 254 w 254"/>
                <a:gd name="T51" fmla="*/ 142 h 176"/>
                <a:gd name="T52" fmla="*/ 254 w 254"/>
                <a:gd name="T53" fmla="*/ 144 h 176"/>
                <a:gd name="T54" fmla="*/ 16 w 254"/>
                <a:gd name="T55" fmla="*/ 43 h 176"/>
                <a:gd name="T56" fmla="*/ 3 w 254"/>
                <a:gd name="T57" fmla="*/ 39 h 176"/>
                <a:gd name="T58" fmla="*/ 2 w 254"/>
                <a:gd name="T59" fmla="*/ 38 h 176"/>
                <a:gd name="T60" fmla="*/ 1 w 254"/>
                <a:gd name="T61" fmla="*/ 36 h 176"/>
                <a:gd name="T62" fmla="*/ 1 w 254"/>
                <a:gd name="T63" fmla="*/ 36 h 176"/>
                <a:gd name="T64" fmla="*/ 0 w 254"/>
                <a:gd name="T65" fmla="*/ 33 h 176"/>
                <a:gd name="T66" fmla="*/ 0 w 254"/>
                <a:gd name="T67" fmla="*/ 32 h 176"/>
                <a:gd name="T68" fmla="*/ 1 w 254"/>
                <a:gd name="T69" fmla="*/ 27 h 176"/>
                <a:gd name="T70" fmla="*/ 2 w 254"/>
                <a:gd name="T71" fmla="*/ 26 h 176"/>
                <a:gd name="T72" fmla="*/ 6 w 254"/>
                <a:gd name="T73" fmla="*/ 17 h 176"/>
                <a:gd name="T74" fmla="*/ 7 w 254"/>
                <a:gd name="T75" fmla="*/ 16 h 176"/>
                <a:gd name="T76" fmla="*/ 12 w 254"/>
                <a:gd name="T77" fmla="*/ 11 h 176"/>
                <a:gd name="T78" fmla="*/ 17 w 254"/>
                <a:gd name="T79" fmla="*/ 6 h 176"/>
                <a:gd name="T80" fmla="*/ 18 w 254"/>
                <a:gd name="T81" fmla="*/ 5 h 176"/>
                <a:gd name="T82" fmla="*/ 25 w 254"/>
                <a:gd name="T83" fmla="*/ 1 h 176"/>
                <a:gd name="T84" fmla="*/ 32 w 254"/>
                <a:gd name="T85" fmla="*/ 1 h 176"/>
                <a:gd name="T86" fmla="*/ 24 w 254"/>
                <a:gd name="T87" fmla="*/ 16 h 176"/>
                <a:gd name="T88" fmla="*/ 16 w 254"/>
                <a:gd name="T89" fmla="*/ 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4" h="176">
                  <a:moveTo>
                    <a:pt x="254" y="144"/>
                  </a:moveTo>
                  <a:cubicBezTo>
                    <a:pt x="254" y="144"/>
                    <a:pt x="254" y="144"/>
                    <a:pt x="254" y="144"/>
                  </a:cubicBezTo>
                  <a:cubicBezTo>
                    <a:pt x="254" y="144"/>
                    <a:pt x="254" y="144"/>
                    <a:pt x="254" y="144"/>
                  </a:cubicBezTo>
                  <a:cubicBezTo>
                    <a:pt x="254" y="144"/>
                    <a:pt x="254" y="144"/>
                    <a:pt x="254" y="145"/>
                  </a:cubicBezTo>
                  <a:cubicBezTo>
                    <a:pt x="253" y="146"/>
                    <a:pt x="253" y="148"/>
                    <a:pt x="253" y="150"/>
                  </a:cubicBezTo>
                  <a:cubicBezTo>
                    <a:pt x="252" y="150"/>
                    <a:pt x="252" y="151"/>
                    <a:pt x="252" y="152"/>
                  </a:cubicBezTo>
                  <a:cubicBezTo>
                    <a:pt x="252" y="152"/>
                    <a:pt x="251" y="153"/>
                    <a:pt x="251" y="153"/>
                  </a:cubicBezTo>
                  <a:cubicBezTo>
                    <a:pt x="251" y="154"/>
                    <a:pt x="251" y="154"/>
                    <a:pt x="251" y="154"/>
                  </a:cubicBezTo>
                  <a:cubicBezTo>
                    <a:pt x="249" y="158"/>
                    <a:pt x="248" y="161"/>
                    <a:pt x="246" y="163"/>
                  </a:cubicBezTo>
                  <a:cubicBezTo>
                    <a:pt x="245" y="164"/>
                    <a:pt x="245" y="164"/>
                    <a:pt x="245" y="164"/>
                  </a:cubicBezTo>
                  <a:cubicBezTo>
                    <a:pt x="245" y="165"/>
                    <a:pt x="245" y="165"/>
                    <a:pt x="245" y="165"/>
                  </a:cubicBezTo>
                  <a:cubicBezTo>
                    <a:pt x="244" y="166"/>
                    <a:pt x="243" y="167"/>
                    <a:pt x="243" y="168"/>
                  </a:cubicBezTo>
                  <a:cubicBezTo>
                    <a:pt x="242" y="168"/>
                    <a:pt x="241" y="169"/>
                    <a:pt x="241" y="169"/>
                  </a:cubicBezTo>
                  <a:cubicBezTo>
                    <a:pt x="240" y="170"/>
                    <a:pt x="240" y="170"/>
                    <a:pt x="240" y="170"/>
                  </a:cubicBezTo>
                  <a:cubicBezTo>
                    <a:pt x="240" y="170"/>
                    <a:pt x="239" y="170"/>
                    <a:pt x="239" y="171"/>
                  </a:cubicBezTo>
                  <a:cubicBezTo>
                    <a:pt x="238" y="172"/>
                    <a:pt x="236" y="172"/>
                    <a:pt x="235" y="173"/>
                  </a:cubicBezTo>
                  <a:cubicBezTo>
                    <a:pt x="234" y="173"/>
                    <a:pt x="234" y="173"/>
                    <a:pt x="234" y="173"/>
                  </a:cubicBezTo>
                  <a:cubicBezTo>
                    <a:pt x="234" y="173"/>
                    <a:pt x="233" y="174"/>
                    <a:pt x="233" y="174"/>
                  </a:cubicBezTo>
                  <a:cubicBezTo>
                    <a:pt x="232" y="174"/>
                    <a:pt x="231" y="174"/>
                    <a:pt x="230" y="175"/>
                  </a:cubicBezTo>
                  <a:cubicBezTo>
                    <a:pt x="229" y="175"/>
                    <a:pt x="227" y="176"/>
                    <a:pt x="226" y="176"/>
                  </a:cubicBezTo>
                  <a:cubicBezTo>
                    <a:pt x="225" y="176"/>
                    <a:pt x="225" y="176"/>
                    <a:pt x="225" y="176"/>
                  </a:cubicBezTo>
                  <a:cubicBezTo>
                    <a:pt x="224" y="176"/>
                    <a:pt x="224" y="176"/>
                    <a:pt x="224" y="176"/>
                  </a:cubicBezTo>
                  <a:cubicBezTo>
                    <a:pt x="223" y="176"/>
                    <a:pt x="222" y="176"/>
                    <a:pt x="221" y="176"/>
                  </a:cubicBezTo>
                  <a:cubicBezTo>
                    <a:pt x="218" y="176"/>
                    <a:pt x="214" y="176"/>
                    <a:pt x="211" y="176"/>
                  </a:cubicBezTo>
                  <a:cubicBezTo>
                    <a:pt x="211" y="176"/>
                    <a:pt x="210" y="176"/>
                    <a:pt x="210" y="176"/>
                  </a:cubicBezTo>
                  <a:cubicBezTo>
                    <a:pt x="209" y="176"/>
                    <a:pt x="209" y="176"/>
                    <a:pt x="209" y="176"/>
                  </a:cubicBezTo>
                  <a:cubicBezTo>
                    <a:pt x="208" y="176"/>
                    <a:pt x="207" y="175"/>
                    <a:pt x="206" y="175"/>
                  </a:cubicBezTo>
                  <a:cubicBezTo>
                    <a:pt x="205" y="175"/>
                    <a:pt x="203" y="174"/>
                    <a:pt x="201" y="174"/>
                  </a:cubicBezTo>
                  <a:cubicBezTo>
                    <a:pt x="192" y="172"/>
                    <a:pt x="184" y="169"/>
                    <a:pt x="175" y="165"/>
                  </a:cubicBezTo>
                  <a:cubicBezTo>
                    <a:pt x="157" y="159"/>
                    <a:pt x="139" y="150"/>
                    <a:pt x="121" y="141"/>
                  </a:cubicBezTo>
                  <a:cubicBezTo>
                    <a:pt x="105" y="133"/>
                    <a:pt x="90" y="124"/>
                    <a:pt x="75" y="115"/>
                  </a:cubicBezTo>
                  <a:cubicBezTo>
                    <a:pt x="75" y="114"/>
                    <a:pt x="75" y="113"/>
                    <a:pt x="75" y="113"/>
                  </a:cubicBezTo>
                  <a:cubicBezTo>
                    <a:pt x="76" y="110"/>
                    <a:pt x="73" y="109"/>
                    <a:pt x="71" y="111"/>
                  </a:cubicBezTo>
                  <a:cubicBezTo>
                    <a:pt x="71" y="111"/>
                    <a:pt x="71" y="112"/>
                    <a:pt x="71" y="112"/>
                  </a:cubicBezTo>
                  <a:cubicBezTo>
                    <a:pt x="63" y="107"/>
                    <a:pt x="56" y="102"/>
                    <a:pt x="49" y="97"/>
                  </a:cubicBezTo>
                  <a:cubicBezTo>
                    <a:pt x="46" y="94"/>
                    <a:pt x="42" y="91"/>
                    <a:pt x="38" y="89"/>
                  </a:cubicBezTo>
                  <a:cubicBezTo>
                    <a:pt x="36" y="87"/>
                    <a:pt x="33" y="85"/>
                    <a:pt x="30" y="83"/>
                  </a:cubicBezTo>
                  <a:cubicBezTo>
                    <a:pt x="32" y="81"/>
                    <a:pt x="34" y="79"/>
                    <a:pt x="35" y="77"/>
                  </a:cubicBezTo>
                  <a:cubicBezTo>
                    <a:pt x="36" y="75"/>
                    <a:pt x="38" y="72"/>
                    <a:pt x="39" y="70"/>
                  </a:cubicBezTo>
                  <a:cubicBezTo>
                    <a:pt x="40" y="71"/>
                    <a:pt x="42" y="73"/>
                    <a:pt x="43" y="74"/>
                  </a:cubicBezTo>
                  <a:cubicBezTo>
                    <a:pt x="47" y="78"/>
                    <a:pt x="50" y="81"/>
                    <a:pt x="54" y="84"/>
                  </a:cubicBezTo>
                  <a:cubicBezTo>
                    <a:pt x="62" y="90"/>
                    <a:pt x="69" y="95"/>
                    <a:pt x="77" y="100"/>
                  </a:cubicBezTo>
                  <a:cubicBezTo>
                    <a:pt x="93" y="111"/>
                    <a:pt x="110" y="120"/>
                    <a:pt x="126" y="128"/>
                  </a:cubicBezTo>
                  <a:cubicBezTo>
                    <a:pt x="138" y="134"/>
                    <a:pt x="148" y="142"/>
                    <a:pt x="158" y="148"/>
                  </a:cubicBezTo>
                  <a:cubicBezTo>
                    <a:pt x="170" y="155"/>
                    <a:pt x="183" y="161"/>
                    <a:pt x="196" y="164"/>
                  </a:cubicBezTo>
                  <a:cubicBezTo>
                    <a:pt x="202" y="165"/>
                    <a:pt x="208" y="165"/>
                    <a:pt x="215" y="164"/>
                  </a:cubicBezTo>
                  <a:cubicBezTo>
                    <a:pt x="221" y="163"/>
                    <a:pt x="226" y="159"/>
                    <a:pt x="231" y="155"/>
                  </a:cubicBezTo>
                  <a:cubicBezTo>
                    <a:pt x="237" y="149"/>
                    <a:pt x="240" y="141"/>
                    <a:pt x="240" y="131"/>
                  </a:cubicBezTo>
                  <a:cubicBezTo>
                    <a:pt x="240" y="129"/>
                    <a:pt x="240" y="126"/>
                    <a:pt x="239" y="124"/>
                  </a:cubicBezTo>
                  <a:cubicBezTo>
                    <a:pt x="242" y="127"/>
                    <a:pt x="244" y="130"/>
                    <a:pt x="246" y="132"/>
                  </a:cubicBezTo>
                  <a:cubicBezTo>
                    <a:pt x="248" y="135"/>
                    <a:pt x="250" y="138"/>
                    <a:pt x="252" y="140"/>
                  </a:cubicBezTo>
                  <a:cubicBezTo>
                    <a:pt x="253" y="141"/>
                    <a:pt x="253" y="141"/>
                    <a:pt x="254" y="142"/>
                  </a:cubicBezTo>
                  <a:cubicBezTo>
                    <a:pt x="254" y="142"/>
                    <a:pt x="254" y="142"/>
                    <a:pt x="254" y="143"/>
                  </a:cubicBezTo>
                  <a:cubicBezTo>
                    <a:pt x="254" y="143"/>
                    <a:pt x="254" y="143"/>
                    <a:pt x="254" y="144"/>
                  </a:cubicBezTo>
                  <a:close/>
                  <a:moveTo>
                    <a:pt x="16" y="43"/>
                  </a:move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6" y="44"/>
                    <a:pt x="16" y="45"/>
                  </a:cubicBezTo>
                  <a:cubicBezTo>
                    <a:pt x="12" y="43"/>
                    <a:pt x="7" y="41"/>
                    <a:pt x="3" y="39"/>
                  </a:cubicBezTo>
                  <a:cubicBezTo>
                    <a:pt x="3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1" y="37"/>
                    <a:pt x="1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5"/>
                    <a:pt x="0" y="35"/>
                    <a:pt x="0" y="34"/>
                  </a:cubicBezTo>
                  <a:cubicBezTo>
                    <a:pt x="0" y="34"/>
                    <a:pt x="0" y="34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2"/>
                    <a:pt x="0" y="32"/>
                  </a:cubicBezTo>
                  <a:cubicBezTo>
                    <a:pt x="0" y="31"/>
                    <a:pt x="0" y="30"/>
                    <a:pt x="0" y="30"/>
                  </a:cubicBezTo>
                  <a:cubicBezTo>
                    <a:pt x="0" y="29"/>
                    <a:pt x="0" y="28"/>
                    <a:pt x="1" y="27"/>
                  </a:cubicBezTo>
                  <a:cubicBezTo>
                    <a:pt x="1" y="27"/>
                    <a:pt x="1" y="27"/>
                    <a:pt x="1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3" y="25"/>
                    <a:pt x="3" y="24"/>
                    <a:pt x="2" y="23"/>
                  </a:cubicBezTo>
                  <a:cubicBezTo>
                    <a:pt x="3" y="21"/>
                    <a:pt x="5" y="19"/>
                    <a:pt x="6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8" y="15"/>
                    <a:pt x="9" y="14"/>
                  </a:cubicBezTo>
                  <a:cubicBezTo>
                    <a:pt x="10" y="13"/>
                    <a:pt x="11" y="12"/>
                    <a:pt x="12" y="11"/>
                  </a:cubicBezTo>
                  <a:cubicBezTo>
                    <a:pt x="13" y="10"/>
                    <a:pt x="14" y="9"/>
                    <a:pt x="15" y="8"/>
                  </a:cubicBezTo>
                  <a:cubicBezTo>
                    <a:pt x="16" y="7"/>
                    <a:pt x="16" y="7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8" y="6"/>
                    <a:pt x="18" y="5"/>
                  </a:cubicBezTo>
                  <a:cubicBezTo>
                    <a:pt x="20" y="4"/>
                    <a:pt x="23" y="2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6" y="1"/>
                    <a:pt x="27" y="0"/>
                    <a:pt x="28" y="0"/>
                  </a:cubicBezTo>
                  <a:cubicBezTo>
                    <a:pt x="30" y="1"/>
                    <a:pt x="31" y="1"/>
                    <a:pt x="32" y="1"/>
                  </a:cubicBezTo>
                  <a:cubicBezTo>
                    <a:pt x="34" y="2"/>
                    <a:pt x="35" y="2"/>
                    <a:pt x="37" y="3"/>
                  </a:cubicBezTo>
                  <a:cubicBezTo>
                    <a:pt x="32" y="6"/>
                    <a:pt x="28" y="11"/>
                    <a:pt x="24" y="16"/>
                  </a:cubicBezTo>
                  <a:cubicBezTo>
                    <a:pt x="20" y="21"/>
                    <a:pt x="17" y="27"/>
                    <a:pt x="16" y="33"/>
                  </a:cubicBezTo>
                  <a:cubicBezTo>
                    <a:pt x="16" y="36"/>
                    <a:pt x="16" y="39"/>
                    <a:pt x="16" y="43"/>
                  </a:cubicBezTo>
                  <a:close/>
                </a:path>
              </a:pathLst>
            </a:custGeom>
            <a:solidFill>
              <a:srgbClr val="FFD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9" name="ïṥļîḓê">
              <a:extLst>
                <a:ext uri="{FF2B5EF4-FFF2-40B4-BE49-F238E27FC236}">
                  <a16:creationId xmlns:a16="http://schemas.microsoft.com/office/drawing/2014/main" id="{CE232430-2768-4F55-A25C-167DA94BB796}"/>
                </a:ext>
              </a:extLst>
            </p:cNvPr>
            <p:cNvSpPr/>
            <p:nvPr/>
          </p:nvSpPr>
          <p:spPr bwMode="auto">
            <a:xfrm>
              <a:off x="4485693" y="5311173"/>
              <a:ext cx="2960" cy="0"/>
            </a:xfrm>
            <a:custGeom>
              <a:avLst/>
              <a:gdLst>
                <a:gd name="T0" fmla="*/ 0 w 1"/>
                <a:gd name="T1" fmla="*/ 0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0" name="iṣḷíḓe">
              <a:extLst>
                <a:ext uri="{FF2B5EF4-FFF2-40B4-BE49-F238E27FC236}">
                  <a16:creationId xmlns:a16="http://schemas.microsoft.com/office/drawing/2014/main" id="{8F687058-56DD-4D06-BC8B-4DFFB14EFCBB}"/>
                </a:ext>
              </a:extLst>
            </p:cNvPr>
            <p:cNvSpPr/>
            <p:nvPr/>
          </p:nvSpPr>
          <p:spPr bwMode="auto">
            <a:xfrm>
              <a:off x="4688462" y="1998794"/>
              <a:ext cx="159847" cy="196849"/>
            </a:xfrm>
            <a:custGeom>
              <a:avLst/>
              <a:gdLst>
                <a:gd name="T0" fmla="*/ 19 w 52"/>
                <a:gd name="T1" fmla="*/ 3 h 64"/>
                <a:gd name="T2" fmla="*/ 19 w 52"/>
                <a:gd name="T3" fmla="*/ 3 h 64"/>
                <a:gd name="T4" fmla="*/ 20 w 52"/>
                <a:gd name="T5" fmla="*/ 2 h 64"/>
                <a:gd name="T6" fmla="*/ 21 w 52"/>
                <a:gd name="T7" fmla="*/ 2 h 64"/>
                <a:gd name="T8" fmla="*/ 21 w 52"/>
                <a:gd name="T9" fmla="*/ 2 h 64"/>
                <a:gd name="T10" fmla="*/ 21 w 52"/>
                <a:gd name="T11" fmla="*/ 1 h 64"/>
                <a:gd name="T12" fmla="*/ 22 w 52"/>
                <a:gd name="T13" fmla="*/ 1 h 64"/>
                <a:gd name="T14" fmla="*/ 23 w 52"/>
                <a:gd name="T15" fmla="*/ 0 h 64"/>
                <a:gd name="T16" fmla="*/ 24 w 52"/>
                <a:gd name="T17" fmla="*/ 0 h 64"/>
                <a:gd name="T18" fmla="*/ 24 w 52"/>
                <a:gd name="T19" fmla="*/ 0 h 64"/>
                <a:gd name="T20" fmla="*/ 26 w 52"/>
                <a:gd name="T21" fmla="*/ 0 h 64"/>
                <a:gd name="T22" fmla="*/ 26 w 52"/>
                <a:gd name="T23" fmla="*/ 0 h 64"/>
                <a:gd name="T24" fmla="*/ 26 w 52"/>
                <a:gd name="T25" fmla="*/ 0 h 64"/>
                <a:gd name="T26" fmla="*/ 28 w 52"/>
                <a:gd name="T27" fmla="*/ 1 h 64"/>
                <a:gd name="T28" fmla="*/ 30 w 52"/>
                <a:gd name="T29" fmla="*/ 1 h 64"/>
                <a:gd name="T30" fmla="*/ 30 w 52"/>
                <a:gd name="T31" fmla="*/ 1 h 64"/>
                <a:gd name="T32" fmla="*/ 31 w 52"/>
                <a:gd name="T33" fmla="*/ 1 h 64"/>
                <a:gd name="T34" fmla="*/ 38 w 52"/>
                <a:gd name="T35" fmla="*/ 6 h 64"/>
                <a:gd name="T36" fmla="*/ 38 w 52"/>
                <a:gd name="T37" fmla="*/ 6 h 64"/>
                <a:gd name="T38" fmla="*/ 38 w 52"/>
                <a:gd name="T39" fmla="*/ 6 h 64"/>
                <a:gd name="T40" fmla="*/ 40 w 52"/>
                <a:gd name="T41" fmla="*/ 8 h 64"/>
                <a:gd name="T42" fmla="*/ 43 w 52"/>
                <a:gd name="T43" fmla="*/ 11 h 64"/>
                <a:gd name="T44" fmla="*/ 48 w 52"/>
                <a:gd name="T45" fmla="*/ 18 h 64"/>
                <a:gd name="T46" fmla="*/ 52 w 52"/>
                <a:gd name="T47" fmla="*/ 22 h 64"/>
                <a:gd name="T48" fmla="*/ 42 w 52"/>
                <a:gd name="T49" fmla="*/ 27 h 64"/>
                <a:gd name="T50" fmla="*/ 27 w 52"/>
                <a:gd name="T51" fmla="*/ 47 h 64"/>
                <a:gd name="T52" fmla="*/ 25 w 52"/>
                <a:gd name="T53" fmla="*/ 63 h 64"/>
                <a:gd name="T54" fmla="*/ 21 w 52"/>
                <a:gd name="T55" fmla="*/ 63 h 64"/>
                <a:gd name="T56" fmla="*/ 0 w 52"/>
                <a:gd name="T57" fmla="*/ 64 h 64"/>
                <a:gd name="T58" fmla="*/ 18 w 52"/>
                <a:gd name="T59" fmla="*/ 4 h 64"/>
                <a:gd name="T60" fmla="*/ 19 w 52"/>
                <a:gd name="T61" fmla="*/ 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2" h="64">
                  <a:moveTo>
                    <a:pt x="19" y="3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2"/>
                    <a:pt x="20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2" y="1"/>
                    <a:pt x="22" y="1"/>
                  </a:cubicBezTo>
                  <a:cubicBezTo>
                    <a:pt x="22" y="1"/>
                    <a:pt x="23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0"/>
                    <a:pt x="28" y="1"/>
                  </a:cubicBezTo>
                  <a:cubicBezTo>
                    <a:pt x="29" y="1"/>
                    <a:pt x="29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1" y="1"/>
                    <a:pt x="31" y="1"/>
                  </a:cubicBezTo>
                  <a:cubicBezTo>
                    <a:pt x="33" y="3"/>
                    <a:pt x="35" y="4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7"/>
                    <a:pt x="40" y="7"/>
                    <a:pt x="40" y="8"/>
                  </a:cubicBezTo>
                  <a:cubicBezTo>
                    <a:pt x="41" y="9"/>
                    <a:pt x="42" y="10"/>
                    <a:pt x="43" y="11"/>
                  </a:cubicBezTo>
                  <a:cubicBezTo>
                    <a:pt x="45" y="13"/>
                    <a:pt x="47" y="15"/>
                    <a:pt x="48" y="18"/>
                  </a:cubicBezTo>
                  <a:cubicBezTo>
                    <a:pt x="50" y="19"/>
                    <a:pt x="51" y="21"/>
                    <a:pt x="52" y="22"/>
                  </a:cubicBezTo>
                  <a:cubicBezTo>
                    <a:pt x="48" y="24"/>
                    <a:pt x="45" y="25"/>
                    <a:pt x="42" y="27"/>
                  </a:cubicBezTo>
                  <a:cubicBezTo>
                    <a:pt x="35" y="32"/>
                    <a:pt x="30" y="39"/>
                    <a:pt x="27" y="47"/>
                  </a:cubicBezTo>
                  <a:cubicBezTo>
                    <a:pt x="25" y="52"/>
                    <a:pt x="24" y="58"/>
                    <a:pt x="25" y="63"/>
                  </a:cubicBezTo>
                  <a:cubicBezTo>
                    <a:pt x="23" y="63"/>
                    <a:pt x="22" y="63"/>
                    <a:pt x="21" y="63"/>
                  </a:cubicBezTo>
                  <a:cubicBezTo>
                    <a:pt x="15" y="64"/>
                    <a:pt x="7" y="64"/>
                    <a:pt x="0" y="64"/>
                  </a:cubicBezTo>
                  <a:cubicBezTo>
                    <a:pt x="5" y="45"/>
                    <a:pt x="11" y="24"/>
                    <a:pt x="18" y="4"/>
                  </a:cubicBezTo>
                  <a:cubicBezTo>
                    <a:pt x="18" y="4"/>
                    <a:pt x="19" y="4"/>
                    <a:pt x="19" y="3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1" name="îṣḷïdê">
              <a:extLst>
                <a:ext uri="{FF2B5EF4-FFF2-40B4-BE49-F238E27FC236}">
                  <a16:creationId xmlns:a16="http://schemas.microsoft.com/office/drawing/2014/main" id="{D7AD1561-ACB7-4FB6-BE4E-047D6CF25A95}"/>
                </a:ext>
              </a:extLst>
            </p:cNvPr>
            <p:cNvSpPr/>
            <p:nvPr/>
          </p:nvSpPr>
          <p:spPr bwMode="auto">
            <a:xfrm>
              <a:off x="4790586" y="1781225"/>
              <a:ext cx="267892" cy="294533"/>
            </a:xfrm>
            <a:custGeom>
              <a:avLst/>
              <a:gdLst>
                <a:gd name="T0" fmla="*/ 1 w 87"/>
                <a:gd name="T1" fmla="*/ 61 h 96"/>
                <a:gd name="T2" fmla="*/ 1 w 87"/>
                <a:gd name="T3" fmla="*/ 61 h 96"/>
                <a:gd name="T4" fmla="*/ 3 w 87"/>
                <a:gd name="T5" fmla="*/ 52 h 96"/>
                <a:gd name="T6" fmla="*/ 4 w 87"/>
                <a:gd name="T7" fmla="*/ 47 h 96"/>
                <a:gd name="T8" fmla="*/ 5 w 87"/>
                <a:gd name="T9" fmla="*/ 45 h 96"/>
                <a:gd name="T10" fmla="*/ 6 w 87"/>
                <a:gd name="T11" fmla="*/ 44 h 96"/>
                <a:gd name="T12" fmla="*/ 6 w 87"/>
                <a:gd name="T13" fmla="*/ 43 h 96"/>
                <a:gd name="T14" fmla="*/ 10 w 87"/>
                <a:gd name="T15" fmla="*/ 34 h 96"/>
                <a:gd name="T16" fmla="*/ 21 w 87"/>
                <a:gd name="T17" fmla="*/ 17 h 96"/>
                <a:gd name="T18" fmla="*/ 28 w 87"/>
                <a:gd name="T19" fmla="*/ 10 h 96"/>
                <a:gd name="T20" fmla="*/ 29 w 87"/>
                <a:gd name="T21" fmla="*/ 9 h 96"/>
                <a:gd name="T22" fmla="*/ 30 w 87"/>
                <a:gd name="T23" fmla="*/ 9 h 96"/>
                <a:gd name="T24" fmla="*/ 31 w 87"/>
                <a:gd name="T25" fmla="*/ 8 h 96"/>
                <a:gd name="T26" fmla="*/ 35 w 87"/>
                <a:gd name="T27" fmla="*/ 6 h 96"/>
                <a:gd name="T28" fmla="*/ 37 w 87"/>
                <a:gd name="T29" fmla="*/ 4 h 96"/>
                <a:gd name="T30" fmla="*/ 38 w 87"/>
                <a:gd name="T31" fmla="*/ 4 h 96"/>
                <a:gd name="T32" fmla="*/ 39 w 87"/>
                <a:gd name="T33" fmla="*/ 3 h 96"/>
                <a:gd name="T34" fmla="*/ 45 w 87"/>
                <a:gd name="T35" fmla="*/ 2 h 96"/>
                <a:gd name="T36" fmla="*/ 46 w 87"/>
                <a:gd name="T37" fmla="*/ 2 h 96"/>
                <a:gd name="T38" fmla="*/ 47 w 87"/>
                <a:gd name="T39" fmla="*/ 2 h 96"/>
                <a:gd name="T40" fmla="*/ 50 w 87"/>
                <a:gd name="T41" fmla="*/ 1 h 96"/>
                <a:gd name="T42" fmla="*/ 51 w 87"/>
                <a:gd name="T43" fmla="*/ 2 h 96"/>
                <a:gd name="T44" fmla="*/ 52 w 87"/>
                <a:gd name="T45" fmla="*/ 2 h 96"/>
                <a:gd name="T46" fmla="*/ 56 w 87"/>
                <a:gd name="T47" fmla="*/ 2 h 96"/>
                <a:gd name="T48" fmla="*/ 59 w 87"/>
                <a:gd name="T49" fmla="*/ 0 h 96"/>
                <a:gd name="T50" fmla="*/ 60 w 87"/>
                <a:gd name="T51" fmla="*/ 1 h 96"/>
                <a:gd name="T52" fmla="*/ 63 w 87"/>
                <a:gd name="T53" fmla="*/ 4 h 96"/>
                <a:gd name="T54" fmla="*/ 63 w 87"/>
                <a:gd name="T55" fmla="*/ 6 h 96"/>
                <a:gd name="T56" fmla="*/ 61 w 87"/>
                <a:gd name="T57" fmla="*/ 10 h 96"/>
                <a:gd name="T58" fmla="*/ 58 w 87"/>
                <a:gd name="T59" fmla="*/ 18 h 96"/>
                <a:gd name="T60" fmla="*/ 53 w 87"/>
                <a:gd name="T61" fmla="*/ 15 h 96"/>
                <a:gd name="T62" fmla="*/ 44 w 87"/>
                <a:gd name="T63" fmla="*/ 11 h 96"/>
                <a:gd name="T64" fmla="*/ 43 w 87"/>
                <a:gd name="T65" fmla="*/ 13 h 96"/>
                <a:gd name="T66" fmla="*/ 50 w 87"/>
                <a:gd name="T67" fmla="*/ 18 h 96"/>
                <a:gd name="T68" fmla="*/ 58 w 87"/>
                <a:gd name="T69" fmla="*/ 25 h 96"/>
                <a:gd name="T70" fmla="*/ 63 w 87"/>
                <a:gd name="T71" fmla="*/ 33 h 96"/>
                <a:gd name="T72" fmla="*/ 65 w 87"/>
                <a:gd name="T73" fmla="*/ 37 h 96"/>
                <a:gd name="T74" fmla="*/ 68 w 87"/>
                <a:gd name="T75" fmla="*/ 42 h 96"/>
                <a:gd name="T76" fmla="*/ 70 w 87"/>
                <a:gd name="T77" fmla="*/ 41 h 96"/>
                <a:gd name="T78" fmla="*/ 70 w 87"/>
                <a:gd name="T79" fmla="*/ 36 h 96"/>
                <a:gd name="T80" fmla="*/ 68 w 87"/>
                <a:gd name="T81" fmla="*/ 30 h 96"/>
                <a:gd name="T82" fmla="*/ 63 w 87"/>
                <a:gd name="T83" fmla="*/ 23 h 96"/>
                <a:gd name="T84" fmla="*/ 72 w 87"/>
                <a:gd name="T85" fmla="*/ 17 h 96"/>
                <a:gd name="T86" fmla="*/ 72 w 87"/>
                <a:gd name="T87" fmla="*/ 16 h 96"/>
                <a:gd name="T88" fmla="*/ 74 w 87"/>
                <a:gd name="T89" fmla="*/ 17 h 96"/>
                <a:gd name="T90" fmla="*/ 80 w 87"/>
                <a:gd name="T91" fmla="*/ 23 h 96"/>
                <a:gd name="T92" fmla="*/ 86 w 87"/>
                <a:gd name="T93" fmla="*/ 29 h 96"/>
                <a:gd name="T94" fmla="*/ 87 w 87"/>
                <a:gd name="T95" fmla="*/ 30 h 96"/>
                <a:gd name="T96" fmla="*/ 68 w 87"/>
                <a:gd name="T97" fmla="*/ 48 h 96"/>
                <a:gd name="T98" fmla="*/ 62 w 87"/>
                <a:gd name="T99" fmla="*/ 75 h 96"/>
                <a:gd name="T100" fmla="*/ 51 w 87"/>
                <a:gd name="T101" fmla="*/ 85 h 96"/>
                <a:gd name="T102" fmla="*/ 47 w 87"/>
                <a:gd name="T103" fmla="*/ 92 h 96"/>
                <a:gd name="T104" fmla="*/ 45 w 87"/>
                <a:gd name="T105" fmla="*/ 96 h 96"/>
                <a:gd name="T106" fmla="*/ 30 w 87"/>
                <a:gd name="T107" fmla="*/ 92 h 96"/>
                <a:gd name="T108" fmla="*/ 26 w 87"/>
                <a:gd name="T109" fmla="*/ 92 h 96"/>
                <a:gd name="T110" fmla="*/ 25 w 87"/>
                <a:gd name="T111" fmla="*/ 91 h 96"/>
                <a:gd name="T112" fmla="*/ 21 w 87"/>
                <a:gd name="T113" fmla="*/ 84 h 96"/>
                <a:gd name="T114" fmla="*/ 8 w 87"/>
                <a:gd name="T115" fmla="*/ 70 h 96"/>
                <a:gd name="T116" fmla="*/ 0 w 87"/>
                <a:gd name="T117" fmla="*/ 65 h 96"/>
                <a:gd name="T118" fmla="*/ 1 w 87"/>
                <a:gd name="T119" fmla="*/ 6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" h="96">
                  <a:moveTo>
                    <a:pt x="1" y="61"/>
                  </a:moveTo>
                  <a:cubicBezTo>
                    <a:pt x="1" y="61"/>
                    <a:pt x="1" y="61"/>
                    <a:pt x="1" y="61"/>
                  </a:cubicBezTo>
                  <a:cubicBezTo>
                    <a:pt x="1" y="58"/>
                    <a:pt x="2" y="55"/>
                    <a:pt x="3" y="52"/>
                  </a:cubicBezTo>
                  <a:cubicBezTo>
                    <a:pt x="3" y="51"/>
                    <a:pt x="4" y="49"/>
                    <a:pt x="4" y="47"/>
                  </a:cubicBezTo>
                  <a:cubicBezTo>
                    <a:pt x="5" y="47"/>
                    <a:pt x="5" y="46"/>
                    <a:pt x="5" y="45"/>
                  </a:cubicBezTo>
                  <a:cubicBezTo>
                    <a:pt x="5" y="45"/>
                    <a:pt x="5" y="45"/>
                    <a:pt x="6" y="44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7" y="40"/>
                    <a:pt x="9" y="37"/>
                    <a:pt x="10" y="34"/>
                  </a:cubicBezTo>
                  <a:cubicBezTo>
                    <a:pt x="13" y="28"/>
                    <a:pt x="17" y="23"/>
                    <a:pt x="21" y="17"/>
                  </a:cubicBezTo>
                  <a:cubicBezTo>
                    <a:pt x="23" y="15"/>
                    <a:pt x="25" y="13"/>
                    <a:pt x="28" y="10"/>
                  </a:cubicBezTo>
                  <a:cubicBezTo>
                    <a:pt x="28" y="10"/>
                    <a:pt x="29" y="10"/>
                    <a:pt x="29" y="9"/>
                  </a:cubicBezTo>
                  <a:cubicBezTo>
                    <a:pt x="29" y="9"/>
                    <a:pt x="30" y="9"/>
                    <a:pt x="30" y="9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2" y="7"/>
                    <a:pt x="34" y="6"/>
                    <a:pt x="35" y="6"/>
                  </a:cubicBezTo>
                  <a:cubicBezTo>
                    <a:pt x="36" y="5"/>
                    <a:pt x="37" y="5"/>
                    <a:pt x="3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9" y="3"/>
                    <a:pt x="39" y="3"/>
                  </a:cubicBezTo>
                  <a:cubicBezTo>
                    <a:pt x="41" y="3"/>
                    <a:pt x="43" y="2"/>
                    <a:pt x="45" y="2"/>
                  </a:cubicBezTo>
                  <a:cubicBezTo>
                    <a:pt x="45" y="2"/>
                    <a:pt x="45" y="2"/>
                    <a:pt x="46" y="2"/>
                  </a:cubicBezTo>
                  <a:cubicBezTo>
                    <a:pt x="46" y="2"/>
                    <a:pt x="46" y="2"/>
                    <a:pt x="47" y="2"/>
                  </a:cubicBezTo>
                  <a:cubicBezTo>
                    <a:pt x="48" y="1"/>
                    <a:pt x="49" y="1"/>
                    <a:pt x="50" y="1"/>
                  </a:cubicBezTo>
                  <a:cubicBezTo>
                    <a:pt x="50" y="1"/>
                    <a:pt x="51" y="2"/>
                    <a:pt x="51" y="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2"/>
                    <a:pt x="55" y="2"/>
                    <a:pt x="56" y="2"/>
                  </a:cubicBezTo>
                  <a:cubicBezTo>
                    <a:pt x="57" y="2"/>
                    <a:pt x="58" y="1"/>
                    <a:pt x="59" y="0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1" y="2"/>
                    <a:pt x="62" y="3"/>
                    <a:pt x="63" y="4"/>
                  </a:cubicBezTo>
                  <a:cubicBezTo>
                    <a:pt x="63" y="5"/>
                    <a:pt x="63" y="5"/>
                    <a:pt x="63" y="6"/>
                  </a:cubicBezTo>
                  <a:cubicBezTo>
                    <a:pt x="62" y="7"/>
                    <a:pt x="62" y="9"/>
                    <a:pt x="61" y="10"/>
                  </a:cubicBezTo>
                  <a:cubicBezTo>
                    <a:pt x="60" y="13"/>
                    <a:pt x="59" y="16"/>
                    <a:pt x="58" y="18"/>
                  </a:cubicBezTo>
                  <a:cubicBezTo>
                    <a:pt x="56" y="17"/>
                    <a:pt x="55" y="16"/>
                    <a:pt x="53" y="15"/>
                  </a:cubicBezTo>
                  <a:cubicBezTo>
                    <a:pt x="51" y="13"/>
                    <a:pt x="47" y="11"/>
                    <a:pt x="44" y="11"/>
                  </a:cubicBezTo>
                  <a:cubicBezTo>
                    <a:pt x="43" y="11"/>
                    <a:pt x="42" y="12"/>
                    <a:pt x="43" y="13"/>
                  </a:cubicBezTo>
                  <a:cubicBezTo>
                    <a:pt x="45" y="15"/>
                    <a:pt x="48" y="17"/>
                    <a:pt x="50" y="18"/>
                  </a:cubicBezTo>
                  <a:cubicBezTo>
                    <a:pt x="53" y="21"/>
                    <a:pt x="56" y="23"/>
                    <a:pt x="58" y="25"/>
                  </a:cubicBezTo>
                  <a:cubicBezTo>
                    <a:pt x="60" y="27"/>
                    <a:pt x="62" y="30"/>
                    <a:pt x="63" y="33"/>
                  </a:cubicBezTo>
                  <a:cubicBezTo>
                    <a:pt x="64" y="34"/>
                    <a:pt x="65" y="36"/>
                    <a:pt x="65" y="37"/>
                  </a:cubicBezTo>
                  <a:cubicBezTo>
                    <a:pt x="66" y="39"/>
                    <a:pt x="66" y="41"/>
                    <a:pt x="68" y="42"/>
                  </a:cubicBezTo>
                  <a:cubicBezTo>
                    <a:pt x="69" y="42"/>
                    <a:pt x="69" y="42"/>
                    <a:pt x="70" y="41"/>
                  </a:cubicBezTo>
                  <a:cubicBezTo>
                    <a:pt x="71" y="40"/>
                    <a:pt x="71" y="38"/>
                    <a:pt x="70" y="36"/>
                  </a:cubicBezTo>
                  <a:cubicBezTo>
                    <a:pt x="70" y="34"/>
                    <a:pt x="69" y="32"/>
                    <a:pt x="68" y="30"/>
                  </a:cubicBezTo>
                  <a:cubicBezTo>
                    <a:pt x="66" y="28"/>
                    <a:pt x="65" y="25"/>
                    <a:pt x="63" y="23"/>
                  </a:cubicBezTo>
                  <a:cubicBezTo>
                    <a:pt x="66" y="21"/>
                    <a:pt x="69" y="19"/>
                    <a:pt x="72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7"/>
                    <a:pt x="74" y="17"/>
                    <a:pt x="74" y="17"/>
                  </a:cubicBezTo>
                  <a:cubicBezTo>
                    <a:pt x="76" y="20"/>
                    <a:pt x="78" y="21"/>
                    <a:pt x="80" y="23"/>
                  </a:cubicBezTo>
                  <a:cubicBezTo>
                    <a:pt x="82" y="25"/>
                    <a:pt x="84" y="27"/>
                    <a:pt x="86" y="29"/>
                  </a:cubicBezTo>
                  <a:cubicBezTo>
                    <a:pt x="86" y="29"/>
                    <a:pt x="86" y="29"/>
                    <a:pt x="87" y="30"/>
                  </a:cubicBezTo>
                  <a:cubicBezTo>
                    <a:pt x="79" y="34"/>
                    <a:pt x="72" y="40"/>
                    <a:pt x="68" y="48"/>
                  </a:cubicBezTo>
                  <a:cubicBezTo>
                    <a:pt x="63" y="57"/>
                    <a:pt x="62" y="66"/>
                    <a:pt x="62" y="75"/>
                  </a:cubicBezTo>
                  <a:cubicBezTo>
                    <a:pt x="58" y="76"/>
                    <a:pt x="54" y="81"/>
                    <a:pt x="51" y="85"/>
                  </a:cubicBezTo>
                  <a:cubicBezTo>
                    <a:pt x="50" y="87"/>
                    <a:pt x="48" y="89"/>
                    <a:pt x="47" y="92"/>
                  </a:cubicBezTo>
                  <a:cubicBezTo>
                    <a:pt x="46" y="93"/>
                    <a:pt x="46" y="95"/>
                    <a:pt x="45" y="96"/>
                  </a:cubicBezTo>
                  <a:cubicBezTo>
                    <a:pt x="40" y="94"/>
                    <a:pt x="36" y="92"/>
                    <a:pt x="30" y="92"/>
                  </a:cubicBezTo>
                  <a:cubicBezTo>
                    <a:pt x="29" y="92"/>
                    <a:pt x="27" y="92"/>
                    <a:pt x="26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4" y="88"/>
                    <a:pt x="22" y="86"/>
                    <a:pt x="21" y="84"/>
                  </a:cubicBezTo>
                  <a:cubicBezTo>
                    <a:pt x="17" y="78"/>
                    <a:pt x="13" y="73"/>
                    <a:pt x="8" y="70"/>
                  </a:cubicBezTo>
                  <a:cubicBezTo>
                    <a:pt x="6" y="68"/>
                    <a:pt x="3" y="66"/>
                    <a:pt x="0" y="65"/>
                  </a:cubicBezTo>
                  <a:cubicBezTo>
                    <a:pt x="0" y="63"/>
                    <a:pt x="0" y="62"/>
                    <a:pt x="1" y="61"/>
                  </a:cubicBezTo>
                  <a:close/>
                </a:path>
              </a:pathLst>
            </a:custGeom>
            <a:solidFill>
              <a:srgbClr val="F752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2" name="ïṥḻîḋé">
              <a:extLst>
                <a:ext uri="{FF2B5EF4-FFF2-40B4-BE49-F238E27FC236}">
                  <a16:creationId xmlns:a16="http://schemas.microsoft.com/office/drawing/2014/main" id="{F6887B8E-DC95-4474-9C5C-BAE16BCFA01A}"/>
                </a:ext>
              </a:extLst>
            </p:cNvPr>
            <p:cNvSpPr/>
            <p:nvPr/>
          </p:nvSpPr>
          <p:spPr bwMode="auto">
            <a:xfrm>
              <a:off x="4953392" y="1636179"/>
              <a:ext cx="202769" cy="187968"/>
            </a:xfrm>
            <a:custGeom>
              <a:avLst/>
              <a:gdLst>
                <a:gd name="T0" fmla="*/ 5 w 66"/>
                <a:gd name="T1" fmla="*/ 31 h 61"/>
                <a:gd name="T2" fmla="*/ 5 w 66"/>
                <a:gd name="T3" fmla="*/ 31 h 61"/>
                <a:gd name="T4" fmla="*/ 11 w 66"/>
                <a:gd name="T5" fmla="*/ 30 h 61"/>
                <a:gd name="T6" fmla="*/ 13 w 66"/>
                <a:gd name="T7" fmla="*/ 29 h 61"/>
                <a:gd name="T8" fmla="*/ 14 w 66"/>
                <a:gd name="T9" fmla="*/ 28 h 61"/>
                <a:gd name="T10" fmla="*/ 17 w 66"/>
                <a:gd name="T11" fmla="*/ 27 h 61"/>
                <a:gd name="T12" fmla="*/ 32 w 66"/>
                <a:gd name="T13" fmla="*/ 0 h 61"/>
                <a:gd name="T14" fmla="*/ 38 w 66"/>
                <a:gd name="T15" fmla="*/ 11 h 61"/>
                <a:gd name="T16" fmla="*/ 41 w 66"/>
                <a:gd name="T17" fmla="*/ 19 h 61"/>
                <a:gd name="T18" fmla="*/ 43 w 66"/>
                <a:gd name="T19" fmla="*/ 22 h 61"/>
                <a:gd name="T20" fmla="*/ 44 w 66"/>
                <a:gd name="T21" fmla="*/ 24 h 61"/>
                <a:gd name="T22" fmla="*/ 45 w 66"/>
                <a:gd name="T23" fmla="*/ 24 h 61"/>
                <a:gd name="T24" fmla="*/ 45 w 66"/>
                <a:gd name="T25" fmla="*/ 25 h 61"/>
                <a:gd name="T26" fmla="*/ 50 w 66"/>
                <a:gd name="T27" fmla="*/ 27 h 61"/>
                <a:gd name="T28" fmla="*/ 57 w 66"/>
                <a:gd name="T29" fmla="*/ 28 h 61"/>
                <a:gd name="T30" fmla="*/ 64 w 66"/>
                <a:gd name="T31" fmla="*/ 30 h 61"/>
                <a:gd name="T32" fmla="*/ 65 w 66"/>
                <a:gd name="T33" fmla="*/ 30 h 61"/>
                <a:gd name="T34" fmla="*/ 66 w 66"/>
                <a:gd name="T35" fmla="*/ 30 h 61"/>
                <a:gd name="T36" fmla="*/ 66 w 66"/>
                <a:gd name="T37" fmla="*/ 30 h 61"/>
                <a:gd name="T38" fmla="*/ 66 w 66"/>
                <a:gd name="T39" fmla="*/ 31 h 61"/>
                <a:gd name="T40" fmla="*/ 66 w 66"/>
                <a:gd name="T41" fmla="*/ 32 h 61"/>
                <a:gd name="T42" fmla="*/ 65 w 66"/>
                <a:gd name="T43" fmla="*/ 32 h 61"/>
                <a:gd name="T44" fmla="*/ 60 w 66"/>
                <a:gd name="T45" fmla="*/ 38 h 61"/>
                <a:gd name="T46" fmla="*/ 51 w 66"/>
                <a:gd name="T47" fmla="*/ 48 h 61"/>
                <a:gd name="T48" fmla="*/ 53 w 66"/>
                <a:gd name="T49" fmla="*/ 50 h 61"/>
                <a:gd name="T50" fmla="*/ 54 w 66"/>
                <a:gd name="T51" fmla="*/ 56 h 61"/>
                <a:gd name="T52" fmla="*/ 54 w 66"/>
                <a:gd name="T53" fmla="*/ 61 h 61"/>
                <a:gd name="T54" fmla="*/ 45 w 66"/>
                <a:gd name="T55" fmla="*/ 56 h 61"/>
                <a:gd name="T56" fmla="*/ 31 w 66"/>
                <a:gd name="T57" fmla="*/ 51 h 61"/>
                <a:gd name="T58" fmla="*/ 18 w 66"/>
                <a:gd name="T59" fmla="*/ 56 h 61"/>
                <a:gd name="T60" fmla="*/ 18 w 66"/>
                <a:gd name="T61" fmla="*/ 56 h 61"/>
                <a:gd name="T62" fmla="*/ 16 w 66"/>
                <a:gd name="T63" fmla="*/ 58 h 61"/>
                <a:gd name="T64" fmla="*/ 12 w 66"/>
                <a:gd name="T65" fmla="*/ 61 h 61"/>
                <a:gd name="T66" fmla="*/ 13 w 66"/>
                <a:gd name="T67" fmla="*/ 60 h 61"/>
                <a:gd name="T68" fmla="*/ 14 w 66"/>
                <a:gd name="T69" fmla="*/ 55 h 61"/>
                <a:gd name="T70" fmla="*/ 15 w 66"/>
                <a:gd name="T71" fmla="*/ 52 h 61"/>
                <a:gd name="T72" fmla="*/ 16 w 66"/>
                <a:gd name="T73" fmla="*/ 49 h 61"/>
                <a:gd name="T74" fmla="*/ 11 w 66"/>
                <a:gd name="T75" fmla="*/ 43 h 61"/>
                <a:gd name="T76" fmla="*/ 6 w 66"/>
                <a:gd name="T77" fmla="*/ 38 h 61"/>
                <a:gd name="T78" fmla="*/ 0 w 66"/>
                <a:gd name="T79" fmla="*/ 31 h 61"/>
                <a:gd name="T80" fmla="*/ 5 w 66"/>
                <a:gd name="T81" fmla="*/ 3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6" h="61">
                  <a:moveTo>
                    <a:pt x="5" y="31"/>
                  </a:moveTo>
                  <a:cubicBezTo>
                    <a:pt x="5" y="31"/>
                    <a:pt x="5" y="31"/>
                    <a:pt x="5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3" y="29"/>
                    <a:pt x="13" y="29"/>
                  </a:cubicBezTo>
                  <a:cubicBezTo>
                    <a:pt x="14" y="29"/>
                    <a:pt x="14" y="28"/>
                    <a:pt x="14" y="28"/>
                  </a:cubicBezTo>
                  <a:cubicBezTo>
                    <a:pt x="15" y="29"/>
                    <a:pt x="17" y="29"/>
                    <a:pt x="17" y="27"/>
                  </a:cubicBezTo>
                  <a:cubicBezTo>
                    <a:pt x="20" y="17"/>
                    <a:pt x="26" y="8"/>
                    <a:pt x="32" y="0"/>
                  </a:cubicBezTo>
                  <a:cubicBezTo>
                    <a:pt x="34" y="3"/>
                    <a:pt x="36" y="8"/>
                    <a:pt x="38" y="11"/>
                  </a:cubicBezTo>
                  <a:cubicBezTo>
                    <a:pt x="39" y="14"/>
                    <a:pt x="40" y="16"/>
                    <a:pt x="41" y="19"/>
                  </a:cubicBezTo>
                  <a:cubicBezTo>
                    <a:pt x="42" y="20"/>
                    <a:pt x="42" y="21"/>
                    <a:pt x="43" y="22"/>
                  </a:cubicBezTo>
                  <a:cubicBezTo>
                    <a:pt x="43" y="23"/>
                    <a:pt x="44" y="23"/>
                    <a:pt x="4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5"/>
                  </a:cubicBezTo>
                  <a:cubicBezTo>
                    <a:pt x="46" y="26"/>
                    <a:pt x="49" y="26"/>
                    <a:pt x="50" y="27"/>
                  </a:cubicBezTo>
                  <a:cubicBezTo>
                    <a:pt x="53" y="27"/>
                    <a:pt x="55" y="28"/>
                    <a:pt x="57" y="28"/>
                  </a:cubicBezTo>
                  <a:cubicBezTo>
                    <a:pt x="59" y="28"/>
                    <a:pt x="61" y="29"/>
                    <a:pt x="64" y="30"/>
                  </a:cubicBezTo>
                  <a:cubicBezTo>
                    <a:pt x="64" y="30"/>
                    <a:pt x="65" y="30"/>
                    <a:pt x="65" y="30"/>
                  </a:cubicBezTo>
                  <a:cubicBezTo>
                    <a:pt x="65" y="30"/>
                    <a:pt x="66" y="30"/>
                    <a:pt x="66" y="30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2"/>
                  </a:cubicBezTo>
                  <a:cubicBezTo>
                    <a:pt x="66" y="32"/>
                    <a:pt x="65" y="33"/>
                    <a:pt x="65" y="32"/>
                  </a:cubicBezTo>
                  <a:cubicBezTo>
                    <a:pt x="64" y="34"/>
                    <a:pt x="62" y="36"/>
                    <a:pt x="60" y="38"/>
                  </a:cubicBezTo>
                  <a:cubicBezTo>
                    <a:pt x="57" y="41"/>
                    <a:pt x="52" y="43"/>
                    <a:pt x="51" y="48"/>
                  </a:cubicBezTo>
                  <a:cubicBezTo>
                    <a:pt x="51" y="49"/>
                    <a:pt x="52" y="50"/>
                    <a:pt x="53" y="50"/>
                  </a:cubicBezTo>
                  <a:cubicBezTo>
                    <a:pt x="53" y="52"/>
                    <a:pt x="53" y="54"/>
                    <a:pt x="54" y="56"/>
                  </a:cubicBezTo>
                  <a:cubicBezTo>
                    <a:pt x="54" y="58"/>
                    <a:pt x="54" y="60"/>
                    <a:pt x="54" y="61"/>
                  </a:cubicBezTo>
                  <a:cubicBezTo>
                    <a:pt x="51" y="60"/>
                    <a:pt x="48" y="58"/>
                    <a:pt x="45" y="56"/>
                  </a:cubicBezTo>
                  <a:cubicBezTo>
                    <a:pt x="40" y="53"/>
                    <a:pt x="35" y="51"/>
                    <a:pt x="31" y="51"/>
                  </a:cubicBezTo>
                  <a:cubicBezTo>
                    <a:pt x="26" y="51"/>
                    <a:pt x="22" y="54"/>
                    <a:pt x="18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7" y="57"/>
                    <a:pt x="16" y="57"/>
                    <a:pt x="16" y="58"/>
                  </a:cubicBezTo>
                  <a:cubicBezTo>
                    <a:pt x="15" y="59"/>
                    <a:pt x="14" y="60"/>
                    <a:pt x="12" y="61"/>
                  </a:cubicBezTo>
                  <a:cubicBezTo>
                    <a:pt x="12" y="60"/>
                    <a:pt x="12" y="60"/>
                    <a:pt x="13" y="60"/>
                  </a:cubicBezTo>
                  <a:cubicBezTo>
                    <a:pt x="13" y="58"/>
                    <a:pt x="14" y="57"/>
                    <a:pt x="14" y="55"/>
                  </a:cubicBezTo>
                  <a:cubicBezTo>
                    <a:pt x="14" y="54"/>
                    <a:pt x="15" y="53"/>
                    <a:pt x="15" y="52"/>
                  </a:cubicBezTo>
                  <a:cubicBezTo>
                    <a:pt x="16" y="52"/>
                    <a:pt x="17" y="50"/>
                    <a:pt x="16" y="49"/>
                  </a:cubicBezTo>
                  <a:cubicBezTo>
                    <a:pt x="16" y="47"/>
                    <a:pt x="13" y="45"/>
                    <a:pt x="11" y="43"/>
                  </a:cubicBezTo>
                  <a:cubicBezTo>
                    <a:pt x="9" y="42"/>
                    <a:pt x="8" y="40"/>
                    <a:pt x="6" y="38"/>
                  </a:cubicBezTo>
                  <a:cubicBezTo>
                    <a:pt x="4" y="36"/>
                    <a:pt x="2" y="33"/>
                    <a:pt x="0" y="31"/>
                  </a:cubicBezTo>
                  <a:cubicBezTo>
                    <a:pt x="2" y="31"/>
                    <a:pt x="3" y="31"/>
                    <a:pt x="5" y="31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3" name="ïşļïḋé">
              <a:extLst>
                <a:ext uri="{FF2B5EF4-FFF2-40B4-BE49-F238E27FC236}">
                  <a16:creationId xmlns:a16="http://schemas.microsoft.com/office/drawing/2014/main" id="{FD16B1BA-1A94-4A96-8DB1-FD03C51A6718}"/>
                </a:ext>
              </a:extLst>
            </p:cNvPr>
            <p:cNvSpPr/>
            <p:nvPr/>
          </p:nvSpPr>
          <p:spPr bwMode="auto">
            <a:xfrm>
              <a:off x="5008155" y="1881869"/>
              <a:ext cx="335975" cy="350775"/>
            </a:xfrm>
            <a:custGeom>
              <a:avLst/>
              <a:gdLst>
                <a:gd name="T0" fmla="*/ 29 w 109"/>
                <a:gd name="T1" fmla="*/ 1 h 114"/>
                <a:gd name="T2" fmla="*/ 29 w 109"/>
                <a:gd name="T3" fmla="*/ 1 h 114"/>
                <a:gd name="T4" fmla="*/ 31 w 109"/>
                <a:gd name="T5" fmla="*/ 1 h 114"/>
                <a:gd name="T6" fmla="*/ 32 w 109"/>
                <a:gd name="T7" fmla="*/ 1 h 114"/>
                <a:gd name="T8" fmla="*/ 33 w 109"/>
                <a:gd name="T9" fmla="*/ 0 h 114"/>
                <a:gd name="T10" fmla="*/ 38 w 109"/>
                <a:gd name="T11" fmla="*/ 0 h 114"/>
                <a:gd name="T12" fmla="*/ 41 w 109"/>
                <a:gd name="T13" fmla="*/ 1 h 114"/>
                <a:gd name="T14" fmla="*/ 41 w 109"/>
                <a:gd name="T15" fmla="*/ 1 h 114"/>
                <a:gd name="T16" fmla="*/ 42 w 109"/>
                <a:gd name="T17" fmla="*/ 1 h 114"/>
                <a:gd name="T18" fmla="*/ 47 w 109"/>
                <a:gd name="T19" fmla="*/ 2 h 114"/>
                <a:gd name="T20" fmla="*/ 52 w 109"/>
                <a:gd name="T21" fmla="*/ 3 h 114"/>
                <a:gd name="T22" fmla="*/ 54 w 109"/>
                <a:gd name="T23" fmla="*/ 4 h 114"/>
                <a:gd name="T24" fmla="*/ 55 w 109"/>
                <a:gd name="T25" fmla="*/ 5 h 114"/>
                <a:gd name="T26" fmla="*/ 56 w 109"/>
                <a:gd name="T27" fmla="*/ 5 h 114"/>
                <a:gd name="T28" fmla="*/ 65 w 109"/>
                <a:gd name="T29" fmla="*/ 11 h 114"/>
                <a:gd name="T30" fmla="*/ 73 w 109"/>
                <a:gd name="T31" fmla="*/ 17 h 114"/>
                <a:gd name="T32" fmla="*/ 82 w 109"/>
                <a:gd name="T33" fmla="*/ 25 h 114"/>
                <a:gd name="T34" fmla="*/ 89 w 109"/>
                <a:gd name="T35" fmla="*/ 33 h 114"/>
                <a:gd name="T36" fmla="*/ 89 w 109"/>
                <a:gd name="T37" fmla="*/ 34 h 114"/>
                <a:gd name="T38" fmla="*/ 90 w 109"/>
                <a:gd name="T39" fmla="*/ 35 h 114"/>
                <a:gd name="T40" fmla="*/ 91 w 109"/>
                <a:gd name="T41" fmla="*/ 37 h 114"/>
                <a:gd name="T42" fmla="*/ 94 w 109"/>
                <a:gd name="T43" fmla="*/ 41 h 114"/>
                <a:gd name="T44" fmla="*/ 104 w 109"/>
                <a:gd name="T45" fmla="*/ 64 h 114"/>
                <a:gd name="T46" fmla="*/ 109 w 109"/>
                <a:gd name="T47" fmla="*/ 90 h 114"/>
                <a:gd name="T48" fmla="*/ 81 w 109"/>
                <a:gd name="T49" fmla="*/ 94 h 114"/>
                <a:gd name="T50" fmla="*/ 61 w 109"/>
                <a:gd name="T51" fmla="*/ 102 h 114"/>
                <a:gd name="T52" fmla="*/ 51 w 109"/>
                <a:gd name="T53" fmla="*/ 107 h 114"/>
                <a:gd name="T54" fmla="*/ 42 w 109"/>
                <a:gd name="T55" fmla="*/ 114 h 114"/>
                <a:gd name="T56" fmla="*/ 41 w 109"/>
                <a:gd name="T57" fmla="*/ 114 h 114"/>
                <a:gd name="T58" fmla="*/ 37 w 109"/>
                <a:gd name="T59" fmla="*/ 113 h 114"/>
                <a:gd name="T60" fmla="*/ 34 w 109"/>
                <a:gd name="T61" fmla="*/ 110 h 114"/>
                <a:gd name="T62" fmla="*/ 27 w 109"/>
                <a:gd name="T63" fmla="*/ 102 h 114"/>
                <a:gd name="T64" fmla="*/ 15 w 109"/>
                <a:gd name="T65" fmla="*/ 85 h 114"/>
                <a:gd name="T66" fmla="*/ 10 w 109"/>
                <a:gd name="T67" fmla="*/ 75 h 114"/>
                <a:gd name="T68" fmla="*/ 5 w 109"/>
                <a:gd name="T69" fmla="*/ 66 h 114"/>
                <a:gd name="T70" fmla="*/ 2 w 109"/>
                <a:gd name="T71" fmla="*/ 56 h 114"/>
                <a:gd name="T72" fmla="*/ 1 w 109"/>
                <a:gd name="T73" fmla="*/ 51 h 114"/>
                <a:gd name="T74" fmla="*/ 0 w 109"/>
                <a:gd name="T75" fmla="*/ 48 h 114"/>
                <a:gd name="T76" fmla="*/ 0 w 109"/>
                <a:gd name="T77" fmla="*/ 47 h 114"/>
                <a:gd name="T78" fmla="*/ 0 w 109"/>
                <a:gd name="T79" fmla="*/ 46 h 114"/>
                <a:gd name="T80" fmla="*/ 0 w 109"/>
                <a:gd name="T81" fmla="*/ 36 h 114"/>
                <a:gd name="T82" fmla="*/ 0 w 109"/>
                <a:gd name="T83" fmla="*/ 34 h 114"/>
                <a:gd name="T84" fmla="*/ 0 w 109"/>
                <a:gd name="T85" fmla="*/ 33 h 114"/>
                <a:gd name="T86" fmla="*/ 0 w 109"/>
                <a:gd name="T87" fmla="*/ 32 h 114"/>
                <a:gd name="T88" fmla="*/ 2 w 109"/>
                <a:gd name="T89" fmla="*/ 27 h 114"/>
                <a:gd name="T90" fmla="*/ 5 w 109"/>
                <a:gd name="T91" fmla="*/ 18 h 114"/>
                <a:gd name="T92" fmla="*/ 7 w 109"/>
                <a:gd name="T93" fmla="*/ 16 h 114"/>
                <a:gd name="T94" fmla="*/ 7 w 109"/>
                <a:gd name="T95" fmla="*/ 15 h 114"/>
                <a:gd name="T96" fmla="*/ 8 w 109"/>
                <a:gd name="T97" fmla="*/ 15 h 114"/>
                <a:gd name="T98" fmla="*/ 12 w 109"/>
                <a:gd name="T99" fmla="*/ 10 h 114"/>
                <a:gd name="T100" fmla="*/ 20 w 109"/>
                <a:gd name="T101" fmla="*/ 4 h 114"/>
                <a:gd name="T102" fmla="*/ 22 w 109"/>
                <a:gd name="T103" fmla="*/ 3 h 114"/>
                <a:gd name="T104" fmla="*/ 23 w 109"/>
                <a:gd name="T105" fmla="*/ 3 h 114"/>
                <a:gd name="T106" fmla="*/ 23 w 109"/>
                <a:gd name="T107" fmla="*/ 3 h 114"/>
                <a:gd name="T108" fmla="*/ 24 w 109"/>
                <a:gd name="T109" fmla="*/ 2 h 114"/>
                <a:gd name="T110" fmla="*/ 29 w 109"/>
                <a:gd name="T111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9" h="114">
                  <a:moveTo>
                    <a:pt x="29" y="1"/>
                  </a:moveTo>
                  <a:cubicBezTo>
                    <a:pt x="29" y="1"/>
                    <a:pt x="29" y="1"/>
                    <a:pt x="29" y="1"/>
                  </a:cubicBezTo>
                  <a:cubicBezTo>
                    <a:pt x="30" y="1"/>
                    <a:pt x="30" y="1"/>
                    <a:pt x="31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0"/>
                    <a:pt x="33" y="0"/>
                    <a:pt x="33" y="0"/>
                  </a:cubicBezTo>
                  <a:cubicBezTo>
                    <a:pt x="35" y="0"/>
                    <a:pt x="37" y="0"/>
                    <a:pt x="38" y="0"/>
                  </a:cubicBezTo>
                  <a:cubicBezTo>
                    <a:pt x="39" y="0"/>
                    <a:pt x="40" y="0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2" y="1"/>
                  </a:cubicBezTo>
                  <a:cubicBezTo>
                    <a:pt x="43" y="1"/>
                    <a:pt x="45" y="1"/>
                    <a:pt x="47" y="2"/>
                  </a:cubicBezTo>
                  <a:cubicBezTo>
                    <a:pt x="49" y="2"/>
                    <a:pt x="50" y="3"/>
                    <a:pt x="52" y="3"/>
                  </a:cubicBezTo>
                  <a:cubicBezTo>
                    <a:pt x="52" y="4"/>
                    <a:pt x="53" y="4"/>
                    <a:pt x="54" y="4"/>
                  </a:cubicBezTo>
                  <a:cubicBezTo>
                    <a:pt x="54" y="4"/>
                    <a:pt x="54" y="5"/>
                    <a:pt x="55" y="5"/>
                  </a:cubicBezTo>
                  <a:cubicBezTo>
                    <a:pt x="55" y="5"/>
                    <a:pt x="56" y="5"/>
                    <a:pt x="56" y="5"/>
                  </a:cubicBezTo>
                  <a:cubicBezTo>
                    <a:pt x="59" y="7"/>
                    <a:pt x="63" y="9"/>
                    <a:pt x="65" y="11"/>
                  </a:cubicBezTo>
                  <a:cubicBezTo>
                    <a:pt x="69" y="13"/>
                    <a:pt x="71" y="14"/>
                    <a:pt x="73" y="17"/>
                  </a:cubicBezTo>
                  <a:cubicBezTo>
                    <a:pt x="76" y="20"/>
                    <a:pt x="79" y="22"/>
                    <a:pt x="82" y="25"/>
                  </a:cubicBezTo>
                  <a:cubicBezTo>
                    <a:pt x="84" y="27"/>
                    <a:pt x="86" y="30"/>
                    <a:pt x="89" y="33"/>
                  </a:cubicBezTo>
                  <a:cubicBezTo>
                    <a:pt x="89" y="33"/>
                    <a:pt x="89" y="34"/>
                    <a:pt x="89" y="34"/>
                  </a:cubicBezTo>
                  <a:cubicBezTo>
                    <a:pt x="89" y="34"/>
                    <a:pt x="89" y="34"/>
                    <a:pt x="90" y="35"/>
                  </a:cubicBezTo>
                  <a:cubicBezTo>
                    <a:pt x="90" y="35"/>
                    <a:pt x="90" y="36"/>
                    <a:pt x="91" y="37"/>
                  </a:cubicBezTo>
                  <a:cubicBezTo>
                    <a:pt x="92" y="38"/>
                    <a:pt x="93" y="40"/>
                    <a:pt x="94" y="41"/>
                  </a:cubicBezTo>
                  <a:cubicBezTo>
                    <a:pt x="98" y="48"/>
                    <a:pt x="101" y="56"/>
                    <a:pt x="104" y="64"/>
                  </a:cubicBezTo>
                  <a:cubicBezTo>
                    <a:pt x="106" y="72"/>
                    <a:pt x="108" y="81"/>
                    <a:pt x="109" y="90"/>
                  </a:cubicBezTo>
                  <a:cubicBezTo>
                    <a:pt x="99" y="90"/>
                    <a:pt x="90" y="92"/>
                    <a:pt x="81" y="94"/>
                  </a:cubicBezTo>
                  <a:cubicBezTo>
                    <a:pt x="74" y="96"/>
                    <a:pt x="67" y="99"/>
                    <a:pt x="61" y="102"/>
                  </a:cubicBezTo>
                  <a:cubicBezTo>
                    <a:pt x="58" y="104"/>
                    <a:pt x="54" y="105"/>
                    <a:pt x="51" y="107"/>
                  </a:cubicBezTo>
                  <a:cubicBezTo>
                    <a:pt x="48" y="109"/>
                    <a:pt x="45" y="111"/>
                    <a:pt x="42" y="114"/>
                  </a:cubicBezTo>
                  <a:cubicBezTo>
                    <a:pt x="42" y="114"/>
                    <a:pt x="42" y="114"/>
                    <a:pt x="41" y="114"/>
                  </a:cubicBezTo>
                  <a:cubicBezTo>
                    <a:pt x="40" y="114"/>
                    <a:pt x="39" y="113"/>
                    <a:pt x="37" y="113"/>
                  </a:cubicBezTo>
                  <a:cubicBezTo>
                    <a:pt x="36" y="112"/>
                    <a:pt x="35" y="110"/>
                    <a:pt x="34" y="110"/>
                  </a:cubicBezTo>
                  <a:cubicBezTo>
                    <a:pt x="32" y="107"/>
                    <a:pt x="30" y="105"/>
                    <a:pt x="27" y="102"/>
                  </a:cubicBezTo>
                  <a:cubicBezTo>
                    <a:pt x="23" y="97"/>
                    <a:pt x="19" y="92"/>
                    <a:pt x="15" y="85"/>
                  </a:cubicBezTo>
                  <a:cubicBezTo>
                    <a:pt x="13" y="82"/>
                    <a:pt x="11" y="79"/>
                    <a:pt x="10" y="75"/>
                  </a:cubicBezTo>
                  <a:cubicBezTo>
                    <a:pt x="8" y="72"/>
                    <a:pt x="7" y="69"/>
                    <a:pt x="5" y="66"/>
                  </a:cubicBezTo>
                  <a:cubicBezTo>
                    <a:pt x="4" y="62"/>
                    <a:pt x="3" y="59"/>
                    <a:pt x="2" y="56"/>
                  </a:cubicBezTo>
                  <a:cubicBezTo>
                    <a:pt x="1" y="54"/>
                    <a:pt x="1" y="52"/>
                    <a:pt x="1" y="51"/>
                  </a:cubicBezTo>
                  <a:cubicBezTo>
                    <a:pt x="1" y="50"/>
                    <a:pt x="0" y="49"/>
                    <a:pt x="0" y="48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2"/>
                    <a:pt x="0" y="39"/>
                    <a:pt x="0" y="36"/>
                  </a:cubicBezTo>
                  <a:cubicBezTo>
                    <a:pt x="0" y="35"/>
                    <a:pt x="0" y="34"/>
                    <a:pt x="0" y="3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30"/>
                    <a:pt x="1" y="28"/>
                    <a:pt x="2" y="27"/>
                  </a:cubicBezTo>
                  <a:cubicBezTo>
                    <a:pt x="3" y="24"/>
                    <a:pt x="3" y="22"/>
                    <a:pt x="5" y="18"/>
                  </a:cubicBezTo>
                  <a:cubicBezTo>
                    <a:pt x="6" y="18"/>
                    <a:pt x="6" y="17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3"/>
                    <a:pt x="10" y="12"/>
                    <a:pt x="12" y="10"/>
                  </a:cubicBezTo>
                  <a:cubicBezTo>
                    <a:pt x="15" y="8"/>
                    <a:pt x="17" y="6"/>
                    <a:pt x="20" y="4"/>
                  </a:cubicBezTo>
                  <a:cubicBezTo>
                    <a:pt x="21" y="4"/>
                    <a:pt x="22" y="3"/>
                    <a:pt x="22" y="3"/>
                  </a:cubicBezTo>
                  <a:cubicBezTo>
                    <a:pt x="22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4" y="3"/>
                    <a:pt x="24" y="2"/>
                  </a:cubicBezTo>
                  <a:cubicBezTo>
                    <a:pt x="26" y="2"/>
                    <a:pt x="27" y="1"/>
                    <a:pt x="29" y="1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4" name="îš1îḋe">
              <a:extLst>
                <a:ext uri="{FF2B5EF4-FFF2-40B4-BE49-F238E27FC236}">
                  <a16:creationId xmlns:a16="http://schemas.microsoft.com/office/drawing/2014/main" id="{80D5CDDF-778B-432A-9D49-7A04928ED387}"/>
                </a:ext>
              </a:extLst>
            </p:cNvPr>
            <p:cNvSpPr/>
            <p:nvPr/>
          </p:nvSpPr>
          <p:spPr bwMode="auto">
            <a:xfrm>
              <a:off x="5295287" y="1838947"/>
              <a:ext cx="285652" cy="424778"/>
            </a:xfrm>
            <a:custGeom>
              <a:avLst/>
              <a:gdLst>
                <a:gd name="T0" fmla="*/ 4 w 93"/>
                <a:gd name="T1" fmla="*/ 24 h 138"/>
                <a:gd name="T2" fmla="*/ 4 w 93"/>
                <a:gd name="T3" fmla="*/ 24 h 138"/>
                <a:gd name="T4" fmla="*/ 18 w 93"/>
                <a:gd name="T5" fmla="*/ 9 h 138"/>
                <a:gd name="T6" fmla="*/ 37 w 93"/>
                <a:gd name="T7" fmla="*/ 0 h 138"/>
                <a:gd name="T8" fmla="*/ 37 w 93"/>
                <a:gd name="T9" fmla="*/ 0 h 138"/>
                <a:gd name="T10" fmla="*/ 39 w 93"/>
                <a:gd name="T11" fmla="*/ 0 h 138"/>
                <a:gd name="T12" fmla="*/ 40 w 93"/>
                <a:gd name="T13" fmla="*/ 0 h 138"/>
                <a:gd name="T14" fmla="*/ 40 w 93"/>
                <a:gd name="T15" fmla="*/ 0 h 138"/>
                <a:gd name="T16" fmla="*/ 42 w 93"/>
                <a:gd name="T17" fmla="*/ 1 h 138"/>
                <a:gd name="T18" fmla="*/ 42 w 93"/>
                <a:gd name="T19" fmla="*/ 1 h 138"/>
                <a:gd name="T20" fmla="*/ 43 w 93"/>
                <a:gd name="T21" fmla="*/ 1 h 138"/>
                <a:gd name="T22" fmla="*/ 38 w 93"/>
                <a:gd name="T23" fmla="*/ 10 h 138"/>
                <a:gd name="T24" fmla="*/ 37 w 93"/>
                <a:gd name="T25" fmla="*/ 14 h 138"/>
                <a:gd name="T26" fmla="*/ 37 w 93"/>
                <a:gd name="T27" fmla="*/ 14 h 138"/>
                <a:gd name="T28" fmla="*/ 31 w 93"/>
                <a:gd name="T29" fmla="*/ 14 h 138"/>
                <a:gd name="T30" fmla="*/ 21 w 93"/>
                <a:gd name="T31" fmla="*/ 17 h 138"/>
                <a:gd name="T32" fmla="*/ 22 w 93"/>
                <a:gd name="T33" fmla="*/ 20 h 138"/>
                <a:gd name="T34" fmla="*/ 31 w 93"/>
                <a:gd name="T35" fmla="*/ 19 h 138"/>
                <a:gd name="T36" fmla="*/ 36 w 93"/>
                <a:gd name="T37" fmla="*/ 19 h 138"/>
                <a:gd name="T38" fmla="*/ 36 w 93"/>
                <a:gd name="T39" fmla="*/ 19 h 138"/>
                <a:gd name="T40" fmla="*/ 36 w 93"/>
                <a:gd name="T41" fmla="*/ 22 h 138"/>
                <a:gd name="T42" fmla="*/ 37 w 93"/>
                <a:gd name="T43" fmla="*/ 47 h 138"/>
                <a:gd name="T44" fmla="*/ 58 w 93"/>
                <a:gd name="T45" fmla="*/ 92 h 138"/>
                <a:gd name="T46" fmla="*/ 93 w 93"/>
                <a:gd name="T47" fmla="*/ 123 h 138"/>
                <a:gd name="T48" fmla="*/ 92 w 93"/>
                <a:gd name="T49" fmla="*/ 127 h 138"/>
                <a:gd name="T50" fmla="*/ 90 w 93"/>
                <a:gd name="T51" fmla="*/ 130 h 138"/>
                <a:gd name="T52" fmla="*/ 89 w 93"/>
                <a:gd name="T53" fmla="*/ 132 h 138"/>
                <a:gd name="T54" fmla="*/ 88 w 93"/>
                <a:gd name="T55" fmla="*/ 133 h 138"/>
                <a:gd name="T56" fmla="*/ 85 w 93"/>
                <a:gd name="T57" fmla="*/ 136 h 138"/>
                <a:gd name="T58" fmla="*/ 85 w 93"/>
                <a:gd name="T59" fmla="*/ 136 h 138"/>
                <a:gd name="T60" fmla="*/ 84 w 93"/>
                <a:gd name="T61" fmla="*/ 136 h 138"/>
                <a:gd name="T62" fmla="*/ 83 w 93"/>
                <a:gd name="T63" fmla="*/ 137 h 138"/>
                <a:gd name="T64" fmla="*/ 83 w 93"/>
                <a:gd name="T65" fmla="*/ 137 h 138"/>
                <a:gd name="T66" fmla="*/ 82 w 93"/>
                <a:gd name="T67" fmla="*/ 138 h 138"/>
                <a:gd name="T68" fmla="*/ 70 w 93"/>
                <a:gd name="T69" fmla="*/ 123 h 138"/>
                <a:gd name="T70" fmla="*/ 31 w 93"/>
                <a:gd name="T71" fmla="*/ 105 h 138"/>
                <a:gd name="T72" fmla="*/ 24 w 93"/>
                <a:gd name="T73" fmla="*/ 105 h 138"/>
                <a:gd name="T74" fmla="*/ 20 w 93"/>
                <a:gd name="T75" fmla="*/ 77 h 138"/>
                <a:gd name="T76" fmla="*/ 10 w 93"/>
                <a:gd name="T77" fmla="*/ 52 h 138"/>
                <a:gd name="T78" fmla="*/ 0 w 93"/>
                <a:gd name="T79" fmla="*/ 39 h 138"/>
                <a:gd name="T80" fmla="*/ 4 w 93"/>
                <a:gd name="T81" fmla="*/ 24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3" h="138">
                  <a:moveTo>
                    <a:pt x="4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7" y="17"/>
                    <a:pt x="13" y="13"/>
                    <a:pt x="18" y="9"/>
                  </a:cubicBezTo>
                  <a:cubicBezTo>
                    <a:pt x="24" y="5"/>
                    <a:pt x="30" y="1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38" y="0"/>
                    <a:pt x="39" y="0"/>
                  </a:cubicBezTo>
                  <a:cubicBezTo>
                    <a:pt x="39" y="0"/>
                    <a:pt x="39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1" y="0"/>
                    <a:pt x="42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1"/>
                    <a:pt x="42" y="1"/>
                    <a:pt x="43" y="1"/>
                  </a:cubicBezTo>
                  <a:cubicBezTo>
                    <a:pt x="41" y="4"/>
                    <a:pt x="39" y="7"/>
                    <a:pt x="38" y="10"/>
                  </a:cubicBezTo>
                  <a:cubicBezTo>
                    <a:pt x="38" y="11"/>
                    <a:pt x="38" y="12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5" y="14"/>
                    <a:pt x="33" y="14"/>
                    <a:pt x="31" y="14"/>
                  </a:cubicBezTo>
                  <a:cubicBezTo>
                    <a:pt x="28" y="15"/>
                    <a:pt x="24" y="15"/>
                    <a:pt x="21" y="17"/>
                  </a:cubicBezTo>
                  <a:cubicBezTo>
                    <a:pt x="20" y="18"/>
                    <a:pt x="20" y="20"/>
                    <a:pt x="22" y="20"/>
                  </a:cubicBezTo>
                  <a:cubicBezTo>
                    <a:pt x="25" y="20"/>
                    <a:pt x="28" y="19"/>
                    <a:pt x="31" y="19"/>
                  </a:cubicBezTo>
                  <a:cubicBezTo>
                    <a:pt x="33" y="19"/>
                    <a:pt x="34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20"/>
                    <a:pt x="36" y="21"/>
                    <a:pt x="36" y="22"/>
                  </a:cubicBezTo>
                  <a:cubicBezTo>
                    <a:pt x="35" y="30"/>
                    <a:pt x="36" y="39"/>
                    <a:pt x="37" y="47"/>
                  </a:cubicBezTo>
                  <a:cubicBezTo>
                    <a:pt x="40" y="64"/>
                    <a:pt x="48" y="79"/>
                    <a:pt x="58" y="92"/>
                  </a:cubicBezTo>
                  <a:cubicBezTo>
                    <a:pt x="67" y="105"/>
                    <a:pt x="79" y="116"/>
                    <a:pt x="93" y="123"/>
                  </a:cubicBezTo>
                  <a:cubicBezTo>
                    <a:pt x="93" y="124"/>
                    <a:pt x="92" y="126"/>
                    <a:pt x="92" y="127"/>
                  </a:cubicBezTo>
                  <a:cubicBezTo>
                    <a:pt x="91" y="128"/>
                    <a:pt x="91" y="129"/>
                    <a:pt x="90" y="130"/>
                  </a:cubicBezTo>
                  <a:cubicBezTo>
                    <a:pt x="90" y="131"/>
                    <a:pt x="89" y="131"/>
                    <a:pt x="89" y="132"/>
                  </a:cubicBezTo>
                  <a:cubicBezTo>
                    <a:pt x="88" y="133"/>
                    <a:pt x="89" y="132"/>
                    <a:pt x="88" y="133"/>
                  </a:cubicBezTo>
                  <a:cubicBezTo>
                    <a:pt x="87" y="134"/>
                    <a:pt x="86" y="135"/>
                    <a:pt x="85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5" y="136"/>
                    <a:pt x="85" y="136"/>
                    <a:pt x="84" y="136"/>
                  </a:cubicBezTo>
                  <a:cubicBezTo>
                    <a:pt x="84" y="137"/>
                    <a:pt x="83" y="137"/>
                    <a:pt x="83" y="137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2" y="137"/>
                    <a:pt x="82" y="137"/>
                    <a:pt x="82" y="138"/>
                  </a:cubicBezTo>
                  <a:cubicBezTo>
                    <a:pt x="78" y="132"/>
                    <a:pt x="74" y="127"/>
                    <a:pt x="70" y="123"/>
                  </a:cubicBezTo>
                  <a:cubicBezTo>
                    <a:pt x="59" y="113"/>
                    <a:pt x="45" y="107"/>
                    <a:pt x="31" y="105"/>
                  </a:cubicBezTo>
                  <a:cubicBezTo>
                    <a:pt x="29" y="105"/>
                    <a:pt x="27" y="105"/>
                    <a:pt x="24" y="105"/>
                  </a:cubicBezTo>
                  <a:cubicBezTo>
                    <a:pt x="24" y="95"/>
                    <a:pt x="22" y="86"/>
                    <a:pt x="20" y="77"/>
                  </a:cubicBezTo>
                  <a:cubicBezTo>
                    <a:pt x="18" y="69"/>
                    <a:pt x="14" y="60"/>
                    <a:pt x="10" y="52"/>
                  </a:cubicBezTo>
                  <a:cubicBezTo>
                    <a:pt x="7" y="47"/>
                    <a:pt x="4" y="43"/>
                    <a:pt x="0" y="39"/>
                  </a:cubicBezTo>
                  <a:cubicBezTo>
                    <a:pt x="1" y="34"/>
                    <a:pt x="2" y="28"/>
                    <a:pt x="4" y="24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5" name="iśḻíḍe">
              <a:extLst>
                <a:ext uri="{FF2B5EF4-FFF2-40B4-BE49-F238E27FC236}">
                  <a16:creationId xmlns:a16="http://schemas.microsoft.com/office/drawing/2014/main" id="{3E10F163-05E2-4194-8A72-92857C718C65}"/>
                </a:ext>
              </a:extLst>
            </p:cNvPr>
            <p:cNvSpPr/>
            <p:nvPr/>
          </p:nvSpPr>
          <p:spPr bwMode="auto">
            <a:xfrm>
              <a:off x="5284926" y="1593256"/>
              <a:ext cx="267892" cy="251611"/>
            </a:xfrm>
            <a:custGeom>
              <a:avLst/>
              <a:gdLst>
                <a:gd name="T0" fmla="*/ 9 w 87"/>
                <a:gd name="T1" fmla="*/ 74 h 82"/>
                <a:gd name="T2" fmla="*/ 9 w 87"/>
                <a:gd name="T3" fmla="*/ 74 h 82"/>
                <a:gd name="T4" fmla="*/ 4 w 87"/>
                <a:gd name="T5" fmla="*/ 66 h 82"/>
                <a:gd name="T6" fmla="*/ 4 w 87"/>
                <a:gd name="T7" fmla="*/ 65 h 82"/>
                <a:gd name="T8" fmla="*/ 4 w 87"/>
                <a:gd name="T9" fmla="*/ 64 h 82"/>
                <a:gd name="T10" fmla="*/ 4 w 87"/>
                <a:gd name="T11" fmla="*/ 64 h 82"/>
                <a:gd name="T12" fmla="*/ 3 w 87"/>
                <a:gd name="T13" fmla="*/ 62 h 82"/>
                <a:gd name="T14" fmla="*/ 1 w 87"/>
                <a:gd name="T15" fmla="*/ 58 h 82"/>
                <a:gd name="T16" fmla="*/ 1 w 87"/>
                <a:gd name="T17" fmla="*/ 54 h 82"/>
                <a:gd name="T18" fmla="*/ 0 w 87"/>
                <a:gd name="T19" fmla="*/ 53 h 82"/>
                <a:gd name="T20" fmla="*/ 0 w 87"/>
                <a:gd name="T21" fmla="*/ 52 h 82"/>
                <a:gd name="T22" fmla="*/ 0 w 87"/>
                <a:gd name="T23" fmla="*/ 50 h 82"/>
                <a:gd name="T24" fmla="*/ 0 w 87"/>
                <a:gd name="T25" fmla="*/ 40 h 82"/>
                <a:gd name="T26" fmla="*/ 0 w 87"/>
                <a:gd name="T27" fmla="*/ 38 h 82"/>
                <a:gd name="T28" fmla="*/ 1 w 87"/>
                <a:gd name="T29" fmla="*/ 37 h 82"/>
                <a:gd name="T30" fmla="*/ 1 w 87"/>
                <a:gd name="T31" fmla="*/ 36 h 82"/>
                <a:gd name="T32" fmla="*/ 2 w 87"/>
                <a:gd name="T33" fmla="*/ 32 h 82"/>
                <a:gd name="T34" fmla="*/ 3 w 87"/>
                <a:gd name="T35" fmla="*/ 28 h 82"/>
                <a:gd name="T36" fmla="*/ 4 w 87"/>
                <a:gd name="T37" fmla="*/ 26 h 82"/>
                <a:gd name="T38" fmla="*/ 4 w 87"/>
                <a:gd name="T39" fmla="*/ 25 h 82"/>
                <a:gd name="T40" fmla="*/ 5 w 87"/>
                <a:gd name="T41" fmla="*/ 24 h 82"/>
                <a:gd name="T42" fmla="*/ 7 w 87"/>
                <a:gd name="T43" fmla="*/ 20 h 82"/>
                <a:gd name="T44" fmla="*/ 8 w 87"/>
                <a:gd name="T45" fmla="*/ 19 h 82"/>
                <a:gd name="T46" fmla="*/ 8 w 87"/>
                <a:gd name="T47" fmla="*/ 17 h 82"/>
                <a:gd name="T48" fmla="*/ 9 w 87"/>
                <a:gd name="T49" fmla="*/ 17 h 82"/>
                <a:gd name="T50" fmla="*/ 9 w 87"/>
                <a:gd name="T51" fmla="*/ 17 h 82"/>
                <a:gd name="T52" fmla="*/ 13 w 87"/>
                <a:gd name="T53" fmla="*/ 12 h 82"/>
                <a:gd name="T54" fmla="*/ 14 w 87"/>
                <a:gd name="T55" fmla="*/ 11 h 82"/>
                <a:gd name="T56" fmla="*/ 14 w 87"/>
                <a:gd name="T57" fmla="*/ 11 h 82"/>
                <a:gd name="T58" fmla="*/ 15 w 87"/>
                <a:gd name="T59" fmla="*/ 11 h 82"/>
                <a:gd name="T60" fmla="*/ 18 w 87"/>
                <a:gd name="T61" fmla="*/ 9 h 82"/>
                <a:gd name="T62" fmla="*/ 21 w 87"/>
                <a:gd name="T63" fmla="*/ 7 h 82"/>
                <a:gd name="T64" fmla="*/ 21 w 87"/>
                <a:gd name="T65" fmla="*/ 7 h 82"/>
                <a:gd name="T66" fmla="*/ 22 w 87"/>
                <a:gd name="T67" fmla="*/ 7 h 82"/>
                <a:gd name="T68" fmla="*/ 24 w 87"/>
                <a:gd name="T69" fmla="*/ 6 h 82"/>
                <a:gd name="T70" fmla="*/ 30 w 87"/>
                <a:gd name="T71" fmla="*/ 4 h 82"/>
                <a:gd name="T72" fmla="*/ 32 w 87"/>
                <a:gd name="T73" fmla="*/ 3 h 82"/>
                <a:gd name="T74" fmla="*/ 51 w 87"/>
                <a:gd name="T75" fmla="*/ 0 h 82"/>
                <a:gd name="T76" fmla="*/ 54 w 87"/>
                <a:gd name="T77" fmla="*/ 1 h 82"/>
                <a:gd name="T78" fmla="*/ 60 w 87"/>
                <a:gd name="T79" fmla="*/ 3 h 82"/>
                <a:gd name="T80" fmla="*/ 65 w 87"/>
                <a:gd name="T81" fmla="*/ 5 h 82"/>
                <a:gd name="T82" fmla="*/ 71 w 87"/>
                <a:gd name="T83" fmla="*/ 9 h 82"/>
                <a:gd name="T84" fmla="*/ 87 w 87"/>
                <a:gd name="T85" fmla="*/ 47 h 82"/>
                <a:gd name="T86" fmla="*/ 79 w 87"/>
                <a:gd name="T87" fmla="*/ 46 h 82"/>
                <a:gd name="T88" fmla="*/ 67 w 87"/>
                <a:gd name="T89" fmla="*/ 48 h 82"/>
                <a:gd name="T90" fmla="*/ 56 w 87"/>
                <a:gd name="T91" fmla="*/ 56 h 82"/>
                <a:gd name="T92" fmla="*/ 56 w 87"/>
                <a:gd name="T93" fmla="*/ 57 h 82"/>
                <a:gd name="T94" fmla="*/ 49 w 87"/>
                <a:gd name="T95" fmla="*/ 64 h 82"/>
                <a:gd name="T96" fmla="*/ 45 w 87"/>
                <a:gd name="T97" fmla="*/ 68 h 82"/>
                <a:gd name="T98" fmla="*/ 44 w 87"/>
                <a:gd name="T99" fmla="*/ 72 h 82"/>
                <a:gd name="T100" fmla="*/ 26 w 87"/>
                <a:gd name="T101" fmla="*/ 77 h 82"/>
                <a:gd name="T102" fmla="*/ 17 w 87"/>
                <a:gd name="T103" fmla="*/ 82 h 82"/>
                <a:gd name="T104" fmla="*/ 17 w 87"/>
                <a:gd name="T105" fmla="*/ 82 h 82"/>
                <a:gd name="T106" fmla="*/ 15 w 87"/>
                <a:gd name="T107" fmla="*/ 81 h 82"/>
                <a:gd name="T108" fmla="*/ 15 w 87"/>
                <a:gd name="T109" fmla="*/ 80 h 82"/>
                <a:gd name="T110" fmla="*/ 15 w 87"/>
                <a:gd name="T111" fmla="*/ 80 h 82"/>
                <a:gd name="T112" fmla="*/ 13 w 87"/>
                <a:gd name="T113" fmla="*/ 78 h 82"/>
                <a:gd name="T114" fmla="*/ 13 w 87"/>
                <a:gd name="T115" fmla="*/ 78 h 82"/>
                <a:gd name="T116" fmla="*/ 13 w 87"/>
                <a:gd name="T117" fmla="*/ 78 h 82"/>
                <a:gd name="T118" fmla="*/ 11 w 87"/>
                <a:gd name="T119" fmla="*/ 76 h 82"/>
                <a:gd name="T120" fmla="*/ 10 w 87"/>
                <a:gd name="T121" fmla="*/ 75 h 82"/>
                <a:gd name="T122" fmla="*/ 9 w 87"/>
                <a:gd name="T123" fmla="*/ 7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" h="82">
                  <a:moveTo>
                    <a:pt x="9" y="74"/>
                  </a:moveTo>
                  <a:cubicBezTo>
                    <a:pt x="9" y="74"/>
                    <a:pt x="9" y="74"/>
                    <a:pt x="9" y="74"/>
                  </a:cubicBezTo>
                  <a:cubicBezTo>
                    <a:pt x="7" y="71"/>
                    <a:pt x="6" y="68"/>
                    <a:pt x="4" y="66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" y="64"/>
                    <a:pt x="3" y="63"/>
                    <a:pt x="3" y="62"/>
                  </a:cubicBezTo>
                  <a:cubicBezTo>
                    <a:pt x="2" y="61"/>
                    <a:pt x="2" y="59"/>
                    <a:pt x="1" y="58"/>
                  </a:cubicBezTo>
                  <a:cubicBezTo>
                    <a:pt x="1" y="56"/>
                    <a:pt x="1" y="55"/>
                    <a:pt x="1" y="54"/>
                  </a:cubicBezTo>
                  <a:cubicBezTo>
                    <a:pt x="1" y="53"/>
                    <a:pt x="1" y="53"/>
                    <a:pt x="0" y="53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1"/>
                    <a:pt x="0" y="50"/>
                    <a:pt x="0" y="50"/>
                  </a:cubicBezTo>
                  <a:cubicBezTo>
                    <a:pt x="0" y="46"/>
                    <a:pt x="0" y="43"/>
                    <a:pt x="0" y="40"/>
                  </a:cubicBezTo>
                  <a:cubicBezTo>
                    <a:pt x="0" y="39"/>
                    <a:pt x="0" y="39"/>
                    <a:pt x="0" y="38"/>
                  </a:cubicBezTo>
                  <a:cubicBezTo>
                    <a:pt x="0" y="38"/>
                    <a:pt x="1" y="38"/>
                    <a:pt x="1" y="37"/>
                  </a:cubicBezTo>
                  <a:cubicBezTo>
                    <a:pt x="1" y="37"/>
                    <a:pt x="1" y="37"/>
                    <a:pt x="1" y="36"/>
                  </a:cubicBezTo>
                  <a:cubicBezTo>
                    <a:pt x="1" y="35"/>
                    <a:pt x="1" y="33"/>
                    <a:pt x="2" y="32"/>
                  </a:cubicBezTo>
                  <a:cubicBezTo>
                    <a:pt x="2" y="30"/>
                    <a:pt x="3" y="29"/>
                    <a:pt x="3" y="28"/>
                  </a:cubicBezTo>
                  <a:cubicBezTo>
                    <a:pt x="3" y="27"/>
                    <a:pt x="3" y="27"/>
                    <a:pt x="4" y="26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4"/>
                    <a:pt x="5" y="24"/>
                  </a:cubicBezTo>
                  <a:cubicBezTo>
                    <a:pt x="5" y="23"/>
                    <a:pt x="6" y="22"/>
                    <a:pt x="7" y="20"/>
                  </a:cubicBezTo>
                  <a:cubicBezTo>
                    <a:pt x="7" y="20"/>
                    <a:pt x="7" y="19"/>
                    <a:pt x="8" y="19"/>
                  </a:cubicBezTo>
                  <a:cubicBezTo>
                    <a:pt x="8" y="18"/>
                    <a:pt x="8" y="18"/>
                    <a:pt x="8" y="17"/>
                  </a:cubicBezTo>
                  <a:cubicBezTo>
                    <a:pt x="8" y="17"/>
                    <a:pt x="8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5"/>
                    <a:pt x="12" y="14"/>
                    <a:pt x="13" y="12"/>
                  </a:cubicBezTo>
                  <a:cubicBezTo>
                    <a:pt x="14" y="12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6" y="10"/>
                    <a:pt x="17" y="9"/>
                    <a:pt x="18" y="9"/>
                  </a:cubicBezTo>
                  <a:cubicBezTo>
                    <a:pt x="19" y="8"/>
                    <a:pt x="20" y="8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2" y="7"/>
                    <a:pt x="22" y="7"/>
                  </a:cubicBezTo>
                  <a:cubicBezTo>
                    <a:pt x="23" y="7"/>
                    <a:pt x="23" y="7"/>
                    <a:pt x="24" y="6"/>
                  </a:cubicBezTo>
                  <a:cubicBezTo>
                    <a:pt x="26" y="6"/>
                    <a:pt x="28" y="5"/>
                    <a:pt x="30" y="4"/>
                  </a:cubicBezTo>
                  <a:cubicBezTo>
                    <a:pt x="31" y="4"/>
                    <a:pt x="31" y="4"/>
                    <a:pt x="32" y="3"/>
                  </a:cubicBezTo>
                  <a:cubicBezTo>
                    <a:pt x="38" y="4"/>
                    <a:pt x="47" y="4"/>
                    <a:pt x="51" y="0"/>
                  </a:cubicBezTo>
                  <a:cubicBezTo>
                    <a:pt x="52" y="0"/>
                    <a:pt x="53" y="0"/>
                    <a:pt x="54" y="1"/>
                  </a:cubicBezTo>
                  <a:cubicBezTo>
                    <a:pt x="56" y="1"/>
                    <a:pt x="58" y="2"/>
                    <a:pt x="60" y="3"/>
                  </a:cubicBezTo>
                  <a:cubicBezTo>
                    <a:pt x="61" y="3"/>
                    <a:pt x="63" y="4"/>
                    <a:pt x="65" y="5"/>
                  </a:cubicBezTo>
                  <a:cubicBezTo>
                    <a:pt x="66" y="6"/>
                    <a:pt x="68" y="9"/>
                    <a:pt x="71" y="9"/>
                  </a:cubicBezTo>
                  <a:cubicBezTo>
                    <a:pt x="74" y="23"/>
                    <a:pt x="80" y="36"/>
                    <a:pt x="87" y="47"/>
                  </a:cubicBezTo>
                  <a:cubicBezTo>
                    <a:pt x="84" y="47"/>
                    <a:pt x="81" y="46"/>
                    <a:pt x="79" y="46"/>
                  </a:cubicBezTo>
                  <a:cubicBezTo>
                    <a:pt x="75" y="46"/>
                    <a:pt x="71" y="47"/>
                    <a:pt x="67" y="48"/>
                  </a:cubicBezTo>
                  <a:cubicBezTo>
                    <a:pt x="63" y="50"/>
                    <a:pt x="58" y="52"/>
                    <a:pt x="56" y="56"/>
                  </a:cubicBezTo>
                  <a:cubicBezTo>
                    <a:pt x="56" y="56"/>
                    <a:pt x="56" y="57"/>
                    <a:pt x="56" y="57"/>
                  </a:cubicBezTo>
                  <a:cubicBezTo>
                    <a:pt x="52" y="58"/>
                    <a:pt x="49" y="61"/>
                    <a:pt x="49" y="64"/>
                  </a:cubicBezTo>
                  <a:cubicBezTo>
                    <a:pt x="47" y="65"/>
                    <a:pt x="46" y="66"/>
                    <a:pt x="45" y="68"/>
                  </a:cubicBezTo>
                  <a:cubicBezTo>
                    <a:pt x="44" y="69"/>
                    <a:pt x="44" y="70"/>
                    <a:pt x="44" y="72"/>
                  </a:cubicBezTo>
                  <a:cubicBezTo>
                    <a:pt x="37" y="71"/>
                    <a:pt x="31" y="74"/>
                    <a:pt x="26" y="77"/>
                  </a:cubicBezTo>
                  <a:cubicBezTo>
                    <a:pt x="23" y="78"/>
                    <a:pt x="20" y="80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6" y="81"/>
                    <a:pt x="16" y="81"/>
                    <a:pt x="15" y="81"/>
                  </a:cubicBezTo>
                  <a:cubicBezTo>
                    <a:pt x="15" y="81"/>
                    <a:pt x="15" y="80"/>
                    <a:pt x="15" y="80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4" y="79"/>
                    <a:pt x="14" y="79"/>
                    <a:pt x="13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2" y="77"/>
                    <a:pt x="11" y="77"/>
                    <a:pt x="11" y="76"/>
                  </a:cubicBezTo>
                  <a:cubicBezTo>
                    <a:pt x="10" y="76"/>
                    <a:pt x="10" y="75"/>
                    <a:pt x="10" y="75"/>
                  </a:cubicBezTo>
                  <a:cubicBezTo>
                    <a:pt x="10" y="76"/>
                    <a:pt x="9" y="74"/>
                    <a:pt x="9" y="74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6" name="işḻíḍè">
              <a:extLst>
                <a:ext uri="{FF2B5EF4-FFF2-40B4-BE49-F238E27FC236}">
                  <a16:creationId xmlns:a16="http://schemas.microsoft.com/office/drawing/2014/main" id="{C9B20EA8-5FFB-42E5-AF1E-CE8188471A07}"/>
                </a:ext>
              </a:extLst>
            </p:cNvPr>
            <p:cNvSpPr/>
            <p:nvPr/>
          </p:nvSpPr>
          <p:spPr bwMode="auto">
            <a:xfrm>
              <a:off x="5387051" y="1544415"/>
              <a:ext cx="48843" cy="39962"/>
            </a:xfrm>
            <a:custGeom>
              <a:avLst/>
              <a:gdLst>
                <a:gd name="T0" fmla="*/ 9 w 16"/>
                <a:gd name="T1" fmla="*/ 0 h 13"/>
                <a:gd name="T2" fmla="*/ 9 w 16"/>
                <a:gd name="T3" fmla="*/ 0 h 13"/>
                <a:gd name="T4" fmla="*/ 14 w 16"/>
                <a:gd name="T5" fmla="*/ 5 h 13"/>
                <a:gd name="T6" fmla="*/ 16 w 16"/>
                <a:gd name="T7" fmla="*/ 6 h 13"/>
                <a:gd name="T8" fmla="*/ 16 w 16"/>
                <a:gd name="T9" fmla="*/ 8 h 13"/>
                <a:gd name="T10" fmla="*/ 16 w 16"/>
                <a:gd name="T11" fmla="*/ 8 h 13"/>
                <a:gd name="T12" fmla="*/ 16 w 16"/>
                <a:gd name="T13" fmla="*/ 9 h 13"/>
                <a:gd name="T14" fmla="*/ 15 w 16"/>
                <a:gd name="T15" fmla="*/ 11 h 13"/>
                <a:gd name="T16" fmla="*/ 12 w 16"/>
                <a:gd name="T17" fmla="*/ 13 h 13"/>
                <a:gd name="T18" fmla="*/ 7 w 16"/>
                <a:gd name="T19" fmla="*/ 13 h 13"/>
                <a:gd name="T20" fmla="*/ 1 w 16"/>
                <a:gd name="T21" fmla="*/ 13 h 13"/>
                <a:gd name="T22" fmla="*/ 0 w 16"/>
                <a:gd name="T23" fmla="*/ 8 h 13"/>
                <a:gd name="T24" fmla="*/ 0 w 16"/>
                <a:gd name="T25" fmla="*/ 6 h 13"/>
                <a:gd name="T26" fmla="*/ 9 w 16"/>
                <a:gd name="T2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3"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1" y="2"/>
                    <a:pt x="13" y="4"/>
                    <a:pt x="14" y="5"/>
                  </a:cubicBezTo>
                  <a:cubicBezTo>
                    <a:pt x="15" y="5"/>
                    <a:pt x="15" y="6"/>
                    <a:pt x="16" y="6"/>
                  </a:cubicBezTo>
                  <a:cubicBezTo>
                    <a:pt x="16" y="7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10"/>
                    <a:pt x="15" y="11"/>
                  </a:cubicBezTo>
                  <a:cubicBezTo>
                    <a:pt x="15" y="12"/>
                    <a:pt x="13" y="12"/>
                    <a:pt x="12" y="13"/>
                  </a:cubicBezTo>
                  <a:cubicBezTo>
                    <a:pt x="11" y="13"/>
                    <a:pt x="9" y="13"/>
                    <a:pt x="7" y="13"/>
                  </a:cubicBezTo>
                  <a:cubicBezTo>
                    <a:pt x="5" y="13"/>
                    <a:pt x="3" y="13"/>
                    <a:pt x="1" y="13"/>
                  </a:cubicBezTo>
                  <a:cubicBezTo>
                    <a:pt x="1" y="12"/>
                    <a:pt x="1" y="10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4" y="5"/>
                    <a:pt x="6" y="2"/>
                    <a:pt x="9" y="0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7" name="iṥḷîḑe">
              <a:extLst>
                <a:ext uri="{FF2B5EF4-FFF2-40B4-BE49-F238E27FC236}">
                  <a16:creationId xmlns:a16="http://schemas.microsoft.com/office/drawing/2014/main" id="{8CFD9675-EC5E-4092-821A-86EFB96F98C6}"/>
                </a:ext>
              </a:extLst>
            </p:cNvPr>
            <p:cNvSpPr/>
            <p:nvPr/>
          </p:nvSpPr>
          <p:spPr bwMode="auto">
            <a:xfrm>
              <a:off x="5212404" y="1212881"/>
              <a:ext cx="236810" cy="325614"/>
            </a:xfrm>
            <a:custGeom>
              <a:avLst/>
              <a:gdLst>
                <a:gd name="T0" fmla="*/ 49 w 77"/>
                <a:gd name="T1" fmla="*/ 106 h 106"/>
                <a:gd name="T2" fmla="*/ 47 w 77"/>
                <a:gd name="T3" fmla="*/ 106 h 106"/>
                <a:gd name="T4" fmla="*/ 40 w 77"/>
                <a:gd name="T5" fmla="*/ 106 h 106"/>
                <a:gd name="T6" fmla="*/ 37 w 77"/>
                <a:gd name="T7" fmla="*/ 105 h 106"/>
                <a:gd name="T8" fmla="*/ 29 w 77"/>
                <a:gd name="T9" fmla="*/ 103 h 106"/>
                <a:gd name="T10" fmla="*/ 26 w 77"/>
                <a:gd name="T11" fmla="*/ 101 h 106"/>
                <a:gd name="T12" fmla="*/ 21 w 77"/>
                <a:gd name="T13" fmla="*/ 98 h 106"/>
                <a:gd name="T14" fmla="*/ 20 w 77"/>
                <a:gd name="T15" fmla="*/ 97 h 106"/>
                <a:gd name="T16" fmla="*/ 13 w 77"/>
                <a:gd name="T17" fmla="*/ 90 h 106"/>
                <a:gd name="T18" fmla="*/ 13 w 77"/>
                <a:gd name="T19" fmla="*/ 89 h 106"/>
                <a:gd name="T20" fmla="*/ 10 w 77"/>
                <a:gd name="T21" fmla="*/ 85 h 106"/>
                <a:gd name="T22" fmla="*/ 5 w 77"/>
                <a:gd name="T23" fmla="*/ 76 h 106"/>
                <a:gd name="T24" fmla="*/ 4 w 77"/>
                <a:gd name="T25" fmla="*/ 74 h 106"/>
                <a:gd name="T26" fmla="*/ 1 w 77"/>
                <a:gd name="T27" fmla="*/ 61 h 106"/>
                <a:gd name="T28" fmla="*/ 0 w 77"/>
                <a:gd name="T29" fmla="*/ 58 h 106"/>
                <a:gd name="T30" fmla="*/ 0 w 77"/>
                <a:gd name="T31" fmla="*/ 53 h 106"/>
                <a:gd name="T32" fmla="*/ 0 w 77"/>
                <a:gd name="T33" fmla="*/ 39 h 106"/>
                <a:gd name="T34" fmla="*/ 0 w 77"/>
                <a:gd name="T35" fmla="*/ 36 h 106"/>
                <a:gd name="T36" fmla="*/ 5 w 77"/>
                <a:gd name="T37" fmla="*/ 19 h 106"/>
                <a:gd name="T38" fmla="*/ 6 w 77"/>
                <a:gd name="T39" fmla="*/ 17 h 106"/>
                <a:gd name="T40" fmla="*/ 8 w 77"/>
                <a:gd name="T41" fmla="*/ 12 h 106"/>
                <a:gd name="T42" fmla="*/ 18 w 77"/>
                <a:gd name="T43" fmla="*/ 5 h 106"/>
                <a:gd name="T44" fmla="*/ 22 w 77"/>
                <a:gd name="T45" fmla="*/ 3 h 106"/>
                <a:gd name="T46" fmla="*/ 61 w 77"/>
                <a:gd name="T47" fmla="*/ 17 h 106"/>
                <a:gd name="T48" fmla="*/ 70 w 77"/>
                <a:gd name="T49" fmla="*/ 31 h 106"/>
                <a:gd name="T50" fmla="*/ 72 w 77"/>
                <a:gd name="T51" fmla="*/ 35 h 106"/>
                <a:gd name="T52" fmla="*/ 73 w 77"/>
                <a:gd name="T53" fmla="*/ 36 h 106"/>
                <a:gd name="T54" fmla="*/ 77 w 77"/>
                <a:gd name="T55" fmla="*/ 53 h 106"/>
                <a:gd name="T56" fmla="*/ 77 w 77"/>
                <a:gd name="T57" fmla="*/ 55 h 106"/>
                <a:gd name="T58" fmla="*/ 77 w 77"/>
                <a:gd name="T59" fmla="*/ 64 h 106"/>
                <a:gd name="T60" fmla="*/ 77 w 77"/>
                <a:gd name="T61" fmla="*/ 68 h 106"/>
                <a:gd name="T62" fmla="*/ 77 w 77"/>
                <a:gd name="T63" fmla="*/ 68 h 106"/>
                <a:gd name="T64" fmla="*/ 74 w 77"/>
                <a:gd name="T65" fmla="*/ 82 h 106"/>
                <a:gd name="T66" fmla="*/ 73 w 77"/>
                <a:gd name="T67" fmla="*/ 83 h 106"/>
                <a:gd name="T68" fmla="*/ 69 w 77"/>
                <a:gd name="T69" fmla="*/ 92 h 106"/>
                <a:gd name="T70" fmla="*/ 67 w 77"/>
                <a:gd name="T71" fmla="*/ 94 h 106"/>
                <a:gd name="T72" fmla="*/ 62 w 77"/>
                <a:gd name="T73" fmla="*/ 99 h 106"/>
                <a:gd name="T74" fmla="*/ 61 w 77"/>
                <a:gd name="T75" fmla="*/ 100 h 106"/>
                <a:gd name="T76" fmla="*/ 55 w 77"/>
                <a:gd name="T77" fmla="*/ 104 h 106"/>
                <a:gd name="T78" fmla="*/ 54 w 77"/>
                <a:gd name="T79" fmla="*/ 104 h 106"/>
                <a:gd name="T80" fmla="*/ 51 w 77"/>
                <a:gd name="T81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7" h="106">
                  <a:moveTo>
                    <a:pt x="49" y="106"/>
                  </a:moveTo>
                  <a:cubicBezTo>
                    <a:pt x="49" y="106"/>
                    <a:pt x="49" y="106"/>
                    <a:pt x="49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7" y="106"/>
                    <a:pt x="47" y="106"/>
                  </a:cubicBezTo>
                  <a:cubicBezTo>
                    <a:pt x="45" y="106"/>
                    <a:pt x="43" y="106"/>
                    <a:pt x="41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39" y="106"/>
                    <a:pt x="38" y="106"/>
                    <a:pt x="37" y="105"/>
                  </a:cubicBezTo>
                  <a:cubicBezTo>
                    <a:pt x="36" y="105"/>
                    <a:pt x="34" y="105"/>
                    <a:pt x="33" y="104"/>
                  </a:cubicBezTo>
                  <a:cubicBezTo>
                    <a:pt x="32" y="104"/>
                    <a:pt x="31" y="103"/>
                    <a:pt x="29" y="103"/>
                  </a:cubicBezTo>
                  <a:cubicBezTo>
                    <a:pt x="30" y="103"/>
                    <a:pt x="28" y="102"/>
                    <a:pt x="28" y="102"/>
                  </a:cubicBezTo>
                  <a:cubicBezTo>
                    <a:pt x="27" y="102"/>
                    <a:pt x="27" y="102"/>
                    <a:pt x="26" y="101"/>
                  </a:cubicBezTo>
                  <a:cubicBezTo>
                    <a:pt x="25" y="101"/>
                    <a:pt x="24" y="100"/>
                    <a:pt x="23" y="99"/>
                  </a:cubicBezTo>
                  <a:cubicBezTo>
                    <a:pt x="22" y="99"/>
                    <a:pt x="22" y="98"/>
                    <a:pt x="21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1" y="97"/>
                    <a:pt x="20" y="97"/>
                    <a:pt x="20" y="97"/>
                  </a:cubicBezTo>
                  <a:cubicBezTo>
                    <a:pt x="18" y="95"/>
                    <a:pt x="16" y="93"/>
                    <a:pt x="14" y="91"/>
                  </a:cubicBezTo>
                  <a:cubicBezTo>
                    <a:pt x="14" y="91"/>
                    <a:pt x="13" y="90"/>
                    <a:pt x="13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1" y="87"/>
                    <a:pt x="10" y="86"/>
                    <a:pt x="10" y="85"/>
                  </a:cubicBezTo>
                  <a:cubicBezTo>
                    <a:pt x="8" y="82"/>
                    <a:pt x="7" y="80"/>
                    <a:pt x="6" y="77"/>
                  </a:cubicBezTo>
                  <a:cubicBezTo>
                    <a:pt x="5" y="77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5"/>
                    <a:pt x="5" y="74"/>
                    <a:pt x="4" y="74"/>
                  </a:cubicBezTo>
                  <a:cubicBezTo>
                    <a:pt x="4" y="72"/>
                    <a:pt x="3" y="71"/>
                    <a:pt x="3" y="69"/>
                  </a:cubicBezTo>
                  <a:cubicBezTo>
                    <a:pt x="2" y="67"/>
                    <a:pt x="1" y="64"/>
                    <a:pt x="1" y="61"/>
                  </a:cubicBezTo>
                  <a:cubicBezTo>
                    <a:pt x="1" y="60"/>
                    <a:pt x="1" y="60"/>
                    <a:pt x="1" y="59"/>
                  </a:cubicBezTo>
                  <a:cubicBezTo>
                    <a:pt x="0" y="59"/>
                    <a:pt x="0" y="58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6"/>
                    <a:pt x="0" y="54"/>
                    <a:pt x="0" y="53"/>
                  </a:cubicBezTo>
                  <a:cubicBezTo>
                    <a:pt x="0" y="50"/>
                    <a:pt x="0" y="46"/>
                    <a:pt x="0" y="43"/>
                  </a:cubicBezTo>
                  <a:cubicBezTo>
                    <a:pt x="0" y="42"/>
                    <a:pt x="0" y="41"/>
                    <a:pt x="0" y="39"/>
                  </a:cubicBezTo>
                  <a:cubicBezTo>
                    <a:pt x="0" y="38"/>
                    <a:pt x="0" y="38"/>
                    <a:pt x="0" y="37"/>
                  </a:cubicBezTo>
                  <a:cubicBezTo>
                    <a:pt x="0" y="37"/>
                    <a:pt x="0" y="37"/>
                    <a:pt x="0" y="36"/>
                  </a:cubicBezTo>
                  <a:cubicBezTo>
                    <a:pt x="0" y="36"/>
                    <a:pt x="1" y="36"/>
                    <a:pt x="1" y="35"/>
                  </a:cubicBezTo>
                  <a:cubicBezTo>
                    <a:pt x="1" y="30"/>
                    <a:pt x="3" y="24"/>
                    <a:pt x="5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8"/>
                    <a:pt x="6" y="18"/>
                    <a:pt x="6" y="17"/>
                  </a:cubicBezTo>
                  <a:cubicBezTo>
                    <a:pt x="6" y="16"/>
                    <a:pt x="6" y="16"/>
                    <a:pt x="7" y="15"/>
                  </a:cubicBezTo>
                  <a:cubicBezTo>
                    <a:pt x="7" y="14"/>
                    <a:pt x="8" y="13"/>
                    <a:pt x="8" y="12"/>
                  </a:cubicBezTo>
                  <a:cubicBezTo>
                    <a:pt x="10" y="10"/>
                    <a:pt x="12" y="9"/>
                    <a:pt x="14" y="7"/>
                  </a:cubicBezTo>
                  <a:cubicBezTo>
                    <a:pt x="15" y="6"/>
                    <a:pt x="17" y="5"/>
                    <a:pt x="18" y="5"/>
                  </a:cubicBezTo>
                  <a:cubicBezTo>
                    <a:pt x="19" y="4"/>
                    <a:pt x="19" y="4"/>
                    <a:pt x="20" y="4"/>
                  </a:cubicBezTo>
                  <a:cubicBezTo>
                    <a:pt x="21" y="3"/>
                    <a:pt x="21" y="3"/>
                    <a:pt x="22" y="3"/>
                  </a:cubicBezTo>
                  <a:cubicBezTo>
                    <a:pt x="29" y="0"/>
                    <a:pt x="36" y="1"/>
                    <a:pt x="43" y="4"/>
                  </a:cubicBezTo>
                  <a:cubicBezTo>
                    <a:pt x="49" y="7"/>
                    <a:pt x="55" y="11"/>
                    <a:pt x="61" y="17"/>
                  </a:cubicBezTo>
                  <a:cubicBezTo>
                    <a:pt x="64" y="20"/>
                    <a:pt x="65" y="22"/>
                    <a:pt x="68" y="26"/>
                  </a:cubicBezTo>
                  <a:cubicBezTo>
                    <a:pt x="69" y="27"/>
                    <a:pt x="70" y="29"/>
                    <a:pt x="70" y="31"/>
                  </a:cubicBezTo>
                  <a:cubicBezTo>
                    <a:pt x="71" y="32"/>
                    <a:pt x="71" y="32"/>
                    <a:pt x="72" y="33"/>
                  </a:cubicBezTo>
                  <a:cubicBezTo>
                    <a:pt x="72" y="34"/>
                    <a:pt x="72" y="34"/>
                    <a:pt x="72" y="35"/>
                  </a:cubicBezTo>
                  <a:cubicBezTo>
                    <a:pt x="72" y="35"/>
                    <a:pt x="73" y="35"/>
                    <a:pt x="73" y="36"/>
                  </a:cubicBezTo>
                  <a:cubicBezTo>
                    <a:pt x="73" y="35"/>
                    <a:pt x="73" y="35"/>
                    <a:pt x="73" y="36"/>
                  </a:cubicBezTo>
                  <a:cubicBezTo>
                    <a:pt x="74" y="39"/>
                    <a:pt x="75" y="43"/>
                    <a:pt x="76" y="47"/>
                  </a:cubicBezTo>
                  <a:cubicBezTo>
                    <a:pt x="76" y="49"/>
                    <a:pt x="77" y="51"/>
                    <a:pt x="77" y="53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5"/>
                    <a:pt x="77" y="55"/>
                  </a:cubicBezTo>
                  <a:cubicBezTo>
                    <a:pt x="77" y="56"/>
                    <a:pt x="77" y="57"/>
                    <a:pt x="77" y="59"/>
                  </a:cubicBezTo>
                  <a:cubicBezTo>
                    <a:pt x="77" y="60"/>
                    <a:pt x="77" y="62"/>
                    <a:pt x="77" y="64"/>
                  </a:cubicBezTo>
                  <a:cubicBezTo>
                    <a:pt x="77" y="65"/>
                    <a:pt x="77" y="66"/>
                    <a:pt x="77" y="66"/>
                  </a:cubicBezTo>
                  <a:cubicBezTo>
                    <a:pt x="77" y="67"/>
                    <a:pt x="77" y="67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6" y="72"/>
                    <a:pt x="76" y="75"/>
                    <a:pt x="75" y="79"/>
                  </a:cubicBezTo>
                  <a:cubicBezTo>
                    <a:pt x="74" y="80"/>
                    <a:pt x="74" y="81"/>
                    <a:pt x="74" y="82"/>
                  </a:cubicBezTo>
                  <a:cubicBezTo>
                    <a:pt x="74" y="82"/>
                    <a:pt x="73" y="82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5"/>
                    <a:pt x="72" y="86"/>
                    <a:pt x="71" y="88"/>
                  </a:cubicBezTo>
                  <a:cubicBezTo>
                    <a:pt x="70" y="89"/>
                    <a:pt x="70" y="91"/>
                    <a:pt x="69" y="92"/>
                  </a:cubicBezTo>
                  <a:cubicBezTo>
                    <a:pt x="68" y="93"/>
                    <a:pt x="68" y="93"/>
                    <a:pt x="68" y="93"/>
                  </a:cubicBezTo>
                  <a:cubicBezTo>
                    <a:pt x="68" y="93"/>
                    <a:pt x="68" y="94"/>
                    <a:pt x="67" y="94"/>
                  </a:cubicBezTo>
                  <a:cubicBezTo>
                    <a:pt x="67" y="94"/>
                    <a:pt x="66" y="95"/>
                    <a:pt x="66" y="96"/>
                  </a:cubicBezTo>
                  <a:cubicBezTo>
                    <a:pt x="65" y="97"/>
                    <a:pt x="64" y="98"/>
                    <a:pt x="62" y="99"/>
                  </a:cubicBezTo>
                  <a:cubicBezTo>
                    <a:pt x="62" y="99"/>
                    <a:pt x="62" y="100"/>
                    <a:pt x="61" y="100"/>
                  </a:cubicBezTo>
                  <a:cubicBezTo>
                    <a:pt x="61" y="100"/>
                    <a:pt x="61" y="100"/>
                    <a:pt x="61" y="100"/>
                  </a:cubicBezTo>
                  <a:cubicBezTo>
                    <a:pt x="60" y="101"/>
                    <a:pt x="60" y="101"/>
                    <a:pt x="59" y="102"/>
                  </a:cubicBezTo>
                  <a:cubicBezTo>
                    <a:pt x="58" y="103"/>
                    <a:pt x="56" y="103"/>
                    <a:pt x="55" y="104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5" y="104"/>
                    <a:pt x="54" y="104"/>
                  </a:cubicBezTo>
                  <a:cubicBezTo>
                    <a:pt x="54" y="104"/>
                    <a:pt x="54" y="104"/>
                    <a:pt x="53" y="105"/>
                  </a:cubicBezTo>
                  <a:cubicBezTo>
                    <a:pt x="52" y="105"/>
                    <a:pt x="52" y="105"/>
                    <a:pt x="51" y="105"/>
                  </a:cubicBezTo>
                  <a:cubicBezTo>
                    <a:pt x="50" y="106"/>
                    <a:pt x="49" y="106"/>
                    <a:pt x="49" y="106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8" name="i$ľïḓé">
              <a:extLst>
                <a:ext uri="{FF2B5EF4-FFF2-40B4-BE49-F238E27FC236}">
                  <a16:creationId xmlns:a16="http://schemas.microsoft.com/office/drawing/2014/main" id="{30E8665A-0173-4B1D-AA3B-6EA3CB305612}"/>
                </a:ext>
              </a:extLst>
            </p:cNvPr>
            <p:cNvSpPr/>
            <p:nvPr/>
          </p:nvSpPr>
          <p:spPr bwMode="auto">
            <a:xfrm>
              <a:off x="5515816" y="1329805"/>
              <a:ext cx="347815" cy="506181"/>
            </a:xfrm>
            <a:custGeom>
              <a:avLst/>
              <a:gdLst>
                <a:gd name="T0" fmla="*/ 1 w 113"/>
                <a:gd name="T1" fmla="*/ 50 h 165"/>
                <a:gd name="T2" fmla="*/ 1 w 113"/>
                <a:gd name="T3" fmla="*/ 50 h 165"/>
                <a:gd name="T4" fmla="*/ 1 w 113"/>
                <a:gd name="T5" fmla="*/ 49 h 165"/>
                <a:gd name="T6" fmla="*/ 1 w 113"/>
                <a:gd name="T7" fmla="*/ 48 h 165"/>
                <a:gd name="T8" fmla="*/ 2 w 113"/>
                <a:gd name="T9" fmla="*/ 46 h 165"/>
                <a:gd name="T10" fmla="*/ 3 w 113"/>
                <a:gd name="T11" fmla="*/ 40 h 165"/>
                <a:gd name="T12" fmla="*/ 4 w 113"/>
                <a:gd name="T13" fmla="*/ 34 h 165"/>
                <a:gd name="T14" fmla="*/ 5 w 113"/>
                <a:gd name="T15" fmla="*/ 32 h 165"/>
                <a:gd name="T16" fmla="*/ 6 w 113"/>
                <a:gd name="T17" fmla="*/ 31 h 165"/>
                <a:gd name="T18" fmla="*/ 6 w 113"/>
                <a:gd name="T19" fmla="*/ 30 h 165"/>
                <a:gd name="T20" fmla="*/ 12 w 113"/>
                <a:gd name="T21" fmla="*/ 20 h 165"/>
                <a:gd name="T22" fmla="*/ 13 w 113"/>
                <a:gd name="T23" fmla="*/ 18 h 165"/>
                <a:gd name="T24" fmla="*/ 14 w 113"/>
                <a:gd name="T25" fmla="*/ 17 h 165"/>
                <a:gd name="T26" fmla="*/ 15 w 113"/>
                <a:gd name="T27" fmla="*/ 16 h 165"/>
                <a:gd name="T28" fmla="*/ 18 w 113"/>
                <a:gd name="T29" fmla="*/ 12 h 165"/>
                <a:gd name="T30" fmla="*/ 35 w 113"/>
                <a:gd name="T31" fmla="*/ 2 h 165"/>
                <a:gd name="T32" fmla="*/ 39 w 113"/>
                <a:gd name="T33" fmla="*/ 0 h 165"/>
                <a:gd name="T34" fmla="*/ 42 w 113"/>
                <a:gd name="T35" fmla="*/ 0 h 165"/>
                <a:gd name="T36" fmla="*/ 43 w 113"/>
                <a:gd name="T37" fmla="*/ 0 h 165"/>
                <a:gd name="T38" fmla="*/ 44 w 113"/>
                <a:gd name="T39" fmla="*/ 0 h 165"/>
                <a:gd name="T40" fmla="*/ 49 w 113"/>
                <a:gd name="T41" fmla="*/ 0 h 165"/>
                <a:gd name="T42" fmla="*/ 54 w 113"/>
                <a:gd name="T43" fmla="*/ 0 h 165"/>
                <a:gd name="T44" fmla="*/ 75 w 113"/>
                <a:gd name="T45" fmla="*/ 9 h 165"/>
                <a:gd name="T46" fmla="*/ 92 w 113"/>
                <a:gd name="T47" fmla="*/ 25 h 165"/>
                <a:gd name="T48" fmla="*/ 98 w 113"/>
                <a:gd name="T49" fmla="*/ 35 h 165"/>
                <a:gd name="T50" fmla="*/ 103 w 113"/>
                <a:gd name="T51" fmla="*/ 46 h 165"/>
                <a:gd name="T52" fmla="*/ 110 w 113"/>
                <a:gd name="T53" fmla="*/ 67 h 165"/>
                <a:gd name="T54" fmla="*/ 111 w 113"/>
                <a:gd name="T55" fmla="*/ 103 h 165"/>
                <a:gd name="T56" fmla="*/ 106 w 113"/>
                <a:gd name="T57" fmla="*/ 121 h 165"/>
                <a:gd name="T58" fmla="*/ 103 w 113"/>
                <a:gd name="T59" fmla="*/ 130 h 165"/>
                <a:gd name="T60" fmla="*/ 102 w 113"/>
                <a:gd name="T61" fmla="*/ 132 h 165"/>
                <a:gd name="T62" fmla="*/ 102 w 113"/>
                <a:gd name="T63" fmla="*/ 131 h 165"/>
                <a:gd name="T64" fmla="*/ 84 w 113"/>
                <a:gd name="T65" fmla="*/ 121 h 165"/>
                <a:gd name="T66" fmla="*/ 74 w 113"/>
                <a:gd name="T67" fmla="*/ 123 h 165"/>
                <a:gd name="T68" fmla="*/ 70 w 113"/>
                <a:gd name="T69" fmla="*/ 127 h 165"/>
                <a:gd name="T70" fmla="*/ 70 w 113"/>
                <a:gd name="T71" fmla="*/ 127 h 165"/>
                <a:gd name="T72" fmla="*/ 68 w 113"/>
                <a:gd name="T73" fmla="*/ 128 h 165"/>
                <a:gd name="T74" fmla="*/ 63 w 113"/>
                <a:gd name="T75" fmla="*/ 132 h 165"/>
                <a:gd name="T76" fmla="*/ 58 w 113"/>
                <a:gd name="T77" fmla="*/ 143 h 165"/>
                <a:gd name="T78" fmla="*/ 65 w 113"/>
                <a:gd name="T79" fmla="*/ 164 h 165"/>
                <a:gd name="T80" fmla="*/ 67 w 113"/>
                <a:gd name="T81" fmla="*/ 165 h 165"/>
                <a:gd name="T82" fmla="*/ 63 w 113"/>
                <a:gd name="T83" fmla="*/ 164 h 165"/>
                <a:gd name="T84" fmla="*/ 54 w 113"/>
                <a:gd name="T85" fmla="*/ 161 h 165"/>
                <a:gd name="T86" fmla="*/ 46 w 113"/>
                <a:gd name="T87" fmla="*/ 156 h 165"/>
                <a:gd name="T88" fmla="*/ 38 w 113"/>
                <a:gd name="T89" fmla="*/ 150 h 165"/>
                <a:gd name="T90" fmla="*/ 31 w 113"/>
                <a:gd name="T91" fmla="*/ 144 h 165"/>
                <a:gd name="T92" fmla="*/ 24 w 113"/>
                <a:gd name="T93" fmla="*/ 136 h 165"/>
                <a:gd name="T94" fmla="*/ 22 w 113"/>
                <a:gd name="T95" fmla="*/ 132 h 165"/>
                <a:gd name="T96" fmla="*/ 19 w 113"/>
                <a:gd name="T97" fmla="*/ 128 h 165"/>
                <a:gd name="T98" fmla="*/ 10 w 113"/>
                <a:gd name="T99" fmla="*/ 110 h 165"/>
                <a:gd name="T100" fmla="*/ 9 w 113"/>
                <a:gd name="T101" fmla="*/ 109 h 165"/>
                <a:gd name="T102" fmla="*/ 9 w 113"/>
                <a:gd name="T103" fmla="*/ 109 h 165"/>
                <a:gd name="T104" fmla="*/ 9 w 113"/>
                <a:gd name="T105" fmla="*/ 108 h 165"/>
                <a:gd name="T106" fmla="*/ 8 w 113"/>
                <a:gd name="T107" fmla="*/ 106 h 165"/>
                <a:gd name="T108" fmla="*/ 6 w 113"/>
                <a:gd name="T109" fmla="*/ 100 h 165"/>
                <a:gd name="T110" fmla="*/ 3 w 113"/>
                <a:gd name="T111" fmla="*/ 90 h 165"/>
                <a:gd name="T112" fmla="*/ 1 w 113"/>
                <a:gd name="T113" fmla="*/ 80 h 165"/>
                <a:gd name="T114" fmla="*/ 1 w 113"/>
                <a:gd name="T115" fmla="*/ 78 h 165"/>
                <a:gd name="T116" fmla="*/ 1 w 113"/>
                <a:gd name="T117" fmla="*/ 78 h 165"/>
                <a:gd name="T118" fmla="*/ 1 w 113"/>
                <a:gd name="T119" fmla="*/ 78 h 165"/>
                <a:gd name="T120" fmla="*/ 1 w 113"/>
                <a:gd name="T121" fmla="*/ 76 h 165"/>
                <a:gd name="T122" fmla="*/ 0 w 113"/>
                <a:gd name="T123" fmla="*/ 70 h 165"/>
                <a:gd name="T124" fmla="*/ 1 w 113"/>
                <a:gd name="T125" fmla="*/ 5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3" h="165">
                  <a:moveTo>
                    <a:pt x="1" y="50"/>
                  </a:moveTo>
                  <a:cubicBezTo>
                    <a:pt x="1" y="50"/>
                    <a:pt x="1" y="50"/>
                    <a:pt x="1" y="50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1" y="49"/>
                    <a:pt x="1" y="48"/>
                    <a:pt x="1" y="48"/>
                  </a:cubicBezTo>
                  <a:cubicBezTo>
                    <a:pt x="1" y="47"/>
                    <a:pt x="1" y="47"/>
                    <a:pt x="2" y="46"/>
                  </a:cubicBezTo>
                  <a:cubicBezTo>
                    <a:pt x="2" y="44"/>
                    <a:pt x="2" y="42"/>
                    <a:pt x="3" y="40"/>
                  </a:cubicBezTo>
                  <a:cubicBezTo>
                    <a:pt x="3" y="38"/>
                    <a:pt x="4" y="36"/>
                    <a:pt x="4" y="34"/>
                  </a:cubicBezTo>
                  <a:cubicBezTo>
                    <a:pt x="5" y="34"/>
                    <a:pt x="5" y="33"/>
                    <a:pt x="5" y="32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0"/>
                    <a:pt x="6" y="30"/>
                  </a:cubicBezTo>
                  <a:cubicBezTo>
                    <a:pt x="8" y="26"/>
                    <a:pt x="10" y="23"/>
                    <a:pt x="12" y="20"/>
                  </a:cubicBezTo>
                  <a:cubicBezTo>
                    <a:pt x="12" y="19"/>
                    <a:pt x="13" y="19"/>
                    <a:pt x="13" y="18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5" y="16"/>
                  </a:cubicBezTo>
                  <a:cubicBezTo>
                    <a:pt x="16" y="15"/>
                    <a:pt x="17" y="14"/>
                    <a:pt x="18" y="12"/>
                  </a:cubicBezTo>
                  <a:cubicBezTo>
                    <a:pt x="23" y="7"/>
                    <a:pt x="29" y="4"/>
                    <a:pt x="35" y="2"/>
                  </a:cubicBezTo>
                  <a:cubicBezTo>
                    <a:pt x="36" y="1"/>
                    <a:pt x="38" y="1"/>
                    <a:pt x="39" y="0"/>
                  </a:cubicBezTo>
                  <a:cubicBezTo>
                    <a:pt x="40" y="0"/>
                    <a:pt x="41" y="0"/>
                    <a:pt x="42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4" y="0"/>
                    <a:pt x="44" y="0"/>
                  </a:cubicBezTo>
                  <a:cubicBezTo>
                    <a:pt x="46" y="0"/>
                    <a:pt x="48" y="0"/>
                    <a:pt x="49" y="0"/>
                  </a:cubicBezTo>
                  <a:cubicBezTo>
                    <a:pt x="51" y="0"/>
                    <a:pt x="53" y="0"/>
                    <a:pt x="54" y="0"/>
                  </a:cubicBezTo>
                  <a:cubicBezTo>
                    <a:pt x="62" y="2"/>
                    <a:pt x="69" y="5"/>
                    <a:pt x="75" y="9"/>
                  </a:cubicBezTo>
                  <a:cubicBezTo>
                    <a:pt x="81" y="14"/>
                    <a:pt x="87" y="19"/>
                    <a:pt x="92" y="25"/>
                  </a:cubicBezTo>
                  <a:cubicBezTo>
                    <a:pt x="94" y="28"/>
                    <a:pt x="96" y="31"/>
                    <a:pt x="98" y="35"/>
                  </a:cubicBezTo>
                  <a:cubicBezTo>
                    <a:pt x="100" y="38"/>
                    <a:pt x="102" y="42"/>
                    <a:pt x="103" y="46"/>
                  </a:cubicBezTo>
                  <a:cubicBezTo>
                    <a:pt x="106" y="52"/>
                    <a:pt x="109" y="60"/>
                    <a:pt x="110" y="67"/>
                  </a:cubicBezTo>
                  <a:cubicBezTo>
                    <a:pt x="113" y="80"/>
                    <a:pt x="113" y="92"/>
                    <a:pt x="111" y="103"/>
                  </a:cubicBezTo>
                  <a:cubicBezTo>
                    <a:pt x="110" y="110"/>
                    <a:pt x="108" y="116"/>
                    <a:pt x="106" y="121"/>
                  </a:cubicBezTo>
                  <a:cubicBezTo>
                    <a:pt x="105" y="124"/>
                    <a:pt x="104" y="127"/>
                    <a:pt x="103" y="130"/>
                  </a:cubicBezTo>
                  <a:cubicBezTo>
                    <a:pt x="103" y="130"/>
                    <a:pt x="103" y="131"/>
                    <a:pt x="102" y="132"/>
                  </a:cubicBezTo>
                  <a:cubicBezTo>
                    <a:pt x="102" y="131"/>
                    <a:pt x="102" y="131"/>
                    <a:pt x="102" y="131"/>
                  </a:cubicBezTo>
                  <a:cubicBezTo>
                    <a:pt x="97" y="125"/>
                    <a:pt x="91" y="121"/>
                    <a:pt x="84" y="121"/>
                  </a:cubicBezTo>
                  <a:cubicBezTo>
                    <a:pt x="80" y="121"/>
                    <a:pt x="77" y="122"/>
                    <a:pt x="74" y="123"/>
                  </a:cubicBezTo>
                  <a:cubicBezTo>
                    <a:pt x="73" y="124"/>
                    <a:pt x="72" y="125"/>
                    <a:pt x="70" y="127"/>
                  </a:cubicBezTo>
                  <a:cubicBezTo>
                    <a:pt x="70" y="127"/>
                    <a:pt x="70" y="127"/>
                    <a:pt x="70" y="127"/>
                  </a:cubicBezTo>
                  <a:cubicBezTo>
                    <a:pt x="69" y="127"/>
                    <a:pt x="68" y="128"/>
                    <a:pt x="68" y="128"/>
                  </a:cubicBezTo>
                  <a:cubicBezTo>
                    <a:pt x="66" y="129"/>
                    <a:pt x="65" y="131"/>
                    <a:pt x="63" y="132"/>
                  </a:cubicBezTo>
                  <a:cubicBezTo>
                    <a:pt x="61" y="136"/>
                    <a:pt x="59" y="139"/>
                    <a:pt x="58" y="143"/>
                  </a:cubicBezTo>
                  <a:cubicBezTo>
                    <a:pt x="57" y="150"/>
                    <a:pt x="59" y="158"/>
                    <a:pt x="65" y="164"/>
                  </a:cubicBezTo>
                  <a:cubicBezTo>
                    <a:pt x="65" y="164"/>
                    <a:pt x="66" y="165"/>
                    <a:pt x="67" y="165"/>
                  </a:cubicBezTo>
                  <a:cubicBezTo>
                    <a:pt x="65" y="165"/>
                    <a:pt x="64" y="165"/>
                    <a:pt x="63" y="164"/>
                  </a:cubicBezTo>
                  <a:cubicBezTo>
                    <a:pt x="59" y="163"/>
                    <a:pt x="57" y="162"/>
                    <a:pt x="54" y="161"/>
                  </a:cubicBezTo>
                  <a:cubicBezTo>
                    <a:pt x="51" y="159"/>
                    <a:pt x="48" y="158"/>
                    <a:pt x="46" y="156"/>
                  </a:cubicBezTo>
                  <a:cubicBezTo>
                    <a:pt x="43" y="154"/>
                    <a:pt x="41" y="152"/>
                    <a:pt x="38" y="150"/>
                  </a:cubicBezTo>
                  <a:cubicBezTo>
                    <a:pt x="36" y="148"/>
                    <a:pt x="33" y="146"/>
                    <a:pt x="31" y="144"/>
                  </a:cubicBezTo>
                  <a:cubicBezTo>
                    <a:pt x="29" y="141"/>
                    <a:pt x="27" y="139"/>
                    <a:pt x="24" y="136"/>
                  </a:cubicBezTo>
                  <a:cubicBezTo>
                    <a:pt x="24" y="134"/>
                    <a:pt x="24" y="134"/>
                    <a:pt x="22" y="132"/>
                  </a:cubicBezTo>
                  <a:cubicBezTo>
                    <a:pt x="21" y="131"/>
                    <a:pt x="20" y="129"/>
                    <a:pt x="19" y="128"/>
                  </a:cubicBezTo>
                  <a:cubicBezTo>
                    <a:pt x="16" y="122"/>
                    <a:pt x="12" y="116"/>
                    <a:pt x="10" y="110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9"/>
                    <a:pt x="9" y="108"/>
                    <a:pt x="9" y="108"/>
                  </a:cubicBezTo>
                  <a:cubicBezTo>
                    <a:pt x="9" y="107"/>
                    <a:pt x="8" y="106"/>
                    <a:pt x="8" y="106"/>
                  </a:cubicBezTo>
                  <a:cubicBezTo>
                    <a:pt x="7" y="103"/>
                    <a:pt x="7" y="102"/>
                    <a:pt x="6" y="100"/>
                  </a:cubicBezTo>
                  <a:cubicBezTo>
                    <a:pt x="5" y="97"/>
                    <a:pt x="4" y="93"/>
                    <a:pt x="3" y="90"/>
                  </a:cubicBezTo>
                  <a:cubicBezTo>
                    <a:pt x="2" y="87"/>
                    <a:pt x="2" y="83"/>
                    <a:pt x="1" y="80"/>
                  </a:cubicBezTo>
                  <a:cubicBezTo>
                    <a:pt x="1" y="79"/>
                    <a:pt x="1" y="79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7"/>
                    <a:pt x="1" y="76"/>
                    <a:pt x="1" y="76"/>
                  </a:cubicBezTo>
                  <a:cubicBezTo>
                    <a:pt x="1" y="74"/>
                    <a:pt x="0" y="72"/>
                    <a:pt x="0" y="70"/>
                  </a:cubicBezTo>
                  <a:cubicBezTo>
                    <a:pt x="0" y="63"/>
                    <a:pt x="0" y="56"/>
                    <a:pt x="1" y="50"/>
                  </a:cubicBezTo>
                  <a:close/>
                </a:path>
              </a:pathLst>
            </a:custGeom>
            <a:solidFill>
              <a:srgbClr val="FF9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9" name="iṡľïḓê">
              <a:extLst>
                <a:ext uri="{FF2B5EF4-FFF2-40B4-BE49-F238E27FC236}">
                  <a16:creationId xmlns:a16="http://schemas.microsoft.com/office/drawing/2014/main" id="{879D545F-5587-4F3D-8416-ADBD06F96EBB}"/>
                </a:ext>
              </a:extLst>
            </p:cNvPr>
            <p:cNvSpPr/>
            <p:nvPr/>
          </p:nvSpPr>
          <p:spPr bwMode="auto">
            <a:xfrm>
              <a:off x="5836990" y="1239522"/>
              <a:ext cx="208689" cy="372976"/>
            </a:xfrm>
            <a:custGeom>
              <a:avLst/>
              <a:gdLst>
                <a:gd name="T0" fmla="*/ 2 w 68"/>
                <a:gd name="T1" fmla="*/ 29 h 121"/>
                <a:gd name="T2" fmla="*/ 2 w 68"/>
                <a:gd name="T3" fmla="*/ 29 h 121"/>
                <a:gd name="T4" fmla="*/ 6 w 68"/>
                <a:gd name="T5" fmla="*/ 18 h 121"/>
                <a:gd name="T6" fmla="*/ 11 w 68"/>
                <a:gd name="T7" fmla="*/ 9 h 121"/>
                <a:gd name="T8" fmla="*/ 15 w 68"/>
                <a:gd name="T9" fmla="*/ 6 h 121"/>
                <a:gd name="T10" fmla="*/ 15 w 68"/>
                <a:gd name="T11" fmla="*/ 5 h 121"/>
                <a:gd name="T12" fmla="*/ 16 w 68"/>
                <a:gd name="T13" fmla="*/ 5 h 121"/>
                <a:gd name="T14" fmla="*/ 18 w 68"/>
                <a:gd name="T15" fmla="*/ 3 h 121"/>
                <a:gd name="T16" fmla="*/ 20 w 68"/>
                <a:gd name="T17" fmla="*/ 2 h 121"/>
                <a:gd name="T18" fmla="*/ 20 w 68"/>
                <a:gd name="T19" fmla="*/ 2 h 121"/>
                <a:gd name="T20" fmla="*/ 20 w 68"/>
                <a:gd name="T21" fmla="*/ 2 h 121"/>
                <a:gd name="T22" fmla="*/ 21 w 68"/>
                <a:gd name="T23" fmla="*/ 2 h 121"/>
                <a:gd name="T24" fmla="*/ 26 w 68"/>
                <a:gd name="T25" fmla="*/ 0 h 121"/>
                <a:gd name="T26" fmla="*/ 27 w 68"/>
                <a:gd name="T27" fmla="*/ 0 h 121"/>
                <a:gd name="T28" fmla="*/ 28 w 68"/>
                <a:gd name="T29" fmla="*/ 0 h 121"/>
                <a:gd name="T30" fmla="*/ 32 w 68"/>
                <a:gd name="T31" fmla="*/ 0 h 121"/>
                <a:gd name="T32" fmla="*/ 35 w 68"/>
                <a:gd name="T33" fmla="*/ 0 h 121"/>
                <a:gd name="T34" fmla="*/ 36 w 68"/>
                <a:gd name="T35" fmla="*/ 0 h 121"/>
                <a:gd name="T36" fmla="*/ 37 w 68"/>
                <a:gd name="T37" fmla="*/ 0 h 121"/>
                <a:gd name="T38" fmla="*/ 43 w 68"/>
                <a:gd name="T39" fmla="*/ 2 h 121"/>
                <a:gd name="T40" fmla="*/ 44 w 68"/>
                <a:gd name="T41" fmla="*/ 3 h 121"/>
                <a:gd name="T42" fmla="*/ 44 w 68"/>
                <a:gd name="T43" fmla="*/ 3 h 121"/>
                <a:gd name="T44" fmla="*/ 45 w 68"/>
                <a:gd name="T45" fmla="*/ 3 h 121"/>
                <a:gd name="T46" fmla="*/ 49 w 68"/>
                <a:gd name="T47" fmla="*/ 5 h 121"/>
                <a:gd name="T48" fmla="*/ 51 w 68"/>
                <a:gd name="T49" fmla="*/ 7 h 121"/>
                <a:gd name="T50" fmla="*/ 53 w 68"/>
                <a:gd name="T51" fmla="*/ 8 h 121"/>
                <a:gd name="T52" fmla="*/ 53 w 68"/>
                <a:gd name="T53" fmla="*/ 9 h 121"/>
                <a:gd name="T54" fmla="*/ 54 w 68"/>
                <a:gd name="T55" fmla="*/ 9 h 121"/>
                <a:gd name="T56" fmla="*/ 60 w 68"/>
                <a:gd name="T57" fmla="*/ 15 h 121"/>
                <a:gd name="T58" fmla="*/ 65 w 68"/>
                <a:gd name="T59" fmla="*/ 22 h 121"/>
                <a:gd name="T60" fmla="*/ 68 w 68"/>
                <a:gd name="T61" fmla="*/ 28 h 121"/>
                <a:gd name="T62" fmla="*/ 55 w 68"/>
                <a:gd name="T63" fmla="*/ 38 h 121"/>
                <a:gd name="T64" fmla="*/ 45 w 68"/>
                <a:gd name="T65" fmla="*/ 55 h 121"/>
                <a:gd name="T66" fmla="*/ 42 w 68"/>
                <a:gd name="T67" fmla="*/ 96 h 121"/>
                <a:gd name="T68" fmla="*/ 47 w 68"/>
                <a:gd name="T69" fmla="*/ 115 h 121"/>
                <a:gd name="T70" fmla="*/ 50 w 68"/>
                <a:gd name="T71" fmla="*/ 120 h 121"/>
                <a:gd name="T72" fmla="*/ 48 w 68"/>
                <a:gd name="T73" fmla="*/ 121 h 121"/>
                <a:gd name="T74" fmla="*/ 48 w 68"/>
                <a:gd name="T75" fmla="*/ 121 h 121"/>
                <a:gd name="T76" fmla="*/ 48 w 68"/>
                <a:gd name="T77" fmla="*/ 121 h 121"/>
                <a:gd name="T78" fmla="*/ 44 w 68"/>
                <a:gd name="T79" fmla="*/ 121 h 121"/>
                <a:gd name="T80" fmla="*/ 43 w 68"/>
                <a:gd name="T81" fmla="*/ 121 h 121"/>
                <a:gd name="T82" fmla="*/ 42 w 68"/>
                <a:gd name="T83" fmla="*/ 120 h 121"/>
                <a:gd name="T84" fmla="*/ 39 w 68"/>
                <a:gd name="T85" fmla="*/ 119 h 121"/>
                <a:gd name="T86" fmla="*/ 38 w 68"/>
                <a:gd name="T87" fmla="*/ 119 h 121"/>
                <a:gd name="T88" fmla="*/ 38 w 68"/>
                <a:gd name="T89" fmla="*/ 119 h 121"/>
                <a:gd name="T90" fmla="*/ 37 w 68"/>
                <a:gd name="T91" fmla="*/ 118 h 121"/>
                <a:gd name="T92" fmla="*/ 34 w 68"/>
                <a:gd name="T93" fmla="*/ 117 h 121"/>
                <a:gd name="T94" fmla="*/ 28 w 68"/>
                <a:gd name="T95" fmla="*/ 112 h 121"/>
                <a:gd name="T96" fmla="*/ 18 w 68"/>
                <a:gd name="T97" fmla="*/ 101 h 121"/>
                <a:gd name="T98" fmla="*/ 16 w 68"/>
                <a:gd name="T99" fmla="*/ 97 h 121"/>
                <a:gd name="T100" fmla="*/ 5 w 68"/>
                <a:gd name="T101" fmla="*/ 66 h 121"/>
                <a:gd name="T102" fmla="*/ 2 w 68"/>
                <a:gd name="T103" fmla="*/ 54 h 121"/>
                <a:gd name="T104" fmla="*/ 2 w 68"/>
                <a:gd name="T105" fmla="*/ 29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" h="121">
                  <a:moveTo>
                    <a:pt x="2" y="29"/>
                  </a:moveTo>
                  <a:cubicBezTo>
                    <a:pt x="2" y="29"/>
                    <a:pt x="2" y="29"/>
                    <a:pt x="2" y="29"/>
                  </a:cubicBezTo>
                  <a:cubicBezTo>
                    <a:pt x="3" y="25"/>
                    <a:pt x="4" y="21"/>
                    <a:pt x="6" y="18"/>
                  </a:cubicBezTo>
                  <a:cubicBezTo>
                    <a:pt x="7" y="14"/>
                    <a:pt x="9" y="12"/>
                    <a:pt x="11" y="9"/>
                  </a:cubicBezTo>
                  <a:cubicBezTo>
                    <a:pt x="12" y="8"/>
                    <a:pt x="14" y="7"/>
                    <a:pt x="15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4"/>
                    <a:pt x="18" y="4"/>
                    <a:pt x="18" y="3"/>
                  </a:cubicBezTo>
                  <a:cubicBezTo>
                    <a:pt x="19" y="3"/>
                    <a:pt x="19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3" y="1"/>
                    <a:pt x="25" y="1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0"/>
                    <a:pt x="30" y="0"/>
                    <a:pt x="32" y="0"/>
                  </a:cubicBezTo>
                  <a:cubicBezTo>
                    <a:pt x="33" y="0"/>
                    <a:pt x="34" y="0"/>
                    <a:pt x="35" y="0"/>
                  </a:cubicBezTo>
                  <a:cubicBezTo>
                    <a:pt x="35" y="0"/>
                    <a:pt x="35" y="0"/>
                    <a:pt x="36" y="0"/>
                  </a:cubicBezTo>
                  <a:cubicBezTo>
                    <a:pt x="36" y="0"/>
                    <a:pt x="37" y="0"/>
                    <a:pt x="37" y="0"/>
                  </a:cubicBezTo>
                  <a:cubicBezTo>
                    <a:pt x="39" y="1"/>
                    <a:pt x="42" y="2"/>
                    <a:pt x="43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5" y="3"/>
                    <a:pt x="45" y="3"/>
                  </a:cubicBezTo>
                  <a:cubicBezTo>
                    <a:pt x="46" y="4"/>
                    <a:pt x="48" y="4"/>
                    <a:pt x="49" y="5"/>
                  </a:cubicBezTo>
                  <a:cubicBezTo>
                    <a:pt x="50" y="6"/>
                    <a:pt x="51" y="6"/>
                    <a:pt x="51" y="7"/>
                  </a:cubicBezTo>
                  <a:cubicBezTo>
                    <a:pt x="52" y="7"/>
                    <a:pt x="52" y="8"/>
                    <a:pt x="53" y="8"/>
                  </a:cubicBezTo>
                  <a:cubicBezTo>
                    <a:pt x="53" y="8"/>
                    <a:pt x="53" y="8"/>
                    <a:pt x="53" y="9"/>
                  </a:cubicBezTo>
                  <a:cubicBezTo>
                    <a:pt x="53" y="9"/>
                    <a:pt x="54" y="9"/>
                    <a:pt x="54" y="9"/>
                  </a:cubicBezTo>
                  <a:cubicBezTo>
                    <a:pt x="56" y="11"/>
                    <a:pt x="58" y="13"/>
                    <a:pt x="60" y="15"/>
                  </a:cubicBezTo>
                  <a:cubicBezTo>
                    <a:pt x="62" y="18"/>
                    <a:pt x="64" y="19"/>
                    <a:pt x="65" y="22"/>
                  </a:cubicBezTo>
                  <a:cubicBezTo>
                    <a:pt x="67" y="24"/>
                    <a:pt x="67" y="26"/>
                    <a:pt x="68" y="28"/>
                  </a:cubicBezTo>
                  <a:cubicBezTo>
                    <a:pt x="63" y="30"/>
                    <a:pt x="59" y="34"/>
                    <a:pt x="55" y="38"/>
                  </a:cubicBezTo>
                  <a:cubicBezTo>
                    <a:pt x="50" y="43"/>
                    <a:pt x="47" y="49"/>
                    <a:pt x="45" y="55"/>
                  </a:cubicBezTo>
                  <a:cubicBezTo>
                    <a:pt x="40" y="68"/>
                    <a:pt x="40" y="83"/>
                    <a:pt x="42" y="96"/>
                  </a:cubicBezTo>
                  <a:cubicBezTo>
                    <a:pt x="43" y="103"/>
                    <a:pt x="45" y="109"/>
                    <a:pt x="47" y="115"/>
                  </a:cubicBezTo>
                  <a:cubicBezTo>
                    <a:pt x="48" y="117"/>
                    <a:pt x="49" y="119"/>
                    <a:pt x="50" y="120"/>
                  </a:cubicBezTo>
                  <a:cubicBezTo>
                    <a:pt x="49" y="120"/>
                    <a:pt x="49" y="121"/>
                    <a:pt x="48" y="121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6" y="121"/>
                    <a:pt x="45" y="121"/>
                    <a:pt x="44" y="121"/>
                  </a:cubicBezTo>
                  <a:cubicBezTo>
                    <a:pt x="43" y="121"/>
                    <a:pt x="43" y="121"/>
                    <a:pt x="43" y="121"/>
                  </a:cubicBezTo>
                  <a:cubicBezTo>
                    <a:pt x="43" y="121"/>
                    <a:pt x="43" y="120"/>
                    <a:pt x="42" y="120"/>
                  </a:cubicBezTo>
                  <a:cubicBezTo>
                    <a:pt x="41" y="120"/>
                    <a:pt x="40" y="120"/>
                    <a:pt x="39" y="119"/>
                  </a:cubicBezTo>
                  <a:cubicBezTo>
                    <a:pt x="39" y="119"/>
                    <a:pt x="39" y="119"/>
                    <a:pt x="38" y="119"/>
                  </a:cubicBezTo>
                  <a:cubicBezTo>
                    <a:pt x="38" y="119"/>
                    <a:pt x="38" y="119"/>
                    <a:pt x="38" y="119"/>
                  </a:cubicBezTo>
                  <a:cubicBezTo>
                    <a:pt x="38" y="119"/>
                    <a:pt x="37" y="119"/>
                    <a:pt x="37" y="118"/>
                  </a:cubicBezTo>
                  <a:cubicBezTo>
                    <a:pt x="36" y="118"/>
                    <a:pt x="35" y="117"/>
                    <a:pt x="34" y="117"/>
                  </a:cubicBezTo>
                  <a:cubicBezTo>
                    <a:pt x="31" y="115"/>
                    <a:pt x="30" y="114"/>
                    <a:pt x="28" y="112"/>
                  </a:cubicBezTo>
                  <a:cubicBezTo>
                    <a:pt x="24" y="109"/>
                    <a:pt x="21" y="105"/>
                    <a:pt x="18" y="101"/>
                  </a:cubicBezTo>
                  <a:cubicBezTo>
                    <a:pt x="18" y="100"/>
                    <a:pt x="17" y="98"/>
                    <a:pt x="16" y="97"/>
                  </a:cubicBezTo>
                  <a:cubicBezTo>
                    <a:pt x="14" y="86"/>
                    <a:pt x="10" y="76"/>
                    <a:pt x="5" y="66"/>
                  </a:cubicBezTo>
                  <a:cubicBezTo>
                    <a:pt x="4" y="62"/>
                    <a:pt x="3" y="58"/>
                    <a:pt x="2" y="54"/>
                  </a:cubicBezTo>
                  <a:cubicBezTo>
                    <a:pt x="0" y="46"/>
                    <a:pt x="0" y="37"/>
                    <a:pt x="2" y="29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0" name="ïsľîḑê">
              <a:extLst>
                <a:ext uri="{FF2B5EF4-FFF2-40B4-BE49-F238E27FC236}">
                  <a16:creationId xmlns:a16="http://schemas.microsoft.com/office/drawing/2014/main" id="{8BE65EC5-68C6-412B-966B-13C506FE2316}"/>
                </a:ext>
              </a:extLst>
            </p:cNvPr>
            <p:cNvSpPr/>
            <p:nvPr/>
          </p:nvSpPr>
          <p:spPr bwMode="auto">
            <a:xfrm>
              <a:off x="5986476" y="1338686"/>
              <a:ext cx="281212" cy="288613"/>
            </a:xfrm>
            <a:custGeom>
              <a:avLst/>
              <a:gdLst>
                <a:gd name="T0" fmla="*/ 34 w 91"/>
                <a:gd name="T1" fmla="*/ 0 h 94"/>
                <a:gd name="T2" fmla="*/ 36 w 91"/>
                <a:gd name="T3" fmla="*/ 0 h 94"/>
                <a:gd name="T4" fmla="*/ 43 w 91"/>
                <a:gd name="T5" fmla="*/ 0 h 94"/>
                <a:gd name="T6" fmla="*/ 45 w 91"/>
                <a:gd name="T7" fmla="*/ 0 h 94"/>
                <a:gd name="T8" fmla="*/ 55 w 91"/>
                <a:gd name="T9" fmla="*/ 3 h 94"/>
                <a:gd name="T10" fmla="*/ 57 w 91"/>
                <a:gd name="T11" fmla="*/ 3 h 94"/>
                <a:gd name="T12" fmla="*/ 59 w 91"/>
                <a:gd name="T13" fmla="*/ 5 h 94"/>
                <a:gd name="T14" fmla="*/ 68 w 91"/>
                <a:gd name="T15" fmla="*/ 11 h 94"/>
                <a:gd name="T16" fmla="*/ 69 w 91"/>
                <a:gd name="T17" fmla="*/ 12 h 94"/>
                <a:gd name="T18" fmla="*/ 77 w 91"/>
                <a:gd name="T19" fmla="*/ 20 h 94"/>
                <a:gd name="T20" fmla="*/ 78 w 91"/>
                <a:gd name="T21" fmla="*/ 21 h 94"/>
                <a:gd name="T22" fmla="*/ 82 w 91"/>
                <a:gd name="T23" fmla="*/ 26 h 94"/>
                <a:gd name="T24" fmla="*/ 86 w 91"/>
                <a:gd name="T25" fmla="*/ 34 h 94"/>
                <a:gd name="T26" fmla="*/ 87 w 91"/>
                <a:gd name="T27" fmla="*/ 38 h 94"/>
                <a:gd name="T28" fmla="*/ 90 w 91"/>
                <a:gd name="T29" fmla="*/ 64 h 94"/>
                <a:gd name="T30" fmla="*/ 86 w 91"/>
                <a:gd name="T31" fmla="*/ 80 h 94"/>
                <a:gd name="T32" fmla="*/ 85 w 91"/>
                <a:gd name="T33" fmla="*/ 81 h 94"/>
                <a:gd name="T34" fmla="*/ 13 w 91"/>
                <a:gd name="T35" fmla="*/ 94 h 94"/>
                <a:gd name="T36" fmla="*/ 10 w 91"/>
                <a:gd name="T37" fmla="*/ 88 h 94"/>
                <a:gd name="T38" fmla="*/ 7 w 91"/>
                <a:gd name="T39" fmla="*/ 82 h 94"/>
                <a:gd name="T40" fmla="*/ 6 w 91"/>
                <a:gd name="T41" fmla="*/ 80 h 94"/>
                <a:gd name="T42" fmla="*/ 2 w 91"/>
                <a:gd name="T43" fmla="*/ 65 h 94"/>
                <a:gd name="T44" fmla="*/ 1 w 91"/>
                <a:gd name="T45" fmla="*/ 61 h 94"/>
                <a:gd name="T46" fmla="*/ 1 w 91"/>
                <a:gd name="T47" fmla="*/ 39 h 94"/>
                <a:gd name="T48" fmla="*/ 1 w 91"/>
                <a:gd name="T49" fmla="*/ 39 h 94"/>
                <a:gd name="T50" fmla="*/ 2 w 91"/>
                <a:gd name="T51" fmla="*/ 35 h 94"/>
                <a:gd name="T52" fmla="*/ 4 w 91"/>
                <a:gd name="T53" fmla="*/ 25 h 94"/>
                <a:gd name="T54" fmla="*/ 5 w 91"/>
                <a:gd name="T55" fmla="*/ 24 h 94"/>
                <a:gd name="T56" fmla="*/ 6 w 91"/>
                <a:gd name="T57" fmla="*/ 21 h 94"/>
                <a:gd name="T58" fmla="*/ 9 w 91"/>
                <a:gd name="T59" fmla="*/ 16 h 94"/>
                <a:gd name="T60" fmla="*/ 11 w 91"/>
                <a:gd name="T61" fmla="*/ 14 h 94"/>
                <a:gd name="T62" fmla="*/ 22 w 91"/>
                <a:gd name="T63" fmla="*/ 5 h 94"/>
                <a:gd name="T64" fmla="*/ 31 w 91"/>
                <a:gd name="T65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" h="94">
                  <a:moveTo>
                    <a:pt x="34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5" y="0"/>
                    <a:pt x="35" y="0"/>
                  </a:cubicBezTo>
                  <a:cubicBezTo>
                    <a:pt x="35" y="0"/>
                    <a:pt x="36" y="0"/>
                    <a:pt x="36" y="0"/>
                  </a:cubicBezTo>
                  <a:cubicBezTo>
                    <a:pt x="38" y="0"/>
                    <a:pt x="39" y="0"/>
                    <a:pt x="41" y="0"/>
                  </a:cubicBezTo>
                  <a:cubicBezTo>
                    <a:pt x="42" y="0"/>
                    <a:pt x="43" y="0"/>
                    <a:pt x="4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9" y="1"/>
                    <a:pt x="52" y="2"/>
                    <a:pt x="55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8" y="4"/>
                    <a:pt x="58" y="4"/>
                    <a:pt x="59" y="5"/>
                  </a:cubicBezTo>
                  <a:cubicBezTo>
                    <a:pt x="61" y="6"/>
                    <a:pt x="62" y="6"/>
                    <a:pt x="64" y="8"/>
                  </a:cubicBezTo>
                  <a:cubicBezTo>
                    <a:pt x="65" y="9"/>
                    <a:pt x="67" y="10"/>
                    <a:pt x="68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9" y="12"/>
                    <a:pt x="69" y="12"/>
                  </a:cubicBezTo>
                  <a:cubicBezTo>
                    <a:pt x="70" y="13"/>
                    <a:pt x="71" y="13"/>
                    <a:pt x="71" y="14"/>
                  </a:cubicBezTo>
                  <a:cubicBezTo>
                    <a:pt x="73" y="16"/>
                    <a:pt x="75" y="18"/>
                    <a:pt x="77" y="20"/>
                  </a:cubicBezTo>
                  <a:cubicBezTo>
                    <a:pt x="77" y="20"/>
                    <a:pt x="77" y="20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9" y="22"/>
                    <a:pt x="79" y="22"/>
                    <a:pt x="79" y="23"/>
                  </a:cubicBezTo>
                  <a:cubicBezTo>
                    <a:pt x="80" y="24"/>
                    <a:pt x="81" y="25"/>
                    <a:pt x="82" y="26"/>
                  </a:cubicBezTo>
                  <a:cubicBezTo>
                    <a:pt x="83" y="29"/>
                    <a:pt x="84" y="31"/>
                    <a:pt x="86" y="34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6" y="35"/>
                    <a:pt x="86" y="35"/>
                    <a:pt x="86" y="36"/>
                  </a:cubicBezTo>
                  <a:cubicBezTo>
                    <a:pt x="86" y="36"/>
                    <a:pt x="87" y="37"/>
                    <a:pt x="87" y="38"/>
                  </a:cubicBezTo>
                  <a:cubicBezTo>
                    <a:pt x="87" y="40"/>
                    <a:pt x="88" y="41"/>
                    <a:pt x="88" y="43"/>
                  </a:cubicBezTo>
                  <a:cubicBezTo>
                    <a:pt x="90" y="50"/>
                    <a:pt x="91" y="57"/>
                    <a:pt x="90" y="64"/>
                  </a:cubicBezTo>
                  <a:cubicBezTo>
                    <a:pt x="90" y="68"/>
                    <a:pt x="89" y="72"/>
                    <a:pt x="88" y="75"/>
                  </a:cubicBezTo>
                  <a:cubicBezTo>
                    <a:pt x="87" y="77"/>
                    <a:pt x="86" y="78"/>
                    <a:pt x="86" y="80"/>
                  </a:cubicBezTo>
                  <a:cubicBezTo>
                    <a:pt x="85" y="80"/>
                    <a:pt x="85" y="81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66" y="78"/>
                    <a:pt x="45" y="80"/>
                    <a:pt x="27" y="87"/>
                  </a:cubicBezTo>
                  <a:cubicBezTo>
                    <a:pt x="22" y="89"/>
                    <a:pt x="18" y="91"/>
                    <a:pt x="13" y="94"/>
                  </a:cubicBezTo>
                  <a:cubicBezTo>
                    <a:pt x="13" y="93"/>
                    <a:pt x="12" y="93"/>
                    <a:pt x="12" y="92"/>
                  </a:cubicBezTo>
                  <a:cubicBezTo>
                    <a:pt x="11" y="91"/>
                    <a:pt x="10" y="89"/>
                    <a:pt x="10" y="88"/>
                  </a:cubicBezTo>
                  <a:cubicBezTo>
                    <a:pt x="9" y="87"/>
                    <a:pt x="8" y="85"/>
                    <a:pt x="8" y="84"/>
                  </a:cubicBezTo>
                  <a:cubicBezTo>
                    <a:pt x="7" y="83"/>
                    <a:pt x="7" y="83"/>
                    <a:pt x="7" y="82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0"/>
                    <a:pt x="6" y="80"/>
                  </a:cubicBezTo>
                  <a:cubicBezTo>
                    <a:pt x="5" y="77"/>
                    <a:pt x="4" y="73"/>
                    <a:pt x="3" y="70"/>
                  </a:cubicBezTo>
                  <a:cubicBezTo>
                    <a:pt x="2" y="68"/>
                    <a:pt x="2" y="66"/>
                    <a:pt x="2" y="65"/>
                  </a:cubicBezTo>
                  <a:cubicBezTo>
                    <a:pt x="2" y="64"/>
                    <a:pt x="1" y="63"/>
                    <a:pt x="1" y="62"/>
                  </a:cubicBezTo>
                  <a:cubicBezTo>
                    <a:pt x="1" y="62"/>
                    <a:pt x="1" y="62"/>
                    <a:pt x="1" y="61"/>
                  </a:cubicBezTo>
                  <a:cubicBezTo>
                    <a:pt x="1" y="61"/>
                    <a:pt x="1" y="60"/>
                    <a:pt x="1" y="60"/>
                  </a:cubicBezTo>
                  <a:cubicBezTo>
                    <a:pt x="0" y="53"/>
                    <a:pt x="0" y="46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8"/>
                    <a:pt x="1" y="38"/>
                    <a:pt x="1" y="37"/>
                  </a:cubicBezTo>
                  <a:cubicBezTo>
                    <a:pt x="1" y="36"/>
                    <a:pt x="1" y="36"/>
                    <a:pt x="2" y="35"/>
                  </a:cubicBezTo>
                  <a:cubicBezTo>
                    <a:pt x="2" y="33"/>
                    <a:pt x="2" y="31"/>
                    <a:pt x="3" y="30"/>
                  </a:cubicBezTo>
                  <a:cubicBezTo>
                    <a:pt x="3" y="28"/>
                    <a:pt x="4" y="27"/>
                    <a:pt x="4" y="25"/>
                  </a:cubicBezTo>
                  <a:cubicBezTo>
                    <a:pt x="4" y="25"/>
                    <a:pt x="5" y="25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3"/>
                    <a:pt x="6" y="22"/>
                    <a:pt x="6" y="21"/>
                  </a:cubicBezTo>
                  <a:cubicBezTo>
                    <a:pt x="7" y="20"/>
                    <a:pt x="7" y="19"/>
                    <a:pt x="8" y="17"/>
                  </a:cubicBezTo>
                  <a:cubicBezTo>
                    <a:pt x="9" y="17"/>
                    <a:pt x="9" y="16"/>
                    <a:pt x="9" y="16"/>
                  </a:cubicBezTo>
                  <a:cubicBezTo>
                    <a:pt x="10" y="16"/>
                    <a:pt x="10" y="15"/>
                    <a:pt x="10" y="15"/>
                  </a:cubicBezTo>
                  <a:cubicBezTo>
                    <a:pt x="10" y="15"/>
                    <a:pt x="10" y="14"/>
                    <a:pt x="11" y="14"/>
                  </a:cubicBezTo>
                  <a:cubicBezTo>
                    <a:pt x="13" y="12"/>
                    <a:pt x="15" y="10"/>
                    <a:pt x="17" y="8"/>
                  </a:cubicBezTo>
                  <a:cubicBezTo>
                    <a:pt x="18" y="6"/>
                    <a:pt x="20" y="5"/>
                    <a:pt x="22" y="5"/>
                  </a:cubicBezTo>
                  <a:cubicBezTo>
                    <a:pt x="24" y="3"/>
                    <a:pt x="25" y="3"/>
                    <a:pt x="26" y="2"/>
                  </a:cubicBezTo>
                  <a:cubicBezTo>
                    <a:pt x="28" y="2"/>
                    <a:pt x="30" y="1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1" name="ïṡ1ïḋe">
              <a:extLst>
                <a:ext uri="{FF2B5EF4-FFF2-40B4-BE49-F238E27FC236}">
                  <a16:creationId xmlns:a16="http://schemas.microsoft.com/office/drawing/2014/main" id="{14CB485A-5C3B-4481-A454-38801B98208B}"/>
                </a:ext>
              </a:extLst>
            </p:cNvPr>
            <p:cNvSpPr/>
            <p:nvPr/>
          </p:nvSpPr>
          <p:spPr bwMode="auto">
            <a:xfrm>
              <a:off x="6276568" y="1445250"/>
              <a:ext cx="168727" cy="196849"/>
            </a:xfrm>
            <a:custGeom>
              <a:avLst/>
              <a:gdLst>
                <a:gd name="T0" fmla="*/ 4 w 55"/>
                <a:gd name="T1" fmla="*/ 10 h 64"/>
                <a:gd name="T2" fmla="*/ 4 w 55"/>
                <a:gd name="T3" fmla="*/ 10 h 64"/>
                <a:gd name="T4" fmla="*/ 4 w 55"/>
                <a:gd name="T5" fmla="*/ 9 h 64"/>
                <a:gd name="T6" fmla="*/ 5 w 55"/>
                <a:gd name="T7" fmla="*/ 9 h 64"/>
                <a:gd name="T8" fmla="*/ 12 w 55"/>
                <a:gd name="T9" fmla="*/ 5 h 64"/>
                <a:gd name="T10" fmla="*/ 13 w 55"/>
                <a:gd name="T11" fmla="*/ 4 h 64"/>
                <a:gd name="T12" fmla="*/ 15 w 55"/>
                <a:gd name="T13" fmla="*/ 4 h 64"/>
                <a:gd name="T14" fmla="*/ 18 w 55"/>
                <a:gd name="T15" fmla="*/ 2 h 64"/>
                <a:gd name="T16" fmla="*/ 22 w 55"/>
                <a:gd name="T17" fmla="*/ 1 h 64"/>
                <a:gd name="T18" fmla="*/ 24 w 55"/>
                <a:gd name="T19" fmla="*/ 1 h 64"/>
                <a:gd name="T20" fmla="*/ 24 w 55"/>
                <a:gd name="T21" fmla="*/ 1 h 64"/>
                <a:gd name="T22" fmla="*/ 25 w 55"/>
                <a:gd name="T23" fmla="*/ 1 h 64"/>
                <a:gd name="T24" fmla="*/ 33 w 55"/>
                <a:gd name="T25" fmla="*/ 0 h 64"/>
                <a:gd name="T26" fmla="*/ 35 w 55"/>
                <a:gd name="T27" fmla="*/ 1 h 64"/>
                <a:gd name="T28" fmla="*/ 35 w 55"/>
                <a:gd name="T29" fmla="*/ 1 h 64"/>
                <a:gd name="T30" fmla="*/ 36 w 55"/>
                <a:gd name="T31" fmla="*/ 1 h 64"/>
                <a:gd name="T32" fmla="*/ 39 w 55"/>
                <a:gd name="T33" fmla="*/ 2 h 64"/>
                <a:gd name="T34" fmla="*/ 43 w 55"/>
                <a:gd name="T35" fmla="*/ 3 h 64"/>
                <a:gd name="T36" fmla="*/ 43 w 55"/>
                <a:gd name="T37" fmla="*/ 3 h 64"/>
                <a:gd name="T38" fmla="*/ 43 w 55"/>
                <a:gd name="T39" fmla="*/ 3 h 64"/>
                <a:gd name="T40" fmla="*/ 45 w 55"/>
                <a:gd name="T41" fmla="*/ 4 h 64"/>
                <a:gd name="T42" fmla="*/ 48 w 55"/>
                <a:gd name="T43" fmla="*/ 6 h 64"/>
                <a:gd name="T44" fmla="*/ 48 w 55"/>
                <a:gd name="T45" fmla="*/ 6 h 64"/>
                <a:gd name="T46" fmla="*/ 48 w 55"/>
                <a:gd name="T47" fmla="*/ 7 h 64"/>
                <a:gd name="T48" fmla="*/ 49 w 55"/>
                <a:gd name="T49" fmla="*/ 8 h 64"/>
                <a:gd name="T50" fmla="*/ 50 w 55"/>
                <a:gd name="T51" fmla="*/ 9 h 64"/>
                <a:gd name="T52" fmla="*/ 51 w 55"/>
                <a:gd name="T53" fmla="*/ 9 h 64"/>
                <a:gd name="T54" fmla="*/ 52 w 55"/>
                <a:gd name="T55" fmla="*/ 11 h 64"/>
                <a:gd name="T56" fmla="*/ 53 w 55"/>
                <a:gd name="T57" fmla="*/ 13 h 64"/>
                <a:gd name="T58" fmla="*/ 53 w 55"/>
                <a:gd name="T59" fmla="*/ 14 h 64"/>
                <a:gd name="T60" fmla="*/ 54 w 55"/>
                <a:gd name="T61" fmla="*/ 15 h 64"/>
                <a:gd name="T62" fmla="*/ 54 w 55"/>
                <a:gd name="T63" fmla="*/ 18 h 64"/>
                <a:gd name="T64" fmla="*/ 54 w 55"/>
                <a:gd name="T65" fmla="*/ 18 h 64"/>
                <a:gd name="T66" fmla="*/ 54 w 55"/>
                <a:gd name="T67" fmla="*/ 18 h 64"/>
                <a:gd name="T68" fmla="*/ 54 w 55"/>
                <a:gd name="T69" fmla="*/ 20 h 64"/>
                <a:gd name="T70" fmla="*/ 54 w 55"/>
                <a:gd name="T71" fmla="*/ 23 h 64"/>
                <a:gd name="T72" fmla="*/ 54 w 55"/>
                <a:gd name="T73" fmla="*/ 27 h 64"/>
                <a:gd name="T74" fmla="*/ 55 w 55"/>
                <a:gd name="T75" fmla="*/ 28 h 64"/>
                <a:gd name="T76" fmla="*/ 49 w 55"/>
                <a:gd name="T77" fmla="*/ 33 h 64"/>
                <a:gd name="T78" fmla="*/ 47 w 55"/>
                <a:gd name="T79" fmla="*/ 28 h 64"/>
                <a:gd name="T80" fmla="*/ 42 w 55"/>
                <a:gd name="T81" fmla="*/ 17 h 64"/>
                <a:gd name="T82" fmla="*/ 22 w 55"/>
                <a:gd name="T83" fmla="*/ 7 h 64"/>
                <a:gd name="T84" fmla="*/ 22 w 55"/>
                <a:gd name="T85" fmla="*/ 11 h 64"/>
                <a:gd name="T86" fmla="*/ 38 w 55"/>
                <a:gd name="T87" fmla="*/ 21 h 64"/>
                <a:gd name="T88" fmla="*/ 42 w 55"/>
                <a:gd name="T89" fmla="*/ 30 h 64"/>
                <a:gd name="T90" fmla="*/ 43 w 55"/>
                <a:gd name="T91" fmla="*/ 36 h 64"/>
                <a:gd name="T92" fmla="*/ 44 w 55"/>
                <a:gd name="T93" fmla="*/ 39 h 64"/>
                <a:gd name="T94" fmla="*/ 37 w 55"/>
                <a:gd name="T95" fmla="*/ 57 h 64"/>
                <a:gd name="T96" fmla="*/ 36 w 55"/>
                <a:gd name="T97" fmla="*/ 64 h 64"/>
                <a:gd name="T98" fmla="*/ 0 w 55"/>
                <a:gd name="T99" fmla="*/ 48 h 64"/>
                <a:gd name="T100" fmla="*/ 3 w 55"/>
                <a:gd name="T101" fmla="*/ 42 h 64"/>
                <a:gd name="T102" fmla="*/ 5 w 55"/>
                <a:gd name="T103" fmla="*/ 27 h 64"/>
                <a:gd name="T104" fmla="*/ 4 w 55"/>
                <a:gd name="T105" fmla="*/ 10 h 64"/>
                <a:gd name="T106" fmla="*/ 4 w 55"/>
                <a:gd name="T107" fmla="*/ 1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5" h="64"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7" y="7"/>
                    <a:pt x="9" y="6"/>
                    <a:pt x="12" y="5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4" y="4"/>
                    <a:pt x="14" y="4"/>
                    <a:pt x="15" y="4"/>
                  </a:cubicBezTo>
                  <a:cubicBezTo>
                    <a:pt x="16" y="3"/>
                    <a:pt x="17" y="2"/>
                    <a:pt x="18" y="2"/>
                  </a:cubicBezTo>
                  <a:cubicBezTo>
                    <a:pt x="20" y="2"/>
                    <a:pt x="21" y="1"/>
                    <a:pt x="22" y="1"/>
                  </a:cubicBezTo>
                  <a:cubicBezTo>
                    <a:pt x="23" y="1"/>
                    <a:pt x="23" y="1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8" y="0"/>
                    <a:pt x="30" y="0"/>
                    <a:pt x="33" y="0"/>
                  </a:cubicBezTo>
                  <a:cubicBezTo>
                    <a:pt x="33" y="0"/>
                    <a:pt x="34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6" y="1"/>
                  </a:cubicBezTo>
                  <a:cubicBezTo>
                    <a:pt x="37" y="1"/>
                    <a:pt x="38" y="1"/>
                    <a:pt x="39" y="2"/>
                  </a:cubicBezTo>
                  <a:cubicBezTo>
                    <a:pt x="40" y="2"/>
                    <a:pt x="42" y="2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4" y="4"/>
                    <a:pt x="45" y="4"/>
                    <a:pt x="45" y="4"/>
                  </a:cubicBezTo>
                  <a:cubicBezTo>
                    <a:pt x="46" y="5"/>
                    <a:pt x="47" y="5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7"/>
                  </a:cubicBezTo>
                  <a:cubicBezTo>
                    <a:pt x="49" y="7"/>
                    <a:pt x="49" y="7"/>
                    <a:pt x="49" y="8"/>
                  </a:cubicBezTo>
                  <a:cubicBezTo>
                    <a:pt x="50" y="8"/>
                    <a:pt x="50" y="8"/>
                    <a:pt x="50" y="9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1" y="10"/>
                    <a:pt x="52" y="10"/>
                    <a:pt x="52" y="11"/>
                  </a:cubicBezTo>
                  <a:cubicBezTo>
                    <a:pt x="52" y="12"/>
                    <a:pt x="52" y="12"/>
                    <a:pt x="53" y="13"/>
                  </a:cubicBezTo>
                  <a:cubicBezTo>
                    <a:pt x="53" y="13"/>
                    <a:pt x="53" y="13"/>
                    <a:pt x="53" y="14"/>
                  </a:cubicBezTo>
                  <a:cubicBezTo>
                    <a:pt x="53" y="14"/>
                    <a:pt x="53" y="14"/>
                    <a:pt x="54" y="15"/>
                  </a:cubicBezTo>
                  <a:cubicBezTo>
                    <a:pt x="54" y="16"/>
                    <a:pt x="54" y="17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9"/>
                    <a:pt x="54" y="19"/>
                    <a:pt x="54" y="20"/>
                  </a:cubicBezTo>
                  <a:cubicBezTo>
                    <a:pt x="54" y="21"/>
                    <a:pt x="54" y="22"/>
                    <a:pt x="54" y="23"/>
                  </a:cubicBezTo>
                  <a:cubicBezTo>
                    <a:pt x="54" y="24"/>
                    <a:pt x="54" y="25"/>
                    <a:pt x="54" y="27"/>
                  </a:cubicBezTo>
                  <a:cubicBezTo>
                    <a:pt x="55" y="27"/>
                    <a:pt x="55" y="28"/>
                    <a:pt x="55" y="28"/>
                  </a:cubicBezTo>
                  <a:cubicBezTo>
                    <a:pt x="53" y="30"/>
                    <a:pt x="51" y="31"/>
                    <a:pt x="49" y="33"/>
                  </a:cubicBezTo>
                  <a:cubicBezTo>
                    <a:pt x="48" y="31"/>
                    <a:pt x="48" y="30"/>
                    <a:pt x="47" y="28"/>
                  </a:cubicBezTo>
                  <a:cubicBezTo>
                    <a:pt x="46" y="24"/>
                    <a:pt x="44" y="21"/>
                    <a:pt x="42" y="17"/>
                  </a:cubicBezTo>
                  <a:cubicBezTo>
                    <a:pt x="37" y="11"/>
                    <a:pt x="30" y="6"/>
                    <a:pt x="22" y="7"/>
                  </a:cubicBezTo>
                  <a:cubicBezTo>
                    <a:pt x="19" y="7"/>
                    <a:pt x="19" y="11"/>
                    <a:pt x="22" y="11"/>
                  </a:cubicBezTo>
                  <a:cubicBezTo>
                    <a:pt x="29" y="10"/>
                    <a:pt x="34" y="15"/>
                    <a:pt x="38" y="21"/>
                  </a:cubicBezTo>
                  <a:cubicBezTo>
                    <a:pt x="39" y="24"/>
                    <a:pt x="41" y="27"/>
                    <a:pt x="42" y="30"/>
                  </a:cubicBezTo>
                  <a:cubicBezTo>
                    <a:pt x="42" y="32"/>
                    <a:pt x="43" y="34"/>
                    <a:pt x="43" y="36"/>
                  </a:cubicBezTo>
                  <a:cubicBezTo>
                    <a:pt x="43" y="37"/>
                    <a:pt x="44" y="38"/>
                    <a:pt x="44" y="39"/>
                  </a:cubicBezTo>
                  <a:cubicBezTo>
                    <a:pt x="40" y="44"/>
                    <a:pt x="38" y="51"/>
                    <a:pt x="37" y="57"/>
                  </a:cubicBezTo>
                  <a:cubicBezTo>
                    <a:pt x="36" y="60"/>
                    <a:pt x="36" y="62"/>
                    <a:pt x="36" y="64"/>
                  </a:cubicBezTo>
                  <a:cubicBezTo>
                    <a:pt x="24" y="58"/>
                    <a:pt x="13" y="52"/>
                    <a:pt x="0" y="48"/>
                  </a:cubicBezTo>
                  <a:cubicBezTo>
                    <a:pt x="1" y="46"/>
                    <a:pt x="2" y="44"/>
                    <a:pt x="3" y="42"/>
                  </a:cubicBezTo>
                  <a:cubicBezTo>
                    <a:pt x="4" y="37"/>
                    <a:pt x="5" y="32"/>
                    <a:pt x="5" y="27"/>
                  </a:cubicBezTo>
                  <a:cubicBezTo>
                    <a:pt x="6" y="21"/>
                    <a:pt x="5" y="15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F4D8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2" name="ïṣļíḓé">
              <a:extLst>
                <a:ext uri="{FF2B5EF4-FFF2-40B4-BE49-F238E27FC236}">
                  <a16:creationId xmlns:a16="http://schemas.microsoft.com/office/drawing/2014/main" id="{2AF10B20-B2AB-4CA9-9E49-11A7D4D209BD}"/>
                </a:ext>
              </a:extLst>
            </p:cNvPr>
            <p:cNvSpPr/>
            <p:nvPr/>
          </p:nvSpPr>
          <p:spPr bwMode="auto">
            <a:xfrm>
              <a:off x="6408294" y="1547375"/>
              <a:ext cx="190928" cy="187968"/>
            </a:xfrm>
            <a:custGeom>
              <a:avLst/>
              <a:gdLst>
                <a:gd name="T0" fmla="*/ 30 w 62"/>
                <a:gd name="T1" fmla="*/ 0 h 61"/>
                <a:gd name="T2" fmla="*/ 30 w 62"/>
                <a:gd name="T3" fmla="*/ 0 h 61"/>
                <a:gd name="T4" fmla="*/ 31 w 62"/>
                <a:gd name="T5" fmla="*/ 1 h 61"/>
                <a:gd name="T6" fmla="*/ 32 w 62"/>
                <a:gd name="T7" fmla="*/ 1 h 61"/>
                <a:gd name="T8" fmla="*/ 37 w 62"/>
                <a:gd name="T9" fmla="*/ 3 h 61"/>
                <a:gd name="T10" fmla="*/ 42 w 62"/>
                <a:gd name="T11" fmla="*/ 5 h 61"/>
                <a:gd name="T12" fmla="*/ 46 w 62"/>
                <a:gd name="T13" fmla="*/ 8 h 61"/>
                <a:gd name="T14" fmla="*/ 47 w 62"/>
                <a:gd name="T15" fmla="*/ 8 h 61"/>
                <a:gd name="T16" fmla="*/ 47 w 62"/>
                <a:gd name="T17" fmla="*/ 8 h 61"/>
                <a:gd name="T18" fmla="*/ 49 w 62"/>
                <a:gd name="T19" fmla="*/ 10 h 61"/>
                <a:gd name="T20" fmla="*/ 52 w 62"/>
                <a:gd name="T21" fmla="*/ 13 h 61"/>
                <a:gd name="T22" fmla="*/ 53 w 62"/>
                <a:gd name="T23" fmla="*/ 15 h 61"/>
                <a:gd name="T24" fmla="*/ 54 w 62"/>
                <a:gd name="T25" fmla="*/ 15 h 61"/>
                <a:gd name="T26" fmla="*/ 54 w 62"/>
                <a:gd name="T27" fmla="*/ 16 h 61"/>
                <a:gd name="T28" fmla="*/ 56 w 62"/>
                <a:gd name="T29" fmla="*/ 20 h 61"/>
                <a:gd name="T30" fmla="*/ 62 w 62"/>
                <a:gd name="T31" fmla="*/ 35 h 61"/>
                <a:gd name="T32" fmla="*/ 62 w 62"/>
                <a:gd name="T33" fmla="*/ 37 h 61"/>
                <a:gd name="T34" fmla="*/ 62 w 62"/>
                <a:gd name="T35" fmla="*/ 39 h 61"/>
                <a:gd name="T36" fmla="*/ 62 w 62"/>
                <a:gd name="T37" fmla="*/ 43 h 61"/>
                <a:gd name="T38" fmla="*/ 60 w 62"/>
                <a:gd name="T39" fmla="*/ 51 h 61"/>
                <a:gd name="T40" fmla="*/ 60 w 62"/>
                <a:gd name="T41" fmla="*/ 52 h 61"/>
                <a:gd name="T42" fmla="*/ 60 w 62"/>
                <a:gd name="T43" fmla="*/ 52 h 61"/>
                <a:gd name="T44" fmla="*/ 59 w 62"/>
                <a:gd name="T45" fmla="*/ 54 h 61"/>
                <a:gd name="T46" fmla="*/ 58 w 62"/>
                <a:gd name="T47" fmla="*/ 56 h 61"/>
                <a:gd name="T48" fmla="*/ 58 w 62"/>
                <a:gd name="T49" fmla="*/ 56 h 61"/>
                <a:gd name="T50" fmla="*/ 57 w 62"/>
                <a:gd name="T51" fmla="*/ 57 h 61"/>
                <a:gd name="T52" fmla="*/ 55 w 62"/>
                <a:gd name="T53" fmla="*/ 59 h 61"/>
                <a:gd name="T54" fmla="*/ 55 w 62"/>
                <a:gd name="T55" fmla="*/ 59 h 61"/>
                <a:gd name="T56" fmla="*/ 55 w 62"/>
                <a:gd name="T57" fmla="*/ 59 h 61"/>
                <a:gd name="T58" fmla="*/ 54 w 62"/>
                <a:gd name="T59" fmla="*/ 60 h 61"/>
                <a:gd name="T60" fmla="*/ 52 w 62"/>
                <a:gd name="T61" fmla="*/ 61 h 61"/>
                <a:gd name="T62" fmla="*/ 50 w 62"/>
                <a:gd name="T63" fmla="*/ 61 h 61"/>
                <a:gd name="T64" fmla="*/ 52 w 62"/>
                <a:gd name="T65" fmla="*/ 55 h 61"/>
                <a:gd name="T66" fmla="*/ 53 w 62"/>
                <a:gd name="T67" fmla="*/ 41 h 61"/>
                <a:gd name="T68" fmla="*/ 49 w 62"/>
                <a:gd name="T69" fmla="*/ 41 h 61"/>
                <a:gd name="T70" fmla="*/ 47 w 62"/>
                <a:gd name="T71" fmla="*/ 52 h 61"/>
                <a:gd name="T72" fmla="*/ 46 w 62"/>
                <a:gd name="T73" fmla="*/ 57 h 61"/>
                <a:gd name="T74" fmla="*/ 45 w 62"/>
                <a:gd name="T75" fmla="*/ 59 h 61"/>
                <a:gd name="T76" fmla="*/ 36 w 62"/>
                <a:gd name="T77" fmla="*/ 56 h 61"/>
                <a:gd name="T78" fmla="*/ 7 w 62"/>
                <a:gd name="T79" fmla="*/ 40 h 61"/>
                <a:gd name="T80" fmla="*/ 0 w 62"/>
                <a:gd name="T81" fmla="*/ 36 h 61"/>
                <a:gd name="T82" fmla="*/ 0 w 62"/>
                <a:gd name="T83" fmla="*/ 33 h 61"/>
                <a:gd name="T84" fmla="*/ 1 w 62"/>
                <a:gd name="T85" fmla="*/ 23 h 61"/>
                <a:gd name="T86" fmla="*/ 11 w 62"/>
                <a:gd name="T87" fmla="*/ 7 h 61"/>
                <a:gd name="T88" fmla="*/ 28 w 62"/>
                <a:gd name="T89" fmla="*/ 0 h 61"/>
                <a:gd name="T90" fmla="*/ 30 w 62"/>
                <a:gd name="T9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2" h="61"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2" y="1"/>
                    <a:pt x="32" y="1"/>
                  </a:cubicBezTo>
                  <a:cubicBezTo>
                    <a:pt x="34" y="1"/>
                    <a:pt x="36" y="2"/>
                    <a:pt x="37" y="3"/>
                  </a:cubicBezTo>
                  <a:cubicBezTo>
                    <a:pt x="39" y="3"/>
                    <a:pt x="40" y="4"/>
                    <a:pt x="42" y="5"/>
                  </a:cubicBezTo>
                  <a:cubicBezTo>
                    <a:pt x="43" y="6"/>
                    <a:pt x="45" y="7"/>
                    <a:pt x="46" y="8"/>
                  </a:cubicBezTo>
                  <a:cubicBezTo>
                    <a:pt x="46" y="8"/>
                    <a:pt x="46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9"/>
                    <a:pt x="48" y="9"/>
                    <a:pt x="49" y="10"/>
                  </a:cubicBezTo>
                  <a:cubicBezTo>
                    <a:pt x="50" y="11"/>
                    <a:pt x="51" y="12"/>
                    <a:pt x="52" y="13"/>
                  </a:cubicBezTo>
                  <a:cubicBezTo>
                    <a:pt x="53" y="14"/>
                    <a:pt x="53" y="14"/>
                    <a:pt x="53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5" y="17"/>
                    <a:pt x="56" y="18"/>
                    <a:pt x="56" y="20"/>
                  </a:cubicBezTo>
                  <a:cubicBezTo>
                    <a:pt x="59" y="25"/>
                    <a:pt x="61" y="29"/>
                    <a:pt x="62" y="35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8"/>
                    <a:pt x="62" y="39"/>
                  </a:cubicBezTo>
                  <a:cubicBezTo>
                    <a:pt x="62" y="40"/>
                    <a:pt x="62" y="42"/>
                    <a:pt x="62" y="43"/>
                  </a:cubicBezTo>
                  <a:cubicBezTo>
                    <a:pt x="62" y="46"/>
                    <a:pt x="61" y="48"/>
                    <a:pt x="60" y="51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3"/>
                    <a:pt x="59" y="54"/>
                    <a:pt x="59" y="54"/>
                  </a:cubicBezTo>
                  <a:cubicBezTo>
                    <a:pt x="59" y="55"/>
                    <a:pt x="58" y="55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7" y="56"/>
                    <a:pt x="57" y="57"/>
                    <a:pt x="57" y="57"/>
                  </a:cubicBezTo>
                  <a:cubicBezTo>
                    <a:pt x="56" y="58"/>
                    <a:pt x="56" y="58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4" y="59"/>
                    <a:pt x="54" y="59"/>
                    <a:pt x="54" y="60"/>
                  </a:cubicBezTo>
                  <a:cubicBezTo>
                    <a:pt x="54" y="60"/>
                    <a:pt x="53" y="61"/>
                    <a:pt x="52" y="61"/>
                  </a:cubicBezTo>
                  <a:cubicBezTo>
                    <a:pt x="52" y="61"/>
                    <a:pt x="51" y="61"/>
                    <a:pt x="50" y="61"/>
                  </a:cubicBezTo>
                  <a:cubicBezTo>
                    <a:pt x="51" y="59"/>
                    <a:pt x="52" y="57"/>
                    <a:pt x="52" y="55"/>
                  </a:cubicBezTo>
                  <a:cubicBezTo>
                    <a:pt x="53" y="50"/>
                    <a:pt x="53" y="46"/>
                    <a:pt x="53" y="41"/>
                  </a:cubicBezTo>
                  <a:cubicBezTo>
                    <a:pt x="54" y="39"/>
                    <a:pt x="49" y="38"/>
                    <a:pt x="49" y="41"/>
                  </a:cubicBezTo>
                  <a:cubicBezTo>
                    <a:pt x="48" y="45"/>
                    <a:pt x="48" y="48"/>
                    <a:pt x="47" y="52"/>
                  </a:cubicBezTo>
                  <a:cubicBezTo>
                    <a:pt x="47" y="54"/>
                    <a:pt x="46" y="56"/>
                    <a:pt x="46" y="57"/>
                  </a:cubicBezTo>
                  <a:cubicBezTo>
                    <a:pt x="45" y="58"/>
                    <a:pt x="45" y="58"/>
                    <a:pt x="45" y="59"/>
                  </a:cubicBezTo>
                  <a:cubicBezTo>
                    <a:pt x="42" y="58"/>
                    <a:pt x="39" y="57"/>
                    <a:pt x="36" y="56"/>
                  </a:cubicBezTo>
                  <a:cubicBezTo>
                    <a:pt x="27" y="51"/>
                    <a:pt x="17" y="46"/>
                    <a:pt x="7" y="40"/>
                  </a:cubicBezTo>
                  <a:cubicBezTo>
                    <a:pt x="5" y="39"/>
                    <a:pt x="3" y="37"/>
                    <a:pt x="0" y="36"/>
                  </a:cubicBezTo>
                  <a:cubicBezTo>
                    <a:pt x="0" y="35"/>
                    <a:pt x="0" y="34"/>
                    <a:pt x="0" y="33"/>
                  </a:cubicBezTo>
                  <a:cubicBezTo>
                    <a:pt x="0" y="29"/>
                    <a:pt x="0" y="27"/>
                    <a:pt x="1" y="23"/>
                  </a:cubicBezTo>
                  <a:cubicBezTo>
                    <a:pt x="3" y="17"/>
                    <a:pt x="6" y="11"/>
                    <a:pt x="11" y="7"/>
                  </a:cubicBezTo>
                  <a:cubicBezTo>
                    <a:pt x="16" y="3"/>
                    <a:pt x="21" y="0"/>
                    <a:pt x="28" y="0"/>
                  </a:cubicBezTo>
                  <a:cubicBezTo>
                    <a:pt x="29" y="0"/>
                    <a:pt x="29" y="0"/>
                    <a:pt x="30" y="0"/>
                  </a:cubicBezTo>
                  <a:close/>
                </a:path>
              </a:pathLst>
            </a:custGeom>
            <a:solidFill>
              <a:srgbClr val="FF9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3" name="ïsľïḋe">
              <a:extLst>
                <a:ext uri="{FF2B5EF4-FFF2-40B4-BE49-F238E27FC236}">
                  <a16:creationId xmlns:a16="http://schemas.microsoft.com/office/drawing/2014/main" id="{1DA0DC6F-6D86-49D9-BB65-13DA5DAA990E}"/>
                </a:ext>
              </a:extLst>
            </p:cNvPr>
            <p:cNvSpPr/>
            <p:nvPr/>
          </p:nvSpPr>
          <p:spPr bwMode="auto">
            <a:xfrm>
              <a:off x="6645104" y="1362367"/>
              <a:ext cx="264932" cy="393697"/>
            </a:xfrm>
            <a:custGeom>
              <a:avLst/>
              <a:gdLst>
                <a:gd name="T0" fmla="*/ 10 w 86"/>
                <a:gd name="T1" fmla="*/ 106 h 128"/>
                <a:gd name="T2" fmla="*/ 9 w 86"/>
                <a:gd name="T3" fmla="*/ 102 h 128"/>
                <a:gd name="T4" fmla="*/ 8 w 86"/>
                <a:gd name="T5" fmla="*/ 101 h 128"/>
                <a:gd name="T6" fmla="*/ 2 w 86"/>
                <a:gd name="T7" fmla="*/ 79 h 128"/>
                <a:gd name="T8" fmla="*/ 1 w 86"/>
                <a:gd name="T9" fmla="*/ 75 h 128"/>
                <a:gd name="T10" fmla="*/ 1 w 86"/>
                <a:gd name="T11" fmla="*/ 69 h 128"/>
                <a:gd name="T12" fmla="*/ 1 w 86"/>
                <a:gd name="T13" fmla="*/ 52 h 128"/>
                <a:gd name="T14" fmla="*/ 1 w 86"/>
                <a:gd name="T15" fmla="*/ 52 h 128"/>
                <a:gd name="T16" fmla="*/ 2 w 86"/>
                <a:gd name="T17" fmla="*/ 48 h 128"/>
                <a:gd name="T18" fmla="*/ 5 w 86"/>
                <a:gd name="T19" fmla="*/ 36 h 128"/>
                <a:gd name="T20" fmla="*/ 6 w 86"/>
                <a:gd name="T21" fmla="*/ 33 h 128"/>
                <a:gd name="T22" fmla="*/ 12 w 86"/>
                <a:gd name="T23" fmla="*/ 23 h 128"/>
                <a:gd name="T24" fmla="*/ 24 w 86"/>
                <a:gd name="T25" fmla="*/ 10 h 128"/>
                <a:gd name="T26" fmla="*/ 26 w 86"/>
                <a:gd name="T27" fmla="*/ 8 h 128"/>
                <a:gd name="T28" fmla="*/ 31 w 86"/>
                <a:gd name="T29" fmla="*/ 4 h 128"/>
                <a:gd name="T30" fmla="*/ 36 w 86"/>
                <a:gd name="T31" fmla="*/ 2 h 128"/>
                <a:gd name="T32" fmla="*/ 41 w 86"/>
                <a:gd name="T33" fmla="*/ 0 h 128"/>
                <a:gd name="T34" fmla="*/ 44 w 86"/>
                <a:gd name="T35" fmla="*/ 0 h 128"/>
                <a:gd name="T36" fmla="*/ 49 w 86"/>
                <a:gd name="T37" fmla="*/ 0 h 128"/>
                <a:gd name="T38" fmla="*/ 53 w 86"/>
                <a:gd name="T39" fmla="*/ 1 h 128"/>
                <a:gd name="T40" fmla="*/ 55 w 86"/>
                <a:gd name="T41" fmla="*/ 2 h 128"/>
                <a:gd name="T42" fmla="*/ 59 w 86"/>
                <a:gd name="T43" fmla="*/ 5 h 128"/>
                <a:gd name="T44" fmla="*/ 60 w 86"/>
                <a:gd name="T45" fmla="*/ 5 h 128"/>
                <a:gd name="T46" fmla="*/ 67 w 86"/>
                <a:gd name="T47" fmla="*/ 12 h 128"/>
                <a:gd name="T48" fmla="*/ 70 w 86"/>
                <a:gd name="T49" fmla="*/ 16 h 128"/>
                <a:gd name="T50" fmla="*/ 75 w 86"/>
                <a:gd name="T51" fmla="*/ 27 h 128"/>
                <a:gd name="T52" fmla="*/ 77 w 86"/>
                <a:gd name="T53" fmla="*/ 30 h 128"/>
                <a:gd name="T54" fmla="*/ 77 w 86"/>
                <a:gd name="T55" fmla="*/ 31 h 128"/>
                <a:gd name="T56" fmla="*/ 84 w 86"/>
                <a:gd name="T57" fmla="*/ 56 h 128"/>
                <a:gd name="T58" fmla="*/ 85 w 86"/>
                <a:gd name="T59" fmla="*/ 61 h 128"/>
                <a:gd name="T60" fmla="*/ 85 w 86"/>
                <a:gd name="T61" fmla="*/ 79 h 128"/>
                <a:gd name="T62" fmla="*/ 85 w 86"/>
                <a:gd name="T63" fmla="*/ 81 h 128"/>
                <a:gd name="T64" fmla="*/ 84 w 86"/>
                <a:gd name="T65" fmla="*/ 88 h 128"/>
                <a:gd name="T66" fmla="*/ 81 w 86"/>
                <a:gd name="T67" fmla="*/ 96 h 128"/>
                <a:gd name="T68" fmla="*/ 80 w 86"/>
                <a:gd name="T69" fmla="*/ 98 h 128"/>
                <a:gd name="T70" fmla="*/ 75 w 86"/>
                <a:gd name="T71" fmla="*/ 107 h 128"/>
                <a:gd name="T72" fmla="*/ 74 w 86"/>
                <a:gd name="T73" fmla="*/ 109 h 128"/>
                <a:gd name="T74" fmla="*/ 68 w 86"/>
                <a:gd name="T75" fmla="*/ 115 h 128"/>
                <a:gd name="T76" fmla="*/ 64 w 86"/>
                <a:gd name="T77" fmla="*/ 118 h 128"/>
                <a:gd name="T78" fmla="*/ 62 w 86"/>
                <a:gd name="T79" fmla="*/ 120 h 128"/>
                <a:gd name="T80" fmla="*/ 22 w 86"/>
                <a:gd name="T81" fmla="*/ 128 h 128"/>
                <a:gd name="T82" fmla="*/ 10 w 86"/>
                <a:gd name="T83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6" h="128">
                  <a:moveTo>
                    <a:pt x="10" y="106"/>
                  </a:moveTo>
                  <a:cubicBezTo>
                    <a:pt x="10" y="106"/>
                    <a:pt x="10" y="106"/>
                    <a:pt x="10" y="106"/>
                  </a:cubicBezTo>
                  <a:cubicBezTo>
                    <a:pt x="10" y="105"/>
                    <a:pt x="9" y="104"/>
                    <a:pt x="9" y="103"/>
                  </a:cubicBezTo>
                  <a:cubicBezTo>
                    <a:pt x="9" y="102"/>
                    <a:pt x="9" y="102"/>
                    <a:pt x="9" y="102"/>
                  </a:cubicBezTo>
                  <a:cubicBezTo>
                    <a:pt x="8" y="102"/>
                    <a:pt x="8" y="102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7" y="97"/>
                    <a:pt x="5" y="94"/>
                    <a:pt x="4" y="90"/>
                  </a:cubicBezTo>
                  <a:cubicBezTo>
                    <a:pt x="3" y="86"/>
                    <a:pt x="2" y="83"/>
                    <a:pt x="2" y="79"/>
                  </a:cubicBezTo>
                  <a:cubicBezTo>
                    <a:pt x="2" y="78"/>
                    <a:pt x="2" y="77"/>
                    <a:pt x="2" y="76"/>
                  </a:cubicBezTo>
                  <a:cubicBezTo>
                    <a:pt x="1" y="76"/>
                    <a:pt x="1" y="76"/>
                    <a:pt x="1" y="75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1" y="72"/>
                    <a:pt x="1" y="71"/>
                    <a:pt x="1" y="69"/>
                  </a:cubicBezTo>
                  <a:cubicBezTo>
                    <a:pt x="0" y="65"/>
                    <a:pt x="0" y="61"/>
                    <a:pt x="1" y="58"/>
                  </a:cubicBezTo>
                  <a:cubicBezTo>
                    <a:pt x="1" y="56"/>
                    <a:pt x="1" y="54"/>
                    <a:pt x="1" y="5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1" y="52"/>
                    <a:pt x="1" y="51"/>
                    <a:pt x="1" y="51"/>
                  </a:cubicBezTo>
                  <a:cubicBezTo>
                    <a:pt x="2" y="50"/>
                    <a:pt x="2" y="49"/>
                    <a:pt x="2" y="48"/>
                  </a:cubicBezTo>
                  <a:cubicBezTo>
                    <a:pt x="2" y="44"/>
                    <a:pt x="3" y="41"/>
                    <a:pt x="4" y="37"/>
                  </a:cubicBezTo>
                  <a:cubicBezTo>
                    <a:pt x="5" y="37"/>
                    <a:pt x="5" y="37"/>
                    <a:pt x="5" y="36"/>
                  </a:cubicBezTo>
                  <a:cubicBezTo>
                    <a:pt x="5" y="36"/>
                    <a:pt x="5" y="36"/>
                    <a:pt x="5" y="35"/>
                  </a:cubicBezTo>
                  <a:cubicBezTo>
                    <a:pt x="5" y="35"/>
                    <a:pt x="6" y="34"/>
                    <a:pt x="6" y="33"/>
                  </a:cubicBezTo>
                  <a:cubicBezTo>
                    <a:pt x="7" y="31"/>
                    <a:pt x="8" y="29"/>
                    <a:pt x="9" y="28"/>
                  </a:cubicBezTo>
                  <a:cubicBezTo>
                    <a:pt x="10" y="26"/>
                    <a:pt x="11" y="25"/>
                    <a:pt x="12" y="23"/>
                  </a:cubicBezTo>
                  <a:cubicBezTo>
                    <a:pt x="13" y="21"/>
                    <a:pt x="14" y="21"/>
                    <a:pt x="15" y="19"/>
                  </a:cubicBezTo>
                  <a:cubicBezTo>
                    <a:pt x="18" y="16"/>
                    <a:pt x="20" y="13"/>
                    <a:pt x="24" y="10"/>
                  </a:cubicBezTo>
                  <a:cubicBezTo>
                    <a:pt x="24" y="9"/>
                    <a:pt x="25" y="9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7" y="7"/>
                    <a:pt x="27" y="7"/>
                  </a:cubicBezTo>
                  <a:cubicBezTo>
                    <a:pt x="28" y="6"/>
                    <a:pt x="29" y="5"/>
                    <a:pt x="31" y="4"/>
                  </a:cubicBezTo>
                  <a:cubicBezTo>
                    <a:pt x="32" y="4"/>
                    <a:pt x="33" y="3"/>
                    <a:pt x="35" y="2"/>
                  </a:cubicBezTo>
                  <a:cubicBezTo>
                    <a:pt x="35" y="2"/>
                    <a:pt x="36" y="2"/>
                    <a:pt x="36" y="2"/>
                  </a:cubicBezTo>
                  <a:cubicBezTo>
                    <a:pt x="37" y="1"/>
                    <a:pt x="37" y="1"/>
                    <a:pt x="38" y="1"/>
                  </a:cubicBezTo>
                  <a:cubicBezTo>
                    <a:pt x="39" y="1"/>
                    <a:pt x="40" y="0"/>
                    <a:pt x="41" y="0"/>
                  </a:cubicBezTo>
                  <a:cubicBezTo>
                    <a:pt x="42" y="0"/>
                    <a:pt x="42" y="0"/>
                    <a:pt x="43" y="0"/>
                  </a:cubicBezTo>
                  <a:cubicBezTo>
                    <a:pt x="42" y="0"/>
                    <a:pt x="44" y="0"/>
                    <a:pt x="44" y="0"/>
                  </a:cubicBezTo>
                  <a:cubicBezTo>
                    <a:pt x="45" y="0"/>
                    <a:pt x="46" y="0"/>
                    <a:pt x="48" y="0"/>
                  </a:cubicBezTo>
                  <a:cubicBezTo>
                    <a:pt x="48" y="0"/>
                    <a:pt x="48" y="0"/>
                    <a:pt x="49" y="0"/>
                  </a:cubicBezTo>
                  <a:cubicBezTo>
                    <a:pt x="49" y="0"/>
                    <a:pt x="50" y="0"/>
                    <a:pt x="50" y="0"/>
                  </a:cubicBezTo>
                  <a:cubicBezTo>
                    <a:pt x="51" y="0"/>
                    <a:pt x="52" y="1"/>
                    <a:pt x="53" y="1"/>
                  </a:cubicBezTo>
                  <a:cubicBezTo>
                    <a:pt x="53" y="1"/>
                    <a:pt x="54" y="1"/>
                    <a:pt x="54" y="1"/>
                  </a:cubicBezTo>
                  <a:cubicBezTo>
                    <a:pt x="54" y="2"/>
                    <a:pt x="55" y="2"/>
                    <a:pt x="55" y="2"/>
                  </a:cubicBezTo>
                  <a:cubicBezTo>
                    <a:pt x="56" y="2"/>
                    <a:pt x="57" y="3"/>
                    <a:pt x="58" y="4"/>
                  </a:cubicBezTo>
                  <a:cubicBezTo>
                    <a:pt x="58" y="4"/>
                    <a:pt x="59" y="4"/>
                    <a:pt x="59" y="5"/>
                  </a:cubicBezTo>
                  <a:cubicBezTo>
                    <a:pt x="59" y="5"/>
                    <a:pt x="59" y="5"/>
                    <a:pt x="60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2" y="7"/>
                    <a:pt x="64" y="9"/>
                    <a:pt x="66" y="11"/>
                  </a:cubicBezTo>
                  <a:cubicBezTo>
                    <a:pt x="66" y="11"/>
                    <a:pt x="66" y="11"/>
                    <a:pt x="67" y="12"/>
                  </a:cubicBezTo>
                  <a:cubicBezTo>
                    <a:pt x="67" y="12"/>
                    <a:pt x="67" y="13"/>
                    <a:pt x="68" y="13"/>
                  </a:cubicBezTo>
                  <a:cubicBezTo>
                    <a:pt x="68" y="14"/>
                    <a:pt x="69" y="15"/>
                    <a:pt x="70" y="16"/>
                  </a:cubicBezTo>
                  <a:cubicBezTo>
                    <a:pt x="71" y="18"/>
                    <a:pt x="73" y="21"/>
                    <a:pt x="74" y="23"/>
                  </a:cubicBezTo>
                  <a:cubicBezTo>
                    <a:pt x="75" y="24"/>
                    <a:pt x="75" y="26"/>
                    <a:pt x="75" y="27"/>
                  </a:cubicBezTo>
                  <a:cubicBezTo>
                    <a:pt x="76" y="28"/>
                    <a:pt x="76" y="28"/>
                    <a:pt x="76" y="29"/>
                  </a:cubicBezTo>
                  <a:cubicBezTo>
                    <a:pt x="76" y="29"/>
                    <a:pt x="77" y="29"/>
                    <a:pt x="77" y="30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9" y="36"/>
                    <a:pt x="81" y="42"/>
                    <a:pt x="82" y="48"/>
                  </a:cubicBezTo>
                  <a:cubicBezTo>
                    <a:pt x="83" y="50"/>
                    <a:pt x="84" y="53"/>
                    <a:pt x="84" y="56"/>
                  </a:cubicBezTo>
                  <a:cubicBezTo>
                    <a:pt x="84" y="57"/>
                    <a:pt x="84" y="58"/>
                    <a:pt x="85" y="60"/>
                  </a:cubicBezTo>
                  <a:cubicBezTo>
                    <a:pt x="85" y="60"/>
                    <a:pt x="85" y="61"/>
                    <a:pt x="85" y="61"/>
                  </a:cubicBezTo>
                  <a:cubicBezTo>
                    <a:pt x="85" y="62"/>
                    <a:pt x="85" y="63"/>
                    <a:pt x="85" y="64"/>
                  </a:cubicBezTo>
                  <a:cubicBezTo>
                    <a:pt x="86" y="69"/>
                    <a:pt x="86" y="74"/>
                    <a:pt x="85" y="79"/>
                  </a:cubicBezTo>
                  <a:cubicBezTo>
                    <a:pt x="85" y="80"/>
                    <a:pt x="85" y="80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3"/>
                    <a:pt x="84" y="85"/>
                    <a:pt x="84" y="88"/>
                  </a:cubicBezTo>
                  <a:cubicBezTo>
                    <a:pt x="83" y="89"/>
                    <a:pt x="83" y="91"/>
                    <a:pt x="82" y="93"/>
                  </a:cubicBezTo>
                  <a:cubicBezTo>
                    <a:pt x="82" y="94"/>
                    <a:pt x="82" y="95"/>
                    <a:pt x="81" y="96"/>
                  </a:cubicBezTo>
                  <a:cubicBezTo>
                    <a:pt x="81" y="96"/>
                    <a:pt x="81" y="97"/>
                    <a:pt x="81" y="97"/>
                  </a:cubicBezTo>
                  <a:cubicBezTo>
                    <a:pt x="81" y="97"/>
                    <a:pt x="81" y="98"/>
                    <a:pt x="80" y="98"/>
                  </a:cubicBezTo>
                  <a:cubicBezTo>
                    <a:pt x="79" y="101"/>
                    <a:pt x="77" y="105"/>
                    <a:pt x="75" y="107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75" y="108"/>
                    <a:pt x="75" y="108"/>
                    <a:pt x="75" y="108"/>
                  </a:cubicBezTo>
                  <a:cubicBezTo>
                    <a:pt x="75" y="108"/>
                    <a:pt x="74" y="108"/>
                    <a:pt x="74" y="109"/>
                  </a:cubicBezTo>
                  <a:cubicBezTo>
                    <a:pt x="74" y="109"/>
                    <a:pt x="73" y="110"/>
                    <a:pt x="72" y="111"/>
                  </a:cubicBezTo>
                  <a:cubicBezTo>
                    <a:pt x="71" y="112"/>
                    <a:pt x="70" y="113"/>
                    <a:pt x="68" y="115"/>
                  </a:cubicBezTo>
                  <a:cubicBezTo>
                    <a:pt x="67" y="116"/>
                    <a:pt x="66" y="117"/>
                    <a:pt x="65" y="117"/>
                  </a:cubicBezTo>
                  <a:cubicBezTo>
                    <a:pt x="65" y="118"/>
                    <a:pt x="65" y="118"/>
                    <a:pt x="64" y="118"/>
                  </a:cubicBezTo>
                  <a:cubicBezTo>
                    <a:pt x="64" y="119"/>
                    <a:pt x="64" y="119"/>
                    <a:pt x="64" y="119"/>
                  </a:cubicBezTo>
                  <a:cubicBezTo>
                    <a:pt x="63" y="119"/>
                    <a:pt x="63" y="120"/>
                    <a:pt x="62" y="120"/>
                  </a:cubicBezTo>
                  <a:cubicBezTo>
                    <a:pt x="61" y="121"/>
                    <a:pt x="61" y="121"/>
                    <a:pt x="61" y="121"/>
                  </a:cubicBezTo>
                  <a:cubicBezTo>
                    <a:pt x="48" y="126"/>
                    <a:pt x="35" y="127"/>
                    <a:pt x="22" y="128"/>
                  </a:cubicBezTo>
                  <a:cubicBezTo>
                    <a:pt x="19" y="122"/>
                    <a:pt x="15" y="116"/>
                    <a:pt x="13" y="111"/>
                  </a:cubicBezTo>
                  <a:cubicBezTo>
                    <a:pt x="12" y="109"/>
                    <a:pt x="11" y="107"/>
                    <a:pt x="10" y="106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4" name="îśļiḋe">
              <a:extLst>
                <a:ext uri="{FF2B5EF4-FFF2-40B4-BE49-F238E27FC236}">
                  <a16:creationId xmlns:a16="http://schemas.microsoft.com/office/drawing/2014/main" id="{89E4BA0E-68E4-403B-9BE4-D00E253992DD}"/>
                </a:ext>
              </a:extLst>
            </p:cNvPr>
            <p:cNvSpPr/>
            <p:nvPr/>
          </p:nvSpPr>
          <p:spPr bwMode="auto">
            <a:xfrm>
              <a:off x="7251930" y="1887789"/>
              <a:ext cx="245690" cy="370016"/>
            </a:xfrm>
            <a:custGeom>
              <a:avLst/>
              <a:gdLst>
                <a:gd name="T0" fmla="*/ 20 w 80"/>
                <a:gd name="T1" fmla="*/ 9 h 120"/>
                <a:gd name="T2" fmla="*/ 21 w 80"/>
                <a:gd name="T3" fmla="*/ 9 h 120"/>
                <a:gd name="T4" fmla="*/ 24 w 80"/>
                <a:gd name="T5" fmla="*/ 7 h 120"/>
                <a:gd name="T6" fmla="*/ 29 w 80"/>
                <a:gd name="T7" fmla="*/ 4 h 120"/>
                <a:gd name="T8" fmla="*/ 33 w 80"/>
                <a:gd name="T9" fmla="*/ 2 h 120"/>
                <a:gd name="T10" fmla="*/ 44 w 80"/>
                <a:gd name="T11" fmla="*/ 1 h 120"/>
                <a:gd name="T12" fmla="*/ 50 w 80"/>
                <a:gd name="T13" fmla="*/ 1 h 120"/>
                <a:gd name="T14" fmla="*/ 53 w 80"/>
                <a:gd name="T15" fmla="*/ 2 h 120"/>
                <a:gd name="T16" fmla="*/ 56 w 80"/>
                <a:gd name="T17" fmla="*/ 3 h 120"/>
                <a:gd name="T18" fmla="*/ 61 w 80"/>
                <a:gd name="T19" fmla="*/ 5 h 120"/>
                <a:gd name="T20" fmla="*/ 63 w 80"/>
                <a:gd name="T21" fmla="*/ 7 h 120"/>
                <a:gd name="T22" fmla="*/ 67 w 80"/>
                <a:gd name="T23" fmla="*/ 11 h 120"/>
                <a:gd name="T24" fmla="*/ 69 w 80"/>
                <a:gd name="T25" fmla="*/ 13 h 120"/>
                <a:gd name="T26" fmla="*/ 74 w 80"/>
                <a:gd name="T27" fmla="*/ 23 h 120"/>
                <a:gd name="T28" fmla="*/ 75 w 80"/>
                <a:gd name="T29" fmla="*/ 24 h 120"/>
                <a:gd name="T30" fmla="*/ 77 w 80"/>
                <a:gd name="T31" fmla="*/ 31 h 120"/>
                <a:gd name="T32" fmla="*/ 79 w 80"/>
                <a:gd name="T33" fmla="*/ 41 h 120"/>
                <a:gd name="T34" fmla="*/ 79 w 80"/>
                <a:gd name="T35" fmla="*/ 43 h 120"/>
                <a:gd name="T36" fmla="*/ 80 w 80"/>
                <a:gd name="T37" fmla="*/ 51 h 120"/>
                <a:gd name="T38" fmla="*/ 76 w 80"/>
                <a:gd name="T39" fmla="*/ 71 h 120"/>
                <a:gd name="T40" fmla="*/ 75 w 80"/>
                <a:gd name="T41" fmla="*/ 79 h 120"/>
                <a:gd name="T42" fmla="*/ 56 w 80"/>
                <a:gd name="T43" fmla="*/ 112 h 120"/>
                <a:gd name="T44" fmla="*/ 38 w 80"/>
                <a:gd name="T45" fmla="*/ 113 h 120"/>
                <a:gd name="T46" fmla="*/ 34 w 80"/>
                <a:gd name="T47" fmla="*/ 104 h 120"/>
                <a:gd name="T48" fmla="*/ 67 w 80"/>
                <a:gd name="T49" fmla="*/ 47 h 120"/>
                <a:gd name="T50" fmla="*/ 72 w 80"/>
                <a:gd name="T51" fmla="*/ 51 h 120"/>
                <a:gd name="T52" fmla="*/ 73 w 80"/>
                <a:gd name="T53" fmla="*/ 48 h 120"/>
                <a:gd name="T54" fmla="*/ 71 w 80"/>
                <a:gd name="T55" fmla="*/ 36 h 120"/>
                <a:gd name="T56" fmla="*/ 57 w 80"/>
                <a:gd name="T57" fmla="*/ 10 h 120"/>
                <a:gd name="T58" fmla="*/ 45 w 80"/>
                <a:gd name="T59" fmla="*/ 12 h 120"/>
                <a:gd name="T60" fmla="*/ 62 w 80"/>
                <a:gd name="T61" fmla="*/ 25 h 120"/>
                <a:gd name="T62" fmla="*/ 67 w 80"/>
                <a:gd name="T63" fmla="*/ 43 h 120"/>
                <a:gd name="T64" fmla="*/ 63 w 80"/>
                <a:gd name="T65" fmla="*/ 41 h 120"/>
                <a:gd name="T66" fmla="*/ 43 w 80"/>
                <a:gd name="T67" fmla="*/ 46 h 120"/>
                <a:gd name="T68" fmla="*/ 24 w 80"/>
                <a:gd name="T69" fmla="*/ 48 h 120"/>
                <a:gd name="T70" fmla="*/ 0 w 80"/>
                <a:gd name="T71" fmla="*/ 4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0" h="120">
                  <a:moveTo>
                    <a:pt x="20" y="9"/>
                  </a:move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2" y="8"/>
                  </a:cubicBezTo>
                  <a:cubicBezTo>
                    <a:pt x="22" y="8"/>
                    <a:pt x="23" y="7"/>
                    <a:pt x="24" y="7"/>
                  </a:cubicBezTo>
                  <a:cubicBezTo>
                    <a:pt x="26" y="6"/>
                    <a:pt x="27" y="5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1" y="3"/>
                    <a:pt x="32" y="3"/>
                    <a:pt x="33" y="2"/>
                  </a:cubicBezTo>
                  <a:cubicBezTo>
                    <a:pt x="35" y="2"/>
                    <a:pt x="37" y="1"/>
                    <a:pt x="39" y="1"/>
                  </a:cubicBezTo>
                  <a:cubicBezTo>
                    <a:pt x="40" y="1"/>
                    <a:pt x="42" y="1"/>
                    <a:pt x="44" y="1"/>
                  </a:cubicBezTo>
                  <a:cubicBezTo>
                    <a:pt x="45" y="0"/>
                    <a:pt x="47" y="1"/>
                    <a:pt x="49" y="1"/>
                  </a:cubicBezTo>
                  <a:cubicBezTo>
                    <a:pt x="49" y="1"/>
                    <a:pt x="50" y="1"/>
                    <a:pt x="50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1" y="1"/>
                    <a:pt x="52" y="1"/>
                    <a:pt x="53" y="2"/>
                  </a:cubicBezTo>
                  <a:cubicBezTo>
                    <a:pt x="54" y="2"/>
                    <a:pt x="54" y="2"/>
                    <a:pt x="55" y="2"/>
                  </a:cubicBezTo>
                  <a:cubicBezTo>
                    <a:pt x="55" y="3"/>
                    <a:pt x="56" y="3"/>
                    <a:pt x="56" y="3"/>
                  </a:cubicBezTo>
                  <a:cubicBezTo>
                    <a:pt x="55" y="3"/>
                    <a:pt x="57" y="3"/>
                    <a:pt x="57" y="3"/>
                  </a:cubicBezTo>
                  <a:cubicBezTo>
                    <a:pt x="58" y="4"/>
                    <a:pt x="60" y="5"/>
                    <a:pt x="61" y="5"/>
                  </a:cubicBezTo>
                  <a:cubicBezTo>
                    <a:pt x="61" y="6"/>
                    <a:pt x="62" y="6"/>
                    <a:pt x="62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4" y="7"/>
                    <a:pt x="64" y="8"/>
                  </a:cubicBezTo>
                  <a:cubicBezTo>
                    <a:pt x="65" y="9"/>
                    <a:pt x="66" y="10"/>
                    <a:pt x="67" y="11"/>
                  </a:cubicBezTo>
                  <a:cubicBezTo>
                    <a:pt x="68" y="12"/>
                    <a:pt x="68" y="12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4"/>
                    <a:pt x="70" y="14"/>
                  </a:cubicBezTo>
                  <a:cubicBezTo>
                    <a:pt x="71" y="17"/>
                    <a:pt x="73" y="20"/>
                    <a:pt x="74" y="23"/>
                  </a:cubicBezTo>
                  <a:cubicBezTo>
                    <a:pt x="75" y="23"/>
                    <a:pt x="75" y="23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5"/>
                    <a:pt x="76" y="26"/>
                    <a:pt x="76" y="26"/>
                  </a:cubicBezTo>
                  <a:cubicBezTo>
                    <a:pt x="76" y="28"/>
                    <a:pt x="77" y="30"/>
                    <a:pt x="77" y="31"/>
                  </a:cubicBezTo>
                  <a:cubicBezTo>
                    <a:pt x="78" y="35"/>
                    <a:pt x="79" y="38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9" y="42"/>
                    <a:pt x="79" y="42"/>
                    <a:pt x="79" y="43"/>
                  </a:cubicBezTo>
                  <a:cubicBezTo>
                    <a:pt x="80" y="43"/>
                    <a:pt x="80" y="44"/>
                    <a:pt x="80" y="45"/>
                  </a:cubicBezTo>
                  <a:cubicBezTo>
                    <a:pt x="80" y="47"/>
                    <a:pt x="80" y="49"/>
                    <a:pt x="80" y="51"/>
                  </a:cubicBezTo>
                  <a:cubicBezTo>
                    <a:pt x="80" y="56"/>
                    <a:pt x="79" y="59"/>
                    <a:pt x="78" y="64"/>
                  </a:cubicBezTo>
                  <a:cubicBezTo>
                    <a:pt x="78" y="66"/>
                    <a:pt x="77" y="68"/>
                    <a:pt x="76" y="71"/>
                  </a:cubicBezTo>
                  <a:cubicBezTo>
                    <a:pt x="76" y="73"/>
                    <a:pt x="75" y="75"/>
                    <a:pt x="75" y="78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68" y="87"/>
                    <a:pt x="63" y="96"/>
                    <a:pt x="58" y="106"/>
                  </a:cubicBezTo>
                  <a:cubicBezTo>
                    <a:pt x="57" y="108"/>
                    <a:pt x="57" y="110"/>
                    <a:pt x="56" y="112"/>
                  </a:cubicBezTo>
                  <a:cubicBezTo>
                    <a:pt x="53" y="115"/>
                    <a:pt x="49" y="117"/>
                    <a:pt x="46" y="120"/>
                  </a:cubicBezTo>
                  <a:cubicBezTo>
                    <a:pt x="44" y="117"/>
                    <a:pt x="41" y="115"/>
                    <a:pt x="38" y="113"/>
                  </a:cubicBezTo>
                  <a:cubicBezTo>
                    <a:pt x="35" y="111"/>
                    <a:pt x="33" y="110"/>
                    <a:pt x="30" y="108"/>
                  </a:cubicBezTo>
                  <a:cubicBezTo>
                    <a:pt x="31" y="107"/>
                    <a:pt x="33" y="105"/>
                    <a:pt x="34" y="104"/>
                  </a:cubicBezTo>
                  <a:cubicBezTo>
                    <a:pt x="43" y="95"/>
                    <a:pt x="50" y="86"/>
                    <a:pt x="57" y="76"/>
                  </a:cubicBezTo>
                  <a:cubicBezTo>
                    <a:pt x="62" y="67"/>
                    <a:pt x="66" y="57"/>
                    <a:pt x="67" y="47"/>
                  </a:cubicBezTo>
                  <a:cubicBezTo>
                    <a:pt x="68" y="49"/>
                    <a:pt x="68" y="50"/>
                    <a:pt x="69" y="51"/>
                  </a:cubicBezTo>
                  <a:cubicBezTo>
                    <a:pt x="70" y="52"/>
                    <a:pt x="71" y="52"/>
                    <a:pt x="72" y="51"/>
                  </a:cubicBezTo>
                  <a:cubicBezTo>
                    <a:pt x="72" y="51"/>
                    <a:pt x="72" y="50"/>
                    <a:pt x="73" y="49"/>
                  </a:cubicBezTo>
                  <a:cubicBezTo>
                    <a:pt x="73" y="49"/>
                    <a:pt x="73" y="48"/>
                    <a:pt x="73" y="48"/>
                  </a:cubicBezTo>
                  <a:cubicBezTo>
                    <a:pt x="73" y="46"/>
                    <a:pt x="73" y="45"/>
                    <a:pt x="73" y="44"/>
                  </a:cubicBezTo>
                  <a:cubicBezTo>
                    <a:pt x="72" y="42"/>
                    <a:pt x="72" y="39"/>
                    <a:pt x="71" y="36"/>
                  </a:cubicBezTo>
                  <a:cubicBezTo>
                    <a:pt x="70" y="31"/>
                    <a:pt x="69" y="26"/>
                    <a:pt x="67" y="21"/>
                  </a:cubicBezTo>
                  <a:cubicBezTo>
                    <a:pt x="65" y="17"/>
                    <a:pt x="62" y="12"/>
                    <a:pt x="57" y="10"/>
                  </a:cubicBezTo>
                  <a:cubicBezTo>
                    <a:pt x="53" y="7"/>
                    <a:pt x="48" y="7"/>
                    <a:pt x="43" y="8"/>
                  </a:cubicBezTo>
                  <a:cubicBezTo>
                    <a:pt x="41" y="9"/>
                    <a:pt x="42" y="13"/>
                    <a:pt x="45" y="12"/>
                  </a:cubicBezTo>
                  <a:cubicBezTo>
                    <a:pt x="49" y="11"/>
                    <a:pt x="52" y="12"/>
                    <a:pt x="55" y="14"/>
                  </a:cubicBezTo>
                  <a:cubicBezTo>
                    <a:pt x="58" y="17"/>
                    <a:pt x="61" y="21"/>
                    <a:pt x="62" y="25"/>
                  </a:cubicBezTo>
                  <a:cubicBezTo>
                    <a:pt x="64" y="29"/>
                    <a:pt x="65" y="34"/>
                    <a:pt x="66" y="39"/>
                  </a:cubicBezTo>
                  <a:cubicBezTo>
                    <a:pt x="66" y="40"/>
                    <a:pt x="67" y="42"/>
                    <a:pt x="67" y="43"/>
                  </a:cubicBezTo>
                  <a:cubicBezTo>
                    <a:pt x="67" y="43"/>
                    <a:pt x="66" y="43"/>
                    <a:pt x="66" y="43"/>
                  </a:cubicBezTo>
                  <a:cubicBezTo>
                    <a:pt x="66" y="41"/>
                    <a:pt x="65" y="40"/>
                    <a:pt x="63" y="41"/>
                  </a:cubicBezTo>
                  <a:cubicBezTo>
                    <a:pt x="58" y="42"/>
                    <a:pt x="54" y="43"/>
                    <a:pt x="50" y="44"/>
                  </a:cubicBezTo>
                  <a:cubicBezTo>
                    <a:pt x="48" y="45"/>
                    <a:pt x="45" y="45"/>
                    <a:pt x="43" y="46"/>
                  </a:cubicBezTo>
                  <a:cubicBezTo>
                    <a:pt x="41" y="46"/>
                    <a:pt x="39" y="46"/>
                    <a:pt x="37" y="47"/>
                  </a:cubicBezTo>
                  <a:cubicBezTo>
                    <a:pt x="33" y="48"/>
                    <a:pt x="28" y="48"/>
                    <a:pt x="24" y="48"/>
                  </a:cubicBezTo>
                  <a:cubicBezTo>
                    <a:pt x="20" y="48"/>
                    <a:pt x="15" y="47"/>
                    <a:pt x="11" y="46"/>
                  </a:cubicBezTo>
                  <a:cubicBezTo>
                    <a:pt x="7" y="46"/>
                    <a:pt x="3" y="45"/>
                    <a:pt x="0" y="44"/>
                  </a:cubicBezTo>
                  <a:cubicBezTo>
                    <a:pt x="4" y="31"/>
                    <a:pt x="9" y="19"/>
                    <a:pt x="20" y="9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5" name="îśliḍè">
              <a:extLst>
                <a:ext uri="{FF2B5EF4-FFF2-40B4-BE49-F238E27FC236}">
                  <a16:creationId xmlns:a16="http://schemas.microsoft.com/office/drawing/2014/main" id="{0EE70E05-2F4B-4D02-B000-2C5843AA4665}"/>
                </a:ext>
              </a:extLst>
            </p:cNvPr>
            <p:cNvSpPr/>
            <p:nvPr/>
          </p:nvSpPr>
          <p:spPr bwMode="auto">
            <a:xfrm>
              <a:off x="7420657" y="2097958"/>
              <a:ext cx="290092" cy="399617"/>
            </a:xfrm>
            <a:custGeom>
              <a:avLst/>
              <a:gdLst>
                <a:gd name="T0" fmla="*/ 35 w 94"/>
                <a:gd name="T1" fmla="*/ 8 h 130"/>
                <a:gd name="T2" fmla="*/ 36 w 94"/>
                <a:gd name="T3" fmla="*/ 7 h 130"/>
                <a:gd name="T4" fmla="*/ 43 w 94"/>
                <a:gd name="T5" fmla="*/ 3 h 130"/>
                <a:gd name="T6" fmla="*/ 46 w 94"/>
                <a:gd name="T7" fmla="*/ 1 h 130"/>
                <a:gd name="T8" fmla="*/ 52 w 94"/>
                <a:gd name="T9" fmla="*/ 0 h 130"/>
                <a:gd name="T10" fmla="*/ 53 w 94"/>
                <a:gd name="T11" fmla="*/ 0 h 130"/>
                <a:gd name="T12" fmla="*/ 59 w 94"/>
                <a:gd name="T13" fmla="*/ 0 h 130"/>
                <a:gd name="T14" fmla="*/ 61 w 94"/>
                <a:gd name="T15" fmla="*/ 0 h 130"/>
                <a:gd name="T16" fmla="*/ 67 w 94"/>
                <a:gd name="T17" fmla="*/ 2 h 130"/>
                <a:gd name="T18" fmla="*/ 69 w 94"/>
                <a:gd name="T19" fmla="*/ 3 h 130"/>
                <a:gd name="T20" fmla="*/ 77 w 94"/>
                <a:gd name="T21" fmla="*/ 8 h 130"/>
                <a:gd name="T22" fmla="*/ 78 w 94"/>
                <a:gd name="T23" fmla="*/ 9 h 130"/>
                <a:gd name="T24" fmla="*/ 84 w 94"/>
                <a:gd name="T25" fmla="*/ 15 h 130"/>
                <a:gd name="T26" fmla="*/ 85 w 94"/>
                <a:gd name="T27" fmla="*/ 16 h 130"/>
                <a:gd name="T28" fmla="*/ 86 w 94"/>
                <a:gd name="T29" fmla="*/ 17 h 130"/>
                <a:gd name="T30" fmla="*/ 91 w 94"/>
                <a:gd name="T31" fmla="*/ 25 h 130"/>
                <a:gd name="T32" fmla="*/ 91 w 94"/>
                <a:gd name="T33" fmla="*/ 27 h 130"/>
                <a:gd name="T34" fmla="*/ 94 w 94"/>
                <a:gd name="T35" fmla="*/ 38 h 130"/>
                <a:gd name="T36" fmla="*/ 94 w 94"/>
                <a:gd name="T37" fmla="*/ 39 h 130"/>
                <a:gd name="T38" fmla="*/ 94 w 94"/>
                <a:gd name="T39" fmla="*/ 42 h 130"/>
                <a:gd name="T40" fmla="*/ 94 w 94"/>
                <a:gd name="T41" fmla="*/ 56 h 130"/>
                <a:gd name="T42" fmla="*/ 94 w 94"/>
                <a:gd name="T43" fmla="*/ 58 h 130"/>
                <a:gd name="T44" fmla="*/ 93 w 94"/>
                <a:gd name="T45" fmla="*/ 65 h 130"/>
                <a:gd name="T46" fmla="*/ 89 w 94"/>
                <a:gd name="T47" fmla="*/ 79 h 130"/>
                <a:gd name="T48" fmla="*/ 88 w 94"/>
                <a:gd name="T49" fmla="*/ 82 h 130"/>
                <a:gd name="T50" fmla="*/ 83 w 94"/>
                <a:gd name="T51" fmla="*/ 92 h 130"/>
                <a:gd name="T52" fmla="*/ 77 w 94"/>
                <a:gd name="T53" fmla="*/ 101 h 130"/>
                <a:gd name="T54" fmla="*/ 75 w 94"/>
                <a:gd name="T55" fmla="*/ 104 h 130"/>
                <a:gd name="T56" fmla="*/ 65 w 94"/>
                <a:gd name="T57" fmla="*/ 115 h 130"/>
                <a:gd name="T58" fmla="*/ 38 w 94"/>
                <a:gd name="T59" fmla="*/ 129 h 130"/>
                <a:gd name="T60" fmla="*/ 32 w 94"/>
                <a:gd name="T61" fmla="*/ 130 h 130"/>
                <a:gd name="T62" fmla="*/ 27 w 94"/>
                <a:gd name="T63" fmla="*/ 117 h 130"/>
                <a:gd name="T64" fmla="*/ 3 w 94"/>
                <a:gd name="T65" fmla="*/ 95 h 130"/>
                <a:gd name="T66" fmla="*/ 3 w 94"/>
                <a:gd name="T67" fmla="*/ 80 h 130"/>
                <a:gd name="T68" fmla="*/ 4 w 94"/>
                <a:gd name="T69" fmla="*/ 58 h 130"/>
                <a:gd name="T70" fmla="*/ 21 w 94"/>
                <a:gd name="T71" fmla="*/ 23 h 130"/>
                <a:gd name="T72" fmla="*/ 23 w 94"/>
                <a:gd name="T73" fmla="*/ 21 h 130"/>
                <a:gd name="T74" fmla="*/ 26 w 94"/>
                <a:gd name="T75" fmla="*/ 16 h 130"/>
                <a:gd name="T76" fmla="*/ 35 w 94"/>
                <a:gd name="T77" fmla="*/ 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" h="130">
                  <a:moveTo>
                    <a:pt x="35" y="8"/>
                  </a:move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7"/>
                    <a:pt x="36" y="7"/>
                  </a:cubicBezTo>
                  <a:cubicBezTo>
                    <a:pt x="37" y="6"/>
                    <a:pt x="38" y="5"/>
                    <a:pt x="39" y="5"/>
                  </a:cubicBezTo>
                  <a:cubicBezTo>
                    <a:pt x="41" y="4"/>
                    <a:pt x="42" y="3"/>
                    <a:pt x="43" y="3"/>
                  </a:cubicBezTo>
                  <a:cubicBezTo>
                    <a:pt x="43" y="3"/>
                    <a:pt x="44" y="2"/>
                    <a:pt x="45" y="2"/>
                  </a:cubicBezTo>
                  <a:cubicBezTo>
                    <a:pt x="45" y="2"/>
                    <a:pt x="45" y="2"/>
                    <a:pt x="46" y="1"/>
                  </a:cubicBezTo>
                  <a:cubicBezTo>
                    <a:pt x="47" y="1"/>
                    <a:pt x="48" y="1"/>
                    <a:pt x="50" y="0"/>
                  </a:cubicBezTo>
                  <a:cubicBezTo>
                    <a:pt x="50" y="0"/>
                    <a:pt x="51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3" y="0"/>
                    <a:pt x="53" y="0"/>
                  </a:cubicBezTo>
                  <a:cubicBezTo>
                    <a:pt x="54" y="0"/>
                    <a:pt x="56" y="0"/>
                    <a:pt x="57" y="0"/>
                  </a:cubicBezTo>
                  <a:cubicBezTo>
                    <a:pt x="58" y="0"/>
                    <a:pt x="59" y="0"/>
                    <a:pt x="59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1" y="0"/>
                  </a:cubicBezTo>
                  <a:cubicBezTo>
                    <a:pt x="62" y="0"/>
                    <a:pt x="64" y="1"/>
                    <a:pt x="65" y="1"/>
                  </a:cubicBezTo>
                  <a:cubicBezTo>
                    <a:pt x="66" y="1"/>
                    <a:pt x="66" y="2"/>
                    <a:pt x="67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2"/>
                    <a:pt x="68" y="2"/>
                    <a:pt x="69" y="3"/>
                  </a:cubicBezTo>
                  <a:cubicBezTo>
                    <a:pt x="71" y="4"/>
                    <a:pt x="74" y="6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8" y="8"/>
                    <a:pt x="78" y="9"/>
                    <a:pt x="78" y="9"/>
                  </a:cubicBezTo>
                  <a:cubicBezTo>
                    <a:pt x="79" y="10"/>
                    <a:pt x="80" y="11"/>
                    <a:pt x="80" y="11"/>
                  </a:cubicBezTo>
                  <a:cubicBezTo>
                    <a:pt x="81" y="12"/>
                    <a:pt x="83" y="13"/>
                    <a:pt x="84" y="15"/>
                  </a:cubicBezTo>
                  <a:cubicBezTo>
                    <a:pt x="84" y="15"/>
                    <a:pt x="85" y="16"/>
                    <a:pt x="85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7" y="19"/>
                    <a:pt x="88" y="20"/>
                    <a:pt x="89" y="22"/>
                  </a:cubicBezTo>
                  <a:cubicBezTo>
                    <a:pt x="89" y="23"/>
                    <a:pt x="90" y="24"/>
                    <a:pt x="91" y="25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1" y="27"/>
                    <a:pt x="92" y="28"/>
                    <a:pt x="92" y="29"/>
                  </a:cubicBezTo>
                  <a:cubicBezTo>
                    <a:pt x="93" y="32"/>
                    <a:pt x="94" y="35"/>
                    <a:pt x="94" y="38"/>
                  </a:cubicBezTo>
                  <a:cubicBezTo>
                    <a:pt x="94" y="38"/>
                    <a:pt x="94" y="39"/>
                    <a:pt x="94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4" y="40"/>
                    <a:pt x="94" y="41"/>
                    <a:pt x="94" y="42"/>
                  </a:cubicBezTo>
                  <a:cubicBezTo>
                    <a:pt x="94" y="44"/>
                    <a:pt x="94" y="45"/>
                    <a:pt x="94" y="47"/>
                  </a:cubicBezTo>
                  <a:cubicBezTo>
                    <a:pt x="94" y="50"/>
                    <a:pt x="94" y="53"/>
                    <a:pt x="94" y="56"/>
                  </a:cubicBezTo>
                  <a:cubicBezTo>
                    <a:pt x="94" y="57"/>
                    <a:pt x="94" y="57"/>
                    <a:pt x="94" y="58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4" y="59"/>
                    <a:pt x="94" y="59"/>
                    <a:pt x="94" y="60"/>
                  </a:cubicBezTo>
                  <a:cubicBezTo>
                    <a:pt x="94" y="62"/>
                    <a:pt x="93" y="63"/>
                    <a:pt x="93" y="65"/>
                  </a:cubicBezTo>
                  <a:cubicBezTo>
                    <a:pt x="92" y="68"/>
                    <a:pt x="91" y="71"/>
                    <a:pt x="90" y="75"/>
                  </a:cubicBezTo>
                  <a:cubicBezTo>
                    <a:pt x="90" y="76"/>
                    <a:pt x="89" y="78"/>
                    <a:pt x="89" y="79"/>
                  </a:cubicBezTo>
                  <a:cubicBezTo>
                    <a:pt x="88" y="80"/>
                    <a:pt x="88" y="81"/>
                    <a:pt x="88" y="81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7" y="82"/>
                    <a:pt x="87" y="83"/>
                    <a:pt x="87" y="83"/>
                  </a:cubicBezTo>
                  <a:cubicBezTo>
                    <a:pt x="86" y="86"/>
                    <a:pt x="84" y="89"/>
                    <a:pt x="83" y="92"/>
                  </a:cubicBezTo>
                  <a:cubicBezTo>
                    <a:pt x="81" y="94"/>
                    <a:pt x="80" y="96"/>
                    <a:pt x="79" y="98"/>
                  </a:cubicBezTo>
                  <a:cubicBezTo>
                    <a:pt x="78" y="99"/>
                    <a:pt x="77" y="100"/>
                    <a:pt x="77" y="101"/>
                  </a:cubicBezTo>
                  <a:cubicBezTo>
                    <a:pt x="76" y="102"/>
                    <a:pt x="76" y="102"/>
                    <a:pt x="75" y="103"/>
                  </a:cubicBezTo>
                  <a:cubicBezTo>
                    <a:pt x="75" y="103"/>
                    <a:pt x="75" y="103"/>
                    <a:pt x="75" y="104"/>
                  </a:cubicBezTo>
                  <a:cubicBezTo>
                    <a:pt x="75" y="103"/>
                    <a:pt x="75" y="104"/>
                    <a:pt x="75" y="104"/>
                  </a:cubicBezTo>
                  <a:cubicBezTo>
                    <a:pt x="72" y="108"/>
                    <a:pt x="69" y="112"/>
                    <a:pt x="65" y="115"/>
                  </a:cubicBezTo>
                  <a:cubicBezTo>
                    <a:pt x="60" y="119"/>
                    <a:pt x="54" y="123"/>
                    <a:pt x="48" y="126"/>
                  </a:cubicBezTo>
                  <a:cubicBezTo>
                    <a:pt x="45" y="127"/>
                    <a:pt x="42" y="128"/>
                    <a:pt x="38" y="129"/>
                  </a:cubicBezTo>
                  <a:cubicBezTo>
                    <a:pt x="37" y="129"/>
                    <a:pt x="35" y="129"/>
                    <a:pt x="33" y="130"/>
                  </a:cubicBezTo>
                  <a:cubicBezTo>
                    <a:pt x="33" y="130"/>
                    <a:pt x="33" y="130"/>
                    <a:pt x="32" y="130"/>
                  </a:cubicBezTo>
                  <a:cubicBezTo>
                    <a:pt x="32" y="130"/>
                    <a:pt x="32" y="129"/>
                    <a:pt x="32" y="129"/>
                  </a:cubicBezTo>
                  <a:cubicBezTo>
                    <a:pt x="31" y="125"/>
                    <a:pt x="29" y="121"/>
                    <a:pt x="27" y="117"/>
                  </a:cubicBezTo>
                  <a:cubicBezTo>
                    <a:pt x="22" y="110"/>
                    <a:pt x="16" y="104"/>
                    <a:pt x="9" y="99"/>
                  </a:cubicBezTo>
                  <a:cubicBezTo>
                    <a:pt x="7" y="97"/>
                    <a:pt x="5" y="96"/>
                    <a:pt x="3" y="95"/>
                  </a:cubicBezTo>
                  <a:cubicBezTo>
                    <a:pt x="3" y="93"/>
                    <a:pt x="3" y="92"/>
                    <a:pt x="4" y="90"/>
                  </a:cubicBezTo>
                  <a:cubicBezTo>
                    <a:pt x="4" y="87"/>
                    <a:pt x="3" y="83"/>
                    <a:pt x="3" y="80"/>
                  </a:cubicBezTo>
                  <a:cubicBezTo>
                    <a:pt x="2" y="76"/>
                    <a:pt x="1" y="72"/>
                    <a:pt x="0" y="69"/>
                  </a:cubicBezTo>
                  <a:cubicBezTo>
                    <a:pt x="1" y="65"/>
                    <a:pt x="3" y="61"/>
                    <a:pt x="4" y="58"/>
                  </a:cubicBezTo>
                  <a:cubicBezTo>
                    <a:pt x="6" y="51"/>
                    <a:pt x="8" y="47"/>
                    <a:pt x="11" y="40"/>
                  </a:cubicBezTo>
                  <a:cubicBezTo>
                    <a:pt x="14" y="34"/>
                    <a:pt x="17" y="29"/>
                    <a:pt x="21" y="23"/>
                  </a:cubicBezTo>
                  <a:cubicBezTo>
                    <a:pt x="21" y="23"/>
                    <a:pt x="22" y="22"/>
                    <a:pt x="22" y="21"/>
                  </a:cubicBezTo>
                  <a:cubicBezTo>
                    <a:pt x="22" y="21"/>
                    <a:pt x="22" y="21"/>
                    <a:pt x="23" y="21"/>
                  </a:cubicBezTo>
                  <a:cubicBezTo>
                    <a:pt x="23" y="21"/>
                    <a:pt x="23" y="20"/>
                    <a:pt x="23" y="20"/>
                  </a:cubicBezTo>
                  <a:cubicBezTo>
                    <a:pt x="24" y="19"/>
                    <a:pt x="25" y="18"/>
                    <a:pt x="26" y="16"/>
                  </a:cubicBezTo>
                  <a:cubicBezTo>
                    <a:pt x="28" y="14"/>
                    <a:pt x="31" y="12"/>
                    <a:pt x="33" y="9"/>
                  </a:cubicBezTo>
                  <a:cubicBezTo>
                    <a:pt x="33" y="9"/>
                    <a:pt x="34" y="8"/>
                    <a:pt x="35" y="8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6" name="ïṩḻïḑe">
              <a:extLst>
                <a:ext uri="{FF2B5EF4-FFF2-40B4-BE49-F238E27FC236}">
                  <a16:creationId xmlns:a16="http://schemas.microsoft.com/office/drawing/2014/main" id="{7774F2F9-05DE-44E9-87AF-070B114D8ECF}"/>
                </a:ext>
              </a:extLst>
            </p:cNvPr>
            <p:cNvSpPr/>
            <p:nvPr/>
          </p:nvSpPr>
          <p:spPr bwMode="auto">
            <a:xfrm>
              <a:off x="7214928" y="2395450"/>
              <a:ext cx="279732" cy="454380"/>
            </a:xfrm>
            <a:custGeom>
              <a:avLst/>
              <a:gdLst>
                <a:gd name="T0" fmla="*/ 31 w 91"/>
                <a:gd name="T1" fmla="*/ 148 h 148"/>
                <a:gd name="T2" fmla="*/ 31 w 91"/>
                <a:gd name="T3" fmla="*/ 148 h 148"/>
                <a:gd name="T4" fmla="*/ 26 w 91"/>
                <a:gd name="T5" fmla="*/ 145 h 148"/>
                <a:gd name="T6" fmla="*/ 22 w 91"/>
                <a:gd name="T7" fmla="*/ 142 h 148"/>
                <a:gd name="T8" fmla="*/ 15 w 91"/>
                <a:gd name="T9" fmla="*/ 133 h 148"/>
                <a:gd name="T10" fmla="*/ 10 w 91"/>
                <a:gd name="T11" fmla="*/ 122 h 148"/>
                <a:gd name="T12" fmla="*/ 8 w 91"/>
                <a:gd name="T13" fmla="*/ 117 h 148"/>
                <a:gd name="T14" fmla="*/ 7 w 91"/>
                <a:gd name="T15" fmla="*/ 117 h 148"/>
                <a:gd name="T16" fmla="*/ 9 w 91"/>
                <a:gd name="T17" fmla="*/ 105 h 148"/>
                <a:gd name="T18" fmla="*/ 0 w 91"/>
                <a:gd name="T19" fmla="*/ 60 h 148"/>
                <a:gd name="T20" fmla="*/ 0 w 91"/>
                <a:gd name="T21" fmla="*/ 53 h 148"/>
                <a:gd name="T22" fmla="*/ 3 w 91"/>
                <a:gd name="T23" fmla="*/ 42 h 148"/>
                <a:gd name="T24" fmla="*/ 13 w 91"/>
                <a:gd name="T25" fmla="*/ 20 h 148"/>
                <a:gd name="T26" fmla="*/ 29 w 91"/>
                <a:gd name="T27" fmla="*/ 4 h 148"/>
                <a:gd name="T28" fmla="*/ 33 w 91"/>
                <a:gd name="T29" fmla="*/ 2 h 148"/>
                <a:gd name="T30" fmla="*/ 39 w 91"/>
                <a:gd name="T31" fmla="*/ 0 h 148"/>
                <a:gd name="T32" fmla="*/ 39 w 91"/>
                <a:gd name="T33" fmla="*/ 0 h 148"/>
                <a:gd name="T34" fmla="*/ 39 w 91"/>
                <a:gd name="T35" fmla="*/ 0 h 148"/>
                <a:gd name="T36" fmla="*/ 41 w 91"/>
                <a:gd name="T37" fmla="*/ 0 h 148"/>
                <a:gd name="T38" fmla="*/ 44 w 91"/>
                <a:gd name="T39" fmla="*/ 0 h 148"/>
                <a:gd name="T40" fmla="*/ 46 w 91"/>
                <a:gd name="T41" fmla="*/ 0 h 148"/>
                <a:gd name="T42" fmla="*/ 48 w 91"/>
                <a:gd name="T43" fmla="*/ 0 h 148"/>
                <a:gd name="T44" fmla="*/ 49 w 91"/>
                <a:gd name="T45" fmla="*/ 0 h 148"/>
                <a:gd name="T46" fmla="*/ 64 w 91"/>
                <a:gd name="T47" fmla="*/ 5 h 148"/>
                <a:gd name="T48" fmla="*/ 78 w 91"/>
                <a:gd name="T49" fmla="*/ 15 h 148"/>
                <a:gd name="T50" fmla="*/ 89 w 91"/>
                <a:gd name="T51" fmla="*/ 28 h 148"/>
                <a:gd name="T52" fmla="*/ 91 w 91"/>
                <a:gd name="T53" fmla="*/ 36 h 148"/>
                <a:gd name="T54" fmla="*/ 80 w 91"/>
                <a:gd name="T55" fmla="*/ 42 h 148"/>
                <a:gd name="T56" fmla="*/ 79 w 91"/>
                <a:gd name="T57" fmla="*/ 42 h 148"/>
                <a:gd name="T58" fmla="*/ 78 w 91"/>
                <a:gd name="T59" fmla="*/ 41 h 148"/>
                <a:gd name="T60" fmla="*/ 77 w 91"/>
                <a:gd name="T61" fmla="*/ 42 h 148"/>
                <a:gd name="T62" fmla="*/ 76 w 91"/>
                <a:gd name="T63" fmla="*/ 43 h 148"/>
                <a:gd name="T64" fmla="*/ 76 w 91"/>
                <a:gd name="T65" fmla="*/ 45 h 148"/>
                <a:gd name="T66" fmla="*/ 71 w 91"/>
                <a:gd name="T67" fmla="*/ 49 h 148"/>
                <a:gd name="T68" fmla="*/ 51 w 91"/>
                <a:gd name="T69" fmla="*/ 86 h 148"/>
                <a:gd name="T70" fmla="*/ 45 w 91"/>
                <a:gd name="T71" fmla="*/ 128 h 148"/>
                <a:gd name="T72" fmla="*/ 47 w 91"/>
                <a:gd name="T73" fmla="*/ 143 h 148"/>
                <a:gd name="T74" fmla="*/ 48 w 91"/>
                <a:gd name="T75" fmla="*/ 148 h 148"/>
                <a:gd name="T76" fmla="*/ 31 w 91"/>
                <a:gd name="T77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48">
                  <a:moveTo>
                    <a:pt x="31" y="148"/>
                  </a:moveTo>
                  <a:cubicBezTo>
                    <a:pt x="31" y="148"/>
                    <a:pt x="31" y="148"/>
                    <a:pt x="31" y="148"/>
                  </a:cubicBezTo>
                  <a:cubicBezTo>
                    <a:pt x="30" y="147"/>
                    <a:pt x="28" y="146"/>
                    <a:pt x="26" y="145"/>
                  </a:cubicBezTo>
                  <a:cubicBezTo>
                    <a:pt x="25" y="144"/>
                    <a:pt x="23" y="143"/>
                    <a:pt x="22" y="142"/>
                  </a:cubicBezTo>
                  <a:cubicBezTo>
                    <a:pt x="19" y="139"/>
                    <a:pt x="17" y="136"/>
                    <a:pt x="15" y="133"/>
                  </a:cubicBezTo>
                  <a:cubicBezTo>
                    <a:pt x="13" y="129"/>
                    <a:pt x="11" y="126"/>
                    <a:pt x="10" y="122"/>
                  </a:cubicBezTo>
                  <a:cubicBezTo>
                    <a:pt x="9" y="121"/>
                    <a:pt x="8" y="119"/>
                    <a:pt x="8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8" y="113"/>
                    <a:pt x="9" y="109"/>
                    <a:pt x="9" y="105"/>
                  </a:cubicBezTo>
                  <a:cubicBezTo>
                    <a:pt x="10" y="89"/>
                    <a:pt x="7" y="74"/>
                    <a:pt x="0" y="60"/>
                  </a:cubicBezTo>
                  <a:cubicBezTo>
                    <a:pt x="0" y="58"/>
                    <a:pt x="0" y="55"/>
                    <a:pt x="0" y="53"/>
                  </a:cubicBezTo>
                  <a:cubicBezTo>
                    <a:pt x="1" y="49"/>
                    <a:pt x="2" y="45"/>
                    <a:pt x="3" y="42"/>
                  </a:cubicBezTo>
                  <a:cubicBezTo>
                    <a:pt x="5" y="33"/>
                    <a:pt x="8" y="26"/>
                    <a:pt x="13" y="20"/>
                  </a:cubicBezTo>
                  <a:cubicBezTo>
                    <a:pt x="16" y="14"/>
                    <a:pt x="22" y="8"/>
                    <a:pt x="29" y="4"/>
                  </a:cubicBezTo>
                  <a:cubicBezTo>
                    <a:pt x="31" y="3"/>
                    <a:pt x="32" y="2"/>
                    <a:pt x="33" y="2"/>
                  </a:cubicBezTo>
                  <a:cubicBezTo>
                    <a:pt x="35" y="1"/>
                    <a:pt x="37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0"/>
                    <a:pt x="40" y="0"/>
                    <a:pt x="41" y="0"/>
                  </a:cubicBezTo>
                  <a:cubicBezTo>
                    <a:pt x="42" y="0"/>
                    <a:pt x="43" y="0"/>
                    <a:pt x="44" y="0"/>
                  </a:cubicBezTo>
                  <a:cubicBezTo>
                    <a:pt x="45" y="0"/>
                    <a:pt x="45" y="0"/>
                    <a:pt x="46" y="0"/>
                  </a:cubicBezTo>
                  <a:cubicBezTo>
                    <a:pt x="47" y="0"/>
                    <a:pt x="47" y="0"/>
                    <a:pt x="48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5" y="1"/>
                    <a:pt x="60" y="3"/>
                    <a:pt x="64" y="5"/>
                  </a:cubicBezTo>
                  <a:cubicBezTo>
                    <a:pt x="70" y="8"/>
                    <a:pt x="74" y="12"/>
                    <a:pt x="78" y="15"/>
                  </a:cubicBezTo>
                  <a:cubicBezTo>
                    <a:pt x="83" y="19"/>
                    <a:pt x="86" y="23"/>
                    <a:pt x="89" y="28"/>
                  </a:cubicBezTo>
                  <a:cubicBezTo>
                    <a:pt x="89" y="30"/>
                    <a:pt x="90" y="33"/>
                    <a:pt x="91" y="36"/>
                  </a:cubicBezTo>
                  <a:cubicBezTo>
                    <a:pt x="87" y="38"/>
                    <a:pt x="83" y="40"/>
                    <a:pt x="80" y="42"/>
                  </a:cubicBezTo>
                  <a:cubicBezTo>
                    <a:pt x="80" y="42"/>
                    <a:pt x="80" y="42"/>
                    <a:pt x="79" y="42"/>
                  </a:cubicBezTo>
                  <a:cubicBezTo>
                    <a:pt x="79" y="42"/>
                    <a:pt x="79" y="41"/>
                    <a:pt x="78" y="41"/>
                  </a:cubicBezTo>
                  <a:cubicBezTo>
                    <a:pt x="78" y="41"/>
                    <a:pt x="77" y="41"/>
                    <a:pt x="77" y="42"/>
                  </a:cubicBezTo>
                  <a:cubicBezTo>
                    <a:pt x="76" y="42"/>
                    <a:pt x="76" y="43"/>
                    <a:pt x="76" y="43"/>
                  </a:cubicBezTo>
                  <a:cubicBezTo>
                    <a:pt x="76" y="44"/>
                    <a:pt x="76" y="44"/>
                    <a:pt x="76" y="45"/>
                  </a:cubicBezTo>
                  <a:cubicBezTo>
                    <a:pt x="74" y="46"/>
                    <a:pt x="73" y="48"/>
                    <a:pt x="71" y="49"/>
                  </a:cubicBezTo>
                  <a:cubicBezTo>
                    <a:pt x="61" y="59"/>
                    <a:pt x="55" y="72"/>
                    <a:pt x="51" y="86"/>
                  </a:cubicBezTo>
                  <a:cubicBezTo>
                    <a:pt x="46" y="99"/>
                    <a:pt x="45" y="114"/>
                    <a:pt x="45" y="128"/>
                  </a:cubicBezTo>
                  <a:cubicBezTo>
                    <a:pt x="45" y="133"/>
                    <a:pt x="46" y="138"/>
                    <a:pt x="47" y="143"/>
                  </a:cubicBezTo>
                  <a:cubicBezTo>
                    <a:pt x="47" y="144"/>
                    <a:pt x="47" y="146"/>
                    <a:pt x="48" y="148"/>
                  </a:cubicBezTo>
                  <a:cubicBezTo>
                    <a:pt x="42" y="148"/>
                    <a:pt x="37" y="148"/>
                    <a:pt x="31" y="148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7" name="iṡḻide">
              <a:extLst>
                <a:ext uri="{FF2B5EF4-FFF2-40B4-BE49-F238E27FC236}">
                  <a16:creationId xmlns:a16="http://schemas.microsoft.com/office/drawing/2014/main" id="{BE5B9F74-184E-407A-8D37-1ABF7A80F1DE}"/>
                </a:ext>
              </a:extLst>
            </p:cNvPr>
            <p:cNvSpPr/>
            <p:nvPr/>
          </p:nvSpPr>
          <p:spPr bwMode="auto">
            <a:xfrm>
              <a:off x="7195687" y="2786187"/>
              <a:ext cx="74003" cy="66603"/>
            </a:xfrm>
            <a:custGeom>
              <a:avLst/>
              <a:gdLst>
                <a:gd name="T0" fmla="*/ 3 w 24"/>
                <a:gd name="T1" fmla="*/ 17 h 22"/>
                <a:gd name="T2" fmla="*/ 3 w 24"/>
                <a:gd name="T3" fmla="*/ 17 h 22"/>
                <a:gd name="T4" fmla="*/ 9 w 24"/>
                <a:gd name="T5" fmla="*/ 3 h 22"/>
                <a:gd name="T6" fmla="*/ 10 w 24"/>
                <a:gd name="T7" fmla="*/ 0 h 22"/>
                <a:gd name="T8" fmla="*/ 15 w 24"/>
                <a:gd name="T9" fmla="*/ 10 h 22"/>
                <a:gd name="T10" fmla="*/ 22 w 24"/>
                <a:gd name="T11" fmla="*/ 20 h 22"/>
                <a:gd name="T12" fmla="*/ 24 w 24"/>
                <a:gd name="T13" fmla="*/ 22 h 22"/>
                <a:gd name="T14" fmla="*/ 0 w 24"/>
                <a:gd name="T15" fmla="*/ 22 h 22"/>
                <a:gd name="T16" fmla="*/ 3 w 24"/>
                <a:gd name="T1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2">
                  <a:moveTo>
                    <a:pt x="3" y="17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5" y="13"/>
                    <a:pt x="7" y="8"/>
                    <a:pt x="9" y="3"/>
                  </a:cubicBezTo>
                  <a:cubicBezTo>
                    <a:pt x="10" y="2"/>
                    <a:pt x="10" y="1"/>
                    <a:pt x="10" y="0"/>
                  </a:cubicBezTo>
                  <a:cubicBezTo>
                    <a:pt x="12" y="3"/>
                    <a:pt x="13" y="7"/>
                    <a:pt x="15" y="10"/>
                  </a:cubicBezTo>
                  <a:cubicBezTo>
                    <a:pt x="17" y="13"/>
                    <a:pt x="19" y="17"/>
                    <a:pt x="22" y="20"/>
                  </a:cubicBezTo>
                  <a:cubicBezTo>
                    <a:pt x="23" y="21"/>
                    <a:pt x="23" y="21"/>
                    <a:pt x="24" y="22"/>
                  </a:cubicBezTo>
                  <a:cubicBezTo>
                    <a:pt x="16" y="22"/>
                    <a:pt x="8" y="22"/>
                    <a:pt x="0" y="22"/>
                  </a:cubicBezTo>
                  <a:cubicBezTo>
                    <a:pt x="1" y="20"/>
                    <a:pt x="2" y="19"/>
                    <a:pt x="3" y="17"/>
                  </a:cubicBezTo>
                  <a:close/>
                </a:path>
              </a:pathLst>
            </a:custGeom>
            <a:solidFill>
              <a:srgbClr val="9C50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8" name="išļîďé">
              <a:extLst>
                <a:ext uri="{FF2B5EF4-FFF2-40B4-BE49-F238E27FC236}">
                  <a16:creationId xmlns:a16="http://schemas.microsoft.com/office/drawing/2014/main" id="{78E18165-1162-45AB-854D-43374264F902}"/>
                </a:ext>
              </a:extLst>
            </p:cNvPr>
            <p:cNvSpPr/>
            <p:nvPr/>
          </p:nvSpPr>
          <p:spPr bwMode="auto">
            <a:xfrm>
              <a:off x="6867113" y="2506455"/>
              <a:ext cx="347815" cy="346335"/>
            </a:xfrm>
            <a:custGeom>
              <a:avLst/>
              <a:gdLst>
                <a:gd name="T0" fmla="*/ 11 w 113"/>
                <a:gd name="T1" fmla="*/ 112 h 113"/>
                <a:gd name="T2" fmla="*/ 11 w 113"/>
                <a:gd name="T3" fmla="*/ 112 h 113"/>
                <a:gd name="T4" fmla="*/ 10 w 113"/>
                <a:gd name="T5" fmla="*/ 110 h 113"/>
                <a:gd name="T6" fmla="*/ 9 w 113"/>
                <a:gd name="T7" fmla="*/ 108 h 113"/>
                <a:gd name="T8" fmla="*/ 9 w 113"/>
                <a:gd name="T9" fmla="*/ 107 h 113"/>
                <a:gd name="T10" fmla="*/ 9 w 113"/>
                <a:gd name="T11" fmla="*/ 107 h 113"/>
                <a:gd name="T12" fmla="*/ 9 w 113"/>
                <a:gd name="T13" fmla="*/ 107 h 113"/>
                <a:gd name="T14" fmla="*/ 3 w 113"/>
                <a:gd name="T15" fmla="*/ 89 h 113"/>
                <a:gd name="T16" fmla="*/ 1 w 113"/>
                <a:gd name="T17" fmla="*/ 70 h 113"/>
                <a:gd name="T18" fmla="*/ 0 w 113"/>
                <a:gd name="T19" fmla="*/ 60 h 113"/>
                <a:gd name="T20" fmla="*/ 0 w 113"/>
                <a:gd name="T21" fmla="*/ 56 h 113"/>
                <a:gd name="T22" fmla="*/ 0 w 113"/>
                <a:gd name="T23" fmla="*/ 54 h 113"/>
                <a:gd name="T24" fmla="*/ 0 w 113"/>
                <a:gd name="T25" fmla="*/ 53 h 113"/>
                <a:gd name="T26" fmla="*/ 1 w 113"/>
                <a:gd name="T27" fmla="*/ 52 h 113"/>
                <a:gd name="T28" fmla="*/ 2 w 113"/>
                <a:gd name="T29" fmla="*/ 46 h 113"/>
                <a:gd name="T30" fmla="*/ 3 w 113"/>
                <a:gd name="T31" fmla="*/ 44 h 113"/>
                <a:gd name="T32" fmla="*/ 12 w 113"/>
                <a:gd name="T33" fmla="*/ 31 h 113"/>
                <a:gd name="T34" fmla="*/ 11 w 113"/>
                <a:gd name="T35" fmla="*/ 21 h 113"/>
                <a:gd name="T36" fmla="*/ 16 w 113"/>
                <a:gd name="T37" fmla="*/ 16 h 113"/>
                <a:gd name="T38" fmla="*/ 23 w 113"/>
                <a:gd name="T39" fmla="*/ 11 h 113"/>
                <a:gd name="T40" fmla="*/ 40 w 113"/>
                <a:gd name="T41" fmla="*/ 4 h 113"/>
                <a:gd name="T42" fmla="*/ 45 w 113"/>
                <a:gd name="T43" fmla="*/ 2 h 113"/>
                <a:gd name="T44" fmla="*/ 47 w 113"/>
                <a:gd name="T45" fmla="*/ 2 h 113"/>
                <a:gd name="T46" fmla="*/ 49 w 113"/>
                <a:gd name="T47" fmla="*/ 2 h 113"/>
                <a:gd name="T48" fmla="*/ 50 w 113"/>
                <a:gd name="T49" fmla="*/ 2 h 113"/>
                <a:gd name="T50" fmla="*/ 50 w 113"/>
                <a:gd name="T51" fmla="*/ 2 h 113"/>
                <a:gd name="T52" fmla="*/ 51 w 113"/>
                <a:gd name="T53" fmla="*/ 2 h 113"/>
                <a:gd name="T54" fmla="*/ 52 w 113"/>
                <a:gd name="T55" fmla="*/ 1 h 113"/>
                <a:gd name="T56" fmla="*/ 54 w 113"/>
                <a:gd name="T57" fmla="*/ 1 h 113"/>
                <a:gd name="T58" fmla="*/ 59 w 113"/>
                <a:gd name="T59" fmla="*/ 0 h 113"/>
                <a:gd name="T60" fmla="*/ 69 w 113"/>
                <a:gd name="T61" fmla="*/ 1 h 113"/>
                <a:gd name="T62" fmla="*/ 70 w 113"/>
                <a:gd name="T63" fmla="*/ 2 h 113"/>
                <a:gd name="T64" fmla="*/ 71 w 113"/>
                <a:gd name="T65" fmla="*/ 2 h 113"/>
                <a:gd name="T66" fmla="*/ 73 w 113"/>
                <a:gd name="T67" fmla="*/ 2 h 113"/>
                <a:gd name="T68" fmla="*/ 77 w 113"/>
                <a:gd name="T69" fmla="*/ 3 h 113"/>
                <a:gd name="T70" fmla="*/ 81 w 113"/>
                <a:gd name="T71" fmla="*/ 5 h 113"/>
                <a:gd name="T72" fmla="*/ 82 w 113"/>
                <a:gd name="T73" fmla="*/ 5 h 113"/>
                <a:gd name="T74" fmla="*/ 85 w 113"/>
                <a:gd name="T75" fmla="*/ 7 h 113"/>
                <a:gd name="T76" fmla="*/ 93 w 113"/>
                <a:gd name="T77" fmla="*/ 13 h 113"/>
                <a:gd name="T78" fmla="*/ 97 w 113"/>
                <a:gd name="T79" fmla="*/ 17 h 113"/>
                <a:gd name="T80" fmla="*/ 99 w 113"/>
                <a:gd name="T81" fmla="*/ 19 h 113"/>
                <a:gd name="T82" fmla="*/ 99 w 113"/>
                <a:gd name="T83" fmla="*/ 20 h 113"/>
                <a:gd name="T84" fmla="*/ 100 w 113"/>
                <a:gd name="T85" fmla="*/ 20 h 113"/>
                <a:gd name="T86" fmla="*/ 100 w 113"/>
                <a:gd name="T87" fmla="*/ 20 h 113"/>
                <a:gd name="T88" fmla="*/ 105 w 113"/>
                <a:gd name="T89" fmla="*/ 30 h 113"/>
                <a:gd name="T90" fmla="*/ 109 w 113"/>
                <a:gd name="T91" fmla="*/ 40 h 113"/>
                <a:gd name="T92" fmla="*/ 112 w 113"/>
                <a:gd name="T93" fmla="*/ 51 h 113"/>
                <a:gd name="T94" fmla="*/ 112 w 113"/>
                <a:gd name="T95" fmla="*/ 52 h 113"/>
                <a:gd name="T96" fmla="*/ 112 w 113"/>
                <a:gd name="T97" fmla="*/ 53 h 113"/>
                <a:gd name="T98" fmla="*/ 113 w 113"/>
                <a:gd name="T99" fmla="*/ 55 h 113"/>
                <a:gd name="T100" fmla="*/ 113 w 113"/>
                <a:gd name="T101" fmla="*/ 61 h 113"/>
                <a:gd name="T102" fmla="*/ 112 w 113"/>
                <a:gd name="T103" fmla="*/ 72 h 113"/>
                <a:gd name="T104" fmla="*/ 112 w 113"/>
                <a:gd name="T105" fmla="*/ 74 h 113"/>
                <a:gd name="T106" fmla="*/ 112 w 113"/>
                <a:gd name="T107" fmla="*/ 76 h 113"/>
                <a:gd name="T108" fmla="*/ 110 w 113"/>
                <a:gd name="T109" fmla="*/ 82 h 113"/>
                <a:gd name="T110" fmla="*/ 106 w 113"/>
                <a:gd name="T111" fmla="*/ 94 h 113"/>
                <a:gd name="T112" fmla="*/ 102 w 113"/>
                <a:gd name="T113" fmla="*/ 104 h 113"/>
                <a:gd name="T114" fmla="*/ 97 w 113"/>
                <a:gd name="T115" fmla="*/ 113 h 113"/>
                <a:gd name="T116" fmla="*/ 92 w 113"/>
                <a:gd name="T117" fmla="*/ 113 h 113"/>
                <a:gd name="T118" fmla="*/ 11 w 113"/>
                <a:gd name="T119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" h="113">
                  <a:moveTo>
                    <a:pt x="11" y="112"/>
                  </a:moveTo>
                  <a:cubicBezTo>
                    <a:pt x="11" y="112"/>
                    <a:pt x="11" y="112"/>
                    <a:pt x="11" y="112"/>
                  </a:cubicBezTo>
                  <a:cubicBezTo>
                    <a:pt x="11" y="111"/>
                    <a:pt x="10" y="110"/>
                    <a:pt x="10" y="110"/>
                  </a:cubicBezTo>
                  <a:cubicBezTo>
                    <a:pt x="10" y="109"/>
                    <a:pt x="10" y="109"/>
                    <a:pt x="9" y="108"/>
                  </a:cubicBezTo>
                  <a:cubicBezTo>
                    <a:pt x="9" y="108"/>
                    <a:pt x="9" y="108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6" y="101"/>
                    <a:pt x="5" y="95"/>
                    <a:pt x="3" y="89"/>
                  </a:cubicBezTo>
                  <a:cubicBezTo>
                    <a:pt x="2" y="82"/>
                    <a:pt x="1" y="76"/>
                    <a:pt x="1" y="70"/>
                  </a:cubicBezTo>
                  <a:cubicBezTo>
                    <a:pt x="0" y="67"/>
                    <a:pt x="0" y="63"/>
                    <a:pt x="0" y="60"/>
                  </a:cubicBezTo>
                  <a:cubicBezTo>
                    <a:pt x="0" y="59"/>
                    <a:pt x="0" y="57"/>
                    <a:pt x="0" y="56"/>
                  </a:cubicBezTo>
                  <a:cubicBezTo>
                    <a:pt x="0" y="55"/>
                    <a:pt x="0" y="55"/>
                    <a:pt x="0" y="54"/>
                  </a:cubicBezTo>
                  <a:cubicBezTo>
                    <a:pt x="0" y="54"/>
                    <a:pt x="0" y="53"/>
                    <a:pt x="0" y="53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1" y="50"/>
                    <a:pt x="1" y="48"/>
                    <a:pt x="2" y="46"/>
                  </a:cubicBezTo>
                  <a:cubicBezTo>
                    <a:pt x="2" y="45"/>
                    <a:pt x="3" y="45"/>
                    <a:pt x="3" y="44"/>
                  </a:cubicBezTo>
                  <a:cubicBezTo>
                    <a:pt x="7" y="41"/>
                    <a:pt x="10" y="36"/>
                    <a:pt x="12" y="31"/>
                  </a:cubicBezTo>
                  <a:cubicBezTo>
                    <a:pt x="13" y="28"/>
                    <a:pt x="13" y="24"/>
                    <a:pt x="11" y="21"/>
                  </a:cubicBezTo>
                  <a:cubicBezTo>
                    <a:pt x="13" y="19"/>
                    <a:pt x="14" y="18"/>
                    <a:pt x="16" y="16"/>
                  </a:cubicBezTo>
                  <a:cubicBezTo>
                    <a:pt x="18" y="14"/>
                    <a:pt x="20" y="13"/>
                    <a:pt x="23" y="11"/>
                  </a:cubicBezTo>
                  <a:cubicBezTo>
                    <a:pt x="28" y="7"/>
                    <a:pt x="33" y="5"/>
                    <a:pt x="40" y="4"/>
                  </a:cubicBezTo>
                  <a:cubicBezTo>
                    <a:pt x="42" y="3"/>
                    <a:pt x="43" y="3"/>
                    <a:pt x="45" y="2"/>
                  </a:cubicBezTo>
                  <a:cubicBezTo>
                    <a:pt x="46" y="2"/>
                    <a:pt x="47" y="2"/>
                    <a:pt x="47" y="2"/>
                  </a:cubicBezTo>
                  <a:cubicBezTo>
                    <a:pt x="48" y="2"/>
                    <a:pt x="48" y="2"/>
                    <a:pt x="49" y="2"/>
                  </a:cubicBezTo>
                  <a:cubicBezTo>
                    <a:pt x="49" y="2"/>
                    <a:pt x="49" y="2"/>
                    <a:pt x="50" y="2"/>
                  </a:cubicBezTo>
                  <a:cubicBezTo>
                    <a:pt x="49" y="2"/>
                    <a:pt x="49" y="2"/>
                    <a:pt x="50" y="2"/>
                  </a:cubicBezTo>
                  <a:cubicBezTo>
                    <a:pt x="49" y="2"/>
                    <a:pt x="51" y="2"/>
                    <a:pt x="51" y="2"/>
                  </a:cubicBezTo>
                  <a:cubicBezTo>
                    <a:pt x="51" y="1"/>
                    <a:pt x="52" y="1"/>
                    <a:pt x="52" y="1"/>
                  </a:cubicBezTo>
                  <a:cubicBezTo>
                    <a:pt x="53" y="1"/>
                    <a:pt x="53" y="1"/>
                    <a:pt x="54" y="1"/>
                  </a:cubicBezTo>
                  <a:cubicBezTo>
                    <a:pt x="56" y="1"/>
                    <a:pt x="58" y="0"/>
                    <a:pt x="59" y="0"/>
                  </a:cubicBezTo>
                  <a:cubicBezTo>
                    <a:pt x="63" y="0"/>
                    <a:pt x="66" y="1"/>
                    <a:pt x="69" y="1"/>
                  </a:cubicBezTo>
                  <a:cubicBezTo>
                    <a:pt x="69" y="1"/>
                    <a:pt x="69" y="2"/>
                    <a:pt x="70" y="2"/>
                  </a:cubicBezTo>
                  <a:cubicBezTo>
                    <a:pt x="70" y="2"/>
                    <a:pt x="70" y="2"/>
                    <a:pt x="71" y="2"/>
                  </a:cubicBezTo>
                  <a:cubicBezTo>
                    <a:pt x="71" y="2"/>
                    <a:pt x="72" y="2"/>
                    <a:pt x="73" y="2"/>
                  </a:cubicBezTo>
                  <a:cubicBezTo>
                    <a:pt x="74" y="2"/>
                    <a:pt x="76" y="3"/>
                    <a:pt x="77" y="3"/>
                  </a:cubicBezTo>
                  <a:cubicBezTo>
                    <a:pt x="78" y="4"/>
                    <a:pt x="79" y="4"/>
                    <a:pt x="81" y="5"/>
                  </a:cubicBezTo>
                  <a:cubicBezTo>
                    <a:pt x="80" y="5"/>
                    <a:pt x="82" y="5"/>
                    <a:pt x="82" y="5"/>
                  </a:cubicBezTo>
                  <a:cubicBezTo>
                    <a:pt x="83" y="6"/>
                    <a:pt x="84" y="6"/>
                    <a:pt x="85" y="7"/>
                  </a:cubicBezTo>
                  <a:cubicBezTo>
                    <a:pt x="88" y="9"/>
                    <a:pt x="90" y="10"/>
                    <a:pt x="93" y="13"/>
                  </a:cubicBezTo>
                  <a:cubicBezTo>
                    <a:pt x="94" y="14"/>
                    <a:pt x="96" y="15"/>
                    <a:pt x="97" y="17"/>
                  </a:cubicBezTo>
                  <a:cubicBezTo>
                    <a:pt x="97" y="17"/>
                    <a:pt x="98" y="18"/>
                    <a:pt x="99" y="19"/>
                  </a:cubicBezTo>
                  <a:cubicBezTo>
                    <a:pt x="99" y="19"/>
                    <a:pt x="99" y="19"/>
                    <a:pt x="99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2" y="23"/>
                    <a:pt x="104" y="27"/>
                    <a:pt x="105" y="30"/>
                  </a:cubicBezTo>
                  <a:cubicBezTo>
                    <a:pt x="107" y="34"/>
                    <a:pt x="108" y="36"/>
                    <a:pt x="109" y="40"/>
                  </a:cubicBezTo>
                  <a:cubicBezTo>
                    <a:pt x="110" y="44"/>
                    <a:pt x="111" y="47"/>
                    <a:pt x="112" y="51"/>
                  </a:cubicBezTo>
                  <a:cubicBezTo>
                    <a:pt x="112" y="51"/>
                    <a:pt x="112" y="52"/>
                    <a:pt x="112" y="52"/>
                  </a:cubicBezTo>
                  <a:cubicBezTo>
                    <a:pt x="112" y="53"/>
                    <a:pt x="112" y="53"/>
                    <a:pt x="112" y="53"/>
                  </a:cubicBezTo>
                  <a:cubicBezTo>
                    <a:pt x="112" y="54"/>
                    <a:pt x="112" y="55"/>
                    <a:pt x="113" y="55"/>
                  </a:cubicBezTo>
                  <a:cubicBezTo>
                    <a:pt x="113" y="57"/>
                    <a:pt x="113" y="59"/>
                    <a:pt x="113" y="61"/>
                  </a:cubicBezTo>
                  <a:cubicBezTo>
                    <a:pt x="113" y="65"/>
                    <a:pt x="113" y="69"/>
                    <a:pt x="112" y="72"/>
                  </a:cubicBezTo>
                  <a:cubicBezTo>
                    <a:pt x="112" y="72"/>
                    <a:pt x="112" y="74"/>
                    <a:pt x="112" y="74"/>
                  </a:cubicBezTo>
                  <a:cubicBezTo>
                    <a:pt x="112" y="75"/>
                    <a:pt x="112" y="76"/>
                    <a:pt x="112" y="76"/>
                  </a:cubicBezTo>
                  <a:cubicBezTo>
                    <a:pt x="111" y="78"/>
                    <a:pt x="111" y="80"/>
                    <a:pt x="110" y="82"/>
                  </a:cubicBezTo>
                  <a:cubicBezTo>
                    <a:pt x="109" y="86"/>
                    <a:pt x="108" y="90"/>
                    <a:pt x="106" y="94"/>
                  </a:cubicBezTo>
                  <a:cubicBezTo>
                    <a:pt x="105" y="98"/>
                    <a:pt x="103" y="101"/>
                    <a:pt x="102" y="104"/>
                  </a:cubicBezTo>
                  <a:cubicBezTo>
                    <a:pt x="100" y="107"/>
                    <a:pt x="98" y="110"/>
                    <a:pt x="97" y="113"/>
                  </a:cubicBezTo>
                  <a:cubicBezTo>
                    <a:pt x="95" y="113"/>
                    <a:pt x="94" y="113"/>
                    <a:pt x="92" y="113"/>
                  </a:cubicBezTo>
                  <a:cubicBezTo>
                    <a:pt x="65" y="113"/>
                    <a:pt x="38" y="112"/>
                    <a:pt x="11" y="112"/>
                  </a:cubicBezTo>
                  <a:close/>
                </a:path>
              </a:pathLst>
            </a:custGeom>
            <a:solidFill>
              <a:srgbClr val="FFD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9" name="îşḻíďè">
              <a:extLst>
                <a:ext uri="{FF2B5EF4-FFF2-40B4-BE49-F238E27FC236}">
                  <a16:creationId xmlns:a16="http://schemas.microsoft.com/office/drawing/2014/main" id="{77DA85B1-AC70-4D44-8FFC-F3D601BA8940}"/>
                </a:ext>
              </a:extLst>
            </p:cNvPr>
            <p:cNvSpPr/>
            <p:nvPr/>
          </p:nvSpPr>
          <p:spPr bwMode="auto">
            <a:xfrm>
              <a:off x="6713187" y="2695903"/>
              <a:ext cx="162807" cy="150966"/>
            </a:xfrm>
            <a:custGeom>
              <a:avLst/>
              <a:gdLst>
                <a:gd name="T0" fmla="*/ 3 w 53"/>
                <a:gd name="T1" fmla="*/ 40 h 49"/>
                <a:gd name="T2" fmla="*/ 3 w 53"/>
                <a:gd name="T3" fmla="*/ 40 h 49"/>
                <a:gd name="T4" fmla="*/ 4 w 53"/>
                <a:gd name="T5" fmla="*/ 36 h 49"/>
                <a:gd name="T6" fmla="*/ 5 w 53"/>
                <a:gd name="T7" fmla="*/ 34 h 49"/>
                <a:gd name="T8" fmla="*/ 7 w 53"/>
                <a:gd name="T9" fmla="*/ 30 h 49"/>
                <a:gd name="T10" fmla="*/ 10 w 53"/>
                <a:gd name="T11" fmla="*/ 27 h 49"/>
                <a:gd name="T12" fmla="*/ 10 w 53"/>
                <a:gd name="T13" fmla="*/ 26 h 49"/>
                <a:gd name="T14" fmla="*/ 12 w 53"/>
                <a:gd name="T15" fmla="*/ 24 h 49"/>
                <a:gd name="T16" fmla="*/ 14 w 53"/>
                <a:gd name="T17" fmla="*/ 21 h 49"/>
                <a:gd name="T18" fmla="*/ 20 w 53"/>
                <a:gd name="T19" fmla="*/ 16 h 49"/>
                <a:gd name="T20" fmla="*/ 30 w 53"/>
                <a:gd name="T21" fmla="*/ 7 h 49"/>
                <a:gd name="T22" fmla="*/ 32 w 53"/>
                <a:gd name="T23" fmla="*/ 6 h 49"/>
                <a:gd name="T24" fmla="*/ 40 w 53"/>
                <a:gd name="T25" fmla="*/ 2 h 49"/>
                <a:gd name="T26" fmla="*/ 43 w 53"/>
                <a:gd name="T27" fmla="*/ 0 h 49"/>
                <a:gd name="T28" fmla="*/ 43 w 53"/>
                <a:gd name="T29" fmla="*/ 7 h 49"/>
                <a:gd name="T30" fmla="*/ 52 w 53"/>
                <a:gd name="T31" fmla="*/ 45 h 49"/>
                <a:gd name="T32" fmla="*/ 53 w 53"/>
                <a:gd name="T33" fmla="*/ 49 h 49"/>
                <a:gd name="T34" fmla="*/ 0 w 53"/>
                <a:gd name="T35" fmla="*/ 48 h 49"/>
                <a:gd name="T36" fmla="*/ 3 w 53"/>
                <a:gd name="T37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49">
                  <a:moveTo>
                    <a:pt x="3" y="40"/>
                  </a:moveTo>
                  <a:cubicBezTo>
                    <a:pt x="3" y="40"/>
                    <a:pt x="3" y="40"/>
                    <a:pt x="3" y="40"/>
                  </a:cubicBezTo>
                  <a:cubicBezTo>
                    <a:pt x="3" y="39"/>
                    <a:pt x="4" y="38"/>
                    <a:pt x="4" y="36"/>
                  </a:cubicBezTo>
                  <a:cubicBezTo>
                    <a:pt x="4" y="35"/>
                    <a:pt x="5" y="34"/>
                    <a:pt x="5" y="34"/>
                  </a:cubicBezTo>
                  <a:cubicBezTo>
                    <a:pt x="6" y="32"/>
                    <a:pt x="6" y="31"/>
                    <a:pt x="7" y="30"/>
                  </a:cubicBezTo>
                  <a:cubicBezTo>
                    <a:pt x="8" y="29"/>
                    <a:pt x="9" y="27"/>
                    <a:pt x="10" y="27"/>
                  </a:cubicBezTo>
                  <a:cubicBezTo>
                    <a:pt x="9" y="27"/>
                    <a:pt x="10" y="26"/>
                    <a:pt x="10" y="26"/>
                  </a:cubicBezTo>
                  <a:cubicBezTo>
                    <a:pt x="11" y="25"/>
                    <a:pt x="11" y="25"/>
                    <a:pt x="12" y="24"/>
                  </a:cubicBezTo>
                  <a:cubicBezTo>
                    <a:pt x="13" y="23"/>
                    <a:pt x="13" y="22"/>
                    <a:pt x="14" y="21"/>
                  </a:cubicBezTo>
                  <a:cubicBezTo>
                    <a:pt x="16" y="19"/>
                    <a:pt x="18" y="17"/>
                    <a:pt x="20" y="16"/>
                  </a:cubicBezTo>
                  <a:cubicBezTo>
                    <a:pt x="24" y="13"/>
                    <a:pt x="28" y="10"/>
                    <a:pt x="30" y="7"/>
                  </a:cubicBezTo>
                  <a:cubicBezTo>
                    <a:pt x="31" y="7"/>
                    <a:pt x="32" y="7"/>
                    <a:pt x="32" y="6"/>
                  </a:cubicBezTo>
                  <a:cubicBezTo>
                    <a:pt x="35" y="5"/>
                    <a:pt x="37" y="4"/>
                    <a:pt x="40" y="2"/>
                  </a:cubicBezTo>
                  <a:cubicBezTo>
                    <a:pt x="41" y="1"/>
                    <a:pt x="42" y="1"/>
                    <a:pt x="43" y="0"/>
                  </a:cubicBezTo>
                  <a:cubicBezTo>
                    <a:pt x="43" y="2"/>
                    <a:pt x="43" y="4"/>
                    <a:pt x="43" y="7"/>
                  </a:cubicBezTo>
                  <a:cubicBezTo>
                    <a:pt x="44" y="19"/>
                    <a:pt x="47" y="33"/>
                    <a:pt x="52" y="45"/>
                  </a:cubicBezTo>
                  <a:cubicBezTo>
                    <a:pt x="52" y="46"/>
                    <a:pt x="53" y="48"/>
                    <a:pt x="53" y="49"/>
                  </a:cubicBezTo>
                  <a:cubicBezTo>
                    <a:pt x="35" y="49"/>
                    <a:pt x="18" y="48"/>
                    <a:pt x="0" y="48"/>
                  </a:cubicBezTo>
                  <a:cubicBezTo>
                    <a:pt x="1" y="46"/>
                    <a:pt x="2" y="43"/>
                    <a:pt x="3" y="40"/>
                  </a:cubicBezTo>
                  <a:close/>
                </a:path>
              </a:pathLst>
            </a:custGeom>
            <a:solidFill>
              <a:srgbClr val="DBA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0" name="íṧliḋe">
              <a:extLst>
                <a:ext uri="{FF2B5EF4-FFF2-40B4-BE49-F238E27FC236}">
                  <a16:creationId xmlns:a16="http://schemas.microsoft.com/office/drawing/2014/main" id="{B8D398B4-D2A6-42F8-A69D-E0D5940110BE}"/>
                </a:ext>
              </a:extLst>
            </p:cNvPr>
            <p:cNvSpPr/>
            <p:nvPr/>
          </p:nvSpPr>
          <p:spPr bwMode="auto">
            <a:xfrm>
              <a:off x="6513378" y="2586379"/>
              <a:ext cx="193889" cy="257531"/>
            </a:xfrm>
            <a:custGeom>
              <a:avLst/>
              <a:gdLst>
                <a:gd name="T0" fmla="*/ 42 w 63"/>
                <a:gd name="T1" fmla="*/ 84 h 84"/>
                <a:gd name="T2" fmla="*/ 42 w 63"/>
                <a:gd name="T3" fmla="*/ 84 h 84"/>
                <a:gd name="T4" fmla="*/ 37 w 63"/>
                <a:gd name="T5" fmla="*/ 77 h 84"/>
                <a:gd name="T6" fmla="*/ 28 w 63"/>
                <a:gd name="T7" fmla="*/ 62 h 84"/>
                <a:gd name="T8" fmla="*/ 14 w 63"/>
                <a:gd name="T9" fmla="*/ 35 h 84"/>
                <a:gd name="T10" fmla="*/ 0 w 63"/>
                <a:gd name="T11" fmla="*/ 6 h 84"/>
                <a:gd name="T12" fmla="*/ 7 w 63"/>
                <a:gd name="T13" fmla="*/ 2 h 84"/>
                <a:gd name="T14" fmla="*/ 18 w 63"/>
                <a:gd name="T15" fmla="*/ 0 h 84"/>
                <a:gd name="T16" fmla="*/ 40 w 63"/>
                <a:gd name="T17" fmla="*/ 7 h 84"/>
                <a:gd name="T18" fmla="*/ 49 w 63"/>
                <a:gd name="T19" fmla="*/ 15 h 84"/>
                <a:gd name="T20" fmla="*/ 56 w 63"/>
                <a:gd name="T21" fmla="*/ 24 h 84"/>
                <a:gd name="T22" fmla="*/ 60 w 63"/>
                <a:gd name="T23" fmla="*/ 34 h 84"/>
                <a:gd name="T24" fmla="*/ 62 w 63"/>
                <a:gd name="T25" fmla="*/ 40 h 84"/>
                <a:gd name="T26" fmla="*/ 62 w 63"/>
                <a:gd name="T27" fmla="*/ 42 h 84"/>
                <a:gd name="T28" fmla="*/ 62 w 63"/>
                <a:gd name="T29" fmla="*/ 43 h 84"/>
                <a:gd name="T30" fmla="*/ 62 w 63"/>
                <a:gd name="T31" fmla="*/ 45 h 84"/>
                <a:gd name="T32" fmla="*/ 62 w 63"/>
                <a:gd name="T33" fmla="*/ 58 h 84"/>
                <a:gd name="T34" fmla="*/ 62 w 63"/>
                <a:gd name="T35" fmla="*/ 58 h 84"/>
                <a:gd name="T36" fmla="*/ 62 w 63"/>
                <a:gd name="T37" fmla="*/ 58 h 84"/>
                <a:gd name="T38" fmla="*/ 62 w 63"/>
                <a:gd name="T39" fmla="*/ 60 h 84"/>
                <a:gd name="T40" fmla="*/ 61 w 63"/>
                <a:gd name="T41" fmla="*/ 63 h 84"/>
                <a:gd name="T42" fmla="*/ 60 w 63"/>
                <a:gd name="T43" fmla="*/ 70 h 84"/>
                <a:gd name="T44" fmla="*/ 58 w 63"/>
                <a:gd name="T45" fmla="*/ 75 h 84"/>
                <a:gd name="T46" fmla="*/ 57 w 63"/>
                <a:gd name="T47" fmla="*/ 78 h 84"/>
                <a:gd name="T48" fmla="*/ 57 w 63"/>
                <a:gd name="T49" fmla="*/ 79 h 84"/>
                <a:gd name="T50" fmla="*/ 56 w 63"/>
                <a:gd name="T51" fmla="*/ 80 h 84"/>
                <a:gd name="T52" fmla="*/ 55 w 63"/>
                <a:gd name="T53" fmla="*/ 82 h 84"/>
                <a:gd name="T54" fmla="*/ 54 w 63"/>
                <a:gd name="T55" fmla="*/ 83 h 84"/>
                <a:gd name="T56" fmla="*/ 54 w 63"/>
                <a:gd name="T57" fmla="*/ 84 h 84"/>
                <a:gd name="T58" fmla="*/ 54 w 63"/>
                <a:gd name="T59" fmla="*/ 84 h 84"/>
                <a:gd name="T60" fmla="*/ 42 w 63"/>
                <a:gd name="T6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3" h="84">
                  <a:moveTo>
                    <a:pt x="42" y="84"/>
                  </a:moveTo>
                  <a:cubicBezTo>
                    <a:pt x="42" y="84"/>
                    <a:pt x="42" y="84"/>
                    <a:pt x="42" y="84"/>
                  </a:cubicBezTo>
                  <a:cubicBezTo>
                    <a:pt x="40" y="82"/>
                    <a:pt x="39" y="79"/>
                    <a:pt x="37" y="77"/>
                  </a:cubicBezTo>
                  <a:cubicBezTo>
                    <a:pt x="34" y="72"/>
                    <a:pt x="31" y="67"/>
                    <a:pt x="28" y="62"/>
                  </a:cubicBezTo>
                  <a:cubicBezTo>
                    <a:pt x="23" y="54"/>
                    <a:pt x="19" y="44"/>
                    <a:pt x="14" y="35"/>
                  </a:cubicBezTo>
                  <a:cubicBezTo>
                    <a:pt x="9" y="25"/>
                    <a:pt x="4" y="16"/>
                    <a:pt x="0" y="6"/>
                  </a:cubicBezTo>
                  <a:cubicBezTo>
                    <a:pt x="2" y="4"/>
                    <a:pt x="4" y="3"/>
                    <a:pt x="7" y="2"/>
                  </a:cubicBezTo>
                  <a:cubicBezTo>
                    <a:pt x="10" y="1"/>
                    <a:pt x="14" y="0"/>
                    <a:pt x="18" y="0"/>
                  </a:cubicBezTo>
                  <a:cubicBezTo>
                    <a:pt x="25" y="0"/>
                    <a:pt x="33" y="2"/>
                    <a:pt x="40" y="7"/>
                  </a:cubicBezTo>
                  <a:cubicBezTo>
                    <a:pt x="43" y="10"/>
                    <a:pt x="46" y="12"/>
                    <a:pt x="49" y="15"/>
                  </a:cubicBezTo>
                  <a:cubicBezTo>
                    <a:pt x="52" y="18"/>
                    <a:pt x="54" y="21"/>
                    <a:pt x="56" y="24"/>
                  </a:cubicBezTo>
                  <a:cubicBezTo>
                    <a:pt x="58" y="28"/>
                    <a:pt x="59" y="30"/>
                    <a:pt x="60" y="34"/>
                  </a:cubicBezTo>
                  <a:cubicBezTo>
                    <a:pt x="61" y="36"/>
                    <a:pt x="61" y="38"/>
                    <a:pt x="62" y="40"/>
                  </a:cubicBezTo>
                  <a:cubicBezTo>
                    <a:pt x="62" y="41"/>
                    <a:pt x="62" y="42"/>
                    <a:pt x="62" y="42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4"/>
                    <a:pt x="62" y="44"/>
                    <a:pt x="62" y="45"/>
                  </a:cubicBezTo>
                  <a:cubicBezTo>
                    <a:pt x="63" y="49"/>
                    <a:pt x="63" y="53"/>
                    <a:pt x="62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2" y="59"/>
                    <a:pt x="62" y="59"/>
                    <a:pt x="62" y="60"/>
                  </a:cubicBezTo>
                  <a:cubicBezTo>
                    <a:pt x="62" y="61"/>
                    <a:pt x="61" y="62"/>
                    <a:pt x="61" y="63"/>
                  </a:cubicBezTo>
                  <a:cubicBezTo>
                    <a:pt x="61" y="65"/>
                    <a:pt x="60" y="67"/>
                    <a:pt x="60" y="70"/>
                  </a:cubicBezTo>
                  <a:cubicBezTo>
                    <a:pt x="59" y="72"/>
                    <a:pt x="59" y="74"/>
                    <a:pt x="58" y="75"/>
                  </a:cubicBezTo>
                  <a:cubicBezTo>
                    <a:pt x="58" y="76"/>
                    <a:pt x="58" y="77"/>
                    <a:pt x="57" y="78"/>
                  </a:cubicBezTo>
                  <a:cubicBezTo>
                    <a:pt x="57" y="78"/>
                    <a:pt x="57" y="79"/>
                    <a:pt x="57" y="79"/>
                  </a:cubicBezTo>
                  <a:cubicBezTo>
                    <a:pt x="57" y="78"/>
                    <a:pt x="56" y="80"/>
                    <a:pt x="56" y="80"/>
                  </a:cubicBezTo>
                  <a:cubicBezTo>
                    <a:pt x="56" y="81"/>
                    <a:pt x="56" y="82"/>
                    <a:pt x="55" y="82"/>
                  </a:cubicBezTo>
                  <a:cubicBezTo>
                    <a:pt x="55" y="83"/>
                    <a:pt x="55" y="83"/>
                    <a:pt x="54" y="83"/>
                  </a:cubicBezTo>
                  <a:cubicBezTo>
                    <a:pt x="55" y="83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0" y="84"/>
                    <a:pt x="46" y="84"/>
                    <a:pt x="42" y="84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1" name="ïṧlíḍè">
              <a:extLst>
                <a:ext uri="{FF2B5EF4-FFF2-40B4-BE49-F238E27FC236}">
                  <a16:creationId xmlns:a16="http://schemas.microsoft.com/office/drawing/2014/main" id="{0E2F0816-EB80-4B80-B127-4DFF1ED4C5F6}"/>
                </a:ext>
              </a:extLst>
            </p:cNvPr>
            <p:cNvSpPr/>
            <p:nvPr/>
          </p:nvSpPr>
          <p:spPr bwMode="auto">
            <a:xfrm>
              <a:off x="5999797" y="2333288"/>
              <a:ext cx="611266" cy="578705"/>
            </a:xfrm>
            <a:custGeom>
              <a:avLst/>
              <a:gdLst>
                <a:gd name="T0" fmla="*/ 154 w 199"/>
                <a:gd name="T1" fmla="*/ 161 h 188"/>
                <a:gd name="T2" fmla="*/ 154 w 199"/>
                <a:gd name="T3" fmla="*/ 161 h 188"/>
                <a:gd name="T4" fmla="*/ 172 w 199"/>
                <a:gd name="T5" fmla="*/ 154 h 188"/>
                <a:gd name="T6" fmla="*/ 187 w 199"/>
                <a:gd name="T7" fmla="*/ 147 h 188"/>
                <a:gd name="T8" fmla="*/ 196 w 199"/>
                <a:gd name="T9" fmla="*/ 161 h 188"/>
                <a:gd name="T10" fmla="*/ 199 w 199"/>
                <a:gd name="T11" fmla="*/ 166 h 188"/>
                <a:gd name="T12" fmla="*/ 167 w 199"/>
                <a:gd name="T13" fmla="*/ 167 h 188"/>
                <a:gd name="T14" fmla="*/ 140 w 199"/>
                <a:gd name="T15" fmla="*/ 168 h 188"/>
                <a:gd name="T16" fmla="*/ 154 w 199"/>
                <a:gd name="T17" fmla="*/ 161 h 188"/>
                <a:gd name="T18" fmla="*/ 50 w 199"/>
                <a:gd name="T19" fmla="*/ 34 h 188"/>
                <a:gd name="T20" fmla="*/ 50 w 199"/>
                <a:gd name="T21" fmla="*/ 34 h 188"/>
                <a:gd name="T22" fmla="*/ 53 w 199"/>
                <a:gd name="T23" fmla="*/ 25 h 188"/>
                <a:gd name="T24" fmla="*/ 56 w 199"/>
                <a:gd name="T25" fmla="*/ 24 h 188"/>
                <a:gd name="T26" fmla="*/ 64 w 199"/>
                <a:gd name="T27" fmla="*/ 18 h 188"/>
                <a:gd name="T28" fmla="*/ 79 w 199"/>
                <a:gd name="T29" fmla="*/ 6 h 188"/>
                <a:gd name="T30" fmla="*/ 94 w 199"/>
                <a:gd name="T31" fmla="*/ 0 h 188"/>
                <a:gd name="T32" fmla="*/ 104 w 199"/>
                <a:gd name="T33" fmla="*/ 6 h 188"/>
                <a:gd name="T34" fmla="*/ 120 w 199"/>
                <a:gd name="T35" fmla="*/ 14 h 188"/>
                <a:gd name="T36" fmla="*/ 124 w 199"/>
                <a:gd name="T37" fmla="*/ 17 h 188"/>
                <a:gd name="T38" fmla="*/ 127 w 199"/>
                <a:gd name="T39" fmla="*/ 19 h 188"/>
                <a:gd name="T40" fmla="*/ 128 w 199"/>
                <a:gd name="T41" fmla="*/ 21 h 188"/>
                <a:gd name="T42" fmla="*/ 121 w 199"/>
                <a:gd name="T43" fmla="*/ 23 h 188"/>
                <a:gd name="T44" fmla="*/ 110 w 199"/>
                <a:gd name="T45" fmla="*/ 28 h 188"/>
                <a:gd name="T46" fmla="*/ 88 w 199"/>
                <a:gd name="T47" fmla="*/ 38 h 188"/>
                <a:gd name="T48" fmla="*/ 45 w 199"/>
                <a:gd name="T49" fmla="*/ 64 h 188"/>
                <a:gd name="T50" fmla="*/ 37 w 199"/>
                <a:gd name="T51" fmla="*/ 71 h 188"/>
                <a:gd name="T52" fmla="*/ 50 w 199"/>
                <a:gd name="T53" fmla="*/ 34 h 188"/>
                <a:gd name="T54" fmla="*/ 1 w 199"/>
                <a:gd name="T55" fmla="*/ 186 h 188"/>
                <a:gd name="T56" fmla="*/ 1 w 199"/>
                <a:gd name="T57" fmla="*/ 186 h 188"/>
                <a:gd name="T58" fmla="*/ 6 w 199"/>
                <a:gd name="T59" fmla="*/ 170 h 188"/>
                <a:gd name="T60" fmla="*/ 15 w 199"/>
                <a:gd name="T61" fmla="*/ 141 h 188"/>
                <a:gd name="T62" fmla="*/ 15 w 199"/>
                <a:gd name="T63" fmla="*/ 138 h 188"/>
                <a:gd name="T64" fmla="*/ 18 w 199"/>
                <a:gd name="T65" fmla="*/ 136 h 188"/>
                <a:gd name="T66" fmla="*/ 24 w 199"/>
                <a:gd name="T67" fmla="*/ 131 h 188"/>
                <a:gd name="T68" fmla="*/ 35 w 199"/>
                <a:gd name="T69" fmla="*/ 122 h 188"/>
                <a:gd name="T70" fmla="*/ 57 w 199"/>
                <a:gd name="T71" fmla="*/ 105 h 188"/>
                <a:gd name="T72" fmla="*/ 82 w 199"/>
                <a:gd name="T73" fmla="*/ 92 h 188"/>
                <a:gd name="T74" fmla="*/ 111 w 199"/>
                <a:gd name="T75" fmla="*/ 80 h 188"/>
                <a:gd name="T76" fmla="*/ 148 w 199"/>
                <a:gd name="T77" fmla="*/ 66 h 188"/>
                <a:gd name="T78" fmla="*/ 164 w 199"/>
                <a:gd name="T79" fmla="*/ 102 h 188"/>
                <a:gd name="T80" fmla="*/ 141 w 199"/>
                <a:gd name="T81" fmla="*/ 111 h 188"/>
                <a:gd name="T82" fmla="*/ 113 w 199"/>
                <a:gd name="T83" fmla="*/ 122 h 188"/>
                <a:gd name="T84" fmla="*/ 86 w 199"/>
                <a:gd name="T85" fmla="*/ 135 h 188"/>
                <a:gd name="T86" fmla="*/ 60 w 199"/>
                <a:gd name="T87" fmla="*/ 150 h 188"/>
                <a:gd name="T88" fmla="*/ 39 w 199"/>
                <a:gd name="T89" fmla="*/ 166 h 188"/>
                <a:gd name="T90" fmla="*/ 28 w 199"/>
                <a:gd name="T91" fmla="*/ 175 h 188"/>
                <a:gd name="T92" fmla="*/ 19 w 199"/>
                <a:gd name="T93" fmla="*/ 184 h 188"/>
                <a:gd name="T94" fmla="*/ 0 w 199"/>
                <a:gd name="T95" fmla="*/ 188 h 188"/>
                <a:gd name="T96" fmla="*/ 1 w 199"/>
                <a:gd name="T97" fmla="*/ 18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188">
                  <a:moveTo>
                    <a:pt x="154" y="161"/>
                  </a:moveTo>
                  <a:cubicBezTo>
                    <a:pt x="154" y="161"/>
                    <a:pt x="154" y="161"/>
                    <a:pt x="154" y="161"/>
                  </a:cubicBezTo>
                  <a:cubicBezTo>
                    <a:pt x="160" y="159"/>
                    <a:pt x="166" y="156"/>
                    <a:pt x="172" y="154"/>
                  </a:cubicBezTo>
                  <a:cubicBezTo>
                    <a:pt x="177" y="152"/>
                    <a:pt x="182" y="150"/>
                    <a:pt x="187" y="147"/>
                  </a:cubicBezTo>
                  <a:cubicBezTo>
                    <a:pt x="190" y="152"/>
                    <a:pt x="193" y="157"/>
                    <a:pt x="196" y="161"/>
                  </a:cubicBezTo>
                  <a:cubicBezTo>
                    <a:pt x="197" y="163"/>
                    <a:pt x="198" y="164"/>
                    <a:pt x="199" y="166"/>
                  </a:cubicBezTo>
                  <a:cubicBezTo>
                    <a:pt x="188" y="166"/>
                    <a:pt x="177" y="166"/>
                    <a:pt x="167" y="167"/>
                  </a:cubicBezTo>
                  <a:cubicBezTo>
                    <a:pt x="158" y="167"/>
                    <a:pt x="149" y="168"/>
                    <a:pt x="140" y="168"/>
                  </a:cubicBezTo>
                  <a:cubicBezTo>
                    <a:pt x="144" y="166"/>
                    <a:pt x="149" y="163"/>
                    <a:pt x="154" y="161"/>
                  </a:cubicBezTo>
                  <a:close/>
                  <a:moveTo>
                    <a:pt x="50" y="34"/>
                  </a:moveTo>
                  <a:cubicBezTo>
                    <a:pt x="50" y="34"/>
                    <a:pt x="50" y="34"/>
                    <a:pt x="50" y="34"/>
                  </a:cubicBezTo>
                  <a:cubicBezTo>
                    <a:pt x="51" y="31"/>
                    <a:pt x="52" y="28"/>
                    <a:pt x="53" y="25"/>
                  </a:cubicBezTo>
                  <a:cubicBezTo>
                    <a:pt x="54" y="25"/>
                    <a:pt x="55" y="24"/>
                    <a:pt x="56" y="24"/>
                  </a:cubicBezTo>
                  <a:cubicBezTo>
                    <a:pt x="59" y="22"/>
                    <a:pt x="62" y="20"/>
                    <a:pt x="64" y="18"/>
                  </a:cubicBezTo>
                  <a:cubicBezTo>
                    <a:pt x="69" y="14"/>
                    <a:pt x="73" y="9"/>
                    <a:pt x="79" y="6"/>
                  </a:cubicBezTo>
                  <a:cubicBezTo>
                    <a:pt x="84" y="4"/>
                    <a:pt x="89" y="2"/>
                    <a:pt x="94" y="0"/>
                  </a:cubicBezTo>
                  <a:cubicBezTo>
                    <a:pt x="97" y="2"/>
                    <a:pt x="101" y="4"/>
                    <a:pt x="104" y="6"/>
                  </a:cubicBezTo>
                  <a:cubicBezTo>
                    <a:pt x="110" y="9"/>
                    <a:pt x="114" y="12"/>
                    <a:pt x="120" y="14"/>
                  </a:cubicBezTo>
                  <a:cubicBezTo>
                    <a:pt x="121" y="15"/>
                    <a:pt x="122" y="16"/>
                    <a:pt x="124" y="17"/>
                  </a:cubicBezTo>
                  <a:cubicBezTo>
                    <a:pt x="125" y="17"/>
                    <a:pt x="126" y="18"/>
                    <a:pt x="127" y="19"/>
                  </a:cubicBezTo>
                  <a:cubicBezTo>
                    <a:pt x="128" y="20"/>
                    <a:pt x="128" y="21"/>
                    <a:pt x="128" y="21"/>
                  </a:cubicBezTo>
                  <a:cubicBezTo>
                    <a:pt x="126" y="22"/>
                    <a:pt x="124" y="23"/>
                    <a:pt x="121" y="23"/>
                  </a:cubicBezTo>
                  <a:cubicBezTo>
                    <a:pt x="117" y="25"/>
                    <a:pt x="114" y="27"/>
                    <a:pt x="110" y="28"/>
                  </a:cubicBezTo>
                  <a:cubicBezTo>
                    <a:pt x="103" y="31"/>
                    <a:pt x="95" y="34"/>
                    <a:pt x="88" y="38"/>
                  </a:cubicBezTo>
                  <a:cubicBezTo>
                    <a:pt x="72" y="45"/>
                    <a:pt x="58" y="53"/>
                    <a:pt x="45" y="64"/>
                  </a:cubicBezTo>
                  <a:cubicBezTo>
                    <a:pt x="42" y="66"/>
                    <a:pt x="39" y="69"/>
                    <a:pt x="37" y="71"/>
                  </a:cubicBezTo>
                  <a:cubicBezTo>
                    <a:pt x="41" y="59"/>
                    <a:pt x="45" y="46"/>
                    <a:pt x="50" y="34"/>
                  </a:cubicBezTo>
                  <a:close/>
                  <a:moveTo>
                    <a:pt x="1" y="186"/>
                  </a:moveTo>
                  <a:cubicBezTo>
                    <a:pt x="1" y="186"/>
                    <a:pt x="1" y="186"/>
                    <a:pt x="1" y="186"/>
                  </a:cubicBezTo>
                  <a:cubicBezTo>
                    <a:pt x="2" y="180"/>
                    <a:pt x="4" y="175"/>
                    <a:pt x="6" y="170"/>
                  </a:cubicBezTo>
                  <a:cubicBezTo>
                    <a:pt x="9" y="160"/>
                    <a:pt x="12" y="150"/>
                    <a:pt x="15" y="141"/>
                  </a:cubicBezTo>
                  <a:cubicBezTo>
                    <a:pt x="15" y="140"/>
                    <a:pt x="15" y="139"/>
                    <a:pt x="15" y="138"/>
                  </a:cubicBezTo>
                  <a:cubicBezTo>
                    <a:pt x="16" y="137"/>
                    <a:pt x="17" y="137"/>
                    <a:pt x="18" y="136"/>
                  </a:cubicBezTo>
                  <a:cubicBezTo>
                    <a:pt x="20" y="134"/>
                    <a:pt x="22" y="133"/>
                    <a:pt x="24" y="131"/>
                  </a:cubicBezTo>
                  <a:cubicBezTo>
                    <a:pt x="27" y="128"/>
                    <a:pt x="31" y="125"/>
                    <a:pt x="35" y="122"/>
                  </a:cubicBezTo>
                  <a:cubicBezTo>
                    <a:pt x="41" y="116"/>
                    <a:pt x="49" y="110"/>
                    <a:pt x="57" y="105"/>
                  </a:cubicBezTo>
                  <a:cubicBezTo>
                    <a:pt x="65" y="100"/>
                    <a:pt x="73" y="96"/>
                    <a:pt x="82" y="92"/>
                  </a:cubicBezTo>
                  <a:cubicBezTo>
                    <a:pt x="91" y="87"/>
                    <a:pt x="101" y="83"/>
                    <a:pt x="111" y="80"/>
                  </a:cubicBezTo>
                  <a:cubicBezTo>
                    <a:pt x="123" y="76"/>
                    <a:pt x="136" y="71"/>
                    <a:pt x="148" y="66"/>
                  </a:cubicBezTo>
                  <a:cubicBezTo>
                    <a:pt x="153" y="78"/>
                    <a:pt x="159" y="90"/>
                    <a:pt x="164" y="102"/>
                  </a:cubicBezTo>
                  <a:cubicBezTo>
                    <a:pt x="157" y="106"/>
                    <a:pt x="149" y="108"/>
                    <a:pt x="141" y="111"/>
                  </a:cubicBezTo>
                  <a:cubicBezTo>
                    <a:pt x="131" y="114"/>
                    <a:pt x="122" y="117"/>
                    <a:pt x="113" y="122"/>
                  </a:cubicBezTo>
                  <a:cubicBezTo>
                    <a:pt x="104" y="126"/>
                    <a:pt x="94" y="130"/>
                    <a:pt x="86" y="135"/>
                  </a:cubicBezTo>
                  <a:cubicBezTo>
                    <a:pt x="77" y="140"/>
                    <a:pt x="68" y="144"/>
                    <a:pt x="60" y="150"/>
                  </a:cubicBezTo>
                  <a:cubicBezTo>
                    <a:pt x="53" y="155"/>
                    <a:pt x="45" y="161"/>
                    <a:pt x="39" y="166"/>
                  </a:cubicBezTo>
                  <a:cubicBezTo>
                    <a:pt x="35" y="169"/>
                    <a:pt x="32" y="172"/>
                    <a:pt x="28" y="175"/>
                  </a:cubicBezTo>
                  <a:cubicBezTo>
                    <a:pt x="25" y="177"/>
                    <a:pt x="21" y="180"/>
                    <a:pt x="19" y="184"/>
                  </a:cubicBezTo>
                  <a:cubicBezTo>
                    <a:pt x="13" y="185"/>
                    <a:pt x="6" y="186"/>
                    <a:pt x="0" y="188"/>
                  </a:cubicBezTo>
                  <a:cubicBezTo>
                    <a:pt x="0" y="187"/>
                    <a:pt x="0" y="186"/>
                    <a:pt x="1" y="186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2" name="ïSļiďê">
              <a:extLst>
                <a:ext uri="{FF2B5EF4-FFF2-40B4-BE49-F238E27FC236}">
                  <a16:creationId xmlns:a16="http://schemas.microsoft.com/office/drawing/2014/main" id="{4D9220DF-6735-47E8-92FC-3B2C4F85B2FE}"/>
                </a:ext>
              </a:extLst>
            </p:cNvPr>
            <p:cNvSpPr/>
            <p:nvPr/>
          </p:nvSpPr>
          <p:spPr bwMode="auto">
            <a:xfrm>
              <a:off x="5851791" y="2564177"/>
              <a:ext cx="119886" cy="356695"/>
            </a:xfrm>
            <a:custGeom>
              <a:avLst/>
              <a:gdLst>
                <a:gd name="T0" fmla="*/ 35 w 39"/>
                <a:gd name="T1" fmla="*/ 116 h 116"/>
                <a:gd name="T2" fmla="*/ 35 w 39"/>
                <a:gd name="T3" fmla="*/ 116 h 116"/>
                <a:gd name="T4" fmla="*/ 33 w 39"/>
                <a:gd name="T5" fmla="*/ 113 h 116"/>
                <a:gd name="T6" fmla="*/ 30 w 39"/>
                <a:gd name="T7" fmla="*/ 107 h 116"/>
                <a:gd name="T8" fmla="*/ 24 w 39"/>
                <a:gd name="T9" fmla="*/ 96 h 116"/>
                <a:gd name="T10" fmla="*/ 13 w 39"/>
                <a:gd name="T11" fmla="*/ 70 h 116"/>
                <a:gd name="T12" fmla="*/ 1 w 39"/>
                <a:gd name="T13" fmla="*/ 42 h 116"/>
                <a:gd name="T14" fmla="*/ 0 w 39"/>
                <a:gd name="T15" fmla="*/ 39 h 116"/>
                <a:gd name="T16" fmla="*/ 1 w 39"/>
                <a:gd name="T17" fmla="*/ 38 h 116"/>
                <a:gd name="T18" fmla="*/ 2 w 39"/>
                <a:gd name="T19" fmla="*/ 32 h 116"/>
                <a:gd name="T20" fmla="*/ 7 w 39"/>
                <a:gd name="T21" fmla="*/ 12 h 116"/>
                <a:gd name="T22" fmla="*/ 13 w 39"/>
                <a:gd name="T23" fmla="*/ 5 h 116"/>
                <a:gd name="T24" fmla="*/ 18 w 39"/>
                <a:gd name="T25" fmla="*/ 2 h 116"/>
                <a:gd name="T26" fmla="*/ 21 w 39"/>
                <a:gd name="T27" fmla="*/ 0 h 116"/>
                <a:gd name="T28" fmla="*/ 31 w 39"/>
                <a:gd name="T29" fmla="*/ 56 h 116"/>
                <a:gd name="T30" fmla="*/ 35 w 39"/>
                <a:gd name="T31" fmla="*/ 83 h 116"/>
                <a:gd name="T32" fmla="*/ 36 w 39"/>
                <a:gd name="T33" fmla="*/ 96 h 116"/>
                <a:gd name="T34" fmla="*/ 38 w 39"/>
                <a:gd name="T35" fmla="*/ 110 h 116"/>
                <a:gd name="T36" fmla="*/ 39 w 39"/>
                <a:gd name="T37" fmla="*/ 111 h 116"/>
                <a:gd name="T38" fmla="*/ 38 w 39"/>
                <a:gd name="T39" fmla="*/ 115 h 116"/>
                <a:gd name="T40" fmla="*/ 35 w 39"/>
                <a:gd name="T4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116">
                  <a:moveTo>
                    <a:pt x="35" y="116"/>
                  </a:moveTo>
                  <a:cubicBezTo>
                    <a:pt x="35" y="116"/>
                    <a:pt x="35" y="116"/>
                    <a:pt x="35" y="116"/>
                  </a:cubicBezTo>
                  <a:cubicBezTo>
                    <a:pt x="34" y="115"/>
                    <a:pt x="34" y="114"/>
                    <a:pt x="33" y="113"/>
                  </a:cubicBezTo>
                  <a:cubicBezTo>
                    <a:pt x="32" y="112"/>
                    <a:pt x="31" y="110"/>
                    <a:pt x="30" y="107"/>
                  </a:cubicBezTo>
                  <a:cubicBezTo>
                    <a:pt x="27" y="104"/>
                    <a:pt x="26" y="100"/>
                    <a:pt x="24" y="96"/>
                  </a:cubicBezTo>
                  <a:cubicBezTo>
                    <a:pt x="20" y="87"/>
                    <a:pt x="17" y="79"/>
                    <a:pt x="13" y="70"/>
                  </a:cubicBezTo>
                  <a:cubicBezTo>
                    <a:pt x="10" y="61"/>
                    <a:pt x="6" y="52"/>
                    <a:pt x="1" y="42"/>
                  </a:cubicBezTo>
                  <a:cubicBezTo>
                    <a:pt x="1" y="41"/>
                    <a:pt x="1" y="40"/>
                    <a:pt x="0" y="39"/>
                  </a:cubicBezTo>
                  <a:cubicBezTo>
                    <a:pt x="1" y="39"/>
                    <a:pt x="1" y="39"/>
                    <a:pt x="1" y="38"/>
                  </a:cubicBezTo>
                  <a:cubicBezTo>
                    <a:pt x="2" y="36"/>
                    <a:pt x="2" y="34"/>
                    <a:pt x="2" y="32"/>
                  </a:cubicBezTo>
                  <a:cubicBezTo>
                    <a:pt x="1" y="25"/>
                    <a:pt x="3" y="19"/>
                    <a:pt x="7" y="12"/>
                  </a:cubicBezTo>
                  <a:cubicBezTo>
                    <a:pt x="9" y="9"/>
                    <a:pt x="11" y="7"/>
                    <a:pt x="13" y="5"/>
                  </a:cubicBezTo>
                  <a:cubicBezTo>
                    <a:pt x="15" y="3"/>
                    <a:pt x="16" y="2"/>
                    <a:pt x="18" y="2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4" y="19"/>
                    <a:pt x="27" y="37"/>
                    <a:pt x="31" y="56"/>
                  </a:cubicBezTo>
                  <a:cubicBezTo>
                    <a:pt x="32" y="65"/>
                    <a:pt x="33" y="74"/>
                    <a:pt x="35" y="83"/>
                  </a:cubicBezTo>
                  <a:cubicBezTo>
                    <a:pt x="35" y="88"/>
                    <a:pt x="36" y="92"/>
                    <a:pt x="36" y="96"/>
                  </a:cubicBezTo>
                  <a:cubicBezTo>
                    <a:pt x="37" y="101"/>
                    <a:pt x="36" y="106"/>
                    <a:pt x="38" y="110"/>
                  </a:cubicBezTo>
                  <a:cubicBezTo>
                    <a:pt x="38" y="111"/>
                    <a:pt x="38" y="111"/>
                    <a:pt x="39" y="111"/>
                  </a:cubicBezTo>
                  <a:cubicBezTo>
                    <a:pt x="38" y="112"/>
                    <a:pt x="38" y="114"/>
                    <a:pt x="38" y="115"/>
                  </a:cubicBezTo>
                  <a:cubicBezTo>
                    <a:pt x="37" y="115"/>
                    <a:pt x="36" y="115"/>
                    <a:pt x="35" y="116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3" name="iṥlíďè">
              <a:extLst>
                <a:ext uri="{FF2B5EF4-FFF2-40B4-BE49-F238E27FC236}">
                  <a16:creationId xmlns:a16="http://schemas.microsoft.com/office/drawing/2014/main" id="{7018AD3F-1B45-4B83-970F-A69C3577F172}"/>
                </a:ext>
              </a:extLst>
            </p:cNvPr>
            <p:cNvSpPr/>
            <p:nvPr/>
          </p:nvSpPr>
          <p:spPr bwMode="auto">
            <a:xfrm>
              <a:off x="5808868" y="2681103"/>
              <a:ext cx="125806" cy="251611"/>
            </a:xfrm>
            <a:custGeom>
              <a:avLst/>
              <a:gdLst>
                <a:gd name="T0" fmla="*/ 30 w 41"/>
                <a:gd name="T1" fmla="*/ 82 h 82"/>
                <a:gd name="T2" fmla="*/ 30 w 41"/>
                <a:gd name="T3" fmla="*/ 82 h 82"/>
                <a:gd name="T4" fmla="*/ 10 w 41"/>
                <a:gd name="T5" fmla="*/ 40 h 82"/>
                <a:gd name="T6" fmla="*/ 0 w 41"/>
                <a:gd name="T7" fmla="*/ 19 h 82"/>
                <a:gd name="T8" fmla="*/ 2 w 41"/>
                <a:gd name="T9" fmla="*/ 16 h 82"/>
                <a:gd name="T10" fmla="*/ 5 w 41"/>
                <a:gd name="T11" fmla="*/ 6 h 82"/>
                <a:gd name="T12" fmla="*/ 6 w 41"/>
                <a:gd name="T13" fmla="*/ 0 h 82"/>
                <a:gd name="T14" fmla="*/ 9 w 41"/>
                <a:gd name="T15" fmla="*/ 7 h 82"/>
                <a:gd name="T16" fmla="*/ 22 w 41"/>
                <a:gd name="T17" fmla="*/ 36 h 82"/>
                <a:gd name="T18" fmla="*/ 31 w 41"/>
                <a:gd name="T19" fmla="*/ 61 h 82"/>
                <a:gd name="T20" fmla="*/ 38 w 41"/>
                <a:gd name="T21" fmla="*/ 74 h 82"/>
                <a:gd name="T22" fmla="*/ 41 w 41"/>
                <a:gd name="T23" fmla="*/ 79 h 82"/>
                <a:gd name="T24" fmla="*/ 30 w 41"/>
                <a:gd name="T2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82">
                  <a:moveTo>
                    <a:pt x="30" y="82"/>
                  </a:moveTo>
                  <a:cubicBezTo>
                    <a:pt x="30" y="82"/>
                    <a:pt x="30" y="82"/>
                    <a:pt x="30" y="82"/>
                  </a:cubicBezTo>
                  <a:cubicBezTo>
                    <a:pt x="24" y="67"/>
                    <a:pt x="17" y="54"/>
                    <a:pt x="10" y="40"/>
                  </a:cubicBezTo>
                  <a:cubicBezTo>
                    <a:pt x="7" y="33"/>
                    <a:pt x="3" y="26"/>
                    <a:pt x="0" y="19"/>
                  </a:cubicBezTo>
                  <a:cubicBezTo>
                    <a:pt x="1" y="18"/>
                    <a:pt x="2" y="17"/>
                    <a:pt x="2" y="16"/>
                  </a:cubicBezTo>
                  <a:cubicBezTo>
                    <a:pt x="3" y="13"/>
                    <a:pt x="4" y="10"/>
                    <a:pt x="5" y="6"/>
                  </a:cubicBezTo>
                  <a:cubicBezTo>
                    <a:pt x="5" y="4"/>
                    <a:pt x="6" y="2"/>
                    <a:pt x="6" y="0"/>
                  </a:cubicBezTo>
                  <a:cubicBezTo>
                    <a:pt x="7" y="2"/>
                    <a:pt x="8" y="4"/>
                    <a:pt x="9" y="7"/>
                  </a:cubicBezTo>
                  <a:cubicBezTo>
                    <a:pt x="13" y="17"/>
                    <a:pt x="17" y="26"/>
                    <a:pt x="22" y="36"/>
                  </a:cubicBezTo>
                  <a:cubicBezTo>
                    <a:pt x="25" y="44"/>
                    <a:pt x="28" y="53"/>
                    <a:pt x="31" y="61"/>
                  </a:cubicBezTo>
                  <a:cubicBezTo>
                    <a:pt x="33" y="65"/>
                    <a:pt x="35" y="70"/>
                    <a:pt x="38" y="74"/>
                  </a:cubicBezTo>
                  <a:cubicBezTo>
                    <a:pt x="38" y="76"/>
                    <a:pt x="39" y="78"/>
                    <a:pt x="41" y="79"/>
                  </a:cubicBezTo>
                  <a:cubicBezTo>
                    <a:pt x="37" y="80"/>
                    <a:pt x="34" y="81"/>
                    <a:pt x="30" y="82"/>
                  </a:cubicBezTo>
                  <a:close/>
                </a:path>
              </a:pathLst>
            </a:custGeom>
            <a:solidFill>
              <a:srgbClr val="7B87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4" name="íşľïḑè">
              <a:extLst>
                <a:ext uri="{FF2B5EF4-FFF2-40B4-BE49-F238E27FC236}">
                  <a16:creationId xmlns:a16="http://schemas.microsoft.com/office/drawing/2014/main" id="{648770C8-0BFD-4EBA-8DE6-91CCA5D91F1E}"/>
                </a:ext>
              </a:extLst>
            </p:cNvPr>
            <p:cNvSpPr/>
            <p:nvPr/>
          </p:nvSpPr>
          <p:spPr bwMode="auto">
            <a:xfrm>
              <a:off x="5632741" y="2783227"/>
              <a:ext cx="247171" cy="226450"/>
            </a:xfrm>
            <a:custGeom>
              <a:avLst/>
              <a:gdLst>
                <a:gd name="T0" fmla="*/ 0 w 80"/>
                <a:gd name="T1" fmla="*/ 57 h 74"/>
                <a:gd name="T2" fmla="*/ 0 w 80"/>
                <a:gd name="T3" fmla="*/ 57 h 74"/>
                <a:gd name="T4" fmla="*/ 13 w 80"/>
                <a:gd name="T5" fmla="*/ 61 h 74"/>
                <a:gd name="T6" fmla="*/ 35 w 80"/>
                <a:gd name="T7" fmla="*/ 55 h 74"/>
                <a:gd name="T8" fmla="*/ 55 w 80"/>
                <a:gd name="T9" fmla="*/ 18 h 74"/>
                <a:gd name="T10" fmla="*/ 56 w 80"/>
                <a:gd name="T11" fmla="*/ 0 h 74"/>
                <a:gd name="T12" fmla="*/ 60 w 80"/>
                <a:gd name="T13" fmla="*/ 10 h 74"/>
                <a:gd name="T14" fmla="*/ 80 w 80"/>
                <a:gd name="T15" fmla="*/ 50 h 74"/>
                <a:gd name="T16" fmla="*/ 1 w 80"/>
                <a:gd name="T17" fmla="*/ 74 h 74"/>
                <a:gd name="T18" fmla="*/ 0 w 80"/>
                <a:gd name="T19" fmla="*/ 5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4">
                  <a:moveTo>
                    <a:pt x="0" y="57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5" y="59"/>
                    <a:pt x="9" y="61"/>
                    <a:pt x="13" y="61"/>
                  </a:cubicBezTo>
                  <a:cubicBezTo>
                    <a:pt x="21" y="62"/>
                    <a:pt x="29" y="60"/>
                    <a:pt x="35" y="55"/>
                  </a:cubicBezTo>
                  <a:cubicBezTo>
                    <a:pt x="46" y="46"/>
                    <a:pt x="52" y="32"/>
                    <a:pt x="55" y="18"/>
                  </a:cubicBezTo>
                  <a:cubicBezTo>
                    <a:pt x="56" y="12"/>
                    <a:pt x="56" y="7"/>
                    <a:pt x="56" y="0"/>
                  </a:cubicBezTo>
                  <a:cubicBezTo>
                    <a:pt x="58" y="3"/>
                    <a:pt x="59" y="7"/>
                    <a:pt x="60" y="10"/>
                  </a:cubicBezTo>
                  <a:cubicBezTo>
                    <a:pt x="67" y="23"/>
                    <a:pt x="73" y="37"/>
                    <a:pt x="80" y="50"/>
                  </a:cubicBezTo>
                  <a:cubicBezTo>
                    <a:pt x="54" y="57"/>
                    <a:pt x="27" y="65"/>
                    <a:pt x="1" y="74"/>
                  </a:cubicBezTo>
                  <a:cubicBezTo>
                    <a:pt x="2" y="68"/>
                    <a:pt x="2" y="63"/>
                    <a:pt x="0" y="57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5" name="íṣļîḓé">
              <a:extLst>
                <a:ext uri="{FF2B5EF4-FFF2-40B4-BE49-F238E27FC236}">
                  <a16:creationId xmlns:a16="http://schemas.microsoft.com/office/drawing/2014/main" id="{B2F440FE-06FE-4079-80CC-F7317508677F}"/>
                </a:ext>
              </a:extLst>
            </p:cNvPr>
            <p:cNvSpPr/>
            <p:nvPr/>
          </p:nvSpPr>
          <p:spPr bwMode="auto">
            <a:xfrm>
              <a:off x="5387051" y="2872030"/>
              <a:ext cx="224969" cy="233850"/>
            </a:xfrm>
            <a:custGeom>
              <a:avLst/>
              <a:gdLst>
                <a:gd name="T0" fmla="*/ 6 w 73"/>
                <a:gd name="T1" fmla="*/ 62 h 76"/>
                <a:gd name="T2" fmla="*/ 6 w 73"/>
                <a:gd name="T3" fmla="*/ 62 h 76"/>
                <a:gd name="T4" fmla="*/ 16 w 73"/>
                <a:gd name="T5" fmla="*/ 45 h 76"/>
                <a:gd name="T6" fmla="*/ 19 w 73"/>
                <a:gd name="T7" fmla="*/ 44 h 76"/>
                <a:gd name="T8" fmla="*/ 20 w 73"/>
                <a:gd name="T9" fmla="*/ 41 h 76"/>
                <a:gd name="T10" fmla="*/ 21 w 73"/>
                <a:gd name="T11" fmla="*/ 39 h 76"/>
                <a:gd name="T12" fmla="*/ 25 w 73"/>
                <a:gd name="T13" fmla="*/ 34 h 76"/>
                <a:gd name="T14" fmla="*/ 32 w 73"/>
                <a:gd name="T15" fmla="*/ 25 h 76"/>
                <a:gd name="T16" fmla="*/ 46 w 73"/>
                <a:gd name="T17" fmla="*/ 6 h 76"/>
                <a:gd name="T18" fmla="*/ 50 w 73"/>
                <a:gd name="T19" fmla="*/ 0 h 76"/>
                <a:gd name="T20" fmla="*/ 51 w 73"/>
                <a:gd name="T21" fmla="*/ 0 h 76"/>
                <a:gd name="T22" fmla="*/ 54 w 73"/>
                <a:gd name="T23" fmla="*/ 2 h 76"/>
                <a:gd name="T24" fmla="*/ 61 w 73"/>
                <a:gd name="T25" fmla="*/ 9 h 76"/>
                <a:gd name="T26" fmla="*/ 66 w 73"/>
                <a:gd name="T27" fmla="*/ 16 h 76"/>
                <a:gd name="T28" fmla="*/ 67 w 73"/>
                <a:gd name="T29" fmla="*/ 17 h 76"/>
                <a:gd name="T30" fmla="*/ 68 w 73"/>
                <a:gd name="T31" fmla="*/ 20 h 76"/>
                <a:gd name="T32" fmla="*/ 69 w 73"/>
                <a:gd name="T33" fmla="*/ 21 h 76"/>
                <a:gd name="T34" fmla="*/ 71 w 73"/>
                <a:gd name="T35" fmla="*/ 25 h 76"/>
                <a:gd name="T36" fmla="*/ 72 w 73"/>
                <a:gd name="T37" fmla="*/ 30 h 76"/>
                <a:gd name="T38" fmla="*/ 72 w 73"/>
                <a:gd name="T39" fmla="*/ 32 h 76"/>
                <a:gd name="T40" fmla="*/ 73 w 73"/>
                <a:gd name="T41" fmla="*/ 34 h 76"/>
                <a:gd name="T42" fmla="*/ 73 w 73"/>
                <a:gd name="T43" fmla="*/ 35 h 76"/>
                <a:gd name="T44" fmla="*/ 73 w 73"/>
                <a:gd name="T45" fmla="*/ 44 h 76"/>
                <a:gd name="T46" fmla="*/ 73 w 73"/>
                <a:gd name="T47" fmla="*/ 45 h 76"/>
                <a:gd name="T48" fmla="*/ 73 w 73"/>
                <a:gd name="T49" fmla="*/ 46 h 76"/>
                <a:gd name="T50" fmla="*/ 72 w 73"/>
                <a:gd name="T51" fmla="*/ 48 h 76"/>
                <a:gd name="T52" fmla="*/ 0 w 73"/>
                <a:gd name="T53" fmla="*/ 76 h 76"/>
                <a:gd name="T54" fmla="*/ 6 w 73"/>
                <a:gd name="T55" fmla="*/ 6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3" h="76">
                  <a:moveTo>
                    <a:pt x="6" y="62"/>
                  </a:moveTo>
                  <a:cubicBezTo>
                    <a:pt x="6" y="62"/>
                    <a:pt x="6" y="62"/>
                    <a:pt x="6" y="62"/>
                  </a:cubicBezTo>
                  <a:cubicBezTo>
                    <a:pt x="9" y="56"/>
                    <a:pt x="13" y="51"/>
                    <a:pt x="16" y="45"/>
                  </a:cubicBezTo>
                  <a:cubicBezTo>
                    <a:pt x="17" y="45"/>
                    <a:pt x="18" y="45"/>
                    <a:pt x="19" y="44"/>
                  </a:cubicBezTo>
                  <a:cubicBezTo>
                    <a:pt x="21" y="43"/>
                    <a:pt x="21" y="42"/>
                    <a:pt x="20" y="41"/>
                  </a:cubicBezTo>
                  <a:cubicBezTo>
                    <a:pt x="20" y="40"/>
                    <a:pt x="21" y="40"/>
                    <a:pt x="21" y="39"/>
                  </a:cubicBezTo>
                  <a:cubicBezTo>
                    <a:pt x="22" y="37"/>
                    <a:pt x="24" y="36"/>
                    <a:pt x="25" y="34"/>
                  </a:cubicBezTo>
                  <a:cubicBezTo>
                    <a:pt x="27" y="31"/>
                    <a:pt x="30" y="28"/>
                    <a:pt x="32" y="25"/>
                  </a:cubicBezTo>
                  <a:cubicBezTo>
                    <a:pt x="37" y="19"/>
                    <a:pt x="42" y="13"/>
                    <a:pt x="46" y="6"/>
                  </a:cubicBezTo>
                  <a:cubicBezTo>
                    <a:pt x="48" y="4"/>
                    <a:pt x="49" y="2"/>
                    <a:pt x="50" y="0"/>
                  </a:cubicBezTo>
                  <a:cubicBezTo>
                    <a:pt x="50" y="0"/>
                    <a:pt x="50" y="0"/>
                    <a:pt x="51" y="0"/>
                  </a:cubicBezTo>
                  <a:cubicBezTo>
                    <a:pt x="51" y="1"/>
                    <a:pt x="53" y="2"/>
                    <a:pt x="54" y="2"/>
                  </a:cubicBezTo>
                  <a:cubicBezTo>
                    <a:pt x="57" y="4"/>
                    <a:pt x="59" y="6"/>
                    <a:pt x="61" y="9"/>
                  </a:cubicBezTo>
                  <a:cubicBezTo>
                    <a:pt x="64" y="11"/>
                    <a:pt x="65" y="13"/>
                    <a:pt x="66" y="16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8"/>
                    <a:pt x="67" y="20"/>
                    <a:pt x="68" y="20"/>
                  </a:cubicBezTo>
                  <a:cubicBezTo>
                    <a:pt x="68" y="21"/>
                    <a:pt x="69" y="21"/>
                    <a:pt x="69" y="21"/>
                  </a:cubicBezTo>
                  <a:cubicBezTo>
                    <a:pt x="70" y="23"/>
                    <a:pt x="70" y="24"/>
                    <a:pt x="71" y="25"/>
                  </a:cubicBezTo>
                  <a:cubicBezTo>
                    <a:pt x="71" y="27"/>
                    <a:pt x="71" y="28"/>
                    <a:pt x="72" y="30"/>
                  </a:cubicBezTo>
                  <a:cubicBezTo>
                    <a:pt x="72" y="31"/>
                    <a:pt x="72" y="32"/>
                    <a:pt x="72" y="32"/>
                  </a:cubicBezTo>
                  <a:cubicBezTo>
                    <a:pt x="72" y="33"/>
                    <a:pt x="73" y="33"/>
                    <a:pt x="73" y="34"/>
                  </a:cubicBezTo>
                  <a:cubicBezTo>
                    <a:pt x="73" y="35"/>
                    <a:pt x="73" y="35"/>
                    <a:pt x="73" y="35"/>
                  </a:cubicBezTo>
                  <a:cubicBezTo>
                    <a:pt x="73" y="38"/>
                    <a:pt x="73" y="41"/>
                    <a:pt x="73" y="4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2" y="47"/>
                    <a:pt x="72" y="47"/>
                    <a:pt x="72" y="48"/>
                  </a:cubicBezTo>
                  <a:cubicBezTo>
                    <a:pt x="48" y="56"/>
                    <a:pt x="24" y="66"/>
                    <a:pt x="0" y="76"/>
                  </a:cubicBezTo>
                  <a:cubicBezTo>
                    <a:pt x="2" y="72"/>
                    <a:pt x="4" y="67"/>
                    <a:pt x="6" y="62"/>
                  </a:cubicBezTo>
                  <a:close/>
                </a:path>
              </a:pathLst>
            </a:custGeom>
            <a:solidFill>
              <a:srgbClr val="C01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6" name="ïšlïḋè">
              <a:extLst>
                <a:ext uri="{FF2B5EF4-FFF2-40B4-BE49-F238E27FC236}">
                  <a16:creationId xmlns:a16="http://schemas.microsoft.com/office/drawing/2014/main" id="{D73B653D-C374-4121-894C-A667941E5155}"/>
                </a:ext>
              </a:extLst>
            </p:cNvPr>
            <p:cNvSpPr/>
            <p:nvPr/>
          </p:nvSpPr>
          <p:spPr bwMode="auto">
            <a:xfrm>
              <a:off x="4759505" y="2463533"/>
              <a:ext cx="501742" cy="737071"/>
            </a:xfrm>
            <a:custGeom>
              <a:avLst/>
              <a:gdLst>
                <a:gd name="T0" fmla="*/ 141 w 163"/>
                <a:gd name="T1" fmla="*/ 240 h 240"/>
                <a:gd name="T2" fmla="*/ 141 w 163"/>
                <a:gd name="T3" fmla="*/ 240 h 240"/>
                <a:gd name="T4" fmla="*/ 141 w 163"/>
                <a:gd name="T5" fmla="*/ 240 h 240"/>
                <a:gd name="T6" fmla="*/ 134 w 163"/>
                <a:gd name="T7" fmla="*/ 238 h 240"/>
                <a:gd name="T8" fmla="*/ 141 w 163"/>
                <a:gd name="T9" fmla="*/ 221 h 240"/>
                <a:gd name="T10" fmla="*/ 150 w 163"/>
                <a:gd name="T11" fmla="*/ 213 h 240"/>
                <a:gd name="T12" fmla="*/ 154 w 163"/>
                <a:gd name="T13" fmla="*/ 210 h 240"/>
                <a:gd name="T14" fmla="*/ 157 w 163"/>
                <a:gd name="T15" fmla="*/ 206 h 240"/>
                <a:gd name="T16" fmla="*/ 161 w 163"/>
                <a:gd name="T17" fmla="*/ 219 h 240"/>
                <a:gd name="T18" fmla="*/ 163 w 163"/>
                <a:gd name="T19" fmla="*/ 227 h 240"/>
                <a:gd name="T20" fmla="*/ 163 w 163"/>
                <a:gd name="T21" fmla="*/ 228 h 240"/>
                <a:gd name="T22" fmla="*/ 141 w 163"/>
                <a:gd name="T23" fmla="*/ 240 h 240"/>
                <a:gd name="T24" fmla="*/ 88 w 163"/>
                <a:gd name="T25" fmla="*/ 9 h 240"/>
                <a:gd name="T26" fmla="*/ 88 w 163"/>
                <a:gd name="T27" fmla="*/ 9 h 240"/>
                <a:gd name="T28" fmla="*/ 88 w 163"/>
                <a:gd name="T29" fmla="*/ 9 h 240"/>
                <a:gd name="T30" fmla="*/ 87 w 163"/>
                <a:gd name="T31" fmla="*/ 14 h 240"/>
                <a:gd name="T32" fmla="*/ 84 w 163"/>
                <a:gd name="T33" fmla="*/ 16 h 240"/>
                <a:gd name="T34" fmla="*/ 78 w 163"/>
                <a:gd name="T35" fmla="*/ 17 h 240"/>
                <a:gd name="T36" fmla="*/ 67 w 163"/>
                <a:gd name="T37" fmla="*/ 21 h 240"/>
                <a:gd name="T38" fmla="*/ 47 w 163"/>
                <a:gd name="T39" fmla="*/ 31 h 240"/>
                <a:gd name="T40" fmla="*/ 15 w 163"/>
                <a:gd name="T41" fmla="*/ 62 h 240"/>
                <a:gd name="T42" fmla="*/ 7 w 163"/>
                <a:gd name="T43" fmla="*/ 73 h 240"/>
                <a:gd name="T44" fmla="*/ 3 w 163"/>
                <a:gd name="T45" fmla="*/ 79 h 240"/>
                <a:gd name="T46" fmla="*/ 2 w 163"/>
                <a:gd name="T47" fmla="*/ 82 h 240"/>
                <a:gd name="T48" fmla="*/ 0 w 163"/>
                <a:gd name="T49" fmla="*/ 81 h 240"/>
                <a:gd name="T50" fmla="*/ 1 w 163"/>
                <a:gd name="T51" fmla="*/ 75 h 240"/>
                <a:gd name="T52" fmla="*/ 2 w 163"/>
                <a:gd name="T53" fmla="*/ 74 h 240"/>
                <a:gd name="T54" fmla="*/ 2 w 163"/>
                <a:gd name="T55" fmla="*/ 73 h 240"/>
                <a:gd name="T56" fmla="*/ 2 w 163"/>
                <a:gd name="T57" fmla="*/ 72 h 240"/>
                <a:gd name="T58" fmla="*/ 2 w 163"/>
                <a:gd name="T59" fmla="*/ 72 h 240"/>
                <a:gd name="T60" fmla="*/ 4 w 163"/>
                <a:gd name="T61" fmla="*/ 68 h 240"/>
                <a:gd name="T62" fmla="*/ 15 w 163"/>
                <a:gd name="T63" fmla="*/ 50 h 240"/>
                <a:gd name="T64" fmla="*/ 21 w 163"/>
                <a:gd name="T65" fmla="*/ 42 h 240"/>
                <a:gd name="T66" fmla="*/ 28 w 163"/>
                <a:gd name="T67" fmla="*/ 35 h 240"/>
                <a:gd name="T68" fmla="*/ 31 w 163"/>
                <a:gd name="T69" fmla="*/ 32 h 240"/>
                <a:gd name="T70" fmla="*/ 31 w 163"/>
                <a:gd name="T71" fmla="*/ 32 h 240"/>
                <a:gd name="T72" fmla="*/ 31 w 163"/>
                <a:gd name="T73" fmla="*/ 32 h 240"/>
                <a:gd name="T74" fmla="*/ 32 w 163"/>
                <a:gd name="T75" fmla="*/ 31 h 240"/>
                <a:gd name="T76" fmla="*/ 34 w 163"/>
                <a:gd name="T77" fmla="*/ 30 h 240"/>
                <a:gd name="T78" fmla="*/ 37 w 163"/>
                <a:gd name="T79" fmla="*/ 28 h 240"/>
                <a:gd name="T80" fmla="*/ 38 w 163"/>
                <a:gd name="T81" fmla="*/ 28 h 240"/>
                <a:gd name="T82" fmla="*/ 39 w 163"/>
                <a:gd name="T83" fmla="*/ 27 h 240"/>
                <a:gd name="T84" fmla="*/ 39 w 163"/>
                <a:gd name="T85" fmla="*/ 27 h 240"/>
                <a:gd name="T86" fmla="*/ 40 w 163"/>
                <a:gd name="T87" fmla="*/ 26 h 240"/>
                <a:gd name="T88" fmla="*/ 41 w 163"/>
                <a:gd name="T89" fmla="*/ 26 h 240"/>
                <a:gd name="T90" fmla="*/ 42 w 163"/>
                <a:gd name="T91" fmla="*/ 25 h 240"/>
                <a:gd name="T92" fmla="*/ 88 w 163"/>
                <a:gd name="T93" fmla="*/ 0 h 240"/>
                <a:gd name="T94" fmla="*/ 88 w 163"/>
                <a:gd name="T95" fmla="*/ 9 h 240"/>
                <a:gd name="T96" fmla="*/ 39 w 163"/>
                <a:gd name="T97" fmla="*/ 27 h 240"/>
                <a:gd name="T98" fmla="*/ 39 w 163"/>
                <a:gd name="T99" fmla="*/ 27 h 240"/>
                <a:gd name="T100" fmla="*/ 39 w 163"/>
                <a:gd name="T101" fmla="*/ 27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3" h="240">
                  <a:moveTo>
                    <a:pt x="141" y="240"/>
                  </a:moveTo>
                  <a:cubicBezTo>
                    <a:pt x="141" y="240"/>
                    <a:pt x="141" y="240"/>
                    <a:pt x="141" y="240"/>
                  </a:cubicBezTo>
                  <a:moveTo>
                    <a:pt x="141" y="240"/>
                  </a:moveTo>
                  <a:cubicBezTo>
                    <a:pt x="138" y="240"/>
                    <a:pt x="136" y="239"/>
                    <a:pt x="134" y="238"/>
                  </a:cubicBezTo>
                  <a:cubicBezTo>
                    <a:pt x="134" y="231"/>
                    <a:pt x="137" y="226"/>
                    <a:pt x="141" y="221"/>
                  </a:cubicBezTo>
                  <a:cubicBezTo>
                    <a:pt x="144" y="218"/>
                    <a:pt x="147" y="216"/>
                    <a:pt x="150" y="213"/>
                  </a:cubicBezTo>
                  <a:cubicBezTo>
                    <a:pt x="151" y="212"/>
                    <a:pt x="152" y="211"/>
                    <a:pt x="154" y="210"/>
                  </a:cubicBezTo>
                  <a:cubicBezTo>
                    <a:pt x="155" y="209"/>
                    <a:pt x="157" y="208"/>
                    <a:pt x="157" y="206"/>
                  </a:cubicBezTo>
                  <a:cubicBezTo>
                    <a:pt x="158" y="210"/>
                    <a:pt x="160" y="214"/>
                    <a:pt x="161" y="219"/>
                  </a:cubicBezTo>
                  <a:cubicBezTo>
                    <a:pt x="162" y="222"/>
                    <a:pt x="162" y="224"/>
                    <a:pt x="163" y="227"/>
                  </a:cubicBezTo>
                  <a:cubicBezTo>
                    <a:pt x="163" y="228"/>
                    <a:pt x="163" y="228"/>
                    <a:pt x="163" y="228"/>
                  </a:cubicBezTo>
                  <a:cubicBezTo>
                    <a:pt x="155" y="232"/>
                    <a:pt x="148" y="236"/>
                    <a:pt x="141" y="240"/>
                  </a:cubicBezTo>
                  <a:close/>
                  <a:moveTo>
                    <a:pt x="88" y="9"/>
                  </a:moveTo>
                  <a:cubicBezTo>
                    <a:pt x="88" y="9"/>
                    <a:pt x="88" y="9"/>
                    <a:pt x="88" y="9"/>
                  </a:cubicBezTo>
                  <a:moveTo>
                    <a:pt x="88" y="9"/>
                  </a:moveTo>
                  <a:cubicBezTo>
                    <a:pt x="87" y="11"/>
                    <a:pt x="87" y="12"/>
                    <a:pt x="87" y="14"/>
                  </a:cubicBezTo>
                  <a:cubicBezTo>
                    <a:pt x="86" y="15"/>
                    <a:pt x="85" y="15"/>
                    <a:pt x="84" y="16"/>
                  </a:cubicBezTo>
                  <a:cubicBezTo>
                    <a:pt x="82" y="16"/>
                    <a:pt x="80" y="17"/>
                    <a:pt x="78" y="17"/>
                  </a:cubicBezTo>
                  <a:cubicBezTo>
                    <a:pt x="74" y="18"/>
                    <a:pt x="71" y="19"/>
                    <a:pt x="67" y="21"/>
                  </a:cubicBezTo>
                  <a:cubicBezTo>
                    <a:pt x="60" y="24"/>
                    <a:pt x="53" y="27"/>
                    <a:pt x="47" y="31"/>
                  </a:cubicBezTo>
                  <a:cubicBezTo>
                    <a:pt x="34" y="39"/>
                    <a:pt x="23" y="50"/>
                    <a:pt x="15" y="62"/>
                  </a:cubicBezTo>
                  <a:cubicBezTo>
                    <a:pt x="12" y="65"/>
                    <a:pt x="9" y="69"/>
                    <a:pt x="7" y="73"/>
                  </a:cubicBezTo>
                  <a:cubicBezTo>
                    <a:pt x="5" y="75"/>
                    <a:pt x="4" y="77"/>
                    <a:pt x="3" y="79"/>
                  </a:cubicBezTo>
                  <a:cubicBezTo>
                    <a:pt x="3" y="80"/>
                    <a:pt x="2" y="81"/>
                    <a:pt x="2" y="82"/>
                  </a:cubicBezTo>
                  <a:cubicBezTo>
                    <a:pt x="1" y="82"/>
                    <a:pt x="0" y="81"/>
                    <a:pt x="0" y="81"/>
                  </a:cubicBezTo>
                  <a:cubicBezTo>
                    <a:pt x="0" y="79"/>
                    <a:pt x="1" y="77"/>
                    <a:pt x="1" y="75"/>
                  </a:cubicBezTo>
                  <a:cubicBezTo>
                    <a:pt x="2" y="75"/>
                    <a:pt x="2" y="74"/>
                    <a:pt x="2" y="74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3" y="71"/>
                    <a:pt x="4" y="69"/>
                    <a:pt x="4" y="68"/>
                  </a:cubicBezTo>
                  <a:cubicBezTo>
                    <a:pt x="8" y="62"/>
                    <a:pt x="11" y="56"/>
                    <a:pt x="15" y="50"/>
                  </a:cubicBezTo>
                  <a:cubicBezTo>
                    <a:pt x="17" y="47"/>
                    <a:pt x="19" y="45"/>
                    <a:pt x="21" y="42"/>
                  </a:cubicBezTo>
                  <a:cubicBezTo>
                    <a:pt x="23" y="39"/>
                    <a:pt x="25" y="37"/>
                    <a:pt x="28" y="35"/>
                  </a:cubicBezTo>
                  <a:cubicBezTo>
                    <a:pt x="29" y="34"/>
                    <a:pt x="30" y="33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3" y="31"/>
                    <a:pt x="33" y="30"/>
                    <a:pt x="34" y="30"/>
                  </a:cubicBezTo>
                  <a:cubicBezTo>
                    <a:pt x="35" y="29"/>
                    <a:pt x="36" y="28"/>
                    <a:pt x="37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7"/>
                    <a:pt x="39" y="27"/>
                  </a:cubicBezTo>
                  <a:cubicBezTo>
                    <a:pt x="39" y="27"/>
                    <a:pt x="40" y="27"/>
                    <a:pt x="39" y="27"/>
                  </a:cubicBezTo>
                  <a:cubicBezTo>
                    <a:pt x="39" y="27"/>
                    <a:pt x="41" y="26"/>
                    <a:pt x="40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2" y="26"/>
                    <a:pt x="42" y="25"/>
                  </a:cubicBezTo>
                  <a:cubicBezTo>
                    <a:pt x="57" y="17"/>
                    <a:pt x="72" y="8"/>
                    <a:pt x="88" y="0"/>
                  </a:cubicBezTo>
                  <a:cubicBezTo>
                    <a:pt x="88" y="3"/>
                    <a:pt x="88" y="6"/>
                    <a:pt x="88" y="9"/>
                  </a:cubicBezTo>
                  <a:close/>
                  <a:moveTo>
                    <a:pt x="39" y="27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</a:path>
              </a:pathLst>
            </a:custGeom>
            <a:solidFill>
              <a:srgbClr val="9C50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7" name="ïšļíďê">
              <a:extLst>
                <a:ext uri="{FF2B5EF4-FFF2-40B4-BE49-F238E27FC236}">
                  <a16:creationId xmlns:a16="http://schemas.microsoft.com/office/drawing/2014/main" id="{B76DADE9-5A99-4274-AC24-2D1753CF562C}"/>
                </a:ext>
              </a:extLst>
            </p:cNvPr>
            <p:cNvSpPr/>
            <p:nvPr/>
          </p:nvSpPr>
          <p:spPr bwMode="auto">
            <a:xfrm>
              <a:off x="4934152" y="3151763"/>
              <a:ext cx="222009" cy="153926"/>
            </a:xfrm>
            <a:custGeom>
              <a:avLst/>
              <a:gdLst>
                <a:gd name="T0" fmla="*/ 26 w 72"/>
                <a:gd name="T1" fmla="*/ 50 h 50"/>
                <a:gd name="T2" fmla="*/ 26 w 72"/>
                <a:gd name="T3" fmla="*/ 50 h 50"/>
                <a:gd name="T4" fmla="*/ 26 w 72"/>
                <a:gd name="T5" fmla="*/ 49 h 50"/>
                <a:gd name="T6" fmla="*/ 20 w 72"/>
                <a:gd name="T7" fmla="*/ 44 h 50"/>
                <a:gd name="T8" fmla="*/ 8 w 72"/>
                <a:gd name="T9" fmla="*/ 34 h 50"/>
                <a:gd name="T10" fmla="*/ 6 w 72"/>
                <a:gd name="T11" fmla="*/ 33 h 50"/>
                <a:gd name="T12" fmla="*/ 5 w 72"/>
                <a:gd name="T13" fmla="*/ 29 h 50"/>
                <a:gd name="T14" fmla="*/ 2 w 72"/>
                <a:gd name="T15" fmla="*/ 26 h 50"/>
                <a:gd name="T16" fmla="*/ 2 w 72"/>
                <a:gd name="T17" fmla="*/ 26 h 50"/>
                <a:gd name="T18" fmla="*/ 2 w 72"/>
                <a:gd name="T19" fmla="*/ 25 h 50"/>
                <a:gd name="T20" fmla="*/ 1 w 72"/>
                <a:gd name="T21" fmla="*/ 24 h 50"/>
                <a:gd name="T22" fmla="*/ 1 w 72"/>
                <a:gd name="T23" fmla="*/ 24 h 50"/>
                <a:gd name="T24" fmla="*/ 0 w 72"/>
                <a:gd name="T25" fmla="*/ 23 h 50"/>
                <a:gd name="T26" fmla="*/ 0 w 72"/>
                <a:gd name="T27" fmla="*/ 22 h 50"/>
                <a:gd name="T28" fmla="*/ 0 w 72"/>
                <a:gd name="T29" fmla="*/ 22 h 50"/>
                <a:gd name="T30" fmla="*/ 0 w 72"/>
                <a:gd name="T31" fmla="*/ 21 h 50"/>
                <a:gd name="T32" fmla="*/ 0 w 72"/>
                <a:gd name="T33" fmla="*/ 19 h 50"/>
                <a:gd name="T34" fmla="*/ 0 w 72"/>
                <a:gd name="T35" fmla="*/ 18 h 50"/>
                <a:gd name="T36" fmla="*/ 0 w 72"/>
                <a:gd name="T37" fmla="*/ 17 h 50"/>
                <a:gd name="T38" fmla="*/ 0 w 72"/>
                <a:gd name="T39" fmla="*/ 17 h 50"/>
                <a:gd name="T40" fmla="*/ 1 w 72"/>
                <a:gd name="T41" fmla="*/ 14 h 50"/>
                <a:gd name="T42" fmla="*/ 5 w 72"/>
                <a:gd name="T43" fmla="*/ 5 h 50"/>
                <a:gd name="T44" fmla="*/ 7 w 72"/>
                <a:gd name="T45" fmla="*/ 1 h 50"/>
                <a:gd name="T46" fmla="*/ 7 w 72"/>
                <a:gd name="T47" fmla="*/ 1 h 50"/>
                <a:gd name="T48" fmla="*/ 7 w 72"/>
                <a:gd name="T49" fmla="*/ 1 h 50"/>
                <a:gd name="T50" fmla="*/ 8 w 72"/>
                <a:gd name="T51" fmla="*/ 0 h 50"/>
                <a:gd name="T52" fmla="*/ 8 w 72"/>
                <a:gd name="T53" fmla="*/ 0 h 50"/>
                <a:gd name="T54" fmla="*/ 46 w 72"/>
                <a:gd name="T55" fmla="*/ 16 h 50"/>
                <a:gd name="T56" fmla="*/ 67 w 72"/>
                <a:gd name="T57" fmla="*/ 21 h 50"/>
                <a:gd name="T58" fmla="*/ 72 w 72"/>
                <a:gd name="T59" fmla="*/ 23 h 50"/>
                <a:gd name="T60" fmla="*/ 26 w 72"/>
                <a:gd name="T6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50">
                  <a:moveTo>
                    <a:pt x="26" y="50"/>
                  </a:move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49"/>
                  </a:cubicBezTo>
                  <a:cubicBezTo>
                    <a:pt x="24" y="48"/>
                    <a:pt x="22" y="46"/>
                    <a:pt x="20" y="44"/>
                  </a:cubicBezTo>
                  <a:cubicBezTo>
                    <a:pt x="16" y="40"/>
                    <a:pt x="12" y="37"/>
                    <a:pt x="8" y="34"/>
                  </a:cubicBezTo>
                  <a:cubicBezTo>
                    <a:pt x="7" y="33"/>
                    <a:pt x="7" y="33"/>
                    <a:pt x="6" y="33"/>
                  </a:cubicBezTo>
                  <a:cubicBezTo>
                    <a:pt x="7" y="32"/>
                    <a:pt x="7" y="30"/>
                    <a:pt x="5" y="29"/>
                  </a:cubicBezTo>
                  <a:cubicBezTo>
                    <a:pt x="4" y="28"/>
                    <a:pt x="3" y="27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1" y="25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3"/>
                    <a:pt x="0" y="23"/>
                    <a:pt x="0" y="2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0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6"/>
                    <a:pt x="1" y="15"/>
                    <a:pt x="1" y="14"/>
                  </a:cubicBezTo>
                  <a:cubicBezTo>
                    <a:pt x="2" y="11"/>
                    <a:pt x="3" y="8"/>
                    <a:pt x="5" y="5"/>
                  </a:cubicBezTo>
                  <a:cubicBezTo>
                    <a:pt x="5" y="4"/>
                    <a:pt x="6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0" y="7"/>
                    <a:pt x="33" y="13"/>
                    <a:pt x="46" y="16"/>
                  </a:cubicBezTo>
                  <a:cubicBezTo>
                    <a:pt x="53" y="18"/>
                    <a:pt x="60" y="20"/>
                    <a:pt x="67" y="21"/>
                  </a:cubicBezTo>
                  <a:cubicBezTo>
                    <a:pt x="68" y="22"/>
                    <a:pt x="70" y="22"/>
                    <a:pt x="72" y="23"/>
                  </a:cubicBezTo>
                  <a:cubicBezTo>
                    <a:pt x="56" y="31"/>
                    <a:pt x="41" y="40"/>
                    <a:pt x="26" y="50"/>
                  </a:cubicBezTo>
                  <a:close/>
                </a:path>
              </a:pathLst>
            </a:custGeom>
            <a:solidFill>
              <a:srgbClr val="C01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8" name="ïś1ïḋè">
              <a:extLst>
                <a:ext uri="{FF2B5EF4-FFF2-40B4-BE49-F238E27FC236}">
                  <a16:creationId xmlns:a16="http://schemas.microsoft.com/office/drawing/2014/main" id="{1EB64E15-8FD8-429F-BB54-C3D944B6BDD7}"/>
                </a:ext>
              </a:extLst>
            </p:cNvPr>
            <p:cNvSpPr/>
            <p:nvPr/>
          </p:nvSpPr>
          <p:spPr bwMode="auto">
            <a:xfrm>
              <a:off x="4217802" y="2877951"/>
              <a:ext cx="775553" cy="725231"/>
            </a:xfrm>
            <a:custGeom>
              <a:avLst/>
              <a:gdLst>
                <a:gd name="T0" fmla="*/ 243 w 252"/>
                <a:gd name="T1" fmla="*/ 150 h 236"/>
                <a:gd name="T2" fmla="*/ 243 w 252"/>
                <a:gd name="T3" fmla="*/ 150 h 236"/>
                <a:gd name="T4" fmla="*/ 239 w 252"/>
                <a:gd name="T5" fmla="*/ 141 h 236"/>
                <a:gd name="T6" fmla="*/ 232 w 252"/>
                <a:gd name="T7" fmla="*/ 128 h 236"/>
                <a:gd name="T8" fmla="*/ 244 w 252"/>
                <a:gd name="T9" fmla="*/ 137 h 236"/>
                <a:gd name="T10" fmla="*/ 251 w 252"/>
                <a:gd name="T11" fmla="*/ 143 h 236"/>
                <a:gd name="T12" fmla="*/ 252 w 252"/>
                <a:gd name="T13" fmla="*/ 143 h 236"/>
                <a:gd name="T14" fmla="*/ 243 w 252"/>
                <a:gd name="T15" fmla="*/ 150 h 236"/>
                <a:gd name="T16" fmla="*/ 1 w 252"/>
                <a:gd name="T17" fmla="*/ 236 h 236"/>
                <a:gd name="T18" fmla="*/ 1 w 252"/>
                <a:gd name="T19" fmla="*/ 236 h 236"/>
                <a:gd name="T20" fmla="*/ 24 w 252"/>
                <a:gd name="T21" fmla="*/ 208 h 236"/>
                <a:gd name="T22" fmla="*/ 38 w 252"/>
                <a:gd name="T23" fmla="*/ 177 h 236"/>
                <a:gd name="T24" fmla="*/ 41 w 252"/>
                <a:gd name="T25" fmla="*/ 196 h 236"/>
                <a:gd name="T26" fmla="*/ 36 w 252"/>
                <a:gd name="T27" fmla="*/ 235 h 236"/>
                <a:gd name="T28" fmla="*/ 35 w 252"/>
                <a:gd name="T29" fmla="*/ 236 h 236"/>
                <a:gd name="T30" fmla="*/ 15 w 252"/>
                <a:gd name="T31" fmla="*/ 236 h 236"/>
                <a:gd name="T32" fmla="*/ 13 w 252"/>
                <a:gd name="T33" fmla="*/ 235 h 236"/>
                <a:gd name="T34" fmla="*/ 7 w 252"/>
                <a:gd name="T35" fmla="*/ 236 h 236"/>
                <a:gd name="T36" fmla="*/ 7 w 252"/>
                <a:gd name="T37" fmla="*/ 236 h 236"/>
                <a:gd name="T38" fmla="*/ 7 w 252"/>
                <a:gd name="T39" fmla="*/ 236 h 236"/>
                <a:gd name="T40" fmla="*/ 0 w 252"/>
                <a:gd name="T41" fmla="*/ 236 h 236"/>
                <a:gd name="T42" fmla="*/ 1 w 252"/>
                <a:gd name="T43" fmla="*/ 236 h 236"/>
                <a:gd name="T44" fmla="*/ 108 w 252"/>
                <a:gd name="T45" fmla="*/ 227 h 236"/>
                <a:gd name="T46" fmla="*/ 108 w 252"/>
                <a:gd name="T47" fmla="*/ 227 h 236"/>
                <a:gd name="T48" fmla="*/ 108 w 252"/>
                <a:gd name="T49" fmla="*/ 228 h 236"/>
                <a:gd name="T50" fmla="*/ 99 w 252"/>
                <a:gd name="T51" fmla="*/ 229 h 236"/>
                <a:gd name="T52" fmla="*/ 81 w 252"/>
                <a:gd name="T53" fmla="*/ 231 h 236"/>
                <a:gd name="T54" fmla="*/ 83 w 252"/>
                <a:gd name="T55" fmla="*/ 209 h 236"/>
                <a:gd name="T56" fmla="*/ 82 w 252"/>
                <a:gd name="T57" fmla="*/ 182 h 236"/>
                <a:gd name="T58" fmla="*/ 79 w 252"/>
                <a:gd name="T59" fmla="*/ 154 h 236"/>
                <a:gd name="T60" fmla="*/ 73 w 252"/>
                <a:gd name="T61" fmla="*/ 123 h 236"/>
                <a:gd name="T62" fmla="*/ 57 w 252"/>
                <a:gd name="T63" fmla="*/ 70 h 236"/>
                <a:gd name="T64" fmla="*/ 56 w 252"/>
                <a:gd name="T65" fmla="*/ 50 h 236"/>
                <a:gd name="T66" fmla="*/ 45 w 252"/>
                <a:gd name="T67" fmla="*/ 5 h 236"/>
                <a:gd name="T68" fmla="*/ 49 w 252"/>
                <a:gd name="T69" fmla="*/ 1 h 236"/>
                <a:gd name="T70" fmla="*/ 50 w 252"/>
                <a:gd name="T71" fmla="*/ 0 h 236"/>
                <a:gd name="T72" fmla="*/ 51 w 252"/>
                <a:gd name="T73" fmla="*/ 2 h 236"/>
                <a:gd name="T74" fmla="*/ 59 w 252"/>
                <a:gd name="T75" fmla="*/ 13 h 236"/>
                <a:gd name="T76" fmla="*/ 71 w 252"/>
                <a:gd name="T77" fmla="*/ 36 h 236"/>
                <a:gd name="T78" fmla="*/ 90 w 252"/>
                <a:gd name="T79" fmla="*/ 84 h 236"/>
                <a:gd name="T80" fmla="*/ 110 w 252"/>
                <a:gd name="T81" fmla="*/ 208 h 236"/>
                <a:gd name="T82" fmla="*/ 108 w 252"/>
                <a:gd name="T83" fmla="*/ 227 h 236"/>
                <a:gd name="T84" fmla="*/ 169 w 252"/>
                <a:gd name="T85" fmla="*/ 177 h 236"/>
                <a:gd name="T86" fmla="*/ 169 w 252"/>
                <a:gd name="T87" fmla="*/ 177 h 236"/>
                <a:gd name="T88" fmla="*/ 165 w 252"/>
                <a:gd name="T89" fmla="*/ 147 h 236"/>
                <a:gd name="T90" fmla="*/ 147 w 252"/>
                <a:gd name="T91" fmla="*/ 91 h 236"/>
                <a:gd name="T92" fmla="*/ 124 w 252"/>
                <a:gd name="T93" fmla="*/ 49 h 236"/>
                <a:gd name="T94" fmla="*/ 122 w 252"/>
                <a:gd name="T95" fmla="*/ 45 h 236"/>
                <a:gd name="T96" fmla="*/ 142 w 252"/>
                <a:gd name="T97" fmla="*/ 61 h 236"/>
                <a:gd name="T98" fmla="*/ 176 w 252"/>
                <a:gd name="T99" fmla="*/ 86 h 236"/>
                <a:gd name="T100" fmla="*/ 192 w 252"/>
                <a:gd name="T101" fmla="*/ 116 h 236"/>
                <a:gd name="T102" fmla="*/ 201 w 252"/>
                <a:gd name="T103" fmla="*/ 142 h 236"/>
                <a:gd name="T104" fmla="*/ 203 w 252"/>
                <a:gd name="T105" fmla="*/ 156 h 236"/>
                <a:gd name="T106" fmla="*/ 205 w 252"/>
                <a:gd name="T107" fmla="*/ 169 h 236"/>
                <a:gd name="T108" fmla="*/ 206 w 252"/>
                <a:gd name="T109" fmla="*/ 175 h 236"/>
                <a:gd name="T110" fmla="*/ 204 w 252"/>
                <a:gd name="T111" fmla="*/ 177 h 236"/>
                <a:gd name="T112" fmla="*/ 170 w 252"/>
                <a:gd name="T113" fmla="*/ 203 h 236"/>
                <a:gd name="T114" fmla="*/ 170 w 252"/>
                <a:gd name="T115" fmla="*/ 192 h 236"/>
                <a:gd name="T116" fmla="*/ 169 w 252"/>
                <a:gd name="T117" fmla="*/ 177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2" h="236">
                  <a:moveTo>
                    <a:pt x="243" y="150"/>
                  </a:moveTo>
                  <a:cubicBezTo>
                    <a:pt x="243" y="150"/>
                    <a:pt x="243" y="150"/>
                    <a:pt x="243" y="150"/>
                  </a:cubicBezTo>
                  <a:cubicBezTo>
                    <a:pt x="242" y="147"/>
                    <a:pt x="241" y="144"/>
                    <a:pt x="239" y="141"/>
                  </a:cubicBezTo>
                  <a:cubicBezTo>
                    <a:pt x="237" y="137"/>
                    <a:pt x="235" y="133"/>
                    <a:pt x="232" y="128"/>
                  </a:cubicBezTo>
                  <a:cubicBezTo>
                    <a:pt x="236" y="132"/>
                    <a:pt x="240" y="134"/>
                    <a:pt x="244" y="137"/>
                  </a:cubicBezTo>
                  <a:cubicBezTo>
                    <a:pt x="247" y="139"/>
                    <a:pt x="249" y="141"/>
                    <a:pt x="251" y="143"/>
                  </a:cubicBezTo>
                  <a:cubicBezTo>
                    <a:pt x="252" y="143"/>
                    <a:pt x="252" y="143"/>
                    <a:pt x="252" y="143"/>
                  </a:cubicBezTo>
                  <a:cubicBezTo>
                    <a:pt x="248" y="145"/>
                    <a:pt x="246" y="148"/>
                    <a:pt x="243" y="150"/>
                  </a:cubicBezTo>
                  <a:close/>
                  <a:moveTo>
                    <a:pt x="1" y="236"/>
                  </a:moveTo>
                  <a:cubicBezTo>
                    <a:pt x="1" y="236"/>
                    <a:pt x="1" y="236"/>
                    <a:pt x="1" y="236"/>
                  </a:cubicBezTo>
                  <a:cubicBezTo>
                    <a:pt x="10" y="229"/>
                    <a:pt x="18" y="219"/>
                    <a:pt x="24" y="208"/>
                  </a:cubicBezTo>
                  <a:cubicBezTo>
                    <a:pt x="29" y="199"/>
                    <a:pt x="34" y="187"/>
                    <a:pt x="38" y="177"/>
                  </a:cubicBezTo>
                  <a:cubicBezTo>
                    <a:pt x="39" y="183"/>
                    <a:pt x="41" y="189"/>
                    <a:pt x="41" y="196"/>
                  </a:cubicBezTo>
                  <a:cubicBezTo>
                    <a:pt x="42" y="209"/>
                    <a:pt x="39" y="222"/>
                    <a:pt x="36" y="235"/>
                  </a:cubicBezTo>
                  <a:cubicBezTo>
                    <a:pt x="36" y="236"/>
                    <a:pt x="35" y="236"/>
                    <a:pt x="35" y="236"/>
                  </a:cubicBezTo>
                  <a:cubicBezTo>
                    <a:pt x="28" y="236"/>
                    <a:pt x="22" y="236"/>
                    <a:pt x="15" y="236"/>
                  </a:cubicBezTo>
                  <a:cubicBezTo>
                    <a:pt x="15" y="235"/>
                    <a:pt x="15" y="235"/>
                    <a:pt x="13" y="235"/>
                  </a:cubicBezTo>
                  <a:cubicBezTo>
                    <a:pt x="11" y="235"/>
                    <a:pt x="9" y="236"/>
                    <a:pt x="7" y="236"/>
                  </a:cubicBezTo>
                  <a:cubicBezTo>
                    <a:pt x="7" y="236"/>
                    <a:pt x="7" y="236"/>
                    <a:pt x="7" y="236"/>
                  </a:cubicBezTo>
                  <a:cubicBezTo>
                    <a:pt x="7" y="236"/>
                    <a:pt x="7" y="236"/>
                    <a:pt x="7" y="236"/>
                  </a:cubicBezTo>
                  <a:cubicBezTo>
                    <a:pt x="4" y="236"/>
                    <a:pt x="2" y="236"/>
                    <a:pt x="0" y="236"/>
                  </a:cubicBezTo>
                  <a:cubicBezTo>
                    <a:pt x="0" y="236"/>
                    <a:pt x="1" y="236"/>
                    <a:pt x="1" y="236"/>
                  </a:cubicBezTo>
                  <a:close/>
                  <a:moveTo>
                    <a:pt x="108" y="227"/>
                  </a:moveTo>
                  <a:cubicBezTo>
                    <a:pt x="108" y="227"/>
                    <a:pt x="108" y="227"/>
                    <a:pt x="108" y="227"/>
                  </a:cubicBezTo>
                  <a:cubicBezTo>
                    <a:pt x="108" y="227"/>
                    <a:pt x="108" y="228"/>
                    <a:pt x="108" y="228"/>
                  </a:cubicBezTo>
                  <a:cubicBezTo>
                    <a:pt x="105" y="228"/>
                    <a:pt x="102" y="229"/>
                    <a:pt x="99" y="229"/>
                  </a:cubicBezTo>
                  <a:cubicBezTo>
                    <a:pt x="93" y="230"/>
                    <a:pt x="87" y="231"/>
                    <a:pt x="81" y="231"/>
                  </a:cubicBezTo>
                  <a:cubicBezTo>
                    <a:pt x="82" y="224"/>
                    <a:pt x="83" y="217"/>
                    <a:pt x="83" y="209"/>
                  </a:cubicBezTo>
                  <a:cubicBezTo>
                    <a:pt x="84" y="200"/>
                    <a:pt x="83" y="191"/>
                    <a:pt x="82" y="182"/>
                  </a:cubicBezTo>
                  <a:cubicBezTo>
                    <a:pt x="82" y="173"/>
                    <a:pt x="81" y="164"/>
                    <a:pt x="79" y="154"/>
                  </a:cubicBezTo>
                  <a:cubicBezTo>
                    <a:pt x="78" y="144"/>
                    <a:pt x="76" y="134"/>
                    <a:pt x="73" y="123"/>
                  </a:cubicBezTo>
                  <a:cubicBezTo>
                    <a:pt x="69" y="105"/>
                    <a:pt x="63" y="87"/>
                    <a:pt x="57" y="70"/>
                  </a:cubicBezTo>
                  <a:cubicBezTo>
                    <a:pt x="57" y="63"/>
                    <a:pt x="57" y="57"/>
                    <a:pt x="56" y="50"/>
                  </a:cubicBezTo>
                  <a:cubicBezTo>
                    <a:pt x="55" y="34"/>
                    <a:pt x="51" y="19"/>
                    <a:pt x="45" y="5"/>
                  </a:cubicBezTo>
                  <a:cubicBezTo>
                    <a:pt x="46" y="4"/>
                    <a:pt x="48" y="3"/>
                    <a:pt x="49" y="1"/>
                  </a:cubicBezTo>
                  <a:cubicBezTo>
                    <a:pt x="49" y="1"/>
                    <a:pt x="50" y="1"/>
                    <a:pt x="50" y="0"/>
                  </a:cubicBezTo>
                  <a:cubicBezTo>
                    <a:pt x="51" y="1"/>
                    <a:pt x="51" y="2"/>
                    <a:pt x="51" y="2"/>
                  </a:cubicBezTo>
                  <a:cubicBezTo>
                    <a:pt x="54" y="6"/>
                    <a:pt x="56" y="10"/>
                    <a:pt x="59" y="13"/>
                  </a:cubicBezTo>
                  <a:cubicBezTo>
                    <a:pt x="63" y="20"/>
                    <a:pt x="67" y="28"/>
                    <a:pt x="71" y="36"/>
                  </a:cubicBezTo>
                  <a:cubicBezTo>
                    <a:pt x="78" y="52"/>
                    <a:pt x="84" y="68"/>
                    <a:pt x="90" y="84"/>
                  </a:cubicBezTo>
                  <a:cubicBezTo>
                    <a:pt x="103" y="124"/>
                    <a:pt x="108" y="166"/>
                    <a:pt x="110" y="208"/>
                  </a:cubicBezTo>
                  <a:cubicBezTo>
                    <a:pt x="110" y="214"/>
                    <a:pt x="110" y="220"/>
                    <a:pt x="108" y="227"/>
                  </a:cubicBezTo>
                  <a:close/>
                  <a:moveTo>
                    <a:pt x="169" y="177"/>
                  </a:moveTo>
                  <a:cubicBezTo>
                    <a:pt x="169" y="177"/>
                    <a:pt x="169" y="177"/>
                    <a:pt x="169" y="177"/>
                  </a:cubicBezTo>
                  <a:cubicBezTo>
                    <a:pt x="169" y="167"/>
                    <a:pt x="167" y="157"/>
                    <a:pt x="165" y="147"/>
                  </a:cubicBezTo>
                  <a:cubicBezTo>
                    <a:pt x="161" y="128"/>
                    <a:pt x="155" y="109"/>
                    <a:pt x="147" y="91"/>
                  </a:cubicBezTo>
                  <a:cubicBezTo>
                    <a:pt x="140" y="76"/>
                    <a:pt x="132" y="62"/>
                    <a:pt x="124" y="49"/>
                  </a:cubicBezTo>
                  <a:cubicBezTo>
                    <a:pt x="123" y="48"/>
                    <a:pt x="123" y="46"/>
                    <a:pt x="122" y="45"/>
                  </a:cubicBezTo>
                  <a:cubicBezTo>
                    <a:pt x="128" y="50"/>
                    <a:pt x="135" y="55"/>
                    <a:pt x="142" y="61"/>
                  </a:cubicBezTo>
                  <a:cubicBezTo>
                    <a:pt x="153" y="69"/>
                    <a:pt x="165" y="78"/>
                    <a:pt x="176" y="86"/>
                  </a:cubicBezTo>
                  <a:cubicBezTo>
                    <a:pt x="182" y="95"/>
                    <a:pt x="187" y="105"/>
                    <a:pt x="192" y="116"/>
                  </a:cubicBezTo>
                  <a:cubicBezTo>
                    <a:pt x="196" y="124"/>
                    <a:pt x="199" y="133"/>
                    <a:pt x="201" y="142"/>
                  </a:cubicBezTo>
                  <a:cubicBezTo>
                    <a:pt x="202" y="147"/>
                    <a:pt x="203" y="151"/>
                    <a:pt x="203" y="156"/>
                  </a:cubicBezTo>
                  <a:cubicBezTo>
                    <a:pt x="204" y="160"/>
                    <a:pt x="204" y="165"/>
                    <a:pt x="205" y="169"/>
                  </a:cubicBezTo>
                  <a:cubicBezTo>
                    <a:pt x="205" y="171"/>
                    <a:pt x="205" y="173"/>
                    <a:pt x="206" y="175"/>
                  </a:cubicBezTo>
                  <a:cubicBezTo>
                    <a:pt x="205" y="176"/>
                    <a:pt x="205" y="176"/>
                    <a:pt x="204" y="177"/>
                  </a:cubicBezTo>
                  <a:cubicBezTo>
                    <a:pt x="193" y="185"/>
                    <a:pt x="181" y="194"/>
                    <a:pt x="170" y="203"/>
                  </a:cubicBezTo>
                  <a:cubicBezTo>
                    <a:pt x="170" y="200"/>
                    <a:pt x="170" y="196"/>
                    <a:pt x="170" y="192"/>
                  </a:cubicBezTo>
                  <a:cubicBezTo>
                    <a:pt x="170" y="187"/>
                    <a:pt x="170" y="182"/>
                    <a:pt x="169" y="177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9" name="ïšḻïḓe">
              <a:extLst>
                <a:ext uri="{FF2B5EF4-FFF2-40B4-BE49-F238E27FC236}">
                  <a16:creationId xmlns:a16="http://schemas.microsoft.com/office/drawing/2014/main" id="{BD08A28B-BCAE-4D1C-AA22-F11D3F9313BB}"/>
                </a:ext>
              </a:extLst>
            </p:cNvPr>
            <p:cNvSpPr/>
            <p:nvPr/>
          </p:nvSpPr>
          <p:spPr bwMode="auto">
            <a:xfrm>
              <a:off x="4009113" y="2883871"/>
              <a:ext cx="941320" cy="716350"/>
            </a:xfrm>
            <a:custGeom>
              <a:avLst/>
              <a:gdLst>
                <a:gd name="T0" fmla="*/ 278 w 306"/>
                <a:gd name="T1" fmla="*/ 159 h 233"/>
                <a:gd name="T2" fmla="*/ 267 w 306"/>
                <a:gd name="T3" fmla="*/ 119 h 233"/>
                <a:gd name="T4" fmla="*/ 262 w 306"/>
                <a:gd name="T5" fmla="*/ 98 h 233"/>
                <a:gd name="T6" fmla="*/ 302 w 306"/>
                <a:gd name="T7" fmla="*/ 141 h 233"/>
                <a:gd name="T8" fmla="*/ 278 w 306"/>
                <a:gd name="T9" fmla="*/ 170 h 233"/>
                <a:gd name="T10" fmla="*/ 58 w 306"/>
                <a:gd name="T11" fmla="*/ 229 h 233"/>
                <a:gd name="T12" fmla="*/ 56 w 306"/>
                <a:gd name="T13" fmla="*/ 229 h 233"/>
                <a:gd name="T14" fmla="*/ 51 w 306"/>
                <a:gd name="T15" fmla="*/ 231 h 233"/>
                <a:gd name="T16" fmla="*/ 50 w 306"/>
                <a:gd name="T17" fmla="*/ 231 h 233"/>
                <a:gd name="T18" fmla="*/ 45 w 306"/>
                <a:gd name="T19" fmla="*/ 231 h 233"/>
                <a:gd name="T20" fmla="*/ 44 w 306"/>
                <a:gd name="T21" fmla="*/ 231 h 233"/>
                <a:gd name="T22" fmla="*/ 39 w 306"/>
                <a:gd name="T23" fmla="*/ 230 h 233"/>
                <a:gd name="T24" fmla="*/ 24 w 306"/>
                <a:gd name="T25" fmla="*/ 219 h 233"/>
                <a:gd name="T26" fmla="*/ 20 w 306"/>
                <a:gd name="T27" fmla="*/ 214 h 233"/>
                <a:gd name="T28" fmla="*/ 19 w 306"/>
                <a:gd name="T29" fmla="*/ 213 h 233"/>
                <a:gd name="T30" fmla="*/ 12 w 306"/>
                <a:gd name="T31" fmla="*/ 201 h 233"/>
                <a:gd name="T32" fmla="*/ 10 w 306"/>
                <a:gd name="T33" fmla="*/ 198 h 233"/>
                <a:gd name="T34" fmla="*/ 10 w 306"/>
                <a:gd name="T35" fmla="*/ 197 h 233"/>
                <a:gd name="T36" fmla="*/ 2 w 306"/>
                <a:gd name="T37" fmla="*/ 168 h 233"/>
                <a:gd name="T38" fmla="*/ 2 w 306"/>
                <a:gd name="T39" fmla="*/ 163 h 233"/>
                <a:gd name="T40" fmla="*/ 1 w 306"/>
                <a:gd name="T41" fmla="*/ 158 h 233"/>
                <a:gd name="T42" fmla="*/ 2 w 306"/>
                <a:gd name="T43" fmla="*/ 98 h 233"/>
                <a:gd name="T44" fmla="*/ 2 w 306"/>
                <a:gd name="T45" fmla="*/ 92 h 233"/>
                <a:gd name="T46" fmla="*/ 2 w 306"/>
                <a:gd name="T47" fmla="*/ 91 h 233"/>
                <a:gd name="T48" fmla="*/ 11 w 306"/>
                <a:gd name="T49" fmla="*/ 55 h 233"/>
                <a:gd name="T50" fmla="*/ 14 w 306"/>
                <a:gd name="T51" fmla="*/ 47 h 233"/>
                <a:gd name="T52" fmla="*/ 15 w 306"/>
                <a:gd name="T53" fmla="*/ 45 h 233"/>
                <a:gd name="T54" fmla="*/ 31 w 306"/>
                <a:gd name="T55" fmla="*/ 15 h 233"/>
                <a:gd name="T56" fmla="*/ 35 w 306"/>
                <a:gd name="T57" fmla="*/ 10 h 233"/>
                <a:gd name="T58" fmla="*/ 9 w 306"/>
                <a:gd name="T59" fmla="*/ 86 h 233"/>
                <a:gd name="T60" fmla="*/ 12 w 306"/>
                <a:gd name="T61" fmla="*/ 168 h 233"/>
                <a:gd name="T62" fmla="*/ 58 w 306"/>
                <a:gd name="T63" fmla="*/ 228 h 233"/>
                <a:gd name="T64" fmla="*/ 113 w 306"/>
                <a:gd name="T65" fmla="*/ 195 h 233"/>
                <a:gd name="T66" fmla="*/ 110 w 306"/>
                <a:gd name="T67" fmla="*/ 173 h 233"/>
                <a:gd name="T68" fmla="*/ 124 w 306"/>
                <a:gd name="T69" fmla="*/ 98 h 233"/>
                <a:gd name="T70" fmla="*/ 136 w 306"/>
                <a:gd name="T71" fmla="*/ 116 h 233"/>
                <a:gd name="T72" fmla="*/ 145 w 306"/>
                <a:gd name="T73" fmla="*/ 175 h 233"/>
                <a:gd name="T74" fmla="*/ 144 w 306"/>
                <a:gd name="T75" fmla="*/ 230 h 233"/>
                <a:gd name="T76" fmla="*/ 113 w 306"/>
                <a:gd name="T77" fmla="*/ 195 h 233"/>
                <a:gd name="T78" fmla="*/ 214 w 306"/>
                <a:gd name="T79" fmla="*/ 221 h 233"/>
                <a:gd name="T80" fmla="*/ 198 w 306"/>
                <a:gd name="T81" fmla="*/ 224 h 233"/>
                <a:gd name="T82" fmla="*/ 182 w 306"/>
                <a:gd name="T83" fmla="*/ 194 h 233"/>
                <a:gd name="T84" fmla="*/ 168 w 306"/>
                <a:gd name="T85" fmla="*/ 101 h 233"/>
                <a:gd name="T86" fmla="*/ 150 w 306"/>
                <a:gd name="T87" fmla="*/ 49 h 233"/>
                <a:gd name="T88" fmla="*/ 123 w 306"/>
                <a:gd name="T89" fmla="*/ 0 h 233"/>
                <a:gd name="T90" fmla="*/ 134 w 306"/>
                <a:gd name="T91" fmla="*/ 7 h 233"/>
                <a:gd name="T92" fmla="*/ 136 w 306"/>
                <a:gd name="T93" fmla="*/ 8 h 233"/>
                <a:gd name="T94" fmla="*/ 179 w 306"/>
                <a:gd name="T95" fmla="*/ 36 h 233"/>
                <a:gd name="T96" fmla="*/ 214 w 306"/>
                <a:gd name="T97" fmla="*/ 99 h 233"/>
                <a:gd name="T98" fmla="*/ 232 w 306"/>
                <a:gd name="T99" fmla="*/ 177 h 233"/>
                <a:gd name="T100" fmla="*/ 232 w 306"/>
                <a:gd name="T101" fmla="*/ 20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6" h="233">
                  <a:moveTo>
                    <a:pt x="278" y="159"/>
                  </a:moveTo>
                  <a:cubicBezTo>
                    <a:pt x="278" y="159"/>
                    <a:pt x="278" y="159"/>
                    <a:pt x="278" y="159"/>
                  </a:cubicBezTo>
                  <a:cubicBezTo>
                    <a:pt x="277" y="155"/>
                    <a:pt x="276" y="150"/>
                    <a:pt x="275" y="146"/>
                  </a:cubicBezTo>
                  <a:cubicBezTo>
                    <a:pt x="274" y="137"/>
                    <a:pt x="271" y="127"/>
                    <a:pt x="267" y="119"/>
                  </a:cubicBezTo>
                  <a:cubicBezTo>
                    <a:pt x="264" y="109"/>
                    <a:pt x="259" y="100"/>
                    <a:pt x="253" y="91"/>
                  </a:cubicBezTo>
                  <a:cubicBezTo>
                    <a:pt x="256" y="93"/>
                    <a:pt x="259" y="95"/>
                    <a:pt x="262" y="98"/>
                  </a:cubicBezTo>
                  <a:cubicBezTo>
                    <a:pt x="272" y="105"/>
                    <a:pt x="282" y="113"/>
                    <a:pt x="292" y="120"/>
                  </a:cubicBezTo>
                  <a:cubicBezTo>
                    <a:pt x="296" y="126"/>
                    <a:pt x="299" y="134"/>
                    <a:pt x="302" y="141"/>
                  </a:cubicBezTo>
                  <a:cubicBezTo>
                    <a:pt x="304" y="144"/>
                    <a:pt x="305" y="147"/>
                    <a:pt x="306" y="151"/>
                  </a:cubicBezTo>
                  <a:cubicBezTo>
                    <a:pt x="296" y="157"/>
                    <a:pt x="287" y="164"/>
                    <a:pt x="278" y="170"/>
                  </a:cubicBezTo>
                  <a:cubicBezTo>
                    <a:pt x="278" y="167"/>
                    <a:pt x="278" y="163"/>
                    <a:pt x="278" y="159"/>
                  </a:cubicBezTo>
                  <a:close/>
                  <a:moveTo>
                    <a:pt x="58" y="229"/>
                  </a:moveTo>
                  <a:cubicBezTo>
                    <a:pt x="58" y="229"/>
                    <a:pt x="58" y="229"/>
                    <a:pt x="58" y="229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5" y="230"/>
                    <a:pt x="54" y="230"/>
                    <a:pt x="53" y="230"/>
                  </a:cubicBezTo>
                  <a:cubicBezTo>
                    <a:pt x="52" y="230"/>
                    <a:pt x="52" y="231"/>
                    <a:pt x="51" y="231"/>
                  </a:cubicBezTo>
                  <a:cubicBezTo>
                    <a:pt x="51" y="231"/>
                    <a:pt x="51" y="231"/>
                    <a:pt x="51" y="231"/>
                  </a:cubicBezTo>
                  <a:cubicBezTo>
                    <a:pt x="50" y="231"/>
                    <a:pt x="50" y="231"/>
                    <a:pt x="50" y="231"/>
                  </a:cubicBezTo>
                  <a:cubicBezTo>
                    <a:pt x="49" y="231"/>
                    <a:pt x="48" y="231"/>
                    <a:pt x="47" y="231"/>
                  </a:cubicBezTo>
                  <a:cubicBezTo>
                    <a:pt x="46" y="231"/>
                    <a:pt x="46" y="231"/>
                    <a:pt x="45" y="231"/>
                  </a:cubicBezTo>
                  <a:cubicBezTo>
                    <a:pt x="45" y="231"/>
                    <a:pt x="45" y="231"/>
                    <a:pt x="44" y="231"/>
                  </a:cubicBezTo>
                  <a:cubicBezTo>
                    <a:pt x="44" y="231"/>
                    <a:pt x="44" y="231"/>
                    <a:pt x="44" y="231"/>
                  </a:cubicBezTo>
                  <a:cubicBezTo>
                    <a:pt x="44" y="231"/>
                    <a:pt x="44" y="231"/>
                    <a:pt x="44" y="231"/>
                  </a:cubicBezTo>
                  <a:cubicBezTo>
                    <a:pt x="43" y="230"/>
                    <a:pt x="41" y="230"/>
                    <a:pt x="39" y="230"/>
                  </a:cubicBezTo>
                  <a:cubicBezTo>
                    <a:pt x="41" y="228"/>
                    <a:pt x="41" y="225"/>
                    <a:pt x="38" y="224"/>
                  </a:cubicBezTo>
                  <a:cubicBezTo>
                    <a:pt x="33" y="222"/>
                    <a:pt x="28" y="220"/>
                    <a:pt x="24" y="219"/>
                  </a:cubicBezTo>
                  <a:cubicBezTo>
                    <a:pt x="23" y="218"/>
                    <a:pt x="22" y="217"/>
                    <a:pt x="21" y="216"/>
                  </a:cubicBezTo>
                  <a:cubicBezTo>
                    <a:pt x="21" y="215"/>
                    <a:pt x="20" y="215"/>
                    <a:pt x="20" y="214"/>
                  </a:cubicBezTo>
                  <a:cubicBezTo>
                    <a:pt x="20" y="214"/>
                    <a:pt x="20" y="214"/>
                    <a:pt x="20" y="214"/>
                  </a:cubicBezTo>
                  <a:cubicBezTo>
                    <a:pt x="19" y="213"/>
                    <a:pt x="19" y="213"/>
                    <a:pt x="19" y="213"/>
                  </a:cubicBezTo>
                  <a:cubicBezTo>
                    <a:pt x="17" y="210"/>
                    <a:pt x="15" y="208"/>
                    <a:pt x="14" y="205"/>
                  </a:cubicBezTo>
                  <a:cubicBezTo>
                    <a:pt x="13" y="204"/>
                    <a:pt x="13" y="202"/>
                    <a:pt x="12" y="201"/>
                  </a:cubicBezTo>
                  <a:cubicBezTo>
                    <a:pt x="12" y="200"/>
                    <a:pt x="11" y="200"/>
                    <a:pt x="11" y="199"/>
                  </a:cubicBezTo>
                  <a:cubicBezTo>
                    <a:pt x="11" y="199"/>
                    <a:pt x="11" y="198"/>
                    <a:pt x="10" y="198"/>
                  </a:cubicBezTo>
                  <a:cubicBezTo>
                    <a:pt x="10" y="198"/>
                    <a:pt x="10" y="198"/>
                    <a:pt x="10" y="197"/>
                  </a:cubicBezTo>
                  <a:cubicBezTo>
                    <a:pt x="10" y="197"/>
                    <a:pt x="10" y="197"/>
                    <a:pt x="10" y="197"/>
                  </a:cubicBezTo>
                  <a:cubicBezTo>
                    <a:pt x="8" y="191"/>
                    <a:pt x="6" y="184"/>
                    <a:pt x="4" y="178"/>
                  </a:cubicBezTo>
                  <a:cubicBezTo>
                    <a:pt x="4" y="175"/>
                    <a:pt x="3" y="171"/>
                    <a:pt x="2" y="168"/>
                  </a:cubicBezTo>
                  <a:cubicBezTo>
                    <a:pt x="2" y="166"/>
                    <a:pt x="2" y="165"/>
                    <a:pt x="2" y="163"/>
                  </a:cubicBezTo>
                  <a:cubicBezTo>
                    <a:pt x="2" y="163"/>
                    <a:pt x="2" y="163"/>
                    <a:pt x="2" y="163"/>
                  </a:cubicBezTo>
                  <a:cubicBezTo>
                    <a:pt x="1" y="162"/>
                    <a:pt x="1" y="162"/>
                    <a:pt x="1" y="161"/>
                  </a:cubicBezTo>
                  <a:cubicBezTo>
                    <a:pt x="1" y="160"/>
                    <a:pt x="1" y="159"/>
                    <a:pt x="1" y="158"/>
                  </a:cubicBezTo>
                  <a:cubicBezTo>
                    <a:pt x="0" y="151"/>
                    <a:pt x="0" y="144"/>
                    <a:pt x="0" y="137"/>
                  </a:cubicBezTo>
                  <a:cubicBezTo>
                    <a:pt x="0" y="124"/>
                    <a:pt x="0" y="111"/>
                    <a:pt x="2" y="98"/>
                  </a:cubicBezTo>
                  <a:cubicBezTo>
                    <a:pt x="2" y="97"/>
                    <a:pt x="2" y="95"/>
                    <a:pt x="2" y="94"/>
                  </a:cubicBezTo>
                  <a:cubicBezTo>
                    <a:pt x="2" y="93"/>
                    <a:pt x="2" y="93"/>
                    <a:pt x="2" y="92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3"/>
                    <a:pt x="2" y="91"/>
                    <a:pt x="2" y="91"/>
                  </a:cubicBezTo>
                  <a:cubicBezTo>
                    <a:pt x="3" y="87"/>
                    <a:pt x="4" y="83"/>
                    <a:pt x="4" y="80"/>
                  </a:cubicBezTo>
                  <a:cubicBezTo>
                    <a:pt x="6" y="72"/>
                    <a:pt x="8" y="63"/>
                    <a:pt x="11" y="55"/>
                  </a:cubicBezTo>
                  <a:cubicBezTo>
                    <a:pt x="12" y="53"/>
                    <a:pt x="12" y="51"/>
                    <a:pt x="13" y="50"/>
                  </a:cubicBezTo>
                  <a:cubicBezTo>
                    <a:pt x="13" y="49"/>
                    <a:pt x="14" y="48"/>
                    <a:pt x="14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5" y="45"/>
                    <a:pt x="15" y="45"/>
                  </a:cubicBezTo>
                  <a:cubicBezTo>
                    <a:pt x="16" y="42"/>
                    <a:pt x="18" y="38"/>
                    <a:pt x="20" y="34"/>
                  </a:cubicBezTo>
                  <a:cubicBezTo>
                    <a:pt x="23" y="27"/>
                    <a:pt x="27" y="21"/>
                    <a:pt x="31" y="15"/>
                  </a:cubicBezTo>
                  <a:cubicBezTo>
                    <a:pt x="32" y="13"/>
                    <a:pt x="33" y="12"/>
                    <a:pt x="34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26" y="25"/>
                    <a:pt x="18" y="40"/>
                    <a:pt x="13" y="58"/>
                  </a:cubicBezTo>
                  <a:cubicBezTo>
                    <a:pt x="11" y="67"/>
                    <a:pt x="10" y="77"/>
                    <a:pt x="9" y="86"/>
                  </a:cubicBezTo>
                  <a:cubicBezTo>
                    <a:pt x="7" y="95"/>
                    <a:pt x="6" y="105"/>
                    <a:pt x="6" y="114"/>
                  </a:cubicBezTo>
                  <a:cubicBezTo>
                    <a:pt x="5" y="132"/>
                    <a:pt x="6" y="151"/>
                    <a:pt x="12" y="168"/>
                  </a:cubicBezTo>
                  <a:cubicBezTo>
                    <a:pt x="17" y="183"/>
                    <a:pt x="25" y="196"/>
                    <a:pt x="34" y="208"/>
                  </a:cubicBezTo>
                  <a:cubicBezTo>
                    <a:pt x="41" y="217"/>
                    <a:pt x="49" y="225"/>
                    <a:pt x="58" y="228"/>
                  </a:cubicBezTo>
                  <a:cubicBezTo>
                    <a:pt x="58" y="229"/>
                    <a:pt x="58" y="229"/>
                    <a:pt x="58" y="229"/>
                  </a:cubicBezTo>
                  <a:close/>
                  <a:moveTo>
                    <a:pt x="113" y="195"/>
                  </a:moveTo>
                  <a:cubicBezTo>
                    <a:pt x="113" y="195"/>
                    <a:pt x="113" y="195"/>
                    <a:pt x="113" y="195"/>
                  </a:cubicBezTo>
                  <a:cubicBezTo>
                    <a:pt x="113" y="187"/>
                    <a:pt x="111" y="180"/>
                    <a:pt x="110" y="173"/>
                  </a:cubicBezTo>
                  <a:cubicBezTo>
                    <a:pt x="110" y="171"/>
                    <a:pt x="110" y="169"/>
                    <a:pt x="109" y="167"/>
                  </a:cubicBezTo>
                  <a:cubicBezTo>
                    <a:pt x="117" y="145"/>
                    <a:pt x="121" y="121"/>
                    <a:pt x="124" y="98"/>
                  </a:cubicBezTo>
                  <a:cubicBezTo>
                    <a:pt x="124" y="90"/>
                    <a:pt x="125" y="83"/>
                    <a:pt x="125" y="76"/>
                  </a:cubicBezTo>
                  <a:cubicBezTo>
                    <a:pt x="129" y="89"/>
                    <a:pt x="133" y="103"/>
                    <a:pt x="136" y="116"/>
                  </a:cubicBezTo>
                  <a:cubicBezTo>
                    <a:pt x="139" y="126"/>
                    <a:pt x="141" y="136"/>
                    <a:pt x="142" y="147"/>
                  </a:cubicBezTo>
                  <a:cubicBezTo>
                    <a:pt x="144" y="156"/>
                    <a:pt x="145" y="166"/>
                    <a:pt x="145" y="175"/>
                  </a:cubicBezTo>
                  <a:cubicBezTo>
                    <a:pt x="146" y="185"/>
                    <a:pt x="147" y="195"/>
                    <a:pt x="147" y="204"/>
                  </a:cubicBezTo>
                  <a:cubicBezTo>
                    <a:pt x="147" y="213"/>
                    <a:pt x="146" y="221"/>
                    <a:pt x="144" y="230"/>
                  </a:cubicBezTo>
                  <a:cubicBezTo>
                    <a:pt x="132" y="231"/>
                    <a:pt x="120" y="232"/>
                    <a:pt x="109" y="233"/>
                  </a:cubicBezTo>
                  <a:cubicBezTo>
                    <a:pt x="111" y="220"/>
                    <a:pt x="114" y="208"/>
                    <a:pt x="113" y="195"/>
                  </a:cubicBezTo>
                  <a:close/>
                  <a:moveTo>
                    <a:pt x="214" y="221"/>
                  </a:moveTo>
                  <a:cubicBezTo>
                    <a:pt x="214" y="221"/>
                    <a:pt x="214" y="221"/>
                    <a:pt x="214" y="221"/>
                  </a:cubicBezTo>
                  <a:cubicBezTo>
                    <a:pt x="214" y="221"/>
                    <a:pt x="214" y="221"/>
                    <a:pt x="213" y="221"/>
                  </a:cubicBezTo>
                  <a:cubicBezTo>
                    <a:pt x="208" y="222"/>
                    <a:pt x="203" y="223"/>
                    <a:pt x="198" y="224"/>
                  </a:cubicBezTo>
                  <a:cubicBezTo>
                    <a:pt x="193" y="224"/>
                    <a:pt x="187" y="225"/>
                    <a:pt x="182" y="226"/>
                  </a:cubicBezTo>
                  <a:cubicBezTo>
                    <a:pt x="184" y="215"/>
                    <a:pt x="183" y="204"/>
                    <a:pt x="182" y="194"/>
                  </a:cubicBezTo>
                  <a:cubicBezTo>
                    <a:pt x="181" y="183"/>
                    <a:pt x="181" y="173"/>
                    <a:pt x="179" y="162"/>
                  </a:cubicBezTo>
                  <a:cubicBezTo>
                    <a:pt x="177" y="141"/>
                    <a:pt x="173" y="121"/>
                    <a:pt x="168" y="101"/>
                  </a:cubicBezTo>
                  <a:cubicBezTo>
                    <a:pt x="165" y="91"/>
                    <a:pt x="162" y="82"/>
                    <a:pt x="159" y="73"/>
                  </a:cubicBezTo>
                  <a:cubicBezTo>
                    <a:pt x="156" y="65"/>
                    <a:pt x="153" y="57"/>
                    <a:pt x="150" y="49"/>
                  </a:cubicBezTo>
                  <a:cubicBezTo>
                    <a:pt x="143" y="33"/>
                    <a:pt x="136" y="17"/>
                    <a:pt x="125" y="3"/>
                  </a:cubicBezTo>
                  <a:cubicBezTo>
                    <a:pt x="125" y="2"/>
                    <a:pt x="124" y="1"/>
                    <a:pt x="123" y="0"/>
                  </a:cubicBezTo>
                  <a:cubicBezTo>
                    <a:pt x="126" y="2"/>
                    <a:pt x="130" y="4"/>
                    <a:pt x="133" y="6"/>
                  </a:cubicBezTo>
                  <a:cubicBezTo>
                    <a:pt x="133" y="6"/>
                    <a:pt x="134" y="7"/>
                    <a:pt x="134" y="7"/>
                  </a:cubicBezTo>
                  <a:cubicBezTo>
                    <a:pt x="134" y="7"/>
                    <a:pt x="135" y="7"/>
                    <a:pt x="135" y="8"/>
                  </a:cubicBezTo>
                  <a:cubicBezTo>
                    <a:pt x="135" y="8"/>
                    <a:pt x="136" y="8"/>
                    <a:pt x="136" y="8"/>
                  </a:cubicBezTo>
                  <a:cubicBezTo>
                    <a:pt x="144" y="13"/>
                    <a:pt x="151" y="17"/>
                    <a:pt x="159" y="22"/>
                  </a:cubicBezTo>
                  <a:cubicBezTo>
                    <a:pt x="166" y="26"/>
                    <a:pt x="173" y="30"/>
                    <a:pt x="179" y="36"/>
                  </a:cubicBezTo>
                  <a:cubicBezTo>
                    <a:pt x="183" y="41"/>
                    <a:pt x="187" y="47"/>
                    <a:pt x="191" y="53"/>
                  </a:cubicBezTo>
                  <a:cubicBezTo>
                    <a:pt x="199" y="68"/>
                    <a:pt x="207" y="83"/>
                    <a:pt x="214" y="99"/>
                  </a:cubicBezTo>
                  <a:cubicBezTo>
                    <a:pt x="220" y="115"/>
                    <a:pt x="225" y="133"/>
                    <a:pt x="229" y="151"/>
                  </a:cubicBezTo>
                  <a:cubicBezTo>
                    <a:pt x="230" y="159"/>
                    <a:pt x="231" y="168"/>
                    <a:pt x="232" y="177"/>
                  </a:cubicBezTo>
                  <a:cubicBezTo>
                    <a:pt x="233" y="182"/>
                    <a:pt x="233" y="187"/>
                    <a:pt x="233" y="192"/>
                  </a:cubicBezTo>
                  <a:cubicBezTo>
                    <a:pt x="232" y="197"/>
                    <a:pt x="232" y="201"/>
                    <a:pt x="232" y="206"/>
                  </a:cubicBezTo>
                  <a:cubicBezTo>
                    <a:pt x="226" y="211"/>
                    <a:pt x="220" y="216"/>
                    <a:pt x="214" y="221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0" name="î$lïďé">
              <a:extLst>
                <a:ext uri="{FF2B5EF4-FFF2-40B4-BE49-F238E27FC236}">
                  <a16:creationId xmlns:a16="http://schemas.microsoft.com/office/drawing/2014/main" id="{15CD352B-1C24-4B97-ABA3-F10786223F54}"/>
                </a:ext>
              </a:extLst>
            </p:cNvPr>
            <p:cNvSpPr/>
            <p:nvPr/>
          </p:nvSpPr>
          <p:spPr bwMode="auto">
            <a:xfrm>
              <a:off x="4029834" y="3640183"/>
              <a:ext cx="553543" cy="503221"/>
            </a:xfrm>
            <a:custGeom>
              <a:avLst/>
              <a:gdLst>
                <a:gd name="T0" fmla="*/ 168 w 180"/>
                <a:gd name="T1" fmla="*/ 14 h 164"/>
                <a:gd name="T2" fmla="*/ 168 w 180"/>
                <a:gd name="T3" fmla="*/ 14 h 164"/>
                <a:gd name="T4" fmla="*/ 163 w 180"/>
                <a:gd name="T5" fmla="*/ 10 h 164"/>
                <a:gd name="T6" fmla="*/ 150 w 180"/>
                <a:gd name="T7" fmla="*/ 0 h 164"/>
                <a:gd name="T8" fmla="*/ 169 w 180"/>
                <a:gd name="T9" fmla="*/ 0 h 164"/>
                <a:gd name="T10" fmla="*/ 180 w 180"/>
                <a:gd name="T11" fmla="*/ 1 h 164"/>
                <a:gd name="T12" fmla="*/ 168 w 180"/>
                <a:gd name="T13" fmla="*/ 14 h 164"/>
                <a:gd name="T14" fmla="*/ 52 w 180"/>
                <a:gd name="T15" fmla="*/ 159 h 164"/>
                <a:gd name="T16" fmla="*/ 52 w 180"/>
                <a:gd name="T17" fmla="*/ 159 h 164"/>
                <a:gd name="T18" fmla="*/ 44 w 180"/>
                <a:gd name="T19" fmla="*/ 164 h 164"/>
                <a:gd name="T20" fmla="*/ 47 w 180"/>
                <a:gd name="T21" fmla="*/ 154 h 164"/>
                <a:gd name="T22" fmla="*/ 43 w 180"/>
                <a:gd name="T23" fmla="*/ 111 h 164"/>
                <a:gd name="T24" fmla="*/ 37 w 180"/>
                <a:gd name="T25" fmla="*/ 89 h 164"/>
                <a:gd name="T26" fmla="*/ 37 w 180"/>
                <a:gd name="T27" fmla="*/ 89 h 164"/>
                <a:gd name="T28" fmla="*/ 47 w 180"/>
                <a:gd name="T29" fmla="*/ 96 h 164"/>
                <a:gd name="T30" fmla="*/ 65 w 180"/>
                <a:gd name="T31" fmla="*/ 111 h 164"/>
                <a:gd name="T32" fmla="*/ 82 w 180"/>
                <a:gd name="T33" fmla="*/ 124 h 164"/>
                <a:gd name="T34" fmla="*/ 88 w 180"/>
                <a:gd name="T35" fmla="*/ 130 h 164"/>
                <a:gd name="T36" fmla="*/ 73 w 180"/>
                <a:gd name="T37" fmla="*/ 144 h 164"/>
                <a:gd name="T38" fmla="*/ 52 w 180"/>
                <a:gd name="T39" fmla="*/ 159 h 164"/>
                <a:gd name="T40" fmla="*/ 1 w 180"/>
                <a:gd name="T41" fmla="*/ 7 h 164"/>
                <a:gd name="T42" fmla="*/ 1 w 180"/>
                <a:gd name="T43" fmla="*/ 7 h 164"/>
                <a:gd name="T44" fmla="*/ 23 w 180"/>
                <a:gd name="T45" fmla="*/ 5 h 164"/>
                <a:gd name="T46" fmla="*/ 50 w 180"/>
                <a:gd name="T47" fmla="*/ 1 h 164"/>
                <a:gd name="T48" fmla="*/ 53 w 180"/>
                <a:gd name="T49" fmla="*/ 2 h 164"/>
                <a:gd name="T50" fmla="*/ 57 w 180"/>
                <a:gd name="T51" fmla="*/ 2 h 164"/>
                <a:gd name="T52" fmla="*/ 58 w 180"/>
                <a:gd name="T53" fmla="*/ 2 h 164"/>
                <a:gd name="T54" fmla="*/ 69 w 180"/>
                <a:gd name="T55" fmla="*/ 7 h 164"/>
                <a:gd name="T56" fmla="*/ 92 w 180"/>
                <a:gd name="T57" fmla="*/ 19 h 164"/>
                <a:gd name="T58" fmla="*/ 117 w 180"/>
                <a:gd name="T59" fmla="*/ 34 h 164"/>
                <a:gd name="T60" fmla="*/ 129 w 180"/>
                <a:gd name="T61" fmla="*/ 43 h 164"/>
                <a:gd name="T62" fmla="*/ 138 w 180"/>
                <a:gd name="T63" fmla="*/ 50 h 164"/>
                <a:gd name="T64" fmla="*/ 127 w 180"/>
                <a:gd name="T65" fmla="*/ 65 h 164"/>
                <a:gd name="T66" fmla="*/ 110 w 180"/>
                <a:gd name="T67" fmla="*/ 95 h 164"/>
                <a:gd name="T68" fmla="*/ 101 w 180"/>
                <a:gd name="T69" fmla="*/ 83 h 164"/>
                <a:gd name="T70" fmla="*/ 91 w 180"/>
                <a:gd name="T71" fmla="*/ 73 h 164"/>
                <a:gd name="T72" fmla="*/ 70 w 180"/>
                <a:gd name="T73" fmla="*/ 54 h 164"/>
                <a:gd name="T74" fmla="*/ 38 w 180"/>
                <a:gd name="T75" fmla="*/ 28 h 164"/>
                <a:gd name="T76" fmla="*/ 9 w 180"/>
                <a:gd name="T77" fmla="*/ 11 h 164"/>
                <a:gd name="T78" fmla="*/ 0 w 180"/>
                <a:gd name="T79" fmla="*/ 7 h 164"/>
                <a:gd name="T80" fmla="*/ 1 w 180"/>
                <a:gd name="T81" fmla="*/ 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0" h="164">
                  <a:moveTo>
                    <a:pt x="168" y="14"/>
                  </a:moveTo>
                  <a:cubicBezTo>
                    <a:pt x="168" y="14"/>
                    <a:pt x="168" y="14"/>
                    <a:pt x="168" y="14"/>
                  </a:cubicBezTo>
                  <a:cubicBezTo>
                    <a:pt x="166" y="12"/>
                    <a:pt x="165" y="11"/>
                    <a:pt x="163" y="10"/>
                  </a:cubicBezTo>
                  <a:cubicBezTo>
                    <a:pt x="159" y="6"/>
                    <a:pt x="155" y="3"/>
                    <a:pt x="150" y="0"/>
                  </a:cubicBezTo>
                  <a:cubicBezTo>
                    <a:pt x="157" y="0"/>
                    <a:pt x="162" y="0"/>
                    <a:pt x="169" y="0"/>
                  </a:cubicBezTo>
                  <a:cubicBezTo>
                    <a:pt x="172" y="0"/>
                    <a:pt x="176" y="1"/>
                    <a:pt x="180" y="1"/>
                  </a:cubicBezTo>
                  <a:cubicBezTo>
                    <a:pt x="176" y="5"/>
                    <a:pt x="172" y="10"/>
                    <a:pt x="168" y="14"/>
                  </a:cubicBezTo>
                  <a:close/>
                  <a:moveTo>
                    <a:pt x="52" y="159"/>
                  </a:moveTo>
                  <a:cubicBezTo>
                    <a:pt x="52" y="159"/>
                    <a:pt x="52" y="159"/>
                    <a:pt x="52" y="159"/>
                  </a:cubicBezTo>
                  <a:cubicBezTo>
                    <a:pt x="49" y="160"/>
                    <a:pt x="47" y="162"/>
                    <a:pt x="44" y="164"/>
                  </a:cubicBezTo>
                  <a:cubicBezTo>
                    <a:pt x="45" y="160"/>
                    <a:pt x="46" y="157"/>
                    <a:pt x="47" y="154"/>
                  </a:cubicBezTo>
                  <a:cubicBezTo>
                    <a:pt x="50" y="140"/>
                    <a:pt x="47" y="125"/>
                    <a:pt x="43" y="111"/>
                  </a:cubicBezTo>
                  <a:cubicBezTo>
                    <a:pt x="42" y="104"/>
                    <a:pt x="39" y="96"/>
                    <a:pt x="37" y="89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40" y="91"/>
                    <a:pt x="44" y="94"/>
                    <a:pt x="47" y="96"/>
                  </a:cubicBezTo>
                  <a:cubicBezTo>
                    <a:pt x="54" y="101"/>
                    <a:pt x="60" y="106"/>
                    <a:pt x="65" y="111"/>
                  </a:cubicBezTo>
                  <a:cubicBezTo>
                    <a:pt x="71" y="115"/>
                    <a:pt x="77" y="119"/>
                    <a:pt x="82" y="124"/>
                  </a:cubicBezTo>
                  <a:cubicBezTo>
                    <a:pt x="84" y="125"/>
                    <a:pt x="87" y="128"/>
                    <a:pt x="88" y="130"/>
                  </a:cubicBezTo>
                  <a:cubicBezTo>
                    <a:pt x="84" y="135"/>
                    <a:pt x="78" y="139"/>
                    <a:pt x="73" y="144"/>
                  </a:cubicBezTo>
                  <a:cubicBezTo>
                    <a:pt x="66" y="149"/>
                    <a:pt x="59" y="154"/>
                    <a:pt x="52" y="159"/>
                  </a:cubicBezTo>
                  <a:close/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9" y="6"/>
                    <a:pt x="16" y="6"/>
                    <a:pt x="23" y="5"/>
                  </a:cubicBezTo>
                  <a:cubicBezTo>
                    <a:pt x="32" y="4"/>
                    <a:pt x="41" y="3"/>
                    <a:pt x="50" y="1"/>
                  </a:cubicBezTo>
                  <a:cubicBezTo>
                    <a:pt x="51" y="1"/>
                    <a:pt x="52" y="2"/>
                    <a:pt x="53" y="2"/>
                  </a:cubicBezTo>
                  <a:cubicBezTo>
                    <a:pt x="54" y="2"/>
                    <a:pt x="56" y="2"/>
                    <a:pt x="57" y="2"/>
                  </a:cubicBezTo>
                  <a:cubicBezTo>
                    <a:pt x="57" y="2"/>
                    <a:pt x="58" y="2"/>
                    <a:pt x="58" y="2"/>
                  </a:cubicBezTo>
                  <a:cubicBezTo>
                    <a:pt x="62" y="3"/>
                    <a:pt x="65" y="5"/>
                    <a:pt x="69" y="7"/>
                  </a:cubicBezTo>
                  <a:cubicBezTo>
                    <a:pt x="77" y="11"/>
                    <a:pt x="85" y="15"/>
                    <a:pt x="92" y="19"/>
                  </a:cubicBezTo>
                  <a:cubicBezTo>
                    <a:pt x="101" y="24"/>
                    <a:pt x="109" y="29"/>
                    <a:pt x="117" y="34"/>
                  </a:cubicBezTo>
                  <a:cubicBezTo>
                    <a:pt x="121" y="37"/>
                    <a:pt x="125" y="40"/>
                    <a:pt x="129" y="43"/>
                  </a:cubicBezTo>
                  <a:cubicBezTo>
                    <a:pt x="132" y="45"/>
                    <a:pt x="135" y="48"/>
                    <a:pt x="138" y="50"/>
                  </a:cubicBezTo>
                  <a:cubicBezTo>
                    <a:pt x="135" y="55"/>
                    <a:pt x="131" y="60"/>
                    <a:pt x="127" y="65"/>
                  </a:cubicBezTo>
                  <a:cubicBezTo>
                    <a:pt x="121" y="75"/>
                    <a:pt x="115" y="85"/>
                    <a:pt x="110" y="95"/>
                  </a:cubicBezTo>
                  <a:cubicBezTo>
                    <a:pt x="107" y="91"/>
                    <a:pt x="104" y="87"/>
                    <a:pt x="101" y="83"/>
                  </a:cubicBezTo>
                  <a:cubicBezTo>
                    <a:pt x="98" y="80"/>
                    <a:pt x="95" y="76"/>
                    <a:pt x="91" y="73"/>
                  </a:cubicBezTo>
                  <a:cubicBezTo>
                    <a:pt x="85" y="66"/>
                    <a:pt x="77" y="60"/>
                    <a:pt x="70" y="54"/>
                  </a:cubicBezTo>
                  <a:cubicBezTo>
                    <a:pt x="60" y="45"/>
                    <a:pt x="49" y="36"/>
                    <a:pt x="38" y="28"/>
                  </a:cubicBezTo>
                  <a:cubicBezTo>
                    <a:pt x="29" y="22"/>
                    <a:pt x="19" y="16"/>
                    <a:pt x="9" y="11"/>
                  </a:cubicBezTo>
                  <a:cubicBezTo>
                    <a:pt x="6" y="10"/>
                    <a:pt x="3" y="9"/>
                    <a:pt x="0" y="7"/>
                  </a:cubicBezTo>
                  <a:cubicBezTo>
                    <a:pt x="0" y="7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1" name="îsľïḋe">
              <a:extLst>
                <a:ext uri="{FF2B5EF4-FFF2-40B4-BE49-F238E27FC236}">
                  <a16:creationId xmlns:a16="http://schemas.microsoft.com/office/drawing/2014/main" id="{A09F3F96-C32F-4E60-8661-75920D1AF2E3}"/>
                </a:ext>
              </a:extLst>
            </p:cNvPr>
            <p:cNvSpPr/>
            <p:nvPr/>
          </p:nvSpPr>
          <p:spPr bwMode="auto">
            <a:xfrm>
              <a:off x="4277004" y="282910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2" name="ï$liḍe">
              <a:extLst>
                <a:ext uri="{FF2B5EF4-FFF2-40B4-BE49-F238E27FC236}">
                  <a16:creationId xmlns:a16="http://schemas.microsoft.com/office/drawing/2014/main" id="{E4AB52AF-4C7F-4371-B79D-FBE924CB0D3A}"/>
                </a:ext>
              </a:extLst>
            </p:cNvPr>
            <p:cNvSpPr/>
            <p:nvPr/>
          </p:nvSpPr>
          <p:spPr bwMode="auto">
            <a:xfrm>
              <a:off x="4393929" y="2840949"/>
              <a:ext cx="20721" cy="25162"/>
            </a:xfrm>
            <a:custGeom>
              <a:avLst/>
              <a:gdLst>
                <a:gd name="T0" fmla="*/ 6 w 7"/>
                <a:gd name="T1" fmla="*/ 8 h 8"/>
                <a:gd name="T2" fmla="*/ 6 w 7"/>
                <a:gd name="T3" fmla="*/ 8 h 8"/>
                <a:gd name="T4" fmla="*/ 3 w 7"/>
                <a:gd name="T5" fmla="*/ 7 h 8"/>
                <a:gd name="T6" fmla="*/ 0 w 7"/>
                <a:gd name="T7" fmla="*/ 5 h 8"/>
                <a:gd name="T8" fmla="*/ 7 w 7"/>
                <a:gd name="T9" fmla="*/ 0 h 8"/>
                <a:gd name="T10" fmla="*/ 6 w 7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8"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4" y="7"/>
                    <a:pt x="3" y="7"/>
                  </a:cubicBezTo>
                  <a:cubicBezTo>
                    <a:pt x="2" y="6"/>
                    <a:pt x="1" y="6"/>
                    <a:pt x="0" y="5"/>
                  </a:cubicBezTo>
                  <a:cubicBezTo>
                    <a:pt x="2" y="4"/>
                    <a:pt x="5" y="2"/>
                    <a:pt x="7" y="0"/>
                  </a:cubicBezTo>
                  <a:cubicBezTo>
                    <a:pt x="6" y="3"/>
                    <a:pt x="6" y="6"/>
                    <a:pt x="6" y="8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3" name="ïs1íḓe">
              <a:extLst>
                <a:ext uri="{FF2B5EF4-FFF2-40B4-BE49-F238E27FC236}">
                  <a16:creationId xmlns:a16="http://schemas.microsoft.com/office/drawing/2014/main" id="{AB673FDD-7412-4FD9-8067-20C03CD0F741}"/>
                </a:ext>
              </a:extLst>
            </p:cNvPr>
            <p:cNvSpPr/>
            <p:nvPr/>
          </p:nvSpPr>
          <p:spPr bwMode="auto">
            <a:xfrm>
              <a:off x="4429450" y="2712184"/>
              <a:ext cx="193889" cy="260491"/>
            </a:xfrm>
            <a:custGeom>
              <a:avLst/>
              <a:gdLst>
                <a:gd name="T0" fmla="*/ 51 w 63"/>
                <a:gd name="T1" fmla="*/ 31 h 85"/>
                <a:gd name="T2" fmla="*/ 51 w 63"/>
                <a:gd name="T3" fmla="*/ 31 h 85"/>
                <a:gd name="T4" fmla="*/ 56 w 63"/>
                <a:gd name="T5" fmla="*/ 51 h 85"/>
                <a:gd name="T6" fmla="*/ 63 w 63"/>
                <a:gd name="T7" fmla="*/ 63 h 85"/>
                <a:gd name="T8" fmla="*/ 63 w 63"/>
                <a:gd name="T9" fmla="*/ 65 h 85"/>
                <a:gd name="T10" fmla="*/ 61 w 63"/>
                <a:gd name="T11" fmla="*/ 74 h 85"/>
                <a:gd name="T12" fmla="*/ 56 w 63"/>
                <a:gd name="T13" fmla="*/ 81 h 85"/>
                <a:gd name="T14" fmla="*/ 53 w 63"/>
                <a:gd name="T15" fmla="*/ 83 h 85"/>
                <a:gd name="T16" fmla="*/ 50 w 63"/>
                <a:gd name="T17" fmla="*/ 85 h 85"/>
                <a:gd name="T18" fmla="*/ 43 w 63"/>
                <a:gd name="T19" fmla="*/ 80 h 85"/>
                <a:gd name="T20" fmla="*/ 30 w 63"/>
                <a:gd name="T21" fmla="*/ 72 h 85"/>
                <a:gd name="T22" fmla="*/ 25 w 63"/>
                <a:gd name="T23" fmla="*/ 68 h 85"/>
                <a:gd name="T24" fmla="*/ 24 w 63"/>
                <a:gd name="T25" fmla="*/ 68 h 85"/>
                <a:gd name="T26" fmla="*/ 0 w 63"/>
                <a:gd name="T27" fmla="*/ 54 h 85"/>
                <a:gd name="T28" fmla="*/ 1 w 63"/>
                <a:gd name="T29" fmla="*/ 44 h 85"/>
                <a:gd name="T30" fmla="*/ 3 w 63"/>
                <a:gd name="T31" fmla="*/ 35 h 85"/>
                <a:gd name="T32" fmla="*/ 53 w 63"/>
                <a:gd name="T33" fmla="*/ 0 h 85"/>
                <a:gd name="T34" fmla="*/ 51 w 63"/>
                <a:gd name="T35" fmla="*/ 14 h 85"/>
                <a:gd name="T36" fmla="*/ 51 w 63"/>
                <a:gd name="T37" fmla="*/ 3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3" h="85">
                  <a:moveTo>
                    <a:pt x="51" y="31"/>
                  </a:moveTo>
                  <a:cubicBezTo>
                    <a:pt x="51" y="31"/>
                    <a:pt x="51" y="31"/>
                    <a:pt x="51" y="31"/>
                  </a:cubicBezTo>
                  <a:cubicBezTo>
                    <a:pt x="52" y="38"/>
                    <a:pt x="53" y="45"/>
                    <a:pt x="56" y="51"/>
                  </a:cubicBezTo>
                  <a:cubicBezTo>
                    <a:pt x="58" y="55"/>
                    <a:pt x="61" y="59"/>
                    <a:pt x="63" y="63"/>
                  </a:cubicBezTo>
                  <a:cubicBezTo>
                    <a:pt x="63" y="64"/>
                    <a:pt x="63" y="65"/>
                    <a:pt x="63" y="65"/>
                  </a:cubicBezTo>
                  <a:cubicBezTo>
                    <a:pt x="63" y="68"/>
                    <a:pt x="62" y="71"/>
                    <a:pt x="61" y="74"/>
                  </a:cubicBezTo>
                  <a:cubicBezTo>
                    <a:pt x="60" y="76"/>
                    <a:pt x="58" y="78"/>
                    <a:pt x="56" y="81"/>
                  </a:cubicBezTo>
                  <a:cubicBezTo>
                    <a:pt x="55" y="82"/>
                    <a:pt x="55" y="82"/>
                    <a:pt x="53" y="83"/>
                  </a:cubicBezTo>
                  <a:cubicBezTo>
                    <a:pt x="52" y="84"/>
                    <a:pt x="51" y="84"/>
                    <a:pt x="50" y="85"/>
                  </a:cubicBezTo>
                  <a:cubicBezTo>
                    <a:pt x="48" y="84"/>
                    <a:pt x="46" y="82"/>
                    <a:pt x="43" y="80"/>
                  </a:cubicBezTo>
                  <a:cubicBezTo>
                    <a:pt x="39" y="77"/>
                    <a:pt x="34" y="75"/>
                    <a:pt x="30" y="72"/>
                  </a:cubicBezTo>
                  <a:cubicBezTo>
                    <a:pt x="28" y="70"/>
                    <a:pt x="27" y="69"/>
                    <a:pt x="25" y="68"/>
                  </a:cubicBezTo>
                  <a:cubicBezTo>
                    <a:pt x="25" y="68"/>
                    <a:pt x="24" y="68"/>
                    <a:pt x="24" y="68"/>
                  </a:cubicBezTo>
                  <a:cubicBezTo>
                    <a:pt x="16" y="63"/>
                    <a:pt x="8" y="59"/>
                    <a:pt x="0" y="54"/>
                  </a:cubicBezTo>
                  <a:cubicBezTo>
                    <a:pt x="0" y="51"/>
                    <a:pt x="0" y="47"/>
                    <a:pt x="1" y="44"/>
                  </a:cubicBezTo>
                  <a:cubicBezTo>
                    <a:pt x="1" y="41"/>
                    <a:pt x="2" y="38"/>
                    <a:pt x="3" y="35"/>
                  </a:cubicBezTo>
                  <a:cubicBezTo>
                    <a:pt x="19" y="22"/>
                    <a:pt x="35" y="11"/>
                    <a:pt x="53" y="0"/>
                  </a:cubicBezTo>
                  <a:cubicBezTo>
                    <a:pt x="52" y="4"/>
                    <a:pt x="51" y="9"/>
                    <a:pt x="51" y="14"/>
                  </a:cubicBezTo>
                  <a:cubicBezTo>
                    <a:pt x="50" y="19"/>
                    <a:pt x="50" y="25"/>
                    <a:pt x="51" y="31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4" name="íṥľiḓê">
              <a:extLst>
                <a:ext uri="{FF2B5EF4-FFF2-40B4-BE49-F238E27FC236}">
                  <a16:creationId xmlns:a16="http://schemas.microsoft.com/office/drawing/2014/main" id="{95D4DBDF-BBCC-4773-A7B8-26288E790A6A}"/>
                </a:ext>
              </a:extLst>
            </p:cNvPr>
            <p:cNvSpPr/>
            <p:nvPr/>
          </p:nvSpPr>
          <p:spPr bwMode="auto">
            <a:xfrm>
              <a:off x="4605578" y="2595259"/>
              <a:ext cx="185008" cy="365576"/>
            </a:xfrm>
            <a:custGeom>
              <a:avLst/>
              <a:gdLst>
                <a:gd name="T0" fmla="*/ 49 w 60"/>
                <a:gd name="T1" fmla="*/ 17 h 119"/>
                <a:gd name="T2" fmla="*/ 49 w 60"/>
                <a:gd name="T3" fmla="*/ 17 h 119"/>
                <a:gd name="T4" fmla="*/ 43 w 60"/>
                <a:gd name="T5" fmla="*/ 34 h 119"/>
                <a:gd name="T6" fmla="*/ 42 w 60"/>
                <a:gd name="T7" fmla="*/ 38 h 119"/>
                <a:gd name="T8" fmla="*/ 42 w 60"/>
                <a:gd name="T9" fmla="*/ 38 h 119"/>
                <a:gd name="T10" fmla="*/ 38 w 60"/>
                <a:gd name="T11" fmla="*/ 39 h 119"/>
                <a:gd name="T12" fmla="*/ 34 w 60"/>
                <a:gd name="T13" fmla="*/ 46 h 119"/>
                <a:gd name="T14" fmla="*/ 35 w 60"/>
                <a:gd name="T15" fmla="*/ 46 h 119"/>
                <a:gd name="T16" fmla="*/ 34 w 60"/>
                <a:gd name="T17" fmla="*/ 49 h 119"/>
                <a:gd name="T18" fmla="*/ 35 w 60"/>
                <a:gd name="T19" fmla="*/ 57 h 119"/>
                <a:gd name="T20" fmla="*/ 45 w 60"/>
                <a:gd name="T21" fmla="*/ 65 h 119"/>
                <a:gd name="T22" fmla="*/ 48 w 60"/>
                <a:gd name="T23" fmla="*/ 88 h 119"/>
                <a:gd name="T24" fmla="*/ 55 w 60"/>
                <a:gd name="T25" fmla="*/ 110 h 119"/>
                <a:gd name="T26" fmla="*/ 58 w 60"/>
                <a:gd name="T27" fmla="*/ 116 h 119"/>
                <a:gd name="T28" fmla="*/ 56 w 60"/>
                <a:gd name="T29" fmla="*/ 117 h 119"/>
                <a:gd name="T30" fmla="*/ 54 w 60"/>
                <a:gd name="T31" fmla="*/ 118 h 119"/>
                <a:gd name="T32" fmla="*/ 53 w 60"/>
                <a:gd name="T33" fmla="*/ 118 h 119"/>
                <a:gd name="T34" fmla="*/ 52 w 60"/>
                <a:gd name="T35" fmla="*/ 118 h 119"/>
                <a:gd name="T36" fmla="*/ 52 w 60"/>
                <a:gd name="T37" fmla="*/ 118 h 119"/>
                <a:gd name="T38" fmla="*/ 41 w 60"/>
                <a:gd name="T39" fmla="*/ 117 h 119"/>
                <a:gd name="T40" fmla="*/ 22 w 60"/>
                <a:gd name="T41" fmla="*/ 106 h 119"/>
                <a:gd name="T42" fmla="*/ 6 w 60"/>
                <a:gd name="T43" fmla="*/ 86 h 119"/>
                <a:gd name="T44" fmla="*/ 2 w 60"/>
                <a:gd name="T45" fmla="*/ 75 h 119"/>
                <a:gd name="T46" fmla="*/ 1 w 60"/>
                <a:gd name="T47" fmla="*/ 71 h 119"/>
                <a:gd name="T48" fmla="*/ 1 w 60"/>
                <a:gd name="T49" fmla="*/ 70 h 119"/>
                <a:gd name="T50" fmla="*/ 1 w 60"/>
                <a:gd name="T51" fmla="*/ 69 h 119"/>
                <a:gd name="T52" fmla="*/ 0 w 60"/>
                <a:gd name="T53" fmla="*/ 57 h 119"/>
                <a:gd name="T54" fmla="*/ 1 w 60"/>
                <a:gd name="T55" fmla="*/ 44 h 119"/>
                <a:gd name="T56" fmla="*/ 3 w 60"/>
                <a:gd name="T57" fmla="*/ 38 h 119"/>
                <a:gd name="T58" fmla="*/ 4 w 60"/>
                <a:gd name="T59" fmla="*/ 35 h 119"/>
                <a:gd name="T60" fmla="*/ 4 w 60"/>
                <a:gd name="T61" fmla="*/ 33 h 119"/>
                <a:gd name="T62" fmla="*/ 4 w 60"/>
                <a:gd name="T63" fmla="*/ 33 h 119"/>
                <a:gd name="T64" fmla="*/ 4 w 60"/>
                <a:gd name="T65" fmla="*/ 32 h 119"/>
                <a:gd name="T66" fmla="*/ 5 w 60"/>
                <a:gd name="T67" fmla="*/ 32 h 119"/>
                <a:gd name="T68" fmla="*/ 60 w 60"/>
                <a:gd name="T69" fmla="*/ 0 h 119"/>
                <a:gd name="T70" fmla="*/ 49 w 60"/>
                <a:gd name="T71" fmla="*/ 1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119">
                  <a:moveTo>
                    <a:pt x="49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47" y="23"/>
                    <a:pt x="44" y="28"/>
                    <a:pt x="43" y="34"/>
                  </a:cubicBezTo>
                  <a:cubicBezTo>
                    <a:pt x="42" y="36"/>
                    <a:pt x="42" y="37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1" y="38"/>
                    <a:pt x="39" y="39"/>
                    <a:pt x="38" y="39"/>
                  </a:cubicBezTo>
                  <a:cubicBezTo>
                    <a:pt x="36" y="40"/>
                    <a:pt x="34" y="43"/>
                    <a:pt x="34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4" y="47"/>
                    <a:pt x="34" y="48"/>
                    <a:pt x="34" y="49"/>
                  </a:cubicBezTo>
                  <a:cubicBezTo>
                    <a:pt x="33" y="52"/>
                    <a:pt x="34" y="54"/>
                    <a:pt x="35" y="57"/>
                  </a:cubicBezTo>
                  <a:cubicBezTo>
                    <a:pt x="37" y="61"/>
                    <a:pt x="41" y="64"/>
                    <a:pt x="45" y="65"/>
                  </a:cubicBezTo>
                  <a:cubicBezTo>
                    <a:pt x="45" y="73"/>
                    <a:pt x="46" y="81"/>
                    <a:pt x="48" y="88"/>
                  </a:cubicBezTo>
                  <a:cubicBezTo>
                    <a:pt x="50" y="95"/>
                    <a:pt x="52" y="103"/>
                    <a:pt x="55" y="110"/>
                  </a:cubicBezTo>
                  <a:cubicBezTo>
                    <a:pt x="56" y="112"/>
                    <a:pt x="57" y="114"/>
                    <a:pt x="58" y="116"/>
                  </a:cubicBezTo>
                  <a:cubicBezTo>
                    <a:pt x="57" y="116"/>
                    <a:pt x="57" y="117"/>
                    <a:pt x="56" y="117"/>
                  </a:cubicBezTo>
                  <a:cubicBezTo>
                    <a:pt x="55" y="117"/>
                    <a:pt x="55" y="118"/>
                    <a:pt x="54" y="118"/>
                  </a:cubicBezTo>
                  <a:cubicBezTo>
                    <a:pt x="54" y="118"/>
                    <a:pt x="53" y="118"/>
                    <a:pt x="53" y="118"/>
                  </a:cubicBezTo>
                  <a:cubicBezTo>
                    <a:pt x="52" y="118"/>
                    <a:pt x="52" y="118"/>
                    <a:pt x="52" y="118"/>
                  </a:cubicBezTo>
                  <a:cubicBezTo>
                    <a:pt x="52" y="118"/>
                    <a:pt x="52" y="118"/>
                    <a:pt x="52" y="118"/>
                  </a:cubicBezTo>
                  <a:cubicBezTo>
                    <a:pt x="48" y="119"/>
                    <a:pt x="45" y="118"/>
                    <a:pt x="41" y="117"/>
                  </a:cubicBezTo>
                  <a:cubicBezTo>
                    <a:pt x="34" y="115"/>
                    <a:pt x="27" y="111"/>
                    <a:pt x="22" y="106"/>
                  </a:cubicBezTo>
                  <a:cubicBezTo>
                    <a:pt x="15" y="100"/>
                    <a:pt x="10" y="93"/>
                    <a:pt x="6" y="86"/>
                  </a:cubicBezTo>
                  <a:cubicBezTo>
                    <a:pt x="4" y="83"/>
                    <a:pt x="3" y="79"/>
                    <a:pt x="2" y="75"/>
                  </a:cubicBezTo>
                  <a:cubicBezTo>
                    <a:pt x="2" y="74"/>
                    <a:pt x="2" y="73"/>
                    <a:pt x="1" y="71"/>
                  </a:cubicBezTo>
                  <a:cubicBezTo>
                    <a:pt x="1" y="71"/>
                    <a:pt x="1" y="70"/>
                    <a:pt x="1" y="70"/>
                  </a:cubicBezTo>
                  <a:cubicBezTo>
                    <a:pt x="1" y="70"/>
                    <a:pt x="1" y="69"/>
                    <a:pt x="1" y="69"/>
                  </a:cubicBezTo>
                  <a:cubicBezTo>
                    <a:pt x="1" y="64"/>
                    <a:pt x="0" y="61"/>
                    <a:pt x="0" y="57"/>
                  </a:cubicBezTo>
                  <a:cubicBezTo>
                    <a:pt x="0" y="53"/>
                    <a:pt x="1" y="48"/>
                    <a:pt x="1" y="44"/>
                  </a:cubicBezTo>
                  <a:cubicBezTo>
                    <a:pt x="2" y="42"/>
                    <a:pt x="2" y="40"/>
                    <a:pt x="3" y="38"/>
                  </a:cubicBezTo>
                  <a:cubicBezTo>
                    <a:pt x="3" y="37"/>
                    <a:pt x="3" y="36"/>
                    <a:pt x="4" y="35"/>
                  </a:cubicBezTo>
                  <a:cubicBezTo>
                    <a:pt x="4" y="34"/>
                    <a:pt x="4" y="34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23" y="21"/>
                    <a:pt x="42" y="10"/>
                    <a:pt x="60" y="0"/>
                  </a:cubicBezTo>
                  <a:cubicBezTo>
                    <a:pt x="56" y="6"/>
                    <a:pt x="52" y="11"/>
                    <a:pt x="49" y="17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5" name="ïşlïḋe">
              <a:extLst>
                <a:ext uri="{FF2B5EF4-FFF2-40B4-BE49-F238E27FC236}">
                  <a16:creationId xmlns:a16="http://schemas.microsoft.com/office/drawing/2014/main" id="{8A601FDB-E0EF-4E05-8BCF-19442F95A8AF}"/>
                </a:ext>
              </a:extLst>
            </p:cNvPr>
            <p:cNvSpPr/>
            <p:nvPr/>
          </p:nvSpPr>
          <p:spPr bwMode="auto">
            <a:xfrm>
              <a:off x="5051077" y="2361409"/>
              <a:ext cx="461779" cy="562424"/>
            </a:xfrm>
            <a:custGeom>
              <a:avLst/>
              <a:gdLst>
                <a:gd name="T0" fmla="*/ 70 w 150"/>
                <a:gd name="T1" fmla="*/ 4 h 183"/>
                <a:gd name="T2" fmla="*/ 70 w 150"/>
                <a:gd name="T3" fmla="*/ 4 h 183"/>
                <a:gd name="T4" fmla="*/ 70 w 150"/>
                <a:gd name="T5" fmla="*/ 4 h 183"/>
                <a:gd name="T6" fmla="*/ 130 w 150"/>
                <a:gd name="T7" fmla="*/ 1 h 183"/>
                <a:gd name="T8" fmla="*/ 131 w 150"/>
                <a:gd name="T9" fmla="*/ 2 h 183"/>
                <a:gd name="T10" fmla="*/ 123 w 150"/>
                <a:gd name="T11" fmla="*/ 7 h 183"/>
                <a:gd name="T12" fmla="*/ 111 w 150"/>
                <a:gd name="T13" fmla="*/ 20 h 183"/>
                <a:gd name="T14" fmla="*/ 56 w 150"/>
                <a:gd name="T15" fmla="*/ 22 h 183"/>
                <a:gd name="T16" fmla="*/ 28 w 150"/>
                <a:gd name="T17" fmla="*/ 27 h 183"/>
                <a:gd name="T18" fmla="*/ 2 w 150"/>
                <a:gd name="T19" fmla="*/ 41 h 183"/>
                <a:gd name="T20" fmla="*/ 0 w 150"/>
                <a:gd name="T21" fmla="*/ 42 h 183"/>
                <a:gd name="T22" fmla="*/ 0 w 150"/>
                <a:gd name="T23" fmla="*/ 42 h 183"/>
                <a:gd name="T24" fmla="*/ 1 w 150"/>
                <a:gd name="T25" fmla="*/ 31 h 183"/>
                <a:gd name="T26" fmla="*/ 1 w 150"/>
                <a:gd name="T27" fmla="*/ 30 h 183"/>
                <a:gd name="T28" fmla="*/ 70 w 150"/>
                <a:gd name="T29" fmla="*/ 4 h 183"/>
                <a:gd name="T30" fmla="*/ 136 w 150"/>
                <a:gd name="T31" fmla="*/ 183 h 183"/>
                <a:gd name="T32" fmla="*/ 136 w 150"/>
                <a:gd name="T33" fmla="*/ 183 h 183"/>
                <a:gd name="T34" fmla="*/ 130 w 150"/>
                <a:gd name="T35" fmla="*/ 181 h 183"/>
                <a:gd name="T36" fmla="*/ 115 w 150"/>
                <a:gd name="T37" fmla="*/ 180 h 183"/>
                <a:gd name="T38" fmla="*/ 122 w 150"/>
                <a:gd name="T39" fmla="*/ 172 h 183"/>
                <a:gd name="T40" fmla="*/ 130 w 150"/>
                <a:gd name="T41" fmla="*/ 159 h 183"/>
                <a:gd name="T42" fmla="*/ 140 w 150"/>
                <a:gd name="T43" fmla="*/ 160 h 183"/>
                <a:gd name="T44" fmla="*/ 147 w 150"/>
                <a:gd name="T45" fmla="*/ 162 h 183"/>
                <a:gd name="T46" fmla="*/ 150 w 150"/>
                <a:gd name="T47" fmla="*/ 164 h 183"/>
                <a:gd name="T48" fmla="*/ 150 w 150"/>
                <a:gd name="T49" fmla="*/ 164 h 183"/>
                <a:gd name="T50" fmla="*/ 136 w 150"/>
                <a:gd name="T51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0" h="183">
                  <a:moveTo>
                    <a:pt x="70" y="4"/>
                  </a:moveTo>
                  <a:cubicBezTo>
                    <a:pt x="70" y="4"/>
                    <a:pt x="70" y="4"/>
                    <a:pt x="70" y="4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90" y="1"/>
                    <a:pt x="110" y="0"/>
                    <a:pt x="130" y="1"/>
                  </a:cubicBezTo>
                  <a:cubicBezTo>
                    <a:pt x="130" y="2"/>
                    <a:pt x="131" y="2"/>
                    <a:pt x="131" y="2"/>
                  </a:cubicBezTo>
                  <a:cubicBezTo>
                    <a:pt x="128" y="3"/>
                    <a:pt x="125" y="5"/>
                    <a:pt x="123" y="7"/>
                  </a:cubicBezTo>
                  <a:cubicBezTo>
                    <a:pt x="118" y="10"/>
                    <a:pt x="114" y="15"/>
                    <a:pt x="111" y="20"/>
                  </a:cubicBezTo>
                  <a:cubicBezTo>
                    <a:pt x="93" y="18"/>
                    <a:pt x="75" y="20"/>
                    <a:pt x="56" y="22"/>
                  </a:cubicBezTo>
                  <a:cubicBezTo>
                    <a:pt x="47" y="24"/>
                    <a:pt x="37" y="24"/>
                    <a:pt x="28" y="27"/>
                  </a:cubicBezTo>
                  <a:cubicBezTo>
                    <a:pt x="19" y="30"/>
                    <a:pt x="10" y="35"/>
                    <a:pt x="2" y="41"/>
                  </a:cubicBezTo>
                  <a:cubicBezTo>
                    <a:pt x="2" y="41"/>
                    <a:pt x="1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9"/>
                    <a:pt x="0" y="35"/>
                    <a:pt x="1" y="31"/>
                  </a:cubicBezTo>
                  <a:cubicBezTo>
                    <a:pt x="1" y="31"/>
                    <a:pt x="1" y="30"/>
                    <a:pt x="1" y="30"/>
                  </a:cubicBezTo>
                  <a:cubicBezTo>
                    <a:pt x="23" y="20"/>
                    <a:pt x="46" y="10"/>
                    <a:pt x="70" y="4"/>
                  </a:cubicBezTo>
                  <a:close/>
                  <a:moveTo>
                    <a:pt x="136" y="183"/>
                  </a:moveTo>
                  <a:cubicBezTo>
                    <a:pt x="136" y="183"/>
                    <a:pt x="136" y="183"/>
                    <a:pt x="136" y="183"/>
                  </a:cubicBezTo>
                  <a:cubicBezTo>
                    <a:pt x="134" y="182"/>
                    <a:pt x="132" y="182"/>
                    <a:pt x="130" y="181"/>
                  </a:cubicBezTo>
                  <a:cubicBezTo>
                    <a:pt x="125" y="180"/>
                    <a:pt x="120" y="180"/>
                    <a:pt x="115" y="180"/>
                  </a:cubicBezTo>
                  <a:cubicBezTo>
                    <a:pt x="117" y="178"/>
                    <a:pt x="120" y="175"/>
                    <a:pt x="122" y="172"/>
                  </a:cubicBezTo>
                  <a:cubicBezTo>
                    <a:pt x="125" y="168"/>
                    <a:pt x="128" y="164"/>
                    <a:pt x="130" y="159"/>
                  </a:cubicBezTo>
                  <a:cubicBezTo>
                    <a:pt x="133" y="158"/>
                    <a:pt x="137" y="159"/>
                    <a:pt x="140" y="160"/>
                  </a:cubicBezTo>
                  <a:cubicBezTo>
                    <a:pt x="142" y="160"/>
                    <a:pt x="145" y="161"/>
                    <a:pt x="147" y="162"/>
                  </a:cubicBezTo>
                  <a:cubicBezTo>
                    <a:pt x="148" y="162"/>
                    <a:pt x="149" y="163"/>
                    <a:pt x="150" y="164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46" y="171"/>
                    <a:pt x="141" y="177"/>
                    <a:pt x="136" y="183"/>
                  </a:cubicBezTo>
                  <a:close/>
                </a:path>
              </a:pathLst>
            </a:custGeom>
            <a:solidFill>
              <a:srgbClr val="FFD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6" name="i$1ïḑê">
              <a:extLst>
                <a:ext uri="{FF2B5EF4-FFF2-40B4-BE49-F238E27FC236}">
                  <a16:creationId xmlns:a16="http://schemas.microsoft.com/office/drawing/2014/main" id="{0D4E9BCA-B494-4DEA-B172-47D8CC9592B7}"/>
                </a:ext>
              </a:extLst>
            </p:cNvPr>
            <p:cNvSpPr/>
            <p:nvPr/>
          </p:nvSpPr>
          <p:spPr bwMode="auto">
            <a:xfrm>
              <a:off x="5563178" y="2226723"/>
              <a:ext cx="85844" cy="111005"/>
            </a:xfrm>
            <a:custGeom>
              <a:avLst/>
              <a:gdLst>
                <a:gd name="T0" fmla="*/ 12 w 28"/>
                <a:gd name="T1" fmla="*/ 0 h 36"/>
                <a:gd name="T2" fmla="*/ 12 w 28"/>
                <a:gd name="T3" fmla="*/ 0 h 36"/>
                <a:gd name="T4" fmla="*/ 28 w 28"/>
                <a:gd name="T5" fmla="*/ 2 h 36"/>
                <a:gd name="T6" fmla="*/ 27 w 28"/>
                <a:gd name="T7" fmla="*/ 5 h 36"/>
                <a:gd name="T8" fmla="*/ 25 w 28"/>
                <a:gd name="T9" fmla="*/ 10 h 36"/>
                <a:gd name="T10" fmla="*/ 18 w 28"/>
                <a:gd name="T11" fmla="*/ 8 h 36"/>
                <a:gd name="T12" fmla="*/ 17 w 28"/>
                <a:gd name="T13" fmla="*/ 12 h 36"/>
                <a:gd name="T14" fmla="*/ 24 w 28"/>
                <a:gd name="T15" fmla="*/ 14 h 36"/>
                <a:gd name="T16" fmla="*/ 24 w 28"/>
                <a:gd name="T17" fmla="*/ 16 h 36"/>
                <a:gd name="T18" fmla="*/ 23 w 28"/>
                <a:gd name="T19" fmla="*/ 28 h 36"/>
                <a:gd name="T20" fmla="*/ 24 w 28"/>
                <a:gd name="T21" fmla="*/ 34 h 36"/>
                <a:gd name="T22" fmla="*/ 13 w 28"/>
                <a:gd name="T23" fmla="*/ 35 h 36"/>
                <a:gd name="T24" fmla="*/ 6 w 28"/>
                <a:gd name="T25" fmla="*/ 36 h 36"/>
                <a:gd name="T26" fmla="*/ 5 w 28"/>
                <a:gd name="T27" fmla="*/ 29 h 36"/>
                <a:gd name="T28" fmla="*/ 0 w 28"/>
                <a:gd name="T29" fmla="*/ 19 h 36"/>
                <a:gd name="T30" fmla="*/ 6 w 28"/>
                <a:gd name="T31" fmla="*/ 14 h 36"/>
                <a:gd name="T32" fmla="*/ 12 w 28"/>
                <a:gd name="T3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36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7" y="1"/>
                    <a:pt x="23" y="2"/>
                    <a:pt x="28" y="2"/>
                  </a:cubicBezTo>
                  <a:cubicBezTo>
                    <a:pt x="28" y="3"/>
                    <a:pt x="27" y="4"/>
                    <a:pt x="27" y="5"/>
                  </a:cubicBezTo>
                  <a:cubicBezTo>
                    <a:pt x="26" y="7"/>
                    <a:pt x="26" y="9"/>
                    <a:pt x="25" y="10"/>
                  </a:cubicBezTo>
                  <a:cubicBezTo>
                    <a:pt x="23" y="9"/>
                    <a:pt x="20" y="8"/>
                    <a:pt x="18" y="8"/>
                  </a:cubicBezTo>
                  <a:cubicBezTo>
                    <a:pt x="15" y="7"/>
                    <a:pt x="14" y="11"/>
                    <a:pt x="17" y="12"/>
                  </a:cubicBezTo>
                  <a:cubicBezTo>
                    <a:pt x="19" y="13"/>
                    <a:pt x="22" y="14"/>
                    <a:pt x="24" y="14"/>
                  </a:cubicBezTo>
                  <a:cubicBezTo>
                    <a:pt x="24" y="15"/>
                    <a:pt x="24" y="16"/>
                    <a:pt x="24" y="16"/>
                  </a:cubicBezTo>
                  <a:cubicBezTo>
                    <a:pt x="24" y="20"/>
                    <a:pt x="23" y="24"/>
                    <a:pt x="23" y="28"/>
                  </a:cubicBezTo>
                  <a:cubicBezTo>
                    <a:pt x="23" y="30"/>
                    <a:pt x="24" y="32"/>
                    <a:pt x="24" y="34"/>
                  </a:cubicBezTo>
                  <a:cubicBezTo>
                    <a:pt x="20" y="34"/>
                    <a:pt x="17" y="35"/>
                    <a:pt x="13" y="35"/>
                  </a:cubicBezTo>
                  <a:cubicBezTo>
                    <a:pt x="10" y="36"/>
                    <a:pt x="9" y="36"/>
                    <a:pt x="6" y="36"/>
                  </a:cubicBezTo>
                  <a:cubicBezTo>
                    <a:pt x="6" y="34"/>
                    <a:pt x="5" y="32"/>
                    <a:pt x="5" y="29"/>
                  </a:cubicBezTo>
                  <a:cubicBezTo>
                    <a:pt x="3" y="26"/>
                    <a:pt x="2" y="22"/>
                    <a:pt x="0" y="19"/>
                  </a:cubicBezTo>
                  <a:cubicBezTo>
                    <a:pt x="2" y="18"/>
                    <a:pt x="4" y="16"/>
                    <a:pt x="6" y="14"/>
                  </a:cubicBezTo>
                  <a:cubicBezTo>
                    <a:pt x="9" y="10"/>
                    <a:pt x="12" y="5"/>
                    <a:pt x="12" y="0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7" name="îs1ïde">
              <a:extLst>
                <a:ext uri="{FF2B5EF4-FFF2-40B4-BE49-F238E27FC236}">
                  <a16:creationId xmlns:a16="http://schemas.microsoft.com/office/drawing/2014/main" id="{0A418632-0DEE-43E3-899D-C50F837F98BE}"/>
                </a:ext>
              </a:extLst>
            </p:cNvPr>
            <p:cNvSpPr/>
            <p:nvPr/>
          </p:nvSpPr>
          <p:spPr bwMode="auto">
            <a:xfrm>
              <a:off x="5814789" y="1793065"/>
              <a:ext cx="1481" cy="1481"/>
            </a:xfrm>
            <a:prstGeom prst="rect">
              <a:avLst/>
            </a:pr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8" name="işľïdé">
              <a:extLst>
                <a:ext uri="{FF2B5EF4-FFF2-40B4-BE49-F238E27FC236}">
                  <a16:creationId xmlns:a16="http://schemas.microsoft.com/office/drawing/2014/main" id="{F7BA4A09-D407-4F69-984A-358F8F50706C}"/>
                </a:ext>
              </a:extLst>
            </p:cNvPr>
            <p:cNvSpPr/>
            <p:nvPr/>
          </p:nvSpPr>
          <p:spPr bwMode="auto">
            <a:xfrm>
              <a:off x="5823669" y="1907030"/>
              <a:ext cx="76963" cy="217570"/>
            </a:xfrm>
            <a:custGeom>
              <a:avLst/>
              <a:gdLst>
                <a:gd name="T0" fmla="*/ 23 w 25"/>
                <a:gd name="T1" fmla="*/ 40 h 71"/>
                <a:gd name="T2" fmla="*/ 23 w 25"/>
                <a:gd name="T3" fmla="*/ 40 h 71"/>
                <a:gd name="T4" fmla="*/ 21 w 25"/>
                <a:gd name="T5" fmla="*/ 46 h 71"/>
                <a:gd name="T6" fmla="*/ 19 w 25"/>
                <a:gd name="T7" fmla="*/ 57 h 71"/>
                <a:gd name="T8" fmla="*/ 18 w 25"/>
                <a:gd name="T9" fmla="*/ 71 h 71"/>
                <a:gd name="T10" fmla="*/ 11 w 25"/>
                <a:gd name="T11" fmla="*/ 45 h 71"/>
                <a:gd name="T12" fmla="*/ 2 w 25"/>
                <a:gd name="T13" fmla="*/ 10 h 71"/>
                <a:gd name="T14" fmla="*/ 0 w 25"/>
                <a:gd name="T15" fmla="*/ 0 h 71"/>
                <a:gd name="T16" fmla="*/ 12 w 25"/>
                <a:gd name="T17" fmla="*/ 13 h 71"/>
                <a:gd name="T18" fmla="*/ 22 w 25"/>
                <a:gd name="T19" fmla="*/ 30 h 71"/>
                <a:gd name="T20" fmla="*/ 25 w 25"/>
                <a:gd name="T21" fmla="*/ 36 h 71"/>
                <a:gd name="T22" fmla="*/ 23 w 25"/>
                <a:gd name="T23" fmla="*/ 4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71"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2" y="43"/>
                    <a:pt x="22" y="45"/>
                    <a:pt x="21" y="46"/>
                  </a:cubicBezTo>
                  <a:cubicBezTo>
                    <a:pt x="20" y="50"/>
                    <a:pt x="19" y="54"/>
                    <a:pt x="19" y="57"/>
                  </a:cubicBezTo>
                  <a:cubicBezTo>
                    <a:pt x="18" y="62"/>
                    <a:pt x="18" y="66"/>
                    <a:pt x="18" y="71"/>
                  </a:cubicBezTo>
                  <a:cubicBezTo>
                    <a:pt x="15" y="62"/>
                    <a:pt x="13" y="54"/>
                    <a:pt x="11" y="45"/>
                  </a:cubicBezTo>
                  <a:cubicBezTo>
                    <a:pt x="7" y="33"/>
                    <a:pt x="4" y="21"/>
                    <a:pt x="2" y="10"/>
                  </a:cubicBezTo>
                  <a:cubicBezTo>
                    <a:pt x="1" y="6"/>
                    <a:pt x="1" y="3"/>
                    <a:pt x="0" y="0"/>
                  </a:cubicBezTo>
                  <a:cubicBezTo>
                    <a:pt x="4" y="4"/>
                    <a:pt x="8" y="8"/>
                    <a:pt x="12" y="13"/>
                  </a:cubicBezTo>
                  <a:cubicBezTo>
                    <a:pt x="16" y="18"/>
                    <a:pt x="20" y="24"/>
                    <a:pt x="22" y="30"/>
                  </a:cubicBezTo>
                  <a:cubicBezTo>
                    <a:pt x="24" y="32"/>
                    <a:pt x="25" y="34"/>
                    <a:pt x="25" y="36"/>
                  </a:cubicBezTo>
                  <a:cubicBezTo>
                    <a:pt x="24" y="37"/>
                    <a:pt x="23" y="39"/>
                    <a:pt x="23" y="4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9" name="iśľiḍè">
              <a:extLst>
                <a:ext uri="{FF2B5EF4-FFF2-40B4-BE49-F238E27FC236}">
                  <a16:creationId xmlns:a16="http://schemas.microsoft.com/office/drawing/2014/main" id="{F7B81EA8-31EE-42E4-B9F2-84E5E3473211}"/>
                </a:ext>
              </a:extLst>
            </p:cNvPr>
            <p:cNvSpPr/>
            <p:nvPr/>
          </p:nvSpPr>
          <p:spPr bwMode="auto">
            <a:xfrm>
              <a:off x="5894712" y="2041716"/>
              <a:ext cx="74003" cy="261971"/>
            </a:xfrm>
            <a:custGeom>
              <a:avLst/>
              <a:gdLst>
                <a:gd name="T0" fmla="*/ 24 w 24"/>
                <a:gd name="T1" fmla="*/ 84 h 85"/>
                <a:gd name="T2" fmla="*/ 24 w 24"/>
                <a:gd name="T3" fmla="*/ 84 h 85"/>
                <a:gd name="T4" fmla="*/ 20 w 24"/>
                <a:gd name="T5" fmla="*/ 80 h 85"/>
                <a:gd name="T6" fmla="*/ 18 w 24"/>
                <a:gd name="T7" fmla="*/ 77 h 85"/>
                <a:gd name="T8" fmla="*/ 15 w 24"/>
                <a:gd name="T9" fmla="*/ 72 h 85"/>
                <a:gd name="T10" fmla="*/ 6 w 24"/>
                <a:gd name="T11" fmla="*/ 52 h 85"/>
                <a:gd name="T12" fmla="*/ 3 w 24"/>
                <a:gd name="T13" fmla="*/ 6 h 85"/>
                <a:gd name="T14" fmla="*/ 5 w 24"/>
                <a:gd name="T15" fmla="*/ 0 h 85"/>
                <a:gd name="T16" fmla="*/ 5 w 24"/>
                <a:gd name="T17" fmla="*/ 0 h 85"/>
                <a:gd name="T18" fmla="*/ 13 w 24"/>
                <a:gd name="T19" fmla="*/ 31 h 85"/>
                <a:gd name="T20" fmla="*/ 24 w 24"/>
                <a:gd name="T21" fmla="*/ 85 h 85"/>
                <a:gd name="T22" fmla="*/ 24 w 24"/>
                <a:gd name="T23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85">
                  <a:moveTo>
                    <a:pt x="24" y="84"/>
                  </a:moveTo>
                  <a:cubicBezTo>
                    <a:pt x="24" y="84"/>
                    <a:pt x="24" y="84"/>
                    <a:pt x="24" y="84"/>
                  </a:cubicBezTo>
                  <a:cubicBezTo>
                    <a:pt x="23" y="83"/>
                    <a:pt x="22" y="82"/>
                    <a:pt x="20" y="80"/>
                  </a:cubicBezTo>
                  <a:cubicBezTo>
                    <a:pt x="19" y="79"/>
                    <a:pt x="19" y="78"/>
                    <a:pt x="18" y="77"/>
                  </a:cubicBezTo>
                  <a:cubicBezTo>
                    <a:pt x="17" y="75"/>
                    <a:pt x="16" y="74"/>
                    <a:pt x="15" y="72"/>
                  </a:cubicBezTo>
                  <a:cubicBezTo>
                    <a:pt x="11" y="66"/>
                    <a:pt x="8" y="59"/>
                    <a:pt x="6" y="52"/>
                  </a:cubicBezTo>
                  <a:cubicBezTo>
                    <a:pt x="1" y="37"/>
                    <a:pt x="0" y="21"/>
                    <a:pt x="3" y="6"/>
                  </a:cubicBezTo>
                  <a:cubicBezTo>
                    <a:pt x="4" y="4"/>
                    <a:pt x="4" y="2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10"/>
                    <a:pt x="10" y="20"/>
                    <a:pt x="13" y="31"/>
                  </a:cubicBezTo>
                  <a:cubicBezTo>
                    <a:pt x="17" y="48"/>
                    <a:pt x="22" y="66"/>
                    <a:pt x="24" y="85"/>
                  </a:cubicBezTo>
                  <a:cubicBezTo>
                    <a:pt x="24" y="84"/>
                    <a:pt x="24" y="84"/>
                    <a:pt x="24" y="84"/>
                  </a:cubicBezTo>
                  <a:close/>
                </a:path>
              </a:pathLst>
            </a:custGeom>
            <a:solidFill>
              <a:srgbClr val="7B87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0" name="íṥľîďè">
              <a:extLst>
                <a:ext uri="{FF2B5EF4-FFF2-40B4-BE49-F238E27FC236}">
                  <a16:creationId xmlns:a16="http://schemas.microsoft.com/office/drawing/2014/main" id="{F4D97621-869C-4F96-951F-A86006782764}"/>
                </a:ext>
              </a:extLst>
            </p:cNvPr>
            <p:cNvSpPr/>
            <p:nvPr/>
          </p:nvSpPr>
          <p:spPr bwMode="auto">
            <a:xfrm>
              <a:off x="5959835" y="2450213"/>
              <a:ext cx="85844" cy="156887"/>
            </a:xfrm>
            <a:custGeom>
              <a:avLst/>
              <a:gdLst>
                <a:gd name="T0" fmla="*/ 27 w 28"/>
                <a:gd name="T1" fmla="*/ 3 h 51"/>
                <a:gd name="T2" fmla="*/ 27 w 28"/>
                <a:gd name="T3" fmla="*/ 3 h 51"/>
                <a:gd name="T4" fmla="*/ 24 w 28"/>
                <a:gd name="T5" fmla="*/ 26 h 51"/>
                <a:gd name="T6" fmla="*/ 13 w 28"/>
                <a:gd name="T7" fmla="*/ 36 h 51"/>
                <a:gd name="T8" fmla="*/ 5 w 28"/>
                <a:gd name="T9" fmla="*/ 50 h 51"/>
                <a:gd name="T10" fmla="*/ 5 w 28"/>
                <a:gd name="T11" fmla="*/ 51 h 51"/>
                <a:gd name="T12" fmla="*/ 0 w 28"/>
                <a:gd name="T13" fmla="*/ 28 h 51"/>
                <a:gd name="T14" fmla="*/ 3 w 28"/>
                <a:gd name="T15" fmla="*/ 25 h 51"/>
                <a:gd name="T16" fmla="*/ 11 w 28"/>
                <a:gd name="T17" fmla="*/ 17 h 51"/>
                <a:gd name="T18" fmla="*/ 25 w 28"/>
                <a:gd name="T19" fmla="*/ 2 h 51"/>
                <a:gd name="T20" fmla="*/ 28 w 28"/>
                <a:gd name="T21" fmla="*/ 0 h 51"/>
                <a:gd name="T22" fmla="*/ 27 w 28"/>
                <a:gd name="T23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51">
                  <a:moveTo>
                    <a:pt x="27" y="3"/>
                  </a:moveTo>
                  <a:cubicBezTo>
                    <a:pt x="27" y="3"/>
                    <a:pt x="27" y="3"/>
                    <a:pt x="27" y="3"/>
                  </a:cubicBezTo>
                  <a:cubicBezTo>
                    <a:pt x="24" y="10"/>
                    <a:pt x="23" y="18"/>
                    <a:pt x="24" y="26"/>
                  </a:cubicBezTo>
                  <a:cubicBezTo>
                    <a:pt x="20" y="29"/>
                    <a:pt x="16" y="32"/>
                    <a:pt x="13" y="36"/>
                  </a:cubicBezTo>
                  <a:cubicBezTo>
                    <a:pt x="10" y="41"/>
                    <a:pt x="7" y="45"/>
                    <a:pt x="5" y="50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3" y="43"/>
                    <a:pt x="2" y="36"/>
                    <a:pt x="0" y="28"/>
                  </a:cubicBezTo>
                  <a:cubicBezTo>
                    <a:pt x="2" y="27"/>
                    <a:pt x="3" y="26"/>
                    <a:pt x="3" y="25"/>
                  </a:cubicBezTo>
                  <a:cubicBezTo>
                    <a:pt x="6" y="23"/>
                    <a:pt x="8" y="20"/>
                    <a:pt x="11" y="17"/>
                  </a:cubicBezTo>
                  <a:cubicBezTo>
                    <a:pt x="15" y="12"/>
                    <a:pt x="20" y="6"/>
                    <a:pt x="25" y="2"/>
                  </a:cubicBezTo>
                  <a:cubicBezTo>
                    <a:pt x="26" y="2"/>
                    <a:pt x="27" y="1"/>
                    <a:pt x="28" y="0"/>
                  </a:cubicBezTo>
                  <a:cubicBezTo>
                    <a:pt x="27" y="1"/>
                    <a:pt x="27" y="2"/>
                    <a:pt x="27" y="3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1" name="ïṧḻiďe">
              <a:extLst>
                <a:ext uri="{FF2B5EF4-FFF2-40B4-BE49-F238E27FC236}">
                  <a16:creationId xmlns:a16="http://schemas.microsoft.com/office/drawing/2014/main" id="{4C5518F2-D10A-4C43-B2A7-5FF2124533B6}"/>
                </a:ext>
              </a:extLst>
            </p:cNvPr>
            <p:cNvSpPr/>
            <p:nvPr/>
          </p:nvSpPr>
          <p:spPr bwMode="auto">
            <a:xfrm>
              <a:off x="6048638" y="2398410"/>
              <a:ext cx="97684" cy="131726"/>
            </a:xfrm>
            <a:custGeom>
              <a:avLst/>
              <a:gdLst>
                <a:gd name="T0" fmla="*/ 24 w 32"/>
                <a:gd name="T1" fmla="*/ 20 h 43"/>
                <a:gd name="T2" fmla="*/ 24 w 32"/>
                <a:gd name="T3" fmla="*/ 20 h 43"/>
                <a:gd name="T4" fmla="*/ 15 w 32"/>
                <a:gd name="T5" fmla="*/ 43 h 43"/>
                <a:gd name="T6" fmla="*/ 15 w 32"/>
                <a:gd name="T7" fmla="*/ 43 h 43"/>
                <a:gd name="T8" fmla="*/ 10 w 32"/>
                <a:gd name="T9" fmla="*/ 41 h 43"/>
                <a:gd name="T10" fmla="*/ 0 w 32"/>
                <a:gd name="T11" fmla="*/ 41 h 43"/>
                <a:gd name="T12" fmla="*/ 3 w 32"/>
                <a:gd name="T13" fmla="*/ 23 h 43"/>
                <a:gd name="T14" fmla="*/ 9 w 32"/>
                <a:gd name="T15" fmla="*/ 15 h 43"/>
                <a:gd name="T16" fmla="*/ 14 w 32"/>
                <a:gd name="T17" fmla="*/ 11 h 43"/>
                <a:gd name="T18" fmla="*/ 20 w 32"/>
                <a:gd name="T19" fmla="*/ 8 h 43"/>
                <a:gd name="T20" fmla="*/ 22 w 32"/>
                <a:gd name="T21" fmla="*/ 4 h 43"/>
                <a:gd name="T22" fmla="*/ 25 w 32"/>
                <a:gd name="T23" fmla="*/ 2 h 43"/>
                <a:gd name="T24" fmla="*/ 32 w 32"/>
                <a:gd name="T25" fmla="*/ 0 h 43"/>
                <a:gd name="T26" fmla="*/ 24 w 32"/>
                <a:gd name="T27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43">
                  <a:moveTo>
                    <a:pt x="24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1" y="27"/>
                    <a:pt x="18" y="35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3" y="42"/>
                    <a:pt x="12" y="41"/>
                    <a:pt x="10" y="41"/>
                  </a:cubicBezTo>
                  <a:cubicBezTo>
                    <a:pt x="6" y="40"/>
                    <a:pt x="3" y="40"/>
                    <a:pt x="0" y="41"/>
                  </a:cubicBezTo>
                  <a:cubicBezTo>
                    <a:pt x="0" y="34"/>
                    <a:pt x="1" y="28"/>
                    <a:pt x="3" y="23"/>
                  </a:cubicBezTo>
                  <a:cubicBezTo>
                    <a:pt x="5" y="20"/>
                    <a:pt x="7" y="17"/>
                    <a:pt x="9" y="15"/>
                  </a:cubicBezTo>
                  <a:cubicBezTo>
                    <a:pt x="11" y="14"/>
                    <a:pt x="12" y="12"/>
                    <a:pt x="14" y="11"/>
                  </a:cubicBezTo>
                  <a:cubicBezTo>
                    <a:pt x="16" y="10"/>
                    <a:pt x="18" y="9"/>
                    <a:pt x="20" y="8"/>
                  </a:cubicBezTo>
                  <a:cubicBezTo>
                    <a:pt x="22" y="7"/>
                    <a:pt x="22" y="6"/>
                    <a:pt x="22" y="4"/>
                  </a:cubicBezTo>
                  <a:cubicBezTo>
                    <a:pt x="23" y="3"/>
                    <a:pt x="24" y="3"/>
                    <a:pt x="25" y="2"/>
                  </a:cubicBezTo>
                  <a:cubicBezTo>
                    <a:pt x="27" y="2"/>
                    <a:pt x="30" y="1"/>
                    <a:pt x="32" y="0"/>
                  </a:cubicBezTo>
                  <a:cubicBezTo>
                    <a:pt x="29" y="7"/>
                    <a:pt x="26" y="14"/>
                    <a:pt x="24" y="20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2" name="iSļiḓé">
              <a:extLst>
                <a:ext uri="{FF2B5EF4-FFF2-40B4-BE49-F238E27FC236}">
                  <a16:creationId xmlns:a16="http://schemas.microsoft.com/office/drawing/2014/main" id="{C40D3CD4-2D24-488E-85F6-B449D423C8CD}"/>
                </a:ext>
              </a:extLst>
            </p:cNvPr>
            <p:cNvSpPr/>
            <p:nvPr/>
          </p:nvSpPr>
          <p:spPr bwMode="auto">
            <a:xfrm>
              <a:off x="6057519" y="2330327"/>
              <a:ext cx="513582" cy="562424"/>
            </a:xfrm>
            <a:custGeom>
              <a:avLst/>
              <a:gdLst>
                <a:gd name="T0" fmla="*/ 41 w 167"/>
                <a:gd name="T1" fmla="*/ 12 h 183"/>
                <a:gd name="T2" fmla="*/ 41 w 167"/>
                <a:gd name="T3" fmla="*/ 12 h 183"/>
                <a:gd name="T4" fmla="*/ 43 w 167"/>
                <a:gd name="T5" fmla="*/ 7 h 183"/>
                <a:gd name="T6" fmla="*/ 56 w 167"/>
                <a:gd name="T7" fmla="*/ 2 h 183"/>
                <a:gd name="T8" fmla="*/ 64 w 167"/>
                <a:gd name="T9" fmla="*/ 0 h 183"/>
                <a:gd name="T10" fmla="*/ 58 w 167"/>
                <a:gd name="T11" fmla="*/ 3 h 183"/>
                <a:gd name="T12" fmla="*/ 43 w 167"/>
                <a:gd name="T13" fmla="*/ 14 h 183"/>
                <a:gd name="T14" fmla="*/ 38 w 167"/>
                <a:gd name="T15" fmla="*/ 19 h 183"/>
                <a:gd name="T16" fmla="*/ 41 w 167"/>
                <a:gd name="T17" fmla="*/ 12 h 183"/>
                <a:gd name="T18" fmla="*/ 13 w 167"/>
                <a:gd name="T19" fmla="*/ 180 h 183"/>
                <a:gd name="T20" fmla="*/ 13 w 167"/>
                <a:gd name="T21" fmla="*/ 180 h 183"/>
                <a:gd name="T22" fmla="*/ 24 w 167"/>
                <a:gd name="T23" fmla="*/ 171 h 183"/>
                <a:gd name="T24" fmla="*/ 47 w 167"/>
                <a:gd name="T25" fmla="*/ 154 h 183"/>
                <a:gd name="T26" fmla="*/ 73 w 167"/>
                <a:gd name="T27" fmla="*/ 139 h 183"/>
                <a:gd name="T28" fmla="*/ 101 w 167"/>
                <a:gd name="T29" fmla="*/ 126 h 183"/>
                <a:gd name="T30" fmla="*/ 126 w 167"/>
                <a:gd name="T31" fmla="*/ 115 h 183"/>
                <a:gd name="T32" fmla="*/ 146 w 167"/>
                <a:gd name="T33" fmla="*/ 106 h 183"/>
                <a:gd name="T34" fmla="*/ 149 w 167"/>
                <a:gd name="T35" fmla="*/ 112 h 183"/>
                <a:gd name="T36" fmla="*/ 167 w 167"/>
                <a:gd name="T37" fmla="*/ 145 h 183"/>
                <a:gd name="T38" fmla="*/ 167 w 167"/>
                <a:gd name="T39" fmla="*/ 145 h 183"/>
                <a:gd name="T40" fmla="*/ 151 w 167"/>
                <a:gd name="T41" fmla="*/ 150 h 183"/>
                <a:gd name="T42" fmla="*/ 133 w 167"/>
                <a:gd name="T43" fmla="*/ 158 h 183"/>
                <a:gd name="T44" fmla="*/ 115 w 167"/>
                <a:gd name="T45" fmla="*/ 166 h 183"/>
                <a:gd name="T46" fmla="*/ 109 w 167"/>
                <a:gd name="T47" fmla="*/ 170 h 183"/>
                <a:gd name="T48" fmla="*/ 10 w 167"/>
                <a:gd name="T49" fmla="*/ 183 h 183"/>
                <a:gd name="T50" fmla="*/ 13 w 167"/>
                <a:gd name="T51" fmla="*/ 180 h 183"/>
                <a:gd name="T52" fmla="*/ 14 w 167"/>
                <a:gd name="T53" fmla="*/ 83 h 183"/>
                <a:gd name="T54" fmla="*/ 14 w 167"/>
                <a:gd name="T55" fmla="*/ 83 h 183"/>
                <a:gd name="T56" fmla="*/ 44 w 167"/>
                <a:gd name="T57" fmla="*/ 59 h 183"/>
                <a:gd name="T58" fmla="*/ 89 w 167"/>
                <a:gd name="T59" fmla="*/ 36 h 183"/>
                <a:gd name="T60" fmla="*/ 102 w 167"/>
                <a:gd name="T61" fmla="*/ 30 h 183"/>
                <a:gd name="T62" fmla="*/ 111 w 167"/>
                <a:gd name="T63" fmla="*/ 26 h 183"/>
                <a:gd name="T64" fmla="*/ 111 w 167"/>
                <a:gd name="T65" fmla="*/ 26 h 183"/>
                <a:gd name="T66" fmla="*/ 123 w 167"/>
                <a:gd name="T67" fmla="*/ 55 h 183"/>
                <a:gd name="T68" fmla="*/ 127 w 167"/>
                <a:gd name="T69" fmla="*/ 63 h 183"/>
                <a:gd name="T70" fmla="*/ 72 w 167"/>
                <a:gd name="T71" fmla="*/ 82 h 183"/>
                <a:gd name="T72" fmla="*/ 22 w 167"/>
                <a:gd name="T73" fmla="*/ 110 h 183"/>
                <a:gd name="T74" fmla="*/ 6 w 167"/>
                <a:gd name="T75" fmla="*/ 124 h 183"/>
                <a:gd name="T76" fmla="*/ 0 w 167"/>
                <a:gd name="T77" fmla="*/ 129 h 183"/>
                <a:gd name="T78" fmla="*/ 14 w 167"/>
                <a:gd name="T79" fmla="*/ 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" h="183">
                  <a:moveTo>
                    <a:pt x="41" y="12"/>
                  </a:moveTo>
                  <a:cubicBezTo>
                    <a:pt x="41" y="12"/>
                    <a:pt x="41" y="12"/>
                    <a:pt x="41" y="12"/>
                  </a:cubicBezTo>
                  <a:cubicBezTo>
                    <a:pt x="42" y="10"/>
                    <a:pt x="43" y="9"/>
                    <a:pt x="43" y="7"/>
                  </a:cubicBezTo>
                  <a:cubicBezTo>
                    <a:pt x="47" y="7"/>
                    <a:pt x="52" y="4"/>
                    <a:pt x="56" y="2"/>
                  </a:cubicBezTo>
                  <a:cubicBezTo>
                    <a:pt x="59" y="1"/>
                    <a:pt x="61" y="1"/>
                    <a:pt x="64" y="0"/>
                  </a:cubicBezTo>
                  <a:cubicBezTo>
                    <a:pt x="62" y="1"/>
                    <a:pt x="60" y="2"/>
                    <a:pt x="58" y="3"/>
                  </a:cubicBezTo>
                  <a:cubicBezTo>
                    <a:pt x="52" y="5"/>
                    <a:pt x="48" y="10"/>
                    <a:pt x="43" y="14"/>
                  </a:cubicBezTo>
                  <a:cubicBezTo>
                    <a:pt x="42" y="16"/>
                    <a:pt x="40" y="17"/>
                    <a:pt x="38" y="19"/>
                  </a:cubicBezTo>
                  <a:cubicBezTo>
                    <a:pt x="39" y="16"/>
                    <a:pt x="40" y="14"/>
                    <a:pt x="41" y="12"/>
                  </a:cubicBezTo>
                  <a:close/>
                  <a:moveTo>
                    <a:pt x="13" y="180"/>
                  </a:moveTo>
                  <a:cubicBezTo>
                    <a:pt x="13" y="180"/>
                    <a:pt x="13" y="180"/>
                    <a:pt x="13" y="180"/>
                  </a:cubicBezTo>
                  <a:cubicBezTo>
                    <a:pt x="17" y="177"/>
                    <a:pt x="20" y="174"/>
                    <a:pt x="24" y="171"/>
                  </a:cubicBezTo>
                  <a:cubicBezTo>
                    <a:pt x="32" y="165"/>
                    <a:pt x="39" y="159"/>
                    <a:pt x="47" y="154"/>
                  </a:cubicBezTo>
                  <a:cubicBezTo>
                    <a:pt x="56" y="148"/>
                    <a:pt x="65" y="144"/>
                    <a:pt x="73" y="139"/>
                  </a:cubicBezTo>
                  <a:cubicBezTo>
                    <a:pt x="82" y="134"/>
                    <a:pt x="92" y="130"/>
                    <a:pt x="101" y="126"/>
                  </a:cubicBezTo>
                  <a:cubicBezTo>
                    <a:pt x="109" y="122"/>
                    <a:pt x="118" y="118"/>
                    <a:pt x="126" y="115"/>
                  </a:cubicBezTo>
                  <a:cubicBezTo>
                    <a:pt x="133" y="112"/>
                    <a:pt x="140" y="110"/>
                    <a:pt x="146" y="106"/>
                  </a:cubicBezTo>
                  <a:cubicBezTo>
                    <a:pt x="147" y="108"/>
                    <a:pt x="148" y="110"/>
                    <a:pt x="149" y="112"/>
                  </a:cubicBezTo>
                  <a:cubicBezTo>
                    <a:pt x="155" y="123"/>
                    <a:pt x="160" y="134"/>
                    <a:pt x="167" y="145"/>
                  </a:cubicBezTo>
                  <a:cubicBezTo>
                    <a:pt x="167" y="145"/>
                    <a:pt x="167" y="145"/>
                    <a:pt x="167" y="145"/>
                  </a:cubicBezTo>
                  <a:cubicBezTo>
                    <a:pt x="161" y="146"/>
                    <a:pt x="156" y="148"/>
                    <a:pt x="151" y="150"/>
                  </a:cubicBezTo>
                  <a:cubicBezTo>
                    <a:pt x="145" y="153"/>
                    <a:pt x="139" y="155"/>
                    <a:pt x="133" y="158"/>
                  </a:cubicBezTo>
                  <a:cubicBezTo>
                    <a:pt x="126" y="160"/>
                    <a:pt x="120" y="163"/>
                    <a:pt x="115" y="166"/>
                  </a:cubicBezTo>
                  <a:cubicBezTo>
                    <a:pt x="113" y="168"/>
                    <a:pt x="111" y="169"/>
                    <a:pt x="109" y="170"/>
                  </a:cubicBezTo>
                  <a:cubicBezTo>
                    <a:pt x="76" y="173"/>
                    <a:pt x="43" y="177"/>
                    <a:pt x="10" y="183"/>
                  </a:cubicBezTo>
                  <a:cubicBezTo>
                    <a:pt x="11" y="182"/>
                    <a:pt x="12" y="181"/>
                    <a:pt x="13" y="180"/>
                  </a:cubicBezTo>
                  <a:close/>
                  <a:moveTo>
                    <a:pt x="14" y="83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22" y="74"/>
                    <a:pt x="33" y="66"/>
                    <a:pt x="44" y="59"/>
                  </a:cubicBezTo>
                  <a:cubicBezTo>
                    <a:pt x="58" y="49"/>
                    <a:pt x="73" y="42"/>
                    <a:pt x="89" y="36"/>
                  </a:cubicBezTo>
                  <a:cubicBezTo>
                    <a:pt x="93" y="34"/>
                    <a:pt x="97" y="32"/>
                    <a:pt x="102" y="30"/>
                  </a:cubicBezTo>
                  <a:cubicBezTo>
                    <a:pt x="105" y="29"/>
                    <a:pt x="108" y="27"/>
                    <a:pt x="111" y="26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5" y="35"/>
                    <a:pt x="119" y="45"/>
                    <a:pt x="123" y="55"/>
                  </a:cubicBezTo>
                  <a:cubicBezTo>
                    <a:pt x="125" y="57"/>
                    <a:pt x="126" y="60"/>
                    <a:pt x="127" y="63"/>
                  </a:cubicBezTo>
                  <a:cubicBezTo>
                    <a:pt x="109" y="70"/>
                    <a:pt x="91" y="75"/>
                    <a:pt x="72" y="82"/>
                  </a:cubicBezTo>
                  <a:cubicBezTo>
                    <a:pt x="54" y="89"/>
                    <a:pt x="38" y="99"/>
                    <a:pt x="22" y="110"/>
                  </a:cubicBezTo>
                  <a:cubicBezTo>
                    <a:pt x="16" y="114"/>
                    <a:pt x="11" y="119"/>
                    <a:pt x="6" y="124"/>
                  </a:cubicBezTo>
                  <a:cubicBezTo>
                    <a:pt x="4" y="125"/>
                    <a:pt x="2" y="127"/>
                    <a:pt x="0" y="129"/>
                  </a:cubicBezTo>
                  <a:cubicBezTo>
                    <a:pt x="4" y="114"/>
                    <a:pt x="9" y="99"/>
                    <a:pt x="14" y="83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3" name="iṩľíďé">
              <a:extLst>
                <a:ext uri="{FF2B5EF4-FFF2-40B4-BE49-F238E27FC236}">
                  <a16:creationId xmlns:a16="http://schemas.microsoft.com/office/drawing/2014/main" id="{1AEAAAE5-52CD-472B-9A2E-9AB695D41FFD}"/>
                </a:ext>
              </a:extLst>
            </p:cNvPr>
            <p:cNvSpPr/>
            <p:nvPr/>
          </p:nvSpPr>
          <p:spPr bwMode="auto">
            <a:xfrm>
              <a:off x="5983516" y="2546417"/>
              <a:ext cx="102125" cy="199809"/>
            </a:xfrm>
            <a:custGeom>
              <a:avLst/>
              <a:gdLst>
                <a:gd name="T0" fmla="*/ 13 w 33"/>
                <a:gd name="T1" fmla="*/ 65 h 65"/>
                <a:gd name="T2" fmla="*/ 13 w 33"/>
                <a:gd name="T3" fmla="*/ 65 h 65"/>
                <a:gd name="T4" fmla="*/ 0 w 33"/>
                <a:gd name="T5" fmla="*/ 29 h 65"/>
                <a:gd name="T6" fmla="*/ 5 w 33"/>
                <a:gd name="T7" fmla="*/ 18 h 65"/>
                <a:gd name="T8" fmla="*/ 10 w 33"/>
                <a:gd name="T9" fmla="*/ 10 h 65"/>
                <a:gd name="T10" fmla="*/ 13 w 33"/>
                <a:gd name="T11" fmla="*/ 7 h 65"/>
                <a:gd name="T12" fmla="*/ 15 w 33"/>
                <a:gd name="T13" fmla="*/ 5 h 65"/>
                <a:gd name="T14" fmla="*/ 16 w 33"/>
                <a:gd name="T15" fmla="*/ 5 h 65"/>
                <a:gd name="T16" fmla="*/ 17 w 33"/>
                <a:gd name="T17" fmla="*/ 4 h 65"/>
                <a:gd name="T18" fmla="*/ 19 w 33"/>
                <a:gd name="T19" fmla="*/ 2 h 65"/>
                <a:gd name="T20" fmla="*/ 20 w 33"/>
                <a:gd name="T21" fmla="*/ 1 h 65"/>
                <a:gd name="T22" fmla="*/ 21 w 33"/>
                <a:gd name="T23" fmla="*/ 1 h 65"/>
                <a:gd name="T24" fmla="*/ 23 w 33"/>
                <a:gd name="T25" fmla="*/ 0 h 65"/>
                <a:gd name="T26" fmla="*/ 24 w 33"/>
                <a:gd name="T27" fmla="*/ 0 h 65"/>
                <a:gd name="T28" fmla="*/ 26 w 33"/>
                <a:gd name="T29" fmla="*/ 0 h 65"/>
                <a:gd name="T30" fmla="*/ 27 w 33"/>
                <a:gd name="T31" fmla="*/ 0 h 65"/>
                <a:gd name="T32" fmla="*/ 27 w 33"/>
                <a:gd name="T33" fmla="*/ 0 h 65"/>
                <a:gd name="T34" fmla="*/ 27 w 33"/>
                <a:gd name="T35" fmla="*/ 0 h 65"/>
                <a:gd name="T36" fmla="*/ 29 w 33"/>
                <a:gd name="T37" fmla="*/ 1 h 65"/>
                <a:gd name="T38" fmla="*/ 30 w 33"/>
                <a:gd name="T39" fmla="*/ 1 h 65"/>
                <a:gd name="T40" fmla="*/ 31 w 33"/>
                <a:gd name="T41" fmla="*/ 1 h 65"/>
                <a:gd name="T42" fmla="*/ 33 w 33"/>
                <a:gd name="T43" fmla="*/ 3 h 65"/>
                <a:gd name="T44" fmla="*/ 33 w 33"/>
                <a:gd name="T45" fmla="*/ 3 h 65"/>
                <a:gd name="T46" fmla="*/ 31 w 33"/>
                <a:gd name="T47" fmla="*/ 9 h 65"/>
                <a:gd name="T48" fmla="*/ 19 w 33"/>
                <a:gd name="T49" fmla="*/ 7 h 65"/>
                <a:gd name="T50" fmla="*/ 18 w 33"/>
                <a:gd name="T51" fmla="*/ 10 h 65"/>
                <a:gd name="T52" fmla="*/ 19 w 33"/>
                <a:gd name="T53" fmla="*/ 12 h 65"/>
                <a:gd name="T54" fmla="*/ 22 w 33"/>
                <a:gd name="T55" fmla="*/ 12 h 65"/>
                <a:gd name="T56" fmla="*/ 22 w 33"/>
                <a:gd name="T57" fmla="*/ 11 h 65"/>
                <a:gd name="T58" fmla="*/ 26 w 33"/>
                <a:gd name="T59" fmla="*/ 12 h 65"/>
                <a:gd name="T60" fmla="*/ 29 w 33"/>
                <a:gd name="T61" fmla="*/ 14 h 65"/>
                <a:gd name="T62" fmla="*/ 24 w 33"/>
                <a:gd name="T63" fmla="*/ 30 h 65"/>
                <a:gd name="T64" fmla="*/ 13 w 33"/>
                <a:gd name="T6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65">
                  <a:moveTo>
                    <a:pt x="13" y="65"/>
                  </a:moveTo>
                  <a:cubicBezTo>
                    <a:pt x="13" y="65"/>
                    <a:pt x="13" y="65"/>
                    <a:pt x="13" y="65"/>
                  </a:cubicBezTo>
                  <a:cubicBezTo>
                    <a:pt x="9" y="53"/>
                    <a:pt x="4" y="41"/>
                    <a:pt x="0" y="29"/>
                  </a:cubicBezTo>
                  <a:cubicBezTo>
                    <a:pt x="1" y="26"/>
                    <a:pt x="3" y="22"/>
                    <a:pt x="5" y="18"/>
                  </a:cubicBezTo>
                  <a:cubicBezTo>
                    <a:pt x="7" y="15"/>
                    <a:pt x="8" y="12"/>
                    <a:pt x="10" y="10"/>
                  </a:cubicBezTo>
                  <a:cubicBezTo>
                    <a:pt x="11" y="9"/>
                    <a:pt x="12" y="8"/>
                    <a:pt x="13" y="7"/>
                  </a:cubicBezTo>
                  <a:cubicBezTo>
                    <a:pt x="14" y="6"/>
                    <a:pt x="14" y="6"/>
                    <a:pt x="15" y="5"/>
                  </a:cubicBezTo>
                  <a:cubicBezTo>
                    <a:pt x="15" y="5"/>
                    <a:pt x="15" y="5"/>
                    <a:pt x="16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3"/>
                    <a:pt x="19" y="2"/>
                    <a:pt x="19" y="2"/>
                  </a:cubicBezTo>
                  <a:cubicBezTo>
                    <a:pt x="20" y="2"/>
                    <a:pt x="20" y="1"/>
                    <a:pt x="20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2" y="1"/>
                    <a:pt x="22" y="1"/>
                    <a:pt x="23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9" y="1"/>
                    <a:pt x="29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2" y="2"/>
                    <a:pt x="32" y="2"/>
                    <a:pt x="33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5"/>
                    <a:pt x="32" y="7"/>
                    <a:pt x="31" y="9"/>
                  </a:cubicBezTo>
                  <a:cubicBezTo>
                    <a:pt x="28" y="7"/>
                    <a:pt x="22" y="6"/>
                    <a:pt x="19" y="7"/>
                  </a:cubicBezTo>
                  <a:cubicBezTo>
                    <a:pt x="19" y="8"/>
                    <a:pt x="18" y="9"/>
                    <a:pt x="18" y="10"/>
                  </a:cubicBezTo>
                  <a:cubicBezTo>
                    <a:pt x="18" y="11"/>
                    <a:pt x="18" y="11"/>
                    <a:pt x="19" y="12"/>
                  </a:cubicBezTo>
                  <a:cubicBezTo>
                    <a:pt x="19" y="14"/>
                    <a:pt x="21" y="14"/>
                    <a:pt x="22" y="12"/>
                  </a:cubicBezTo>
                  <a:cubicBezTo>
                    <a:pt x="22" y="12"/>
                    <a:pt x="22" y="12"/>
                    <a:pt x="22" y="11"/>
                  </a:cubicBezTo>
                  <a:cubicBezTo>
                    <a:pt x="23" y="11"/>
                    <a:pt x="25" y="12"/>
                    <a:pt x="26" y="12"/>
                  </a:cubicBezTo>
                  <a:cubicBezTo>
                    <a:pt x="27" y="13"/>
                    <a:pt x="28" y="13"/>
                    <a:pt x="29" y="14"/>
                  </a:cubicBezTo>
                  <a:cubicBezTo>
                    <a:pt x="27" y="19"/>
                    <a:pt x="26" y="25"/>
                    <a:pt x="24" y="30"/>
                  </a:cubicBezTo>
                  <a:cubicBezTo>
                    <a:pt x="20" y="42"/>
                    <a:pt x="16" y="54"/>
                    <a:pt x="13" y="65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4" name="ísḻîďê">
              <a:extLst>
                <a:ext uri="{FF2B5EF4-FFF2-40B4-BE49-F238E27FC236}">
                  <a16:creationId xmlns:a16="http://schemas.microsoft.com/office/drawing/2014/main" id="{A5A12BA1-A79B-47CF-B848-6CC902EFFCC3}"/>
                </a:ext>
              </a:extLst>
            </p:cNvPr>
            <p:cNvSpPr/>
            <p:nvPr/>
          </p:nvSpPr>
          <p:spPr bwMode="auto">
            <a:xfrm>
              <a:off x="5888792" y="2327367"/>
              <a:ext cx="82883" cy="233850"/>
            </a:xfrm>
            <a:custGeom>
              <a:avLst/>
              <a:gdLst>
                <a:gd name="T0" fmla="*/ 4 w 27"/>
                <a:gd name="T1" fmla="*/ 68 h 76"/>
                <a:gd name="T2" fmla="*/ 4 w 27"/>
                <a:gd name="T3" fmla="*/ 68 h 76"/>
                <a:gd name="T4" fmla="*/ 6 w 27"/>
                <a:gd name="T5" fmla="*/ 65 h 76"/>
                <a:gd name="T6" fmla="*/ 7 w 27"/>
                <a:gd name="T7" fmla="*/ 69 h 76"/>
                <a:gd name="T8" fmla="*/ 8 w 27"/>
                <a:gd name="T9" fmla="*/ 73 h 76"/>
                <a:gd name="T10" fmla="*/ 5 w 27"/>
                <a:gd name="T11" fmla="*/ 74 h 76"/>
                <a:gd name="T12" fmla="*/ 0 w 27"/>
                <a:gd name="T13" fmla="*/ 76 h 76"/>
                <a:gd name="T14" fmla="*/ 4 w 27"/>
                <a:gd name="T15" fmla="*/ 68 h 76"/>
                <a:gd name="T16" fmla="*/ 26 w 27"/>
                <a:gd name="T17" fmla="*/ 27 h 76"/>
                <a:gd name="T18" fmla="*/ 26 w 27"/>
                <a:gd name="T19" fmla="*/ 27 h 76"/>
                <a:gd name="T20" fmla="*/ 23 w 27"/>
                <a:gd name="T21" fmla="*/ 43 h 76"/>
                <a:gd name="T22" fmla="*/ 20 w 27"/>
                <a:gd name="T23" fmla="*/ 52 h 76"/>
                <a:gd name="T24" fmla="*/ 18 w 27"/>
                <a:gd name="T25" fmla="*/ 38 h 76"/>
                <a:gd name="T26" fmla="*/ 19 w 27"/>
                <a:gd name="T27" fmla="*/ 34 h 76"/>
                <a:gd name="T28" fmla="*/ 21 w 27"/>
                <a:gd name="T29" fmla="*/ 28 h 76"/>
                <a:gd name="T30" fmla="*/ 22 w 27"/>
                <a:gd name="T31" fmla="*/ 15 h 76"/>
                <a:gd name="T32" fmla="*/ 23 w 27"/>
                <a:gd name="T33" fmla="*/ 2 h 76"/>
                <a:gd name="T34" fmla="*/ 23 w 27"/>
                <a:gd name="T35" fmla="*/ 0 h 76"/>
                <a:gd name="T36" fmla="*/ 26 w 27"/>
                <a:gd name="T37" fmla="*/ 1 h 76"/>
                <a:gd name="T38" fmla="*/ 27 w 27"/>
                <a:gd name="T39" fmla="*/ 1 h 76"/>
                <a:gd name="T40" fmla="*/ 26 w 27"/>
                <a:gd name="T41" fmla="*/ 2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76">
                  <a:moveTo>
                    <a:pt x="4" y="68"/>
                  </a:moveTo>
                  <a:cubicBezTo>
                    <a:pt x="4" y="68"/>
                    <a:pt x="4" y="68"/>
                    <a:pt x="4" y="68"/>
                  </a:cubicBezTo>
                  <a:cubicBezTo>
                    <a:pt x="5" y="67"/>
                    <a:pt x="5" y="66"/>
                    <a:pt x="6" y="65"/>
                  </a:cubicBezTo>
                  <a:cubicBezTo>
                    <a:pt x="6" y="66"/>
                    <a:pt x="6" y="67"/>
                    <a:pt x="7" y="69"/>
                  </a:cubicBezTo>
                  <a:cubicBezTo>
                    <a:pt x="7" y="70"/>
                    <a:pt x="7" y="72"/>
                    <a:pt x="8" y="73"/>
                  </a:cubicBezTo>
                  <a:cubicBezTo>
                    <a:pt x="7" y="73"/>
                    <a:pt x="6" y="73"/>
                    <a:pt x="5" y="74"/>
                  </a:cubicBezTo>
                  <a:cubicBezTo>
                    <a:pt x="3" y="74"/>
                    <a:pt x="1" y="75"/>
                    <a:pt x="0" y="76"/>
                  </a:cubicBezTo>
                  <a:cubicBezTo>
                    <a:pt x="1" y="73"/>
                    <a:pt x="3" y="71"/>
                    <a:pt x="4" y="68"/>
                  </a:cubicBezTo>
                  <a:close/>
                  <a:moveTo>
                    <a:pt x="26" y="27"/>
                  </a:moveTo>
                  <a:cubicBezTo>
                    <a:pt x="26" y="27"/>
                    <a:pt x="26" y="27"/>
                    <a:pt x="26" y="27"/>
                  </a:cubicBezTo>
                  <a:cubicBezTo>
                    <a:pt x="25" y="33"/>
                    <a:pt x="24" y="38"/>
                    <a:pt x="23" y="43"/>
                  </a:cubicBezTo>
                  <a:cubicBezTo>
                    <a:pt x="22" y="46"/>
                    <a:pt x="21" y="49"/>
                    <a:pt x="20" y="52"/>
                  </a:cubicBezTo>
                  <a:cubicBezTo>
                    <a:pt x="19" y="48"/>
                    <a:pt x="18" y="43"/>
                    <a:pt x="18" y="38"/>
                  </a:cubicBezTo>
                  <a:cubicBezTo>
                    <a:pt x="18" y="37"/>
                    <a:pt x="19" y="35"/>
                    <a:pt x="19" y="34"/>
                  </a:cubicBezTo>
                  <a:cubicBezTo>
                    <a:pt x="20" y="32"/>
                    <a:pt x="20" y="30"/>
                    <a:pt x="21" y="28"/>
                  </a:cubicBezTo>
                  <a:cubicBezTo>
                    <a:pt x="22" y="23"/>
                    <a:pt x="22" y="19"/>
                    <a:pt x="22" y="15"/>
                  </a:cubicBezTo>
                  <a:cubicBezTo>
                    <a:pt x="23" y="11"/>
                    <a:pt x="23" y="7"/>
                    <a:pt x="23" y="2"/>
                  </a:cubicBezTo>
                  <a:cubicBezTo>
                    <a:pt x="23" y="2"/>
                    <a:pt x="23" y="1"/>
                    <a:pt x="23" y="0"/>
                  </a:cubicBezTo>
                  <a:cubicBezTo>
                    <a:pt x="24" y="0"/>
                    <a:pt x="25" y="1"/>
                    <a:pt x="26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9"/>
                    <a:pt x="27" y="18"/>
                    <a:pt x="26" y="27"/>
                  </a:cubicBezTo>
                  <a:close/>
                </a:path>
              </a:pathLst>
            </a:custGeom>
            <a:solidFill>
              <a:srgbClr val="6D2C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5" name="îSḻîḍê">
              <a:extLst>
                <a:ext uri="{FF2B5EF4-FFF2-40B4-BE49-F238E27FC236}">
                  <a16:creationId xmlns:a16="http://schemas.microsoft.com/office/drawing/2014/main" id="{CA907269-9F90-4302-A85D-102F3DD5716E}"/>
                </a:ext>
              </a:extLst>
            </p:cNvPr>
            <p:cNvSpPr/>
            <p:nvPr/>
          </p:nvSpPr>
          <p:spPr bwMode="auto">
            <a:xfrm>
              <a:off x="4774305" y="2595259"/>
              <a:ext cx="438098" cy="580184"/>
            </a:xfrm>
            <a:custGeom>
              <a:avLst/>
              <a:gdLst>
                <a:gd name="T0" fmla="*/ 92 w 142"/>
                <a:gd name="T1" fmla="*/ 179 h 189"/>
                <a:gd name="T2" fmla="*/ 92 w 142"/>
                <a:gd name="T3" fmla="*/ 179 h 189"/>
                <a:gd name="T4" fmla="*/ 92 w 142"/>
                <a:gd name="T5" fmla="*/ 179 h 189"/>
                <a:gd name="T6" fmla="*/ 94 w 142"/>
                <a:gd name="T7" fmla="*/ 172 h 189"/>
                <a:gd name="T8" fmla="*/ 99 w 142"/>
                <a:gd name="T9" fmla="*/ 158 h 189"/>
                <a:gd name="T10" fmla="*/ 108 w 142"/>
                <a:gd name="T11" fmla="*/ 143 h 189"/>
                <a:gd name="T12" fmla="*/ 113 w 142"/>
                <a:gd name="T13" fmla="*/ 137 h 189"/>
                <a:gd name="T14" fmla="*/ 118 w 142"/>
                <a:gd name="T15" fmla="*/ 130 h 189"/>
                <a:gd name="T16" fmla="*/ 119 w 142"/>
                <a:gd name="T17" fmla="*/ 130 h 189"/>
                <a:gd name="T18" fmla="*/ 136 w 142"/>
                <a:gd name="T19" fmla="*/ 130 h 189"/>
                <a:gd name="T20" fmla="*/ 137 w 142"/>
                <a:gd name="T21" fmla="*/ 131 h 189"/>
                <a:gd name="T22" fmla="*/ 138 w 142"/>
                <a:gd name="T23" fmla="*/ 133 h 189"/>
                <a:gd name="T24" fmla="*/ 142 w 142"/>
                <a:gd name="T25" fmla="*/ 139 h 189"/>
                <a:gd name="T26" fmla="*/ 142 w 142"/>
                <a:gd name="T27" fmla="*/ 139 h 189"/>
                <a:gd name="T28" fmla="*/ 135 w 142"/>
                <a:gd name="T29" fmla="*/ 144 h 189"/>
                <a:gd name="T30" fmla="*/ 120 w 142"/>
                <a:gd name="T31" fmla="*/ 158 h 189"/>
                <a:gd name="T32" fmla="*/ 108 w 142"/>
                <a:gd name="T33" fmla="*/ 189 h 189"/>
                <a:gd name="T34" fmla="*/ 91 w 142"/>
                <a:gd name="T35" fmla="*/ 185 h 189"/>
                <a:gd name="T36" fmla="*/ 92 w 142"/>
                <a:gd name="T37" fmla="*/ 179 h 189"/>
                <a:gd name="T38" fmla="*/ 83 w 142"/>
                <a:gd name="T39" fmla="*/ 0 h 189"/>
                <a:gd name="T40" fmla="*/ 85 w 142"/>
                <a:gd name="T41" fmla="*/ 12 h 189"/>
                <a:gd name="T42" fmla="*/ 86 w 142"/>
                <a:gd name="T43" fmla="*/ 18 h 189"/>
                <a:gd name="T44" fmla="*/ 78 w 142"/>
                <a:gd name="T45" fmla="*/ 22 h 189"/>
                <a:gd name="T46" fmla="*/ 67 w 142"/>
                <a:gd name="T47" fmla="*/ 30 h 189"/>
                <a:gd name="T48" fmla="*/ 49 w 142"/>
                <a:gd name="T49" fmla="*/ 48 h 189"/>
                <a:gd name="T50" fmla="*/ 18 w 142"/>
                <a:gd name="T51" fmla="*/ 92 h 189"/>
                <a:gd name="T52" fmla="*/ 12 w 142"/>
                <a:gd name="T53" fmla="*/ 109 h 189"/>
                <a:gd name="T54" fmla="*/ 10 w 142"/>
                <a:gd name="T55" fmla="*/ 110 h 189"/>
                <a:gd name="T56" fmla="*/ 10 w 142"/>
                <a:gd name="T57" fmla="*/ 110 h 189"/>
                <a:gd name="T58" fmla="*/ 3 w 142"/>
                <a:gd name="T59" fmla="*/ 94 h 189"/>
                <a:gd name="T60" fmla="*/ 0 w 142"/>
                <a:gd name="T61" fmla="*/ 83 h 189"/>
                <a:gd name="T62" fmla="*/ 31 w 142"/>
                <a:gd name="T63" fmla="*/ 37 h 189"/>
                <a:gd name="T64" fmla="*/ 50 w 142"/>
                <a:gd name="T65" fmla="*/ 18 h 189"/>
                <a:gd name="T66" fmla="*/ 73 w 142"/>
                <a:gd name="T67" fmla="*/ 6 h 189"/>
                <a:gd name="T68" fmla="*/ 81 w 142"/>
                <a:gd name="T69" fmla="*/ 1 h 189"/>
                <a:gd name="T70" fmla="*/ 81 w 142"/>
                <a:gd name="T71" fmla="*/ 0 h 189"/>
                <a:gd name="T72" fmla="*/ 83 w 142"/>
                <a:gd name="T73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2" h="189">
                  <a:moveTo>
                    <a:pt x="92" y="179"/>
                  </a:moveTo>
                  <a:cubicBezTo>
                    <a:pt x="92" y="179"/>
                    <a:pt x="92" y="179"/>
                    <a:pt x="92" y="179"/>
                  </a:cubicBezTo>
                  <a:moveTo>
                    <a:pt x="92" y="179"/>
                  </a:moveTo>
                  <a:cubicBezTo>
                    <a:pt x="93" y="177"/>
                    <a:pt x="93" y="174"/>
                    <a:pt x="94" y="172"/>
                  </a:cubicBezTo>
                  <a:cubicBezTo>
                    <a:pt x="95" y="167"/>
                    <a:pt x="97" y="163"/>
                    <a:pt x="99" y="158"/>
                  </a:cubicBezTo>
                  <a:cubicBezTo>
                    <a:pt x="102" y="153"/>
                    <a:pt x="105" y="148"/>
                    <a:pt x="108" y="143"/>
                  </a:cubicBezTo>
                  <a:cubicBezTo>
                    <a:pt x="110" y="141"/>
                    <a:pt x="111" y="139"/>
                    <a:pt x="113" y="137"/>
                  </a:cubicBezTo>
                  <a:cubicBezTo>
                    <a:pt x="115" y="135"/>
                    <a:pt x="117" y="133"/>
                    <a:pt x="118" y="130"/>
                  </a:cubicBezTo>
                  <a:cubicBezTo>
                    <a:pt x="119" y="130"/>
                    <a:pt x="119" y="130"/>
                    <a:pt x="119" y="130"/>
                  </a:cubicBezTo>
                  <a:cubicBezTo>
                    <a:pt x="124" y="130"/>
                    <a:pt x="130" y="130"/>
                    <a:pt x="136" y="130"/>
                  </a:cubicBezTo>
                  <a:cubicBezTo>
                    <a:pt x="136" y="130"/>
                    <a:pt x="137" y="131"/>
                    <a:pt x="137" y="131"/>
                  </a:cubicBezTo>
                  <a:cubicBezTo>
                    <a:pt x="138" y="132"/>
                    <a:pt x="138" y="132"/>
                    <a:pt x="138" y="133"/>
                  </a:cubicBezTo>
                  <a:cubicBezTo>
                    <a:pt x="139" y="134"/>
                    <a:pt x="141" y="137"/>
                    <a:pt x="142" y="139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0" y="141"/>
                    <a:pt x="138" y="142"/>
                    <a:pt x="135" y="144"/>
                  </a:cubicBezTo>
                  <a:cubicBezTo>
                    <a:pt x="130" y="148"/>
                    <a:pt x="125" y="153"/>
                    <a:pt x="120" y="158"/>
                  </a:cubicBezTo>
                  <a:cubicBezTo>
                    <a:pt x="113" y="167"/>
                    <a:pt x="107" y="178"/>
                    <a:pt x="108" y="189"/>
                  </a:cubicBezTo>
                  <a:cubicBezTo>
                    <a:pt x="102" y="188"/>
                    <a:pt x="96" y="187"/>
                    <a:pt x="91" y="185"/>
                  </a:cubicBezTo>
                  <a:cubicBezTo>
                    <a:pt x="92" y="183"/>
                    <a:pt x="92" y="181"/>
                    <a:pt x="92" y="179"/>
                  </a:cubicBezTo>
                  <a:close/>
                  <a:moveTo>
                    <a:pt x="83" y="0"/>
                  </a:moveTo>
                  <a:cubicBezTo>
                    <a:pt x="83" y="4"/>
                    <a:pt x="84" y="8"/>
                    <a:pt x="85" y="12"/>
                  </a:cubicBezTo>
                  <a:cubicBezTo>
                    <a:pt x="85" y="14"/>
                    <a:pt x="85" y="16"/>
                    <a:pt x="86" y="18"/>
                  </a:cubicBezTo>
                  <a:cubicBezTo>
                    <a:pt x="83" y="19"/>
                    <a:pt x="80" y="20"/>
                    <a:pt x="78" y="22"/>
                  </a:cubicBezTo>
                  <a:cubicBezTo>
                    <a:pt x="74" y="24"/>
                    <a:pt x="70" y="27"/>
                    <a:pt x="67" y="30"/>
                  </a:cubicBezTo>
                  <a:cubicBezTo>
                    <a:pt x="61" y="36"/>
                    <a:pt x="56" y="42"/>
                    <a:pt x="49" y="48"/>
                  </a:cubicBezTo>
                  <a:cubicBezTo>
                    <a:pt x="37" y="61"/>
                    <a:pt x="26" y="76"/>
                    <a:pt x="18" y="92"/>
                  </a:cubicBezTo>
                  <a:cubicBezTo>
                    <a:pt x="16" y="98"/>
                    <a:pt x="14" y="103"/>
                    <a:pt x="12" y="109"/>
                  </a:cubicBezTo>
                  <a:cubicBezTo>
                    <a:pt x="11" y="109"/>
                    <a:pt x="10" y="109"/>
                    <a:pt x="10" y="110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7" y="105"/>
                    <a:pt x="5" y="100"/>
                    <a:pt x="3" y="94"/>
                  </a:cubicBezTo>
                  <a:cubicBezTo>
                    <a:pt x="2" y="90"/>
                    <a:pt x="1" y="87"/>
                    <a:pt x="0" y="83"/>
                  </a:cubicBezTo>
                  <a:cubicBezTo>
                    <a:pt x="9" y="67"/>
                    <a:pt x="19" y="51"/>
                    <a:pt x="31" y="37"/>
                  </a:cubicBezTo>
                  <a:cubicBezTo>
                    <a:pt x="37" y="29"/>
                    <a:pt x="43" y="22"/>
                    <a:pt x="50" y="18"/>
                  </a:cubicBezTo>
                  <a:cubicBezTo>
                    <a:pt x="58" y="13"/>
                    <a:pt x="66" y="9"/>
                    <a:pt x="73" y="6"/>
                  </a:cubicBezTo>
                  <a:cubicBezTo>
                    <a:pt x="76" y="4"/>
                    <a:pt x="78" y="2"/>
                    <a:pt x="81" y="1"/>
                  </a:cubicBezTo>
                  <a:cubicBezTo>
                    <a:pt x="81" y="1"/>
                    <a:pt x="81" y="0"/>
                    <a:pt x="81" y="0"/>
                  </a:cubicBezTo>
                  <a:lnTo>
                    <a:pt x="83" y="0"/>
                  </a:lnTo>
                  <a:close/>
                </a:path>
              </a:pathLst>
            </a:custGeom>
            <a:solidFill>
              <a:srgbClr val="FFDD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6" name="íşlïdè">
              <a:extLst>
                <a:ext uri="{FF2B5EF4-FFF2-40B4-BE49-F238E27FC236}">
                  <a16:creationId xmlns:a16="http://schemas.microsoft.com/office/drawing/2014/main" id="{F8B0C7EA-74A8-4200-A1A0-8BACE6763B87}"/>
                </a:ext>
              </a:extLst>
            </p:cNvPr>
            <p:cNvSpPr/>
            <p:nvPr/>
          </p:nvSpPr>
          <p:spPr bwMode="auto">
            <a:xfrm>
              <a:off x="4811306" y="2666302"/>
              <a:ext cx="304893" cy="491381"/>
            </a:xfrm>
            <a:custGeom>
              <a:avLst/>
              <a:gdLst>
                <a:gd name="T0" fmla="*/ 40 w 99"/>
                <a:gd name="T1" fmla="*/ 141 h 160"/>
                <a:gd name="T2" fmla="*/ 38 w 99"/>
                <a:gd name="T3" fmla="*/ 140 h 160"/>
                <a:gd name="T4" fmla="*/ 32 w 99"/>
                <a:gd name="T5" fmla="*/ 134 h 160"/>
                <a:gd name="T6" fmla="*/ 29 w 99"/>
                <a:gd name="T7" fmla="*/ 127 h 160"/>
                <a:gd name="T8" fmla="*/ 19 w 99"/>
                <a:gd name="T9" fmla="*/ 98 h 160"/>
                <a:gd name="T10" fmla="*/ 17 w 99"/>
                <a:gd name="T11" fmla="*/ 91 h 160"/>
                <a:gd name="T12" fmla="*/ 79 w 99"/>
                <a:gd name="T13" fmla="*/ 119 h 160"/>
                <a:gd name="T14" fmla="*/ 79 w 99"/>
                <a:gd name="T15" fmla="*/ 104 h 160"/>
                <a:gd name="T16" fmla="*/ 79 w 99"/>
                <a:gd name="T17" fmla="*/ 104 h 160"/>
                <a:gd name="T18" fmla="*/ 99 w 99"/>
                <a:gd name="T19" fmla="*/ 107 h 160"/>
                <a:gd name="T20" fmla="*/ 92 w 99"/>
                <a:gd name="T21" fmla="*/ 117 h 160"/>
                <a:gd name="T22" fmla="*/ 78 w 99"/>
                <a:gd name="T23" fmla="*/ 147 h 160"/>
                <a:gd name="T24" fmla="*/ 75 w 99"/>
                <a:gd name="T25" fmla="*/ 160 h 160"/>
                <a:gd name="T26" fmla="*/ 40 w 99"/>
                <a:gd name="T27" fmla="*/ 141 h 160"/>
                <a:gd name="T28" fmla="*/ 57 w 99"/>
                <a:gd name="T29" fmla="*/ 43 h 160"/>
                <a:gd name="T30" fmla="*/ 61 w 99"/>
                <a:gd name="T31" fmla="*/ 32 h 160"/>
                <a:gd name="T32" fmla="*/ 61 w 99"/>
                <a:gd name="T33" fmla="*/ 38 h 160"/>
                <a:gd name="T34" fmla="*/ 1 w 99"/>
                <a:gd name="T35" fmla="*/ 90 h 160"/>
                <a:gd name="T36" fmla="*/ 14 w 99"/>
                <a:gd name="T37" fmla="*/ 64 h 160"/>
                <a:gd name="T38" fmla="*/ 48 w 99"/>
                <a:gd name="T39" fmla="*/ 23 h 160"/>
                <a:gd name="T40" fmla="*/ 72 w 99"/>
                <a:gd name="T41" fmla="*/ 2 h 160"/>
                <a:gd name="T42" fmla="*/ 75 w 99"/>
                <a:gd name="T43" fmla="*/ 1 h 160"/>
                <a:gd name="T44" fmla="*/ 67 w 99"/>
                <a:gd name="T45" fmla="*/ 27 h 160"/>
                <a:gd name="T46" fmla="*/ 61 w 99"/>
                <a:gd name="T47" fmla="*/ 26 h 160"/>
                <a:gd name="T48" fmla="*/ 50 w 99"/>
                <a:gd name="T49" fmla="*/ 29 h 160"/>
                <a:gd name="T50" fmla="*/ 51 w 99"/>
                <a:gd name="T51" fmla="*/ 50 h 160"/>
                <a:gd name="T52" fmla="*/ 49 w 99"/>
                <a:gd name="T53" fmla="*/ 51 h 160"/>
                <a:gd name="T54" fmla="*/ 38 w 99"/>
                <a:gd name="T55" fmla="*/ 59 h 160"/>
                <a:gd name="T56" fmla="*/ 30 w 99"/>
                <a:gd name="T57" fmla="*/ 61 h 160"/>
                <a:gd name="T58" fmla="*/ 28 w 99"/>
                <a:gd name="T59" fmla="*/ 64 h 160"/>
                <a:gd name="T60" fmla="*/ 30 w 99"/>
                <a:gd name="T61" fmla="*/ 66 h 160"/>
                <a:gd name="T62" fmla="*/ 66 w 99"/>
                <a:gd name="T63" fmla="*/ 81 h 160"/>
                <a:gd name="T64" fmla="*/ 62 w 99"/>
                <a:gd name="T65" fmla="*/ 82 h 160"/>
                <a:gd name="T66" fmla="*/ 50 w 99"/>
                <a:gd name="T67" fmla="*/ 85 h 160"/>
                <a:gd name="T68" fmla="*/ 49 w 99"/>
                <a:gd name="T69" fmla="*/ 91 h 160"/>
                <a:gd name="T70" fmla="*/ 53 w 99"/>
                <a:gd name="T71" fmla="*/ 92 h 160"/>
                <a:gd name="T72" fmla="*/ 65 w 99"/>
                <a:gd name="T73" fmla="*/ 99 h 160"/>
                <a:gd name="T74" fmla="*/ 74 w 99"/>
                <a:gd name="T75" fmla="*/ 107 h 160"/>
                <a:gd name="T76" fmla="*/ 48 w 99"/>
                <a:gd name="T77" fmla="*/ 99 h 160"/>
                <a:gd name="T78" fmla="*/ 11 w 99"/>
                <a:gd name="T79" fmla="*/ 86 h 160"/>
                <a:gd name="T80" fmla="*/ 14 w 99"/>
                <a:gd name="T81" fmla="*/ 98 h 160"/>
                <a:gd name="T82" fmla="*/ 24 w 99"/>
                <a:gd name="T83" fmla="*/ 126 h 160"/>
                <a:gd name="T84" fmla="*/ 17 w 99"/>
                <a:gd name="T85" fmla="*/ 118 h 160"/>
                <a:gd name="T86" fmla="*/ 0 w 99"/>
                <a:gd name="T87" fmla="*/ 9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60">
                  <a:moveTo>
                    <a:pt x="40" y="141"/>
                  </a:moveTo>
                  <a:cubicBezTo>
                    <a:pt x="40" y="141"/>
                    <a:pt x="40" y="141"/>
                    <a:pt x="40" y="141"/>
                  </a:cubicBezTo>
                  <a:cubicBezTo>
                    <a:pt x="39" y="141"/>
                    <a:pt x="39" y="140"/>
                    <a:pt x="39" y="140"/>
                  </a:cubicBezTo>
                  <a:cubicBezTo>
                    <a:pt x="39" y="140"/>
                    <a:pt x="38" y="140"/>
                    <a:pt x="38" y="140"/>
                  </a:cubicBezTo>
                  <a:cubicBezTo>
                    <a:pt x="37" y="139"/>
                    <a:pt x="37" y="139"/>
                    <a:pt x="36" y="138"/>
                  </a:cubicBezTo>
                  <a:cubicBezTo>
                    <a:pt x="35" y="136"/>
                    <a:pt x="33" y="135"/>
                    <a:pt x="32" y="134"/>
                  </a:cubicBezTo>
                  <a:cubicBezTo>
                    <a:pt x="31" y="133"/>
                    <a:pt x="31" y="133"/>
                    <a:pt x="30" y="132"/>
                  </a:cubicBezTo>
                  <a:cubicBezTo>
                    <a:pt x="30" y="130"/>
                    <a:pt x="29" y="129"/>
                    <a:pt x="29" y="127"/>
                  </a:cubicBezTo>
                  <a:cubicBezTo>
                    <a:pt x="27" y="123"/>
                    <a:pt x="25" y="118"/>
                    <a:pt x="24" y="113"/>
                  </a:cubicBezTo>
                  <a:cubicBezTo>
                    <a:pt x="22" y="108"/>
                    <a:pt x="21" y="103"/>
                    <a:pt x="19" y="98"/>
                  </a:cubicBezTo>
                  <a:cubicBezTo>
                    <a:pt x="18" y="96"/>
                    <a:pt x="18" y="94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26" y="95"/>
                    <a:pt x="35" y="100"/>
                    <a:pt x="45" y="104"/>
                  </a:cubicBezTo>
                  <a:cubicBezTo>
                    <a:pt x="56" y="109"/>
                    <a:pt x="67" y="114"/>
                    <a:pt x="79" y="119"/>
                  </a:cubicBezTo>
                  <a:cubicBezTo>
                    <a:pt x="80" y="120"/>
                    <a:pt x="83" y="118"/>
                    <a:pt x="82" y="116"/>
                  </a:cubicBezTo>
                  <a:cubicBezTo>
                    <a:pt x="81" y="112"/>
                    <a:pt x="80" y="109"/>
                    <a:pt x="79" y="104"/>
                  </a:cubicBezTo>
                  <a:cubicBezTo>
                    <a:pt x="78" y="104"/>
                    <a:pt x="78" y="104"/>
                    <a:pt x="78" y="103"/>
                  </a:cubicBezTo>
                  <a:cubicBezTo>
                    <a:pt x="78" y="103"/>
                    <a:pt x="79" y="103"/>
                    <a:pt x="79" y="104"/>
                  </a:cubicBezTo>
                  <a:cubicBezTo>
                    <a:pt x="84" y="105"/>
                    <a:pt x="89" y="106"/>
                    <a:pt x="94" y="107"/>
                  </a:cubicBezTo>
                  <a:cubicBezTo>
                    <a:pt x="96" y="107"/>
                    <a:pt x="97" y="107"/>
                    <a:pt x="99" y="107"/>
                  </a:cubicBezTo>
                  <a:cubicBezTo>
                    <a:pt x="98" y="108"/>
                    <a:pt x="97" y="109"/>
                    <a:pt x="96" y="110"/>
                  </a:cubicBezTo>
                  <a:cubicBezTo>
                    <a:pt x="95" y="112"/>
                    <a:pt x="93" y="115"/>
                    <a:pt x="92" y="117"/>
                  </a:cubicBezTo>
                  <a:cubicBezTo>
                    <a:pt x="88" y="122"/>
                    <a:pt x="85" y="127"/>
                    <a:pt x="83" y="132"/>
                  </a:cubicBezTo>
                  <a:cubicBezTo>
                    <a:pt x="80" y="136"/>
                    <a:pt x="79" y="142"/>
                    <a:pt x="78" y="147"/>
                  </a:cubicBezTo>
                  <a:cubicBezTo>
                    <a:pt x="77" y="149"/>
                    <a:pt x="77" y="151"/>
                    <a:pt x="76" y="154"/>
                  </a:cubicBezTo>
                  <a:cubicBezTo>
                    <a:pt x="76" y="156"/>
                    <a:pt x="75" y="158"/>
                    <a:pt x="75" y="160"/>
                  </a:cubicBezTo>
                  <a:cubicBezTo>
                    <a:pt x="69" y="158"/>
                    <a:pt x="64" y="156"/>
                    <a:pt x="58" y="153"/>
                  </a:cubicBezTo>
                  <a:cubicBezTo>
                    <a:pt x="52" y="149"/>
                    <a:pt x="46" y="145"/>
                    <a:pt x="40" y="141"/>
                  </a:cubicBezTo>
                  <a:close/>
                  <a:moveTo>
                    <a:pt x="57" y="43"/>
                  </a:moveTo>
                  <a:cubicBezTo>
                    <a:pt x="57" y="43"/>
                    <a:pt x="57" y="43"/>
                    <a:pt x="57" y="43"/>
                  </a:cubicBezTo>
                  <a:cubicBezTo>
                    <a:pt x="57" y="39"/>
                    <a:pt x="55" y="35"/>
                    <a:pt x="55" y="30"/>
                  </a:cubicBezTo>
                  <a:cubicBezTo>
                    <a:pt x="57" y="31"/>
                    <a:pt x="59" y="31"/>
                    <a:pt x="61" y="32"/>
                  </a:cubicBezTo>
                  <a:cubicBezTo>
                    <a:pt x="62" y="32"/>
                    <a:pt x="63" y="32"/>
                    <a:pt x="64" y="32"/>
                  </a:cubicBezTo>
                  <a:cubicBezTo>
                    <a:pt x="63" y="34"/>
                    <a:pt x="62" y="36"/>
                    <a:pt x="61" y="38"/>
                  </a:cubicBezTo>
                  <a:cubicBezTo>
                    <a:pt x="59" y="40"/>
                    <a:pt x="58" y="41"/>
                    <a:pt x="57" y="43"/>
                  </a:cubicBezTo>
                  <a:close/>
                  <a:moveTo>
                    <a:pt x="1" y="90"/>
                  </a:moveTo>
                  <a:cubicBezTo>
                    <a:pt x="1" y="90"/>
                    <a:pt x="2" y="90"/>
                    <a:pt x="2" y="89"/>
                  </a:cubicBezTo>
                  <a:cubicBezTo>
                    <a:pt x="6" y="81"/>
                    <a:pt x="10" y="72"/>
                    <a:pt x="14" y="64"/>
                  </a:cubicBezTo>
                  <a:cubicBezTo>
                    <a:pt x="19" y="57"/>
                    <a:pt x="24" y="49"/>
                    <a:pt x="30" y="42"/>
                  </a:cubicBezTo>
                  <a:cubicBezTo>
                    <a:pt x="35" y="35"/>
                    <a:pt x="42" y="29"/>
                    <a:pt x="48" y="23"/>
                  </a:cubicBezTo>
                  <a:cubicBezTo>
                    <a:pt x="54" y="17"/>
                    <a:pt x="59" y="10"/>
                    <a:pt x="66" y="5"/>
                  </a:cubicBezTo>
                  <a:cubicBezTo>
                    <a:pt x="68" y="4"/>
                    <a:pt x="70" y="3"/>
                    <a:pt x="72" y="2"/>
                  </a:cubicBezTo>
                  <a:cubicBezTo>
                    <a:pt x="73" y="1"/>
                    <a:pt x="74" y="1"/>
                    <a:pt x="75" y="0"/>
                  </a:cubicBezTo>
                  <a:cubicBezTo>
                    <a:pt x="75" y="0"/>
                    <a:pt x="75" y="0"/>
                    <a:pt x="75" y="1"/>
                  </a:cubicBezTo>
                  <a:cubicBezTo>
                    <a:pt x="75" y="2"/>
                    <a:pt x="76" y="4"/>
                    <a:pt x="76" y="6"/>
                  </a:cubicBezTo>
                  <a:cubicBezTo>
                    <a:pt x="73" y="13"/>
                    <a:pt x="70" y="20"/>
                    <a:pt x="67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4" y="27"/>
                    <a:pt x="63" y="27"/>
                    <a:pt x="61" y="26"/>
                  </a:cubicBezTo>
                  <a:cubicBezTo>
                    <a:pt x="58" y="26"/>
                    <a:pt x="55" y="25"/>
                    <a:pt x="51" y="26"/>
                  </a:cubicBezTo>
                  <a:cubicBezTo>
                    <a:pt x="50" y="26"/>
                    <a:pt x="50" y="28"/>
                    <a:pt x="50" y="29"/>
                  </a:cubicBezTo>
                  <a:cubicBezTo>
                    <a:pt x="51" y="35"/>
                    <a:pt x="53" y="41"/>
                    <a:pt x="54" y="48"/>
                  </a:cubicBezTo>
                  <a:cubicBezTo>
                    <a:pt x="53" y="48"/>
                    <a:pt x="52" y="49"/>
                    <a:pt x="51" y="50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49" y="51"/>
                  </a:cubicBezTo>
                  <a:cubicBezTo>
                    <a:pt x="49" y="52"/>
                    <a:pt x="48" y="52"/>
                    <a:pt x="47" y="53"/>
                  </a:cubicBezTo>
                  <a:cubicBezTo>
                    <a:pt x="44" y="55"/>
                    <a:pt x="41" y="57"/>
                    <a:pt x="38" y="59"/>
                  </a:cubicBezTo>
                  <a:cubicBezTo>
                    <a:pt x="36" y="60"/>
                    <a:pt x="34" y="61"/>
                    <a:pt x="31" y="62"/>
                  </a:cubicBezTo>
                  <a:cubicBezTo>
                    <a:pt x="31" y="62"/>
                    <a:pt x="31" y="62"/>
                    <a:pt x="30" y="61"/>
                  </a:cubicBezTo>
                  <a:cubicBezTo>
                    <a:pt x="29" y="61"/>
                    <a:pt x="27" y="63"/>
                    <a:pt x="28" y="64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7" y="65"/>
                    <a:pt x="28" y="66"/>
                    <a:pt x="29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5" y="72"/>
                    <a:pt x="43" y="75"/>
                    <a:pt x="50" y="77"/>
                  </a:cubicBezTo>
                  <a:cubicBezTo>
                    <a:pt x="55" y="79"/>
                    <a:pt x="60" y="79"/>
                    <a:pt x="66" y="81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64" y="81"/>
                    <a:pt x="63" y="81"/>
                    <a:pt x="62" y="82"/>
                  </a:cubicBezTo>
                  <a:cubicBezTo>
                    <a:pt x="59" y="82"/>
                    <a:pt x="57" y="83"/>
                    <a:pt x="55" y="83"/>
                  </a:cubicBezTo>
                  <a:cubicBezTo>
                    <a:pt x="53" y="83"/>
                    <a:pt x="52" y="84"/>
                    <a:pt x="50" y="85"/>
                  </a:cubicBezTo>
                  <a:cubicBezTo>
                    <a:pt x="49" y="85"/>
                    <a:pt x="48" y="86"/>
                    <a:pt x="47" y="88"/>
                  </a:cubicBezTo>
                  <a:cubicBezTo>
                    <a:pt x="46" y="89"/>
                    <a:pt x="48" y="91"/>
                    <a:pt x="49" y="91"/>
                  </a:cubicBezTo>
                  <a:cubicBezTo>
                    <a:pt x="50" y="91"/>
                    <a:pt x="51" y="92"/>
                    <a:pt x="53" y="92"/>
                  </a:cubicBezTo>
                  <a:cubicBezTo>
                    <a:pt x="53" y="92"/>
                    <a:pt x="53" y="92"/>
                    <a:pt x="53" y="92"/>
                  </a:cubicBezTo>
                  <a:cubicBezTo>
                    <a:pt x="55" y="93"/>
                    <a:pt x="56" y="94"/>
                    <a:pt x="57" y="95"/>
                  </a:cubicBezTo>
                  <a:cubicBezTo>
                    <a:pt x="60" y="97"/>
                    <a:pt x="62" y="98"/>
                    <a:pt x="65" y="99"/>
                  </a:cubicBezTo>
                  <a:cubicBezTo>
                    <a:pt x="67" y="99"/>
                    <a:pt x="69" y="100"/>
                    <a:pt x="71" y="101"/>
                  </a:cubicBezTo>
                  <a:cubicBezTo>
                    <a:pt x="72" y="103"/>
                    <a:pt x="73" y="104"/>
                    <a:pt x="74" y="107"/>
                  </a:cubicBezTo>
                  <a:cubicBezTo>
                    <a:pt x="74" y="108"/>
                    <a:pt x="75" y="110"/>
                    <a:pt x="76" y="112"/>
                  </a:cubicBezTo>
                  <a:cubicBezTo>
                    <a:pt x="66" y="108"/>
                    <a:pt x="57" y="103"/>
                    <a:pt x="48" y="99"/>
                  </a:cubicBezTo>
                  <a:cubicBezTo>
                    <a:pt x="36" y="94"/>
                    <a:pt x="26" y="89"/>
                    <a:pt x="15" y="84"/>
                  </a:cubicBezTo>
                  <a:cubicBezTo>
                    <a:pt x="13" y="83"/>
                    <a:pt x="11" y="84"/>
                    <a:pt x="11" y="86"/>
                  </a:cubicBezTo>
                  <a:cubicBezTo>
                    <a:pt x="11" y="88"/>
                    <a:pt x="12" y="89"/>
                    <a:pt x="12" y="91"/>
                  </a:cubicBezTo>
                  <a:cubicBezTo>
                    <a:pt x="13" y="94"/>
                    <a:pt x="14" y="96"/>
                    <a:pt x="14" y="98"/>
                  </a:cubicBezTo>
                  <a:cubicBezTo>
                    <a:pt x="16" y="103"/>
                    <a:pt x="18" y="109"/>
                    <a:pt x="19" y="113"/>
                  </a:cubicBezTo>
                  <a:cubicBezTo>
                    <a:pt x="21" y="118"/>
                    <a:pt x="22" y="122"/>
                    <a:pt x="24" y="126"/>
                  </a:cubicBezTo>
                  <a:cubicBezTo>
                    <a:pt x="22" y="124"/>
                    <a:pt x="21" y="123"/>
                    <a:pt x="19" y="121"/>
                  </a:cubicBezTo>
                  <a:cubicBezTo>
                    <a:pt x="20" y="120"/>
                    <a:pt x="18" y="118"/>
                    <a:pt x="17" y="118"/>
                  </a:cubicBezTo>
                  <a:cubicBezTo>
                    <a:pt x="14" y="115"/>
                    <a:pt x="13" y="113"/>
                    <a:pt x="11" y="110"/>
                  </a:cubicBezTo>
                  <a:cubicBezTo>
                    <a:pt x="6" y="104"/>
                    <a:pt x="3" y="98"/>
                    <a:pt x="0" y="91"/>
                  </a:cubicBezTo>
                  <a:lnTo>
                    <a:pt x="1" y="90"/>
                  </a:ln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7" name="iSḻíḓe">
              <a:extLst>
                <a:ext uri="{FF2B5EF4-FFF2-40B4-BE49-F238E27FC236}">
                  <a16:creationId xmlns:a16="http://schemas.microsoft.com/office/drawing/2014/main" id="{B6BA9C89-45AF-4577-AC24-DD050C3B3F11}"/>
                </a:ext>
              </a:extLst>
            </p:cNvPr>
            <p:cNvSpPr/>
            <p:nvPr/>
          </p:nvSpPr>
          <p:spPr bwMode="auto">
            <a:xfrm>
              <a:off x="4605578" y="2966754"/>
              <a:ext cx="74003" cy="74003"/>
            </a:xfrm>
            <a:custGeom>
              <a:avLst/>
              <a:gdLst>
                <a:gd name="T0" fmla="*/ 7 w 24"/>
                <a:gd name="T1" fmla="*/ 0 h 24"/>
                <a:gd name="T2" fmla="*/ 7 w 24"/>
                <a:gd name="T3" fmla="*/ 0 h 24"/>
                <a:gd name="T4" fmla="*/ 10 w 24"/>
                <a:gd name="T5" fmla="*/ 7 h 24"/>
                <a:gd name="T6" fmla="*/ 24 w 24"/>
                <a:gd name="T7" fmla="*/ 23 h 24"/>
                <a:gd name="T8" fmla="*/ 22 w 24"/>
                <a:gd name="T9" fmla="*/ 24 h 24"/>
                <a:gd name="T10" fmla="*/ 12 w 24"/>
                <a:gd name="T11" fmla="*/ 16 h 24"/>
                <a:gd name="T12" fmla="*/ 0 w 24"/>
                <a:gd name="T13" fmla="*/ 7 h 24"/>
                <a:gd name="T14" fmla="*/ 4 w 24"/>
                <a:gd name="T15" fmla="*/ 3 h 24"/>
                <a:gd name="T16" fmla="*/ 7 w 24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8" y="2"/>
                    <a:pt x="9" y="5"/>
                    <a:pt x="10" y="7"/>
                  </a:cubicBezTo>
                  <a:cubicBezTo>
                    <a:pt x="13" y="13"/>
                    <a:pt x="18" y="20"/>
                    <a:pt x="24" y="23"/>
                  </a:cubicBezTo>
                  <a:cubicBezTo>
                    <a:pt x="23" y="23"/>
                    <a:pt x="23" y="24"/>
                    <a:pt x="22" y="24"/>
                  </a:cubicBezTo>
                  <a:cubicBezTo>
                    <a:pt x="19" y="21"/>
                    <a:pt x="15" y="19"/>
                    <a:pt x="12" y="16"/>
                  </a:cubicBezTo>
                  <a:cubicBezTo>
                    <a:pt x="8" y="14"/>
                    <a:pt x="4" y="11"/>
                    <a:pt x="0" y="7"/>
                  </a:cubicBezTo>
                  <a:cubicBezTo>
                    <a:pt x="2" y="6"/>
                    <a:pt x="3" y="5"/>
                    <a:pt x="4" y="3"/>
                  </a:cubicBezTo>
                  <a:cubicBezTo>
                    <a:pt x="6" y="2"/>
                    <a:pt x="6" y="1"/>
                    <a:pt x="7" y="0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8" name="ïšľîďê">
              <a:extLst>
                <a:ext uri="{FF2B5EF4-FFF2-40B4-BE49-F238E27FC236}">
                  <a16:creationId xmlns:a16="http://schemas.microsoft.com/office/drawing/2014/main" id="{E0055C81-4BDC-436E-95BC-08245D78F278}"/>
                </a:ext>
              </a:extLst>
            </p:cNvPr>
            <p:cNvSpPr/>
            <p:nvPr/>
          </p:nvSpPr>
          <p:spPr bwMode="auto">
            <a:xfrm>
              <a:off x="4645539" y="2932713"/>
              <a:ext cx="196849" cy="119886"/>
            </a:xfrm>
            <a:custGeom>
              <a:avLst/>
              <a:gdLst>
                <a:gd name="T0" fmla="*/ 64 w 64"/>
                <a:gd name="T1" fmla="*/ 37 h 39"/>
                <a:gd name="T2" fmla="*/ 64 w 64"/>
                <a:gd name="T3" fmla="*/ 37 h 39"/>
                <a:gd name="T4" fmla="*/ 62 w 64"/>
                <a:gd name="T5" fmla="*/ 37 h 39"/>
                <a:gd name="T6" fmla="*/ 56 w 64"/>
                <a:gd name="T7" fmla="*/ 39 h 39"/>
                <a:gd name="T8" fmla="*/ 53 w 64"/>
                <a:gd name="T9" fmla="*/ 38 h 39"/>
                <a:gd name="T10" fmla="*/ 27 w 64"/>
                <a:gd name="T11" fmla="*/ 31 h 39"/>
                <a:gd name="T12" fmla="*/ 15 w 64"/>
                <a:gd name="T13" fmla="*/ 32 h 39"/>
                <a:gd name="T14" fmla="*/ 14 w 64"/>
                <a:gd name="T15" fmla="*/ 30 h 39"/>
                <a:gd name="T16" fmla="*/ 3 w 64"/>
                <a:gd name="T17" fmla="*/ 16 h 39"/>
                <a:gd name="T18" fmla="*/ 0 w 64"/>
                <a:gd name="T19" fmla="*/ 7 h 39"/>
                <a:gd name="T20" fmla="*/ 2 w 64"/>
                <a:gd name="T21" fmla="*/ 0 h 39"/>
                <a:gd name="T22" fmla="*/ 15 w 64"/>
                <a:gd name="T23" fmla="*/ 10 h 39"/>
                <a:gd name="T24" fmla="*/ 35 w 64"/>
                <a:gd name="T25" fmla="*/ 17 h 39"/>
                <a:gd name="T26" fmla="*/ 44 w 64"/>
                <a:gd name="T27" fmla="*/ 16 h 39"/>
                <a:gd name="T28" fmla="*/ 49 w 64"/>
                <a:gd name="T29" fmla="*/ 13 h 39"/>
                <a:gd name="T30" fmla="*/ 64 w 64"/>
                <a:gd name="T31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39">
                  <a:moveTo>
                    <a:pt x="64" y="37"/>
                  </a:moveTo>
                  <a:cubicBezTo>
                    <a:pt x="64" y="37"/>
                    <a:pt x="64" y="37"/>
                    <a:pt x="64" y="37"/>
                  </a:cubicBezTo>
                  <a:cubicBezTo>
                    <a:pt x="63" y="37"/>
                    <a:pt x="63" y="37"/>
                    <a:pt x="62" y="37"/>
                  </a:cubicBezTo>
                  <a:cubicBezTo>
                    <a:pt x="60" y="38"/>
                    <a:pt x="58" y="39"/>
                    <a:pt x="56" y="39"/>
                  </a:cubicBezTo>
                  <a:cubicBezTo>
                    <a:pt x="55" y="39"/>
                    <a:pt x="54" y="38"/>
                    <a:pt x="53" y="38"/>
                  </a:cubicBezTo>
                  <a:cubicBezTo>
                    <a:pt x="45" y="34"/>
                    <a:pt x="36" y="32"/>
                    <a:pt x="27" y="31"/>
                  </a:cubicBezTo>
                  <a:cubicBezTo>
                    <a:pt x="23" y="31"/>
                    <a:pt x="19" y="31"/>
                    <a:pt x="15" y="32"/>
                  </a:cubicBezTo>
                  <a:cubicBezTo>
                    <a:pt x="15" y="31"/>
                    <a:pt x="15" y="31"/>
                    <a:pt x="14" y="30"/>
                  </a:cubicBezTo>
                  <a:cubicBezTo>
                    <a:pt x="10" y="26"/>
                    <a:pt x="6" y="22"/>
                    <a:pt x="3" y="16"/>
                  </a:cubicBezTo>
                  <a:cubicBezTo>
                    <a:pt x="2" y="13"/>
                    <a:pt x="1" y="10"/>
                    <a:pt x="0" y="7"/>
                  </a:cubicBezTo>
                  <a:cubicBezTo>
                    <a:pt x="0" y="5"/>
                    <a:pt x="1" y="2"/>
                    <a:pt x="2" y="0"/>
                  </a:cubicBezTo>
                  <a:cubicBezTo>
                    <a:pt x="6" y="4"/>
                    <a:pt x="10" y="8"/>
                    <a:pt x="15" y="10"/>
                  </a:cubicBezTo>
                  <a:cubicBezTo>
                    <a:pt x="21" y="14"/>
                    <a:pt x="28" y="16"/>
                    <a:pt x="35" y="17"/>
                  </a:cubicBezTo>
                  <a:cubicBezTo>
                    <a:pt x="37" y="17"/>
                    <a:pt x="41" y="17"/>
                    <a:pt x="44" y="16"/>
                  </a:cubicBezTo>
                  <a:cubicBezTo>
                    <a:pt x="46" y="15"/>
                    <a:pt x="47" y="14"/>
                    <a:pt x="49" y="13"/>
                  </a:cubicBezTo>
                  <a:cubicBezTo>
                    <a:pt x="53" y="22"/>
                    <a:pt x="58" y="29"/>
                    <a:pt x="64" y="37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9" name="ïšļîḋê">
              <a:extLst>
                <a:ext uri="{FF2B5EF4-FFF2-40B4-BE49-F238E27FC236}">
                  <a16:creationId xmlns:a16="http://schemas.microsoft.com/office/drawing/2014/main" id="{2368D7ED-F668-443D-B0EA-7F6784BE565D}"/>
                </a:ext>
              </a:extLst>
            </p:cNvPr>
            <p:cNvSpPr/>
            <p:nvPr/>
          </p:nvSpPr>
          <p:spPr bwMode="auto">
            <a:xfrm>
              <a:off x="5051077" y="2435412"/>
              <a:ext cx="501742" cy="414417"/>
            </a:xfrm>
            <a:custGeom>
              <a:avLst/>
              <a:gdLst>
                <a:gd name="T0" fmla="*/ 63 w 163"/>
                <a:gd name="T1" fmla="*/ 32 h 135"/>
                <a:gd name="T2" fmla="*/ 63 w 163"/>
                <a:gd name="T3" fmla="*/ 32 h 135"/>
                <a:gd name="T4" fmla="*/ 63 w 163"/>
                <a:gd name="T5" fmla="*/ 31 h 135"/>
                <a:gd name="T6" fmla="*/ 68 w 163"/>
                <a:gd name="T7" fmla="*/ 25 h 135"/>
                <a:gd name="T8" fmla="*/ 76 w 163"/>
                <a:gd name="T9" fmla="*/ 29 h 135"/>
                <a:gd name="T10" fmla="*/ 76 w 163"/>
                <a:gd name="T11" fmla="*/ 31 h 135"/>
                <a:gd name="T12" fmla="*/ 63 w 163"/>
                <a:gd name="T13" fmla="*/ 32 h 135"/>
                <a:gd name="T14" fmla="*/ 153 w 163"/>
                <a:gd name="T15" fmla="*/ 135 h 135"/>
                <a:gd name="T16" fmla="*/ 153 w 163"/>
                <a:gd name="T17" fmla="*/ 135 h 135"/>
                <a:gd name="T18" fmla="*/ 149 w 163"/>
                <a:gd name="T19" fmla="*/ 133 h 135"/>
                <a:gd name="T20" fmla="*/ 141 w 163"/>
                <a:gd name="T21" fmla="*/ 130 h 135"/>
                <a:gd name="T22" fmla="*/ 133 w 163"/>
                <a:gd name="T23" fmla="*/ 130 h 135"/>
                <a:gd name="T24" fmla="*/ 135 w 163"/>
                <a:gd name="T25" fmla="*/ 125 h 135"/>
                <a:gd name="T26" fmla="*/ 139 w 163"/>
                <a:gd name="T27" fmla="*/ 113 h 135"/>
                <a:gd name="T28" fmla="*/ 140 w 163"/>
                <a:gd name="T29" fmla="*/ 106 h 135"/>
                <a:gd name="T30" fmla="*/ 140 w 163"/>
                <a:gd name="T31" fmla="*/ 103 h 135"/>
                <a:gd name="T32" fmla="*/ 163 w 163"/>
                <a:gd name="T33" fmla="*/ 105 h 135"/>
                <a:gd name="T34" fmla="*/ 162 w 163"/>
                <a:gd name="T35" fmla="*/ 110 h 135"/>
                <a:gd name="T36" fmla="*/ 159 w 163"/>
                <a:gd name="T37" fmla="*/ 121 h 135"/>
                <a:gd name="T38" fmla="*/ 158 w 163"/>
                <a:gd name="T39" fmla="*/ 124 h 135"/>
                <a:gd name="T40" fmla="*/ 158 w 163"/>
                <a:gd name="T41" fmla="*/ 124 h 135"/>
                <a:gd name="T42" fmla="*/ 157 w 163"/>
                <a:gd name="T43" fmla="*/ 125 h 135"/>
                <a:gd name="T44" fmla="*/ 155 w 163"/>
                <a:gd name="T45" fmla="*/ 130 h 135"/>
                <a:gd name="T46" fmla="*/ 153 w 163"/>
                <a:gd name="T47" fmla="*/ 135 h 135"/>
                <a:gd name="T48" fmla="*/ 107 w 163"/>
                <a:gd name="T49" fmla="*/ 5 h 135"/>
                <a:gd name="T50" fmla="*/ 107 w 163"/>
                <a:gd name="T51" fmla="*/ 5 h 135"/>
                <a:gd name="T52" fmla="*/ 105 w 163"/>
                <a:gd name="T53" fmla="*/ 9 h 135"/>
                <a:gd name="T54" fmla="*/ 97 w 163"/>
                <a:gd name="T55" fmla="*/ 8 h 135"/>
                <a:gd name="T56" fmla="*/ 85 w 163"/>
                <a:gd name="T57" fmla="*/ 11 h 135"/>
                <a:gd name="T58" fmla="*/ 78 w 163"/>
                <a:gd name="T59" fmla="*/ 21 h 135"/>
                <a:gd name="T60" fmla="*/ 78 w 163"/>
                <a:gd name="T61" fmla="*/ 24 h 135"/>
                <a:gd name="T62" fmla="*/ 78 w 163"/>
                <a:gd name="T63" fmla="*/ 24 h 135"/>
                <a:gd name="T64" fmla="*/ 66 w 163"/>
                <a:gd name="T65" fmla="*/ 20 h 135"/>
                <a:gd name="T66" fmla="*/ 57 w 163"/>
                <a:gd name="T67" fmla="*/ 33 h 135"/>
                <a:gd name="T68" fmla="*/ 38 w 163"/>
                <a:gd name="T69" fmla="*/ 40 h 135"/>
                <a:gd name="T70" fmla="*/ 33 w 163"/>
                <a:gd name="T71" fmla="*/ 37 h 135"/>
                <a:gd name="T72" fmla="*/ 20 w 163"/>
                <a:gd name="T73" fmla="*/ 27 h 135"/>
                <a:gd name="T74" fmla="*/ 16 w 163"/>
                <a:gd name="T75" fmla="*/ 27 h 135"/>
                <a:gd name="T76" fmla="*/ 5 w 163"/>
                <a:gd name="T77" fmla="*/ 45 h 135"/>
                <a:gd name="T78" fmla="*/ 1 w 163"/>
                <a:gd name="T79" fmla="*/ 56 h 135"/>
                <a:gd name="T80" fmla="*/ 0 w 163"/>
                <a:gd name="T81" fmla="*/ 41 h 135"/>
                <a:gd name="T82" fmla="*/ 0 w 163"/>
                <a:gd name="T83" fmla="*/ 22 h 135"/>
                <a:gd name="T84" fmla="*/ 7 w 163"/>
                <a:gd name="T85" fmla="*/ 19 h 135"/>
                <a:gd name="T86" fmla="*/ 20 w 163"/>
                <a:gd name="T87" fmla="*/ 12 h 135"/>
                <a:gd name="T88" fmla="*/ 47 w 163"/>
                <a:gd name="T89" fmla="*/ 5 h 135"/>
                <a:gd name="T90" fmla="*/ 106 w 163"/>
                <a:gd name="T91" fmla="*/ 1 h 135"/>
                <a:gd name="T92" fmla="*/ 108 w 163"/>
                <a:gd name="T93" fmla="*/ 2 h 135"/>
                <a:gd name="T94" fmla="*/ 107 w 163"/>
                <a:gd name="T95" fmla="*/ 5 h 135"/>
                <a:gd name="T96" fmla="*/ 18 w 163"/>
                <a:gd name="T97" fmla="*/ 32 h 135"/>
                <a:gd name="T98" fmla="*/ 18 w 163"/>
                <a:gd name="T99" fmla="*/ 32 h 135"/>
                <a:gd name="T100" fmla="*/ 30 w 163"/>
                <a:gd name="T101" fmla="*/ 42 h 135"/>
                <a:gd name="T102" fmla="*/ 31 w 163"/>
                <a:gd name="T103" fmla="*/ 43 h 135"/>
                <a:gd name="T104" fmla="*/ 14 w 163"/>
                <a:gd name="T105" fmla="*/ 55 h 135"/>
                <a:gd name="T106" fmla="*/ 3 w 163"/>
                <a:gd name="T107" fmla="*/ 70 h 135"/>
                <a:gd name="T108" fmla="*/ 2 w 163"/>
                <a:gd name="T109" fmla="*/ 64 h 135"/>
                <a:gd name="T110" fmla="*/ 9 w 163"/>
                <a:gd name="T111" fmla="*/ 48 h 135"/>
                <a:gd name="T112" fmla="*/ 18 w 163"/>
                <a:gd name="T113" fmla="*/ 3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3" h="135">
                  <a:moveTo>
                    <a:pt x="63" y="32"/>
                  </a:moveTo>
                  <a:cubicBezTo>
                    <a:pt x="63" y="32"/>
                    <a:pt x="63" y="32"/>
                    <a:pt x="63" y="32"/>
                  </a:cubicBezTo>
                  <a:cubicBezTo>
                    <a:pt x="63" y="32"/>
                    <a:pt x="63" y="32"/>
                    <a:pt x="63" y="31"/>
                  </a:cubicBezTo>
                  <a:cubicBezTo>
                    <a:pt x="64" y="29"/>
                    <a:pt x="66" y="26"/>
                    <a:pt x="68" y="25"/>
                  </a:cubicBezTo>
                  <a:cubicBezTo>
                    <a:pt x="71" y="24"/>
                    <a:pt x="74" y="28"/>
                    <a:pt x="76" y="29"/>
                  </a:cubicBezTo>
                  <a:cubicBezTo>
                    <a:pt x="76" y="30"/>
                    <a:pt x="76" y="30"/>
                    <a:pt x="76" y="31"/>
                  </a:cubicBezTo>
                  <a:cubicBezTo>
                    <a:pt x="72" y="30"/>
                    <a:pt x="67" y="31"/>
                    <a:pt x="63" y="32"/>
                  </a:cubicBezTo>
                  <a:close/>
                  <a:moveTo>
                    <a:pt x="153" y="135"/>
                  </a:moveTo>
                  <a:cubicBezTo>
                    <a:pt x="153" y="135"/>
                    <a:pt x="153" y="135"/>
                    <a:pt x="153" y="135"/>
                  </a:cubicBezTo>
                  <a:cubicBezTo>
                    <a:pt x="151" y="134"/>
                    <a:pt x="150" y="133"/>
                    <a:pt x="149" y="133"/>
                  </a:cubicBezTo>
                  <a:cubicBezTo>
                    <a:pt x="146" y="132"/>
                    <a:pt x="144" y="131"/>
                    <a:pt x="141" y="130"/>
                  </a:cubicBezTo>
                  <a:cubicBezTo>
                    <a:pt x="138" y="130"/>
                    <a:pt x="135" y="130"/>
                    <a:pt x="133" y="130"/>
                  </a:cubicBezTo>
                  <a:cubicBezTo>
                    <a:pt x="133" y="129"/>
                    <a:pt x="134" y="127"/>
                    <a:pt x="135" y="125"/>
                  </a:cubicBezTo>
                  <a:cubicBezTo>
                    <a:pt x="136" y="121"/>
                    <a:pt x="138" y="117"/>
                    <a:pt x="139" y="113"/>
                  </a:cubicBezTo>
                  <a:cubicBezTo>
                    <a:pt x="139" y="110"/>
                    <a:pt x="140" y="108"/>
                    <a:pt x="140" y="106"/>
                  </a:cubicBezTo>
                  <a:cubicBezTo>
                    <a:pt x="140" y="105"/>
                    <a:pt x="140" y="104"/>
                    <a:pt x="140" y="103"/>
                  </a:cubicBezTo>
                  <a:cubicBezTo>
                    <a:pt x="147" y="105"/>
                    <a:pt x="155" y="106"/>
                    <a:pt x="163" y="105"/>
                  </a:cubicBezTo>
                  <a:cubicBezTo>
                    <a:pt x="162" y="107"/>
                    <a:pt x="162" y="109"/>
                    <a:pt x="162" y="110"/>
                  </a:cubicBezTo>
                  <a:cubicBezTo>
                    <a:pt x="161" y="114"/>
                    <a:pt x="160" y="117"/>
                    <a:pt x="159" y="121"/>
                  </a:cubicBezTo>
                  <a:cubicBezTo>
                    <a:pt x="159" y="122"/>
                    <a:pt x="159" y="123"/>
                    <a:pt x="158" y="124"/>
                  </a:cubicBezTo>
                  <a:cubicBezTo>
                    <a:pt x="158" y="124"/>
                    <a:pt x="158" y="124"/>
                    <a:pt x="158" y="124"/>
                  </a:cubicBezTo>
                  <a:cubicBezTo>
                    <a:pt x="158" y="125"/>
                    <a:pt x="158" y="125"/>
                    <a:pt x="157" y="125"/>
                  </a:cubicBezTo>
                  <a:cubicBezTo>
                    <a:pt x="157" y="127"/>
                    <a:pt x="156" y="129"/>
                    <a:pt x="155" y="130"/>
                  </a:cubicBezTo>
                  <a:cubicBezTo>
                    <a:pt x="154" y="132"/>
                    <a:pt x="153" y="133"/>
                    <a:pt x="153" y="135"/>
                  </a:cubicBezTo>
                  <a:close/>
                  <a:moveTo>
                    <a:pt x="107" y="5"/>
                  </a:moveTo>
                  <a:cubicBezTo>
                    <a:pt x="107" y="5"/>
                    <a:pt x="107" y="5"/>
                    <a:pt x="107" y="5"/>
                  </a:cubicBezTo>
                  <a:cubicBezTo>
                    <a:pt x="106" y="6"/>
                    <a:pt x="106" y="8"/>
                    <a:pt x="105" y="9"/>
                  </a:cubicBezTo>
                  <a:cubicBezTo>
                    <a:pt x="102" y="8"/>
                    <a:pt x="99" y="8"/>
                    <a:pt x="97" y="8"/>
                  </a:cubicBezTo>
                  <a:cubicBezTo>
                    <a:pt x="93" y="8"/>
                    <a:pt x="88" y="9"/>
                    <a:pt x="85" y="11"/>
                  </a:cubicBezTo>
                  <a:cubicBezTo>
                    <a:pt x="82" y="13"/>
                    <a:pt x="79" y="17"/>
                    <a:pt x="78" y="21"/>
                  </a:cubicBezTo>
                  <a:cubicBezTo>
                    <a:pt x="78" y="22"/>
                    <a:pt x="78" y="23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5" y="21"/>
                    <a:pt x="71" y="18"/>
                    <a:pt x="66" y="20"/>
                  </a:cubicBezTo>
                  <a:cubicBezTo>
                    <a:pt x="61" y="21"/>
                    <a:pt x="59" y="28"/>
                    <a:pt x="57" y="33"/>
                  </a:cubicBezTo>
                  <a:cubicBezTo>
                    <a:pt x="51" y="35"/>
                    <a:pt x="44" y="37"/>
                    <a:pt x="38" y="40"/>
                  </a:cubicBezTo>
                  <a:cubicBezTo>
                    <a:pt x="36" y="39"/>
                    <a:pt x="35" y="38"/>
                    <a:pt x="33" y="37"/>
                  </a:cubicBezTo>
                  <a:cubicBezTo>
                    <a:pt x="28" y="34"/>
                    <a:pt x="24" y="31"/>
                    <a:pt x="20" y="27"/>
                  </a:cubicBezTo>
                  <a:cubicBezTo>
                    <a:pt x="19" y="26"/>
                    <a:pt x="17" y="26"/>
                    <a:pt x="16" y="27"/>
                  </a:cubicBezTo>
                  <a:cubicBezTo>
                    <a:pt x="11" y="32"/>
                    <a:pt x="7" y="38"/>
                    <a:pt x="5" y="45"/>
                  </a:cubicBezTo>
                  <a:cubicBezTo>
                    <a:pt x="3" y="49"/>
                    <a:pt x="2" y="52"/>
                    <a:pt x="1" y="56"/>
                  </a:cubicBezTo>
                  <a:cubicBezTo>
                    <a:pt x="1" y="51"/>
                    <a:pt x="0" y="46"/>
                    <a:pt x="0" y="41"/>
                  </a:cubicBezTo>
                  <a:cubicBezTo>
                    <a:pt x="0" y="35"/>
                    <a:pt x="0" y="29"/>
                    <a:pt x="0" y="22"/>
                  </a:cubicBezTo>
                  <a:cubicBezTo>
                    <a:pt x="2" y="21"/>
                    <a:pt x="4" y="20"/>
                    <a:pt x="7" y="19"/>
                  </a:cubicBezTo>
                  <a:cubicBezTo>
                    <a:pt x="11" y="16"/>
                    <a:pt x="15" y="14"/>
                    <a:pt x="20" y="12"/>
                  </a:cubicBezTo>
                  <a:cubicBezTo>
                    <a:pt x="28" y="8"/>
                    <a:pt x="38" y="6"/>
                    <a:pt x="47" y="5"/>
                  </a:cubicBezTo>
                  <a:cubicBezTo>
                    <a:pt x="67" y="3"/>
                    <a:pt x="86" y="0"/>
                    <a:pt x="106" y="1"/>
                  </a:cubicBezTo>
                  <a:cubicBezTo>
                    <a:pt x="107" y="1"/>
                    <a:pt x="108" y="1"/>
                    <a:pt x="108" y="2"/>
                  </a:cubicBezTo>
                  <a:cubicBezTo>
                    <a:pt x="108" y="3"/>
                    <a:pt x="107" y="4"/>
                    <a:pt x="107" y="5"/>
                  </a:cubicBezTo>
                  <a:close/>
                  <a:moveTo>
                    <a:pt x="18" y="32"/>
                  </a:moveTo>
                  <a:cubicBezTo>
                    <a:pt x="18" y="32"/>
                    <a:pt x="18" y="32"/>
                    <a:pt x="18" y="32"/>
                  </a:cubicBezTo>
                  <a:cubicBezTo>
                    <a:pt x="22" y="36"/>
                    <a:pt x="26" y="39"/>
                    <a:pt x="30" y="42"/>
                  </a:cubicBezTo>
                  <a:cubicBezTo>
                    <a:pt x="30" y="42"/>
                    <a:pt x="31" y="42"/>
                    <a:pt x="31" y="43"/>
                  </a:cubicBezTo>
                  <a:cubicBezTo>
                    <a:pt x="26" y="46"/>
                    <a:pt x="20" y="50"/>
                    <a:pt x="14" y="55"/>
                  </a:cubicBezTo>
                  <a:cubicBezTo>
                    <a:pt x="10" y="60"/>
                    <a:pt x="6" y="65"/>
                    <a:pt x="3" y="70"/>
                  </a:cubicBezTo>
                  <a:cubicBezTo>
                    <a:pt x="3" y="68"/>
                    <a:pt x="2" y="66"/>
                    <a:pt x="2" y="64"/>
                  </a:cubicBezTo>
                  <a:cubicBezTo>
                    <a:pt x="5" y="59"/>
                    <a:pt x="7" y="53"/>
                    <a:pt x="9" y="48"/>
                  </a:cubicBezTo>
                  <a:cubicBezTo>
                    <a:pt x="11" y="42"/>
                    <a:pt x="14" y="37"/>
                    <a:pt x="18" y="32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0" name="ísḻiḍê">
              <a:extLst>
                <a:ext uri="{FF2B5EF4-FFF2-40B4-BE49-F238E27FC236}">
                  <a16:creationId xmlns:a16="http://schemas.microsoft.com/office/drawing/2014/main" id="{CFA6D635-33A5-44DC-935F-6DC61AC802D0}"/>
                </a:ext>
              </a:extLst>
            </p:cNvPr>
            <p:cNvSpPr/>
            <p:nvPr/>
          </p:nvSpPr>
          <p:spPr bwMode="auto">
            <a:xfrm>
              <a:off x="5657902" y="2152720"/>
              <a:ext cx="187968" cy="174647"/>
            </a:xfrm>
            <a:custGeom>
              <a:avLst/>
              <a:gdLst>
                <a:gd name="T0" fmla="*/ 9 w 61"/>
                <a:gd name="T1" fmla="*/ 32 h 57"/>
                <a:gd name="T2" fmla="*/ 9 w 61"/>
                <a:gd name="T3" fmla="*/ 32 h 57"/>
                <a:gd name="T4" fmla="*/ 25 w 61"/>
                <a:gd name="T5" fmla="*/ 34 h 57"/>
                <a:gd name="T6" fmla="*/ 32 w 61"/>
                <a:gd name="T7" fmla="*/ 22 h 57"/>
                <a:gd name="T8" fmla="*/ 24 w 61"/>
                <a:gd name="T9" fmla="*/ 11 h 57"/>
                <a:gd name="T10" fmla="*/ 27 w 61"/>
                <a:gd name="T11" fmla="*/ 5 h 57"/>
                <a:gd name="T12" fmla="*/ 29 w 61"/>
                <a:gd name="T13" fmla="*/ 4 h 57"/>
                <a:gd name="T14" fmla="*/ 38 w 61"/>
                <a:gd name="T15" fmla="*/ 2 h 57"/>
                <a:gd name="T16" fmla="*/ 41 w 61"/>
                <a:gd name="T17" fmla="*/ 0 h 57"/>
                <a:gd name="T18" fmla="*/ 44 w 61"/>
                <a:gd name="T19" fmla="*/ 1 h 57"/>
                <a:gd name="T20" fmla="*/ 48 w 61"/>
                <a:gd name="T21" fmla="*/ 1 h 57"/>
                <a:gd name="T22" fmla="*/ 55 w 61"/>
                <a:gd name="T23" fmla="*/ 1 h 57"/>
                <a:gd name="T24" fmla="*/ 55 w 61"/>
                <a:gd name="T25" fmla="*/ 1 h 57"/>
                <a:gd name="T26" fmla="*/ 56 w 61"/>
                <a:gd name="T27" fmla="*/ 7 h 57"/>
                <a:gd name="T28" fmla="*/ 58 w 61"/>
                <a:gd name="T29" fmla="*/ 22 h 57"/>
                <a:gd name="T30" fmla="*/ 59 w 61"/>
                <a:gd name="T31" fmla="*/ 30 h 57"/>
                <a:gd name="T32" fmla="*/ 61 w 61"/>
                <a:gd name="T33" fmla="*/ 36 h 57"/>
                <a:gd name="T34" fmla="*/ 57 w 61"/>
                <a:gd name="T35" fmla="*/ 40 h 57"/>
                <a:gd name="T36" fmla="*/ 57 w 61"/>
                <a:gd name="T37" fmla="*/ 33 h 57"/>
                <a:gd name="T38" fmla="*/ 54 w 61"/>
                <a:gd name="T39" fmla="*/ 22 h 57"/>
                <a:gd name="T40" fmla="*/ 52 w 61"/>
                <a:gd name="T41" fmla="*/ 17 h 57"/>
                <a:gd name="T42" fmla="*/ 51 w 61"/>
                <a:gd name="T43" fmla="*/ 13 h 57"/>
                <a:gd name="T44" fmla="*/ 50 w 61"/>
                <a:gd name="T45" fmla="*/ 10 h 57"/>
                <a:gd name="T46" fmla="*/ 44 w 61"/>
                <a:gd name="T47" fmla="*/ 10 h 57"/>
                <a:gd name="T48" fmla="*/ 41 w 61"/>
                <a:gd name="T49" fmla="*/ 23 h 57"/>
                <a:gd name="T50" fmla="*/ 35 w 61"/>
                <a:gd name="T51" fmla="*/ 34 h 57"/>
                <a:gd name="T52" fmla="*/ 19 w 61"/>
                <a:gd name="T53" fmla="*/ 50 h 57"/>
                <a:gd name="T54" fmla="*/ 7 w 61"/>
                <a:gd name="T55" fmla="*/ 54 h 57"/>
                <a:gd name="T56" fmla="*/ 0 w 61"/>
                <a:gd name="T57" fmla="*/ 57 h 57"/>
                <a:gd name="T58" fmla="*/ 0 w 61"/>
                <a:gd name="T59" fmla="*/ 54 h 57"/>
                <a:gd name="T60" fmla="*/ 0 w 61"/>
                <a:gd name="T61" fmla="*/ 43 h 57"/>
                <a:gd name="T62" fmla="*/ 2 w 61"/>
                <a:gd name="T63" fmla="*/ 33 h 57"/>
                <a:gd name="T64" fmla="*/ 4 w 61"/>
                <a:gd name="T65" fmla="*/ 27 h 57"/>
                <a:gd name="T66" fmla="*/ 5 w 61"/>
                <a:gd name="T67" fmla="*/ 24 h 57"/>
                <a:gd name="T68" fmla="*/ 8 w 61"/>
                <a:gd name="T69" fmla="*/ 23 h 57"/>
                <a:gd name="T70" fmla="*/ 8 w 61"/>
                <a:gd name="T71" fmla="*/ 26 h 57"/>
                <a:gd name="T72" fmla="*/ 9 w 61"/>
                <a:gd name="T73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1" h="57">
                  <a:moveTo>
                    <a:pt x="9" y="32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3" y="37"/>
                    <a:pt x="20" y="36"/>
                    <a:pt x="25" y="34"/>
                  </a:cubicBezTo>
                  <a:cubicBezTo>
                    <a:pt x="29" y="32"/>
                    <a:pt x="32" y="28"/>
                    <a:pt x="32" y="22"/>
                  </a:cubicBezTo>
                  <a:cubicBezTo>
                    <a:pt x="32" y="17"/>
                    <a:pt x="28" y="12"/>
                    <a:pt x="24" y="11"/>
                  </a:cubicBezTo>
                  <a:cubicBezTo>
                    <a:pt x="25" y="9"/>
                    <a:pt x="27" y="7"/>
                    <a:pt x="27" y="5"/>
                  </a:cubicBezTo>
                  <a:cubicBezTo>
                    <a:pt x="28" y="5"/>
                    <a:pt x="28" y="5"/>
                    <a:pt x="29" y="4"/>
                  </a:cubicBezTo>
                  <a:cubicBezTo>
                    <a:pt x="32" y="3"/>
                    <a:pt x="35" y="2"/>
                    <a:pt x="38" y="2"/>
                  </a:cubicBezTo>
                  <a:cubicBezTo>
                    <a:pt x="39" y="1"/>
                    <a:pt x="40" y="1"/>
                    <a:pt x="41" y="0"/>
                  </a:cubicBezTo>
                  <a:cubicBezTo>
                    <a:pt x="42" y="1"/>
                    <a:pt x="43" y="1"/>
                    <a:pt x="44" y="1"/>
                  </a:cubicBezTo>
                  <a:cubicBezTo>
                    <a:pt x="45" y="1"/>
                    <a:pt x="46" y="1"/>
                    <a:pt x="48" y="1"/>
                  </a:cubicBezTo>
                  <a:cubicBezTo>
                    <a:pt x="50" y="1"/>
                    <a:pt x="52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3"/>
                    <a:pt x="56" y="5"/>
                    <a:pt x="56" y="7"/>
                  </a:cubicBezTo>
                  <a:cubicBezTo>
                    <a:pt x="57" y="12"/>
                    <a:pt x="57" y="17"/>
                    <a:pt x="58" y="22"/>
                  </a:cubicBezTo>
                  <a:cubicBezTo>
                    <a:pt x="58" y="25"/>
                    <a:pt x="59" y="27"/>
                    <a:pt x="59" y="30"/>
                  </a:cubicBezTo>
                  <a:cubicBezTo>
                    <a:pt x="60" y="32"/>
                    <a:pt x="60" y="34"/>
                    <a:pt x="61" y="36"/>
                  </a:cubicBezTo>
                  <a:cubicBezTo>
                    <a:pt x="60" y="37"/>
                    <a:pt x="58" y="38"/>
                    <a:pt x="57" y="40"/>
                  </a:cubicBezTo>
                  <a:cubicBezTo>
                    <a:pt x="57" y="37"/>
                    <a:pt x="57" y="35"/>
                    <a:pt x="57" y="33"/>
                  </a:cubicBezTo>
                  <a:cubicBezTo>
                    <a:pt x="56" y="29"/>
                    <a:pt x="55" y="26"/>
                    <a:pt x="54" y="22"/>
                  </a:cubicBezTo>
                  <a:cubicBezTo>
                    <a:pt x="54" y="20"/>
                    <a:pt x="53" y="18"/>
                    <a:pt x="52" y="17"/>
                  </a:cubicBezTo>
                  <a:cubicBezTo>
                    <a:pt x="52" y="15"/>
                    <a:pt x="51" y="14"/>
                    <a:pt x="51" y="13"/>
                  </a:cubicBezTo>
                  <a:cubicBezTo>
                    <a:pt x="51" y="12"/>
                    <a:pt x="51" y="11"/>
                    <a:pt x="50" y="10"/>
                  </a:cubicBezTo>
                  <a:cubicBezTo>
                    <a:pt x="49" y="8"/>
                    <a:pt x="45" y="8"/>
                    <a:pt x="44" y="10"/>
                  </a:cubicBezTo>
                  <a:cubicBezTo>
                    <a:pt x="42" y="14"/>
                    <a:pt x="42" y="19"/>
                    <a:pt x="41" y="23"/>
                  </a:cubicBezTo>
                  <a:cubicBezTo>
                    <a:pt x="39" y="27"/>
                    <a:pt x="38" y="30"/>
                    <a:pt x="35" y="34"/>
                  </a:cubicBezTo>
                  <a:cubicBezTo>
                    <a:pt x="31" y="40"/>
                    <a:pt x="26" y="46"/>
                    <a:pt x="19" y="50"/>
                  </a:cubicBezTo>
                  <a:cubicBezTo>
                    <a:pt x="15" y="52"/>
                    <a:pt x="12" y="53"/>
                    <a:pt x="7" y="54"/>
                  </a:cubicBezTo>
                  <a:cubicBezTo>
                    <a:pt x="5" y="55"/>
                    <a:pt x="2" y="56"/>
                    <a:pt x="0" y="57"/>
                  </a:cubicBezTo>
                  <a:cubicBezTo>
                    <a:pt x="0" y="56"/>
                    <a:pt x="0" y="55"/>
                    <a:pt x="0" y="54"/>
                  </a:cubicBezTo>
                  <a:cubicBezTo>
                    <a:pt x="0" y="50"/>
                    <a:pt x="0" y="47"/>
                    <a:pt x="0" y="43"/>
                  </a:cubicBezTo>
                  <a:cubicBezTo>
                    <a:pt x="1" y="39"/>
                    <a:pt x="2" y="36"/>
                    <a:pt x="2" y="33"/>
                  </a:cubicBezTo>
                  <a:cubicBezTo>
                    <a:pt x="3" y="31"/>
                    <a:pt x="3" y="29"/>
                    <a:pt x="4" y="27"/>
                  </a:cubicBezTo>
                  <a:cubicBezTo>
                    <a:pt x="4" y="26"/>
                    <a:pt x="5" y="25"/>
                    <a:pt x="5" y="24"/>
                  </a:cubicBezTo>
                  <a:cubicBezTo>
                    <a:pt x="6" y="24"/>
                    <a:pt x="7" y="24"/>
                    <a:pt x="8" y="23"/>
                  </a:cubicBezTo>
                  <a:cubicBezTo>
                    <a:pt x="8" y="24"/>
                    <a:pt x="8" y="25"/>
                    <a:pt x="8" y="26"/>
                  </a:cubicBezTo>
                  <a:cubicBezTo>
                    <a:pt x="8" y="28"/>
                    <a:pt x="8" y="30"/>
                    <a:pt x="9" y="32"/>
                  </a:cubicBezTo>
                  <a:close/>
                </a:path>
              </a:pathLst>
            </a:custGeom>
            <a:solidFill>
              <a:srgbClr val="FB7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1" name="íṡļîḓê">
              <a:extLst>
                <a:ext uri="{FF2B5EF4-FFF2-40B4-BE49-F238E27FC236}">
                  <a16:creationId xmlns:a16="http://schemas.microsoft.com/office/drawing/2014/main" id="{D050F3C6-9BB4-4786-9D2F-206246B50750}"/>
                </a:ext>
              </a:extLst>
            </p:cNvPr>
            <p:cNvSpPr/>
            <p:nvPr/>
          </p:nvSpPr>
          <p:spPr bwMode="auto">
            <a:xfrm>
              <a:off x="5703784" y="2238564"/>
              <a:ext cx="1481" cy="2960"/>
            </a:xfrm>
            <a:prstGeom prst="ellipse">
              <a:avLst/>
            </a:pr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2" name="íṡľiḍê">
              <a:extLst>
                <a:ext uri="{FF2B5EF4-FFF2-40B4-BE49-F238E27FC236}">
                  <a16:creationId xmlns:a16="http://schemas.microsoft.com/office/drawing/2014/main" id="{64E67735-0AF5-400D-BF30-87901085069C}"/>
                </a:ext>
              </a:extLst>
            </p:cNvPr>
            <p:cNvSpPr/>
            <p:nvPr/>
          </p:nvSpPr>
          <p:spPr bwMode="auto">
            <a:xfrm>
              <a:off x="5700824" y="2201563"/>
              <a:ext cx="37002" cy="39962"/>
            </a:xfrm>
            <a:custGeom>
              <a:avLst/>
              <a:gdLst>
                <a:gd name="T0" fmla="*/ 5 w 12"/>
                <a:gd name="T1" fmla="*/ 0 h 13"/>
                <a:gd name="T2" fmla="*/ 5 w 12"/>
                <a:gd name="T3" fmla="*/ 0 h 13"/>
                <a:gd name="T4" fmla="*/ 6 w 12"/>
                <a:gd name="T5" fmla="*/ 0 h 13"/>
                <a:gd name="T6" fmla="*/ 10 w 12"/>
                <a:gd name="T7" fmla="*/ 3 h 13"/>
                <a:gd name="T8" fmla="*/ 11 w 12"/>
                <a:gd name="T9" fmla="*/ 4 h 13"/>
                <a:gd name="T10" fmla="*/ 11 w 12"/>
                <a:gd name="T11" fmla="*/ 4 h 13"/>
                <a:gd name="T12" fmla="*/ 11 w 12"/>
                <a:gd name="T13" fmla="*/ 5 h 13"/>
                <a:gd name="T14" fmla="*/ 12 w 12"/>
                <a:gd name="T15" fmla="*/ 6 h 13"/>
                <a:gd name="T16" fmla="*/ 12 w 12"/>
                <a:gd name="T17" fmla="*/ 6 h 13"/>
                <a:gd name="T18" fmla="*/ 12 w 12"/>
                <a:gd name="T19" fmla="*/ 6 h 13"/>
                <a:gd name="T20" fmla="*/ 12 w 12"/>
                <a:gd name="T21" fmla="*/ 8 h 13"/>
                <a:gd name="T22" fmla="*/ 12 w 12"/>
                <a:gd name="T23" fmla="*/ 8 h 13"/>
                <a:gd name="T24" fmla="*/ 12 w 12"/>
                <a:gd name="T25" fmla="*/ 8 h 13"/>
                <a:gd name="T26" fmla="*/ 12 w 12"/>
                <a:gd name="T27" fmla="*/ 9 h 13"/>
                <a:gd name="T28" fmla="*/ 11 w 12"/>
                <a:gd name="T29" fmla="*/ 10 h 13"/>
                <a:gd name="T30" fmla="*/ 11 w 12"/>
                <a:gd name="T31" fmla="*/ 10 h 13"/>
                <a:gd name="T32" fmla="*/ 11 w 12"/>
                <a:gd name="T33" fmla="*/ 10 h 13"/>
                <a:gd name="T34" fmla="*/ 10 w 12"/>
                <a:gd name="T35" fmla="*/ 11 h 13"/>
                <a:gd name="T36" fmla="*/ 9 w 12"/>
                <a:gd name="T37" fmla="*/ 12 h 13"/>
                <a:gd name="T38" fmla="*/ 8 w 12"/>
                <a:gd name="T39" fmla="*/ 12 h 13"/>
                <a:gd name="T40" fmla="*/ 3 w 12"/>
                <a:gd name="T41" fmla="*/ 13 h 13"/>
                <a:gd name="T42" fmla="*/ 2 w 12"/>
                <a:gd name="T43" fmla="*/ 13 h 13"/>
                <a:gd name="T44" fmla="*/ 1 w 12"/>
                <a:gd name="T45" fmla="*/ 13 h 13"/>
                <a:gd name="T46" fmla="*/ 1 w 12"/>
                <a:gd name="T47" fmla="*/ 13 h 13"/>
                <a:gd name="T48" fmla="*/ 1 w 12"/>
                <a:gd name="T49" fmla="*/ 13 h 13"/>
                <a:gd name="T50" fmla="*/ 1 w 12"/>
                <a:gd name="T51" fmla="*/ 13 h 13"/>
                <a:gd name="T52" fmla="*/ 1 w 12"/>
                <a:gd name="T53" fmla="*/ 13 h 13"/>
                <a:gd name="T54" fmla="*/ 1 w 12"/>
                <a:gd name="T55" fmla="*/ 12 h 13"/>
                <a:gd name="T56" fmla="*/ 0 w 12"/>
                <a:gd name="T57" fmla="*/ 12 h 13"/>
                <a:gd name="T58" fmla="*/ 0 w 12"/>
                <a:gd name="T59" fmla="*/ 11 h 13"/>
                <a:gd name="T60" fmla="*/ 0 w 12"/>
                <a:gd name="T61" fmla="*/ 11 h 13"/>
                <a:gd name="T62" fmla="*/ 0 w 12"/>
                <a:gd name="T63" fmla="*/ 8 h 13"/>
                <a:gd name="T64" fmla="*/ 0 w 12"/>
                <a:gd name="T65" fmla="*/ 3 h 13"/>
                <a:gd name="T66" fmla="*/ 5 w 12"/>
                <a:gd name="T6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" h="13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1"/>
                    <a:pt x="9" y="2"/>
                    <a:pt x="10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5"/>
                    <a:pt x="11" y="5"/>
                  </a:cubicBezTo>
                  <a:cubicBezTo>
                    <a:pt x="11" y="5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7"/>
                    <a:pt x="12" y="7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9" y="12"/>
                    <a:pt x="9" y="12"/>
                  </a:cubicBezTo>
                  <a:cubicBezTo>
                    <a:pt x="9" y="12"/>
                    <a:pt x="8" y="12"/>
                    <a:pt x="8" y="12"/>
                  </a:cubicBezTo>
                  <a:cubicBezTo>
                    <a:pt x="6" y="13"/>
                    <a:pt x="5" y="13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2"/>
                    <a:pt x="1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6"/>
                    <a:pt x="0" y="5"/>
                    <a:pt x="0" y="3"/>
                  </a:cubicBezTo>
                  <a:cubicBezTo>
                    <a:pt x="2" y="2"/>
                    <a:pt x="4" y="1"/>
                    <a:pt x="5" y="0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3" name="îSľïḓe">
              <a:extLst>
                <a:ext uri="{FF2B5EF4-FFF2-40B4-BE49-F238E27FC236}">
                  <a16:creationId xmlns:a16="http://schemas.microsoft.com/office/drawing/2014/main" id="{E22DC7ED-ADB4-4F8D-9D8F-B302E3389654}"/>
                </a:ext>
              </a:extLst>
            </p:cNvPr>
            <p:cNvSpPr/>
            <p:nvPr/>
          </p:nvSpPr>
          <p:spPr bwMode="auto">
            <a:xfrm>
              <a:off x="5851791" y="2257805"/>
              <a:ext cx="88804" cy="306373"/>
            </a:xfrm>
            <a:custGeom>
              <a:avLst/>
              <a:gdLst>
                <a:gd name="T0" fmla="*/ 12 w 29"/>
                <a:gd name="T1" fmla="*/ 60 h 100"/>
                <a:gd name="T2" fmla="*/ 12 w 29"/>
                <a:gd name="T3" fmla="*/ 60 h 100"/>
                <a:gd name="T4" fmla="*/ 16 w 29"/>
                <a:gd name="T5" fmla="*/ 78 h 100"/>
                <a:gd name="T6" fmla="*/ 15 w 29"/>
                <a:gd name="T7" fmla="*/ 79 h 100"/>
                <a:gd name="T8" fmla="*/ 11 w 29"/>
                <a:gd name="T9" fmla="*/ 88 h 100"/>
                <a:gd name="T10" fmla="*/ 4 w 29"/>
                <a:gd name="T11" fmla="*/ 97 h 100"/>
                <a:gd name="T12" fmla="*/ 1 w 29"/>
                <a:gd name="T13" fmla="*/ 100 h 100"/>
                <a:gd name="T14" fmla="*/ 0 w 29"/>
                <a:gd name="T15" fmla="*/ 100 h 100"/>
                <a:gd name="T16" fmla="*/ 2 w 29"/>
                <a:gd name="T17" fmla="*/ 95 h 100"/>
                <a:gd name="T18" fmla="*/ 11 w 29"/>
                <a:gd name="T19" fmla="*/ 55 h 100"/>
                <a:gd name="T20" fmla="*/ 12 w 29"/>
                <a:gd name="T21" fmla="*/ 60 h 100"/>
                <a:gd name="T22" fmla="*/ 29 w 29"/>
                <a:gd name="T23" fmla="*/ 25 h 100"/>
                <a:gd name="T24" fmla="*/ 29 w 29"/>
                <a:gd name="T25" fmla="*/ 25 h 100"/>
                <a:gd name="T26" fmla="*/ 28 w 29"/>
                <a:gd name="T27" fmla="*/ 37 h 100"/>
                <a:gd name="T28" fmla="*/ 27 w 29"/>
                <a:gd name="T29" fmla="*/ 45 h 100"/>
                <a:gd name="T30" fmla="*/ 18 w 29"/>
                <a:gd name="T31" fmla="*/ 0 h 100"/>
                <a:gd name="T32" fmla="*/ 25 w 29"/>
                <a:gd name="T33" fmla="*/ 11 h 100"/>
                <a:gd name="T34" fmla="*/ 29 w 29"/>
                <a:gd name="T35" fmla="*/ 17 h 100"/>
                <a:gd name="T36" fmla="*/ 29 w 29"/>
                <a:gd name="T37" fmla="*/ 18 h 100"/>
                <a:gd name="T38" fmla="*/ 29 w 29"/>
                <a:gd name="T39" fmla="*/ 2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100">
                  <a:moveTo>
                    <a:pt x="12" y="60"/>
                  </a:moveTo>
                  <a:cubicBezTo>
                    <a:pt x="12" y="60"/>
                    <a:pt x="12" y="60"/>
                    <a:pt x="12" y="60"/>
                  </a:cubicBezTo>
                  <a:cubicBezTo>
                    <a:pt x="13" y="66"/>
                    <a:pt x="14" y="72"/>
                    <a:pt x="16" y="78"/>
                  </a:cubicBezTo>
                  <a:cubicBezTo>
                    <a:pt x="15" y="78"/>
                    <a:pt x="15" y="79"/>
                    <a:pt x="15" y="79"/>
                  </a:cubicBezTo>
                  <a:cubicBezTo>
                    <a:pt x="13" y="82"/>
                    <a:pt x="12" y="85"/>
                    <a:pt x="11" y="88"/>
                  </a:cubicBezTo>
                  <a:cubicBezTo>
                    <a:pt x="9" y="91"/>
                    <a:pt x="7" y="94"/>
                    <a:pt x="4" y="97"/>
                  </a:cubicBezTo>
                  <a:cubicBezTo>
                    <a:pt x="3" y="98"/>
                    <a:pt x="2" y="99"/>
                    <a:pt x="1" y="100"/>
                  </a:cubicBezTo>
                  <a:cubicBezTo>
                    <a:pt x="1" y="100"/>
                    <a:pt x="0" y="100"/>
                    <a:pt x="0" y="100"/>
                  </a:cubicBezTo>
                  <a:cubicBezTo>
                    <a:pt x="1" y="98"/>
                    <a:pt x="2" y="96"/>
                    <a:pt x="2" y="95"/>
                  </a:cubicBezTo>
                  <a:cubicBezTo>
                    <a:pt x="7" y="81"/>
                    <a:pt x="9" y="68"/>
                    <a:pt x="11" y="55"/>
                  </a:cubicBezTo>
                  <a:cubicBezTo>
                    <a:pt x="11" y="56"/>
                    <a:pt x="12" y="58"/>
                    <a:pt x="12" y="60"/>
                  </a:cubicBezTo>
                  <a:close/>
                  <a:moveTo>
                    <a:pt x="29" y="25"/>
                  </a:moveTo>
                  <a:cubicBezTo>
                    <a:pt x="29" y="25"/>
                    <a:pt x="29" y="25"/>
                    <a:pt x="29" y="25"/>
                  </a:cubicBezTo>
                  <a:cubicBezTo>
                    <a:pt x="28" y="29"/>
                    <a:pt x="28" y="33"/>
                    <a:pt x="28" y="37"/>
                  </a:cubicBezTo>
                  <a:cubicBezTo>
                    <a:pt x="27" y="39"/>
                    <a:pt x="27" y="42"/>
                    <a:pt x="27" y="45"/>
                  </a:cubicBezTo>
                  <a:cubicBezTo>
                    <a:pt x="24" y="30"/>
                    <a:pt x="21" y="14"/>
                    <a:pt x="18" y="0"/>
                  </a:cubicBezTo>
                  <a:cubicBezTo>
                    <a:pt x="20" y="4"/>
                    <a:pt x="22" y="8"/>
                    <a:pt x="25" y="11"/>
                  </a:cubicBezTo>
                  <a:cubicBezTo>
                    <a:pt x="26" y="13"/>
                    <a:pt x="28" y="15"/>
                    <a:pt x="29" y="17"/>
                  </a:cubicBezTo>
                  <a:cubicBezTo>
                    <a:pt x="29" y="17"/>
                    <a:pt x="29" y="18"/>
                    <a:pt x="29" y="18"/>
                  </a:cubicBezTo>
                  <a:cubicBezTo>
                    <a:pt x="29" y="20"/>
                    <a:pt x="29" y="23"/>
                    <a:pt x="29" y="25"/>
                  </a:cubicBezTo>
                  <a:close/>
                </a:path>
              </a:pathLst>
            </a:custGeom>
            <a:solidFill>
              <a:srgbClr val="8D3C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4" name="îşliḓé">
              <a:extLst>
                <a:ext uri="{FF2B5EF4-FFF2-40B4-BE49-F238E27FC236}">
                  <a16:creationId xmlns:a16="http://schemas.microsoft.com/office/drawing/2014/main" id="{31300BFE-670E-43B8-883C-BE4CCACA1830}"/>
                </a:ext>
              </a:extLst>
            </p:cNvPr>
            <p:cNvSpPr/>
            <p:nvPr/>
          </p:nvSpPr>
          <p:spPr bwMode="auto">
            <a:xfrm>
              <a:off x="5720065" y="1732382"/>
              <a:ext cx="288613" cy="1136688"/>
            </a:xfrm>
            <a:custGeom>
              <a:avLst/>
              <a:gdLst>
                <a:gd name="T0" fmla="*/ 27 w 94"/>
                <a:gd name="T1" fmla="*/ 38 h 370"/>
                <a:gd name="T2" fmla="*/ 36 w 94"/>
                <a:gd name="T3" fmla="*/ 94 h 370"/>
                <a:gd name="T4" fmla="*/ 53 w 94"/>
                <a:gd name="T5" fmla="*/ 167 h 370"/>
                <a:gd name="T6" fmla="*/ 46 w 94"/>
                <a:gd name="T7" fmla="*/ 168 h 370"/>
                <a:gd name="T8" fmla="*/ 44 w 94"/>
                <a:gd name="T9" fmla="*/ 157 h 370"/>
                <a:gd name="T10" fmla="*/ 35 w 94"/>
                <a:gd name="T11" fmla="*/ 111 h 370"/>
                <a:gd name="T12" fmla="*/ 18 w 94"/>
                <a:gd name="T13" fmla="*/ 40 h 370"/>
                <a:gd name="T14" fmla="*/ 85 w 94"/>
                <a:gd name="T15" fmla="*/ 370 h 370"/>
                <a:gd name="T16" fmla="*/ 85 w 94"/>
                <a:gd name="T17" fmla="*/ 366 h 370"/>
                <a:gd name="T18" fmla="*/ 79 w 94"/>
                <a:gd name="T19" fmla="*/ 318 h 370"/>
                <a:gd name="T20" fmla="*/ 59 w 94"/>
                <a:gd name="T21" fmla="*/ 226 h 370"/>
                <a:gd name="T22" fmla="*/ 56 w 94"/>
                <a:gd name="T23" fmla="*/ 205 h 370"/>
                <a:gd name="T24" fmla="*/ 63 w 94"/>
                <a:gd name="T25" fmla="*/ 220 h 370"/>
                <a:gd name="T26" fmla="*/ 70 w 94"/>
                <a:gd name="T27" fmla="*/ 258 h 370"/>
                <a:gd name="T28" fmla="*/ 71 w 94"/>
                <a:gd name="T29" fmla="*/ 264 h 370"/>
                <a:gd name="T30" fmla="*/ 86 w 94"/>
                <a:gd name="T31" fmla="*/ 315 h 370"/>
                <a:gd name="T32" fmla="*/ 86 w 94"/>
                <a:gd name="T33" fmla="*/ 368 h 370"/>
                <a:gd name="T34" fmla="*/ 0 w 94"/>
                <a:gd name="T35" fmla="*/ 18 h 370"/>
                <a:gd name="T36" fmla="*/ 0 w 94"/>
                <a:gd name="T37" fmla="*/ 15 h 370"/>
                <a:gd name="T38" fmla="*/ 0 w 94"/>
                <a:gd name="T39" fmla="*/ 13 h 370"/>
                <a:gd name="T40" fmla="*/ 3 w 94"/>
                <a:gd name="T41" fmla="*/ 5 h 370"/>
                <a:gd name="T42" fmla="*/ 10 w 94"/>
                <a:gd name="T43" fmla="*/ 2 h 370"/>
                <a:gd name="T44" fmla="*/ 13 w 94"/>
                <a:gd name="T45" fmla="*/ 1 h 370"/>
                <a:gd name="T46" fmla="*/ 15 w 94"/>
                <a:gd name="T47" fmla="*/ 0 h 370"/>
                <a:gd name="T48" fmla="*/ 17 w 94"/>
                <a:gd name="T49" fmla="*/ 0 h 370"/>
                <a:gd name="T50" fmla="*/ 18 w 94"/>
                <a:gd name="T51" fmla="*/ 0 h 370"/>
                <a:gd name="T52" fmla="*/ 21 w 94"/>
                <a:gd name="T53" fmla="*/ 0 h 370"/>
                <a:gd name="T54" fmla="*/ 22 w 94"/>
                <a:gd name="T55" fmla="*/ 1 h 370"/>
                <a:gd name="T56" fmla="*/ 26 w 94"/>
                <a:gd name="T57" fmla="*/ 3 h 370"/>
                <a:gd name="T58" fmla="*/ 27 w 94"/>
                <a:gd name="T59" fmla="*/ 5 h 370"/>
                <a:gd name="T60" fmla="*/ 29 w 94"/>
                <a:gd name="T61" fmla="*/ 7 h 370"/>
                <a:gd name="T62" fmla="*/ 30 w 94"/>
                <a:gd name="T63" fmla="*/ 8 h 370"/>
                <a:gd name="T64" fmla="*/ 31 w 94"/>
                <a:gd name="T65" fmla="*/ 11 h 370"/>
                <a:gd name="T66" fmla="*/ 31 w 94"/>
                <a:gd name="T67" fmla="*/ 13 h 370"/>
                <a:gd name="T68" fmla="*/ 31 w 94"/>
                <a:gd name="T69" fmla="*/ 17 h 370"/>
                <a:gd name="T70" fmla="*/ 31 w 94"/>
                <a:gd name="T71" fmla="*/ 18 h 370"/>
                <a:gd name="T72" fmla="*/ 31 w 94"/>
                <a:gd name="T73" fmla="*/ 20 h 370"/>
                <a:gd name="T74" fmla="*/ 29 w 94"/>
                <a:gd name="T75" fmla="*/ 24 h 370"/>
                <a:gd name="T76" fmla="*/ 26 w 94"/>
                <a:gd name="T77" fmla="*/ 27 h 370"/>
                <a:gd name="T78" fmla="*/ 25 w 94"/>
                <a:gd name="T79" fmla="*/ 27 h 370"/>
                <a:gd name="T80" fmla="*/ 22 w 94"/>
                <a:gd name="T81" fmla="*/ 29 h 370"/>
                <a:gd name="T82" fmla="*/ 20 w 94"/>
                <a:gd name="T83" fmla="*/ 30 h 370"/>
                <a:gd name="T84" fmla="*/ 18 w 94"/>
                <a:gd name="T85" fmla="*/ 30 h 370"/>
                <a:gd name="T86" fmla="*/ 15 w 94"/>
                <a:gd name="T87" fmla="*/ 31 h 370"/>
                <a:gd name="T88" fmla="*/ 13 w 94"/>
                <a:gd name="T89" fmla="*/ 30 h 370"/>
                <a:gd name="T90" fmla="*/ 10 w 94"/>
                <a:gd name="T91" fmla="*/ 30 h 370"/>
                <a:gd name="T92" fmla="*/ 9 w 94"/>
                <a:gd name="T93" fmla="*/ 29 h 370"/>
                <a:gd name="T94" fmla="*/ 4 w 94"/>
                <a:gd name="T95" fmla="*/ 26 h 370"/>
                <a:gd name="T96" fmla="*/ 3 w 94"/>
                <a:gd name="T97" fmla="*/ 24 h 370"/>
                <a:gd name="T98" fmla="*/ 1 w 94"/>
                <a:gd name="T99" fmla="*/ 21 h 370"/>
                <a:gd name="T100" fmla="*/ 0 w 94"/>
                <a:gd name="T101" fmla="*/ 19 h 370"/>
                <a:gd name="T102" fmla="*/ 0 w 94"/>
                <a:gd name="T103" fmla="*/ 1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" h="370">
                  <a:moveTo>
                    <a:pt x="27" y="38"/>
                  </a:moveTo>
                  <a:cubicBezTo>
                    <a:pt x="27" y="38"/>
                    <a:pt x="27" y="38"/>
                    <a:pt x="27" y="38"/>
                  </a:cubicBezTo>
                  <a:cubicBezTo>
                    <a:pt x="27" y="46"/>
                    <a:pt x="29" y="54"/>
                    <a:pt x="30" y="63"/>
                  </a:cubicBezTo>
                  <a:cubicBezTo>
                    <a:pt x="32" y="74"/>
                    <a:pt x="34" y="84"/>
                    <a:pt x="36" y="94"/>
                  </a:cubicBezTo>
                  <a:cubicBezTo>
                    <a:pt x="41" y="115"/>
                    <a:pt x="47" y="136"/>
                    <a:pt x="51" y="157"/>
                  </a:cubicBezTo>
                  <a:cubicBezTo>
                    <a:pt x="52" y="160"/>
                    <a:pt x="53" y="164"/>
                    <a:pt x="53" y="167"/>
                  </a:cubicBezTo>
                  <a:cubicBezTo>
                    <a:pt x="52" y="165"/>
                    <a:pt x="50" y="165"/>
                    <a:pt x="48" y="166"/>
                  </a:cubicBezTo>
                  <a:cubicBezTo>
                    <a:pt x="48" y="167"/>
                    <a:pt x="47" y="167"/>
                    <a:pt x="46" y="168"/>
                  </a:cubicBezTo>
                  <a:cubicBezTo>
                    <a:pt x="46" y="167"/>
                    <a:pt x="46" y="166"/>
                    <a:pt x="46" y="166"/>
                  </a:cubicBezTo>
                  <a:cubicBezTo>
                    <a:pt x="45" y="163"/>
                    <a:pt x="45" y="160"/>
                    <a:pt x="44" y="157"/>
                  </a:cubicBezTo>
                  <a:cubicBezTo>
                    <a:pt x="44" y="152"/>
                    <a:pt x="43" y="147"/>
                    <a:pt x="42" y="142"/>
                  </a:cubicBezTo>
                  <a:cubicBezTo>
                    <a:pt x="40" y="132"/>
                    <a:pt x="38" y="121"/>
                    <a:pt x="35" y="111"/>
                  </a:cubicBezTo>
                  <a:cubicBezTo>
                    <a:pt x="31" y="90"/>
                    <a:pt x="25" y="70"/>
                    <a:pt x="20" y="49"/>
                  </a:cubicBezTo>
                  <a:cubicBezTo>
                    <a:pt x="19" y="46"/>
                    <a:pt x="19" y="43"/>
                    <a:pt x="18" y="40"/>
                  </a:cubicBezTo>
                  <a:cubicBezTo>
                    <a:pt x="21" y="40"/>
                    <a:pt x="24" y="39"/>
                    <a:pt x="27" y="38"/>
                  </a:cubicBezTo>
                  <a:close/>
                  <a:moveTo>
                    <a:pt x="85" y="370"/>
                  </a:moveTo>
                  <a:cubicBezTo>
                    <a:pt x="85" y="370"/>
                    <a:pt x="85" y="370"/>
                    <a:pt x="85" y="370"/>
                  </a:cubicBezTo>
                  <a:cubicBezTo>
                    <a:pt x="85" y="369"/>
                    <a:pt x="85" y="367"/>
                    <a:pt x="85" y="366"/>
                  </a:cubicBezTo>
                  <a:cubicBezTo>
                    <a:pt x="85" y="360"/>
                    <a:pt x="84" y="355"/>
                    <a:pt x="83" y="350"/>
                  </a:cubicBezTo>
                  <a:cubicBezTo>
                    <a:pt x="82" y="339"/>
                    <a:pt x="81" y="328"/>
                    <a:pt x="79" y="318"/>
                  </a:cubicBezTo>
                  <a:cubicBezTo>
                    <a:pt x="75" y="296"/>
                    <a:pt x="71" y="275"/>
                    <a:pt x="66" y="254"/>
                  </a:cubicBezTo>
                  <a:cubicBezTo>
                    <a:pt x="64" y="244"/>
                    <a:pt x="62" y="235"/>
                    <a:pt x="59" y="226"/>
                  </a:cubicBezTo>
                  <a:cubicBezTo>
                    <a:pt x="58" y="220"/>
                    <a:pt x="57" y="215"/>
                    <a:pt x="55" y="209"/>
                  </a:cubicBezTo>
                  <a:cubicBezTo>
                    <a:pt x="55" y="208"/>
                    <a:pt x="56" y="206"/>
                    <a:pt x="56" y="205"/>
                  </a:cubicBezTo>
                  <a:cubicBezTo>
                    <a:pt x="56" y="196"/>
                    <a:pt x="56" y="187"/>
                    <a:pt x="56" y="179"/>
                  </a:cubicBezTo>
                  <a:cubicBezTo>
                    <a:pt x="58" y="193"/>
                    <a:pt x="60" y="206"/>
                    <a:pt x="63" y="220"/>
                  </a:cubicBezTo>
                  <a:cubicBezTo>
                    <a:pt x="65" y="231"/>
                    <a:pt x="67" y="241"/>
                    <a:pt x="69" y="252"/>
                  </a:cubicBezTo>
                  <a:cubicBezTo>
                    <a:pt x="69" y="254"/>
                    <a:pt x="69" y="256"/>
                    <a:pt x="70" y="258"/>
                  </a:cubicBezTo>
                  <a:cubicBezTo>
                    <a:pt x="69" y="259"/>
                    <a:pt x="69" y="260"/>
                    <a:pt x="69" y="261"/>
                  </a:cubicBezTo>
                  <a:cubicBezTo>
                    <a:pt x="68" y="263"/>
                    <a:pt x="69" y="264"/>
                    <a:pt x="71" y="264"/>
                  </a:cubicBezTo>
                  <a:cubicBezTo>
                    <a:pt x="72" y="271"/>
                    <a:pt x="74" y="277"/>
                    <a:pt x="75" y="283"/>
                  </a:cubicBezTo>
                  <a:cubicBezTo>
                    <a:pt x="78" y="294"/>
                    <a:pt x="82" y="304"/>
                    <a:pt x="86" y="315"/>
                  </a:cubicBezTo>
                  <a:cubicBezTo>
                    <a:pt x="89" y="324"/>
                    <a:pt x="92" y="334"/>
                    <a:pt x="94" y="344"/>
                  </a:cubicBezTo>
                  <a:cubicBezTo>
                    <a:pt x="92" y="352"/>
                    <a:pt x="89" y="360"/>
                    <a:pt x="86" y="368"/>
                  </a:cubicBezTo>
                  <a:cubicBezTo>
                    <a:pt x="86" y="369"/>
                    <a:pt x="86" y="370"/>
                    <a:pt x="85" y="370"/>
                  </a:cubicBezTo>
                  <a:close/>
                  <a:moveTo>
                    <a:pt x="0" y="18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0" y="16"/>
                    <a:pt x="0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15"/>
                    <a:pt x="0" y="13"/>
                    <a:pt x="0" y="13"/>
                  </a:cubicBezTo>
                  <a:cubicBezTo>
                    <a:pt x="1" y="11"/>
                    <a:pt x="1" y="9"/>
                    <a:pt x="2" y="8"/>
                  </a:cubicBezTo>
                  <a:cubicBezTo>
                    <a:pt x="2" y="7"/>
                    <a:pt x="3" y="6"/>
                    <a:pt x="3" y="5"/>
                  </a:cubicBezTo>
                  <a:cubicBezTo>
                    <a:pt x="4" y="6"/>
                    <a:pt x="5" y="6"/>
                    <a:pt x="6" y="6"/>
                  </a:cubicBezTo>
                  <a:cubicBezTo>
                    <a:pt x="7" y="5"/>
                    <a:pt x="9" y="3"/>
                    <a:pt x="10" y="2"/>
                  </a:cubicBezTo>
                  <a:cubicBezTo>
                    <a:pt x="11" y="2"/>
                    <a:pt x="12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7" y="0"/>
                    <a:pt x="17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1" y="0"/>
                    <a:pt x="21" y="0"/>
                    <a:pt x="21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3" y="1"/>
                    <a:pt x="24" y="2"/>
                  </a:cubicBezTo>
                  <a:cubicBezTo>
                    <a:pt x="24" y="2"/>
                    <a:pt x="25" y="3"/>
                    <a:pt x="26" y="3"/>
                  </a:cubicBezTo>
                  <a:cubicBezTo>
                    <a:pt x="26" y="3"/>
                    <a:pt x="26" y="4"/>
                    <a:pt x="27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8" y="6"/>
                    <a:pt x="29" y="6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9"/>
                    <a:pt x="31" y="9"/>
                    <a:pt x="31" y="10"/>
                  </a:cubicBezTo>
                  <a:cubicBezTo>
                    <a:pt x="31" y="9"/>
                    <a:pt x="31" y="11"/>
                    <a:pt x="31" y="11"/>
                  </a:cubicBezTo>
                  <a:cubicBezTo>
                    <a:pt x="31" y="12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4"/>
                    <a:pt x="32" y="14"/>
                    <a:pt x="32" y="15"/>
                  </a:cubicBezTo>
                  <a:cubicBezTo>
                    <a:pt x="32" y="15"/>
                    <a:pt x="31" y="16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8"/>
                  </a:cubicBezTo>
                  <a:cubicBezTo>
                    <a:pt x="31" y="18"/>
                    <a:pt x="31" y="19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22"/>
                    <a:pt x="29" y="23"/>
                    <a:pt x="29" y="24"/>
                  </a:cubicBezTo>
                  <a:cubicBezTo>
                    <a:pt x="29" y="24"/>
                    <a:pt x="28" y="25"/>
                    <a:pt x="28" y="25"/>
                  </a:cubicBezTo>
                  <a:cubicBezTo>
                    <a:pt x="27" y="26"/>
                    <a:pt x="27" y="26"/>
                    <a:pt x="26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7"/>
                    <a:pt x="25" y="27"/>
                    <a:pt x="25" y="27"/>
                  </a:cubicBezTo>
                  <a:cubicBezTo>
                    <a:pt x="25" y="28"/>
                    <a:pt x="24" y="28"/>
                    <a:pt x="23" y="28"/>
                  </a:cubicBezTo>
                  <a:cubicBezTo>
                    <a:pt x="23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0" y="30"/>
                  </a:cubicBezTo>
                  <a:cubicBezTo>
                    <a:pt x="20" y="30"/>
                    <a:pt x="19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6" y="31"/>
                    <a:pt x="16" y="31"/>
                    <a:pt x="15" y="31"/>
                  </a:cubicBezTo>
                  <a:cubicBezTo>
                    <a:pt x="14" y="31"/>
                    <a:pt x="14" y="30"/>
                    <a:pt x="14" y="30"/>
                  </a:cubicBezTo>
                  <a:cubicBezTo>
                    <a:pt x="14" y="30"/>
                    <a:pt x="14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2" y="30"/>
                    <a:pt x="11" y="30"/>
                    <a:pt x="10" y="30"/>
                  </a:cubicBezTo>
                  <a:cubicBezTo>
                    <a:pt x="10" y="30"/>
                    <a:pt x="10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7" y="28"/>
                    <a:pt x="6" y="27"/>
                    <a:pt x="4" y="26"/>
                  </a:cubicBezTo>
                  <a:cubicBezTo>
                    <a:pt x="4" y="26"/>
                    <a:pt x="4" y="25"/>
                    <a:pt x="3" y="25"/>
                  </a:cubicBezTo>
                  <a:cubicBezTo>
                    <a:pt x="3" y="25"/>
                    <a:pt x="3" y="24"/>
                    <a:pt x="3" y="24"/>
                  </a:cubicBezTo>
                  <a:cubicBezTo>
                    <a:pt x="2" y="23"/>
                    <a:pt x="2" y="22"/>
                    <a:pt x="1" y="22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5" name="íŝḷíḍe">
              <a:extLst>
                <a:ext uri="{FF2B5EF4-FFF2-40B4-BE49-F238E27FC236}">
                  <a16:creationId xmlns:a16="http://schemas.microsoft.com/office/drawing/2014/main" id="{6CD395D2-E42F-4D1B-9031-15D6C251431B}"/>
                </a:ext>
              </a:extLst>
            </p:cNvPr>
            <p:cNvSpPr/>
            <p:nvPr/>
          </p:nvSpPr>
          <p:spPr bwMode="auto">
            <a:xfrm>
              <a:off x="5725985" y="1864108"/>
              <a:ext cx="94724" cy="276772"/>
            </a:xfrm>
            <a:custGeom>
              <a:avLst/>
              <a:gdLst>
                <a:gd name="T0" fmla="*/ 14 w 31"/>
                <a:gd name="T1" fmla="*/ 59 h 90"/>
                <a:gd name="T2" fmla="*/ 14 w 31"/>
                <a:gd name="T3" fmla="*/ 59 h 90"/>
                <a:gd name="T4" fmla="*/ 1 w 31"/>
                <a:gd name="T5" fmla="*/ 3 h 90"/>
                <a:gd name="T6" fmla="*/ 0 w 31"/>
                <a:gd name="T7" fmla="*/ 0 h 90"/>
                <a:gd name="T8" fmla="*/ 5 w 31"/>
                <a:gd name="T9" fmla="*/ 0 h 90"/>
                <a:gd name="T10" fmla="*/ 12 w 31"/>
                <a:gd name="T11" fmla="*/ 0 h 90"/>
                <a:gd name="T12" fmla="*/ 13 w 31"/>
                <a:gd name="T13" fmla="*/ 7 h 90"/>
                <a:gd name="T14" fmla="*/ 16 w 31"/>
                <a:gd name="T15" fmla="*/ 23 h 90"/>
                <a:gd name="T16" fmla="*/ 24 w 31"/>
                <a:gd name="T17" fmla="*/ 54 h 90"/>
                <a:gd name="T18" fmla="*/ 31 w 31"/>
                <a:gd name="T19" fmla="*/ 84 h 90"/>
                <a:gd name="T20" fmla="*/ 30 w 31"/>
                <a:gd name="T21" fmla="*/ 84 h 90"/>
                <a:gd name="T22" fmla="*/ 30 w 31"/>
                <a:gd name="T23" fmla="*/ 84 h 90"/>
                <a:gd name="T24" fmla="*/ 22 w 31"/>
                <a:gd name="T25" fmla="*/ 86 h 90"/>
                <a:gd name="T26" fmla="*/ 13 w 31"/>
                <a:gd name="T27" fmla="*/ 89 h 90"/>
                <a:gd name="T28" fmla="*/ 10 w 31"/>
                <a:gd name="T29" fmla="*/ 90 h 90"/>
                <a:gd name="T30" fmla="*/ 14 w 31"/>
                <a:gd name="T31" fmla="*/ 5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90">
                  <a:moveTo>
                    <a:pt x="14" y="59"/>
                  </a:moveTo>
                  <a:cubicBezTo>
                    <a:pt x="14" y="59"/>
                    <a:pt x="14" y="59"/>
                    <a:pt x="14" y="59"/>
                  </a:cubicBezTo>
                  <a:cubicBezTo>
                    <a:pt x="14" y="39"/>
                    <a:pt x="9" y="20"/>
                    <a:pt x="1" y="3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7" y="1"/>
                    <a:pt x="9" y="1"/>
                    <a:pt x="12" y="0"/>
                  </a:cubicBezTo>
                  <a:cubicBezTo>
                    <a:pt x="12" y="3"/>
                    <a:pt x="12" y="5"/>
                    <a:pt x="13" y="7"/>
                  </a:cubicBezTo>
                  <a:cubicBezTo>
                    <a:pt x="14" y="12"/>
                    <a:pt x="15" y="18"/>
                    <a:pt x="16" y="23"/>
                  </a:cubicBezTo>
                  <a:cubicBezTo>
                    <a:pt x="18" y="33"/>
                    <a:pt x="21" y="44"/>
                    <a:pt x="24" y="54"/>
                  </a:cubicBezTo>
                  <a:cubicBezTo>
                    <a:pt x="26" y="64"/>
                    <a:pt x="29" y="74"/>
                    <a:pt x="31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28" y="83"/>
                    <a:pt x="24" y="85"/>
                    <a:pt x="22" y="86"/>
                  </a:cubicBezTo>
                  <a:cubicBezTo>
                    <a:pt x="19" y="87"/>
                    <a:pt x="16" y="88"/>
                    <a:pt x="13" y="89"/>
                  </a:cubicBezTo>
                  <a:cubicBezTo>
                    <a:pt x="12" y="89"/>
                    <a:pt x="11" y="90"/>
                    <a:pt x="10" y="90"/>
                  </a:cubicBezTo>
                  <a:cubicBezTo>
                    <a:pt x="13" y="80"/>
                    <a:pt x="14" y="69"/>
                    <a:pt x="14" y="59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6" name="íSļiďè">
              <a:extLst>
                <a:ext uri="{FF2B5EF4-FFF2-40B4-BE49-F238E27FC236}">
                  <a16:creationId xmlns:a16="http://schemas.microsoft.com/office/drawing/2014/main" id="{01225AF8-9E84-4140-9917-AE85F68E5058}"/>
                </a:ext>
              </a:extLst>
            </p:cNvPr>
            <p:cNvSpPr/>
            <p:nvPr/>
          </p:nvSpPr>
          <p:spPr bwMode="auto">
            <a:xfrm>
              <a:off x="5018515" y="2361409"/>
              <a:ext cx="842156" cy="602386"/>
            </a:xfrm>
            <a:custGeom>
              <a:avLst/>
              <a:gdLst>
                <a:gd name="T0" fmla="*/ 271 w 274"/>
                <a:gd name="T1" fmla="*/ 27 h 196"/>
                <a:gd name="T2" fmla="*/ 262 w 274"/>
                <a:gd name="T3" fmla="*/ 62 h 196"/>
                <a:gd name="T4" fmla="*/ 261 w 274"/>
                <a:gd name="T5" fmla="*/ 64 h 196"/>
                <a:gd name="T6" fmla="*/ 255 w 274"/>
                <a:gd name="T7" fmla="*/ 77 h 196"/>
                <a:gd name="T8" fmla="*/ 252 w 274"/>
                <a:gd name="T9" fmla="*/ 82 h 196"/>
                <a:gd name="T10" fmla="*/ 249 w 274"/>
                <a:gd name="T11" fmla="*/ 85 h 196"/>
                <a:gd name="T12" fmla="*/ 237 w 274"/>
                <a:gd name="T13" fmla="*/ 97 h 196"/>
                <a:gd name="T14" fmla="*/ 236 w 274"/>
                <a:gd name="T15" fmla="*/ 98 h 196"/>
                <a:gd name="T16" fmla="*/ 224 w 274"/>
                <a:gd name="T17" fmla="*/ 106 h 196"/>
                <a:gd name="T18" fmla="*/ 217 w 274"/>
                <a:gd name="T19" fmla="*/ 109 h 196"/>
                <a:gd name="T20" fmla="*/ 215 w 274"/>
                <a:gd name="T21" fmla="*/ 110 h 196"/>
                <a:gd name="T22" fmla="*/ 204 w 274"/>
                <a:gd name="T23" fmla="*/ 115 h 196"/>
                <a:gd name="T24" fmla="*/ 150 w 274"/>
                <a:gd name="T25" fmla="*/ 121 h 196"/>
                <a:gd name="T26" fmla="*/ 142 w 274"/>
                <a:gd name="T27" fmla="*/ 128 h 196"/>
                <a:gd name="T28" fmla="*/ 139 w 274"/>
                <a:gd name="T29" fmla="*/ 140 h 196"/>
                <a:gd name="T30" fmla="*/ 137 w 274"/>
                <a:gd name="T31" fmla="*/ 145 h 196"/>
                <a:gd name="T32" fmla="*/ 136 w 274"/>
                <a:gd name="T33" fmla="*/ 146 h 196"/>
                <a:gd name="T34" fmla="*/ 124 w 274"/>
                <a:gd name="T35" fmla="*/ 167 h 196"/>
                <a:gd name="T36" fmla="*/ 97 w 274"/>
                <a:gd name="T37" fmla="*/ 188 h 196"/>
                <a:gd name="T38" fmla="*/ 84 w 274"/>
                <a:gd name="T39" fmla="*/ 192 h 196"/>
                <a:gd name="T40" fmla="*/ 38 w 274"/>
                <a:gd name="T41" fmla="*/ 196 h 196"/>
                <a:gd name="T42" fmla="*/ 13 w 274"/>
                <a:gd name="T43" fmla="*/ 193 h 196"/>
                <a:gd name="T44" fmla="*/ 0 w 274"/>
                <a:gd name="T45" fmla="*/ 189 h 196"/>
                <a:gd name="T46" fmla="*/ 10 w 274"/>
                <a:gd name="T47" fmla="*/ 190 h 196"/>
                <a:gd name="T48" fmla="*/ 50 w 274"/>
                <a:gd name="T49" fmla="*/ 185 h 196"/>
                <a:gd name="T50" fmla="*/ 99 w 274"/>
                <a:gd name="T51" fmla="*/ 165 h 196"/>
                <a:gd name="T52" fmla="*/ 125 w 274"/>
                <a:gd name="T53" fmla="*/ 136 h 196"/>
                <a:gd name="T54" fmla="*/ 132 w 274"/>
                <a:gd name="T55" fmla="*/ 126 h 196"/>
                <a:gd name="T56" fmla="*/ 134 w 274"/>
                <a:gd name="T57" fmla="*/ 124 h 196"/>
                <a:gd name="T58" fmla="*/ 133 w 274"/>
                <a:gd name="T59" fmla="*/ 124 h 196"/>
                <a:gd name="T60" fmla="*/ 149 w 274"/>
                <a:gd name="T61" fmla="*/ 114 h 196"/>
                <a:gd name="T62" fmla="*/ 185 w 274"/>
                <a:gd name="T63" fmla="*/ 112 h 196"/>
                <a:gd name="T64" fmla="*/ 237 w 274"/>
                <a:gd name="T65" fmla="*/ 70 h 196"/>
                <a:gd name="T66" fmla="*/ 261 w 274"/>
                <a:gd name="T67" fmla="*/ 25 h 196"/>
                <a:gd name="T68" fmla="*/ 270 w 274"/>
                <a:gd name="T69" fmla="*/ 3 h 196"/>
                <a:gd name="T70" fmla="*/ 274 w 274"/>
                <a:gd name="T71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74" h="196">
                  <a:moveTo>
                    <a:pt x="274" y="0"/>
                  </a:moveTo>
                  <a:cubicBezTo>
                    <a:pt x="273" y="9"/>
                    <a:pt x="273" y="18"/>
                    <a:pt x="271" y="27"/>
                  </a:cubicBezTo>
                  <a:cubicBezTo>
                    <a:pt x="270" y="37"/>
                    <a:pt x="267" y="46"/>
                    <a:pt x="264" y="57"/>
                  </a:cubicBezTo>
                  <a:cubicBezTo>
                    <a:pt x="264" y="58"/>
                    <a:pt x="263" y="60"/>
                    <a:pt x="262" y="62"/>
                  </a:cubicBezTo>
                  <a:cubicBezTo>
                    <a:pt x="262" y="62"/>
                    <a:pt x="262" y="63"/>
                    <a:pt x="262" y="63"/>
                  </a:cubicBezTo>
                  <a:cubicBezTo>
                    <a:pt x="262" y="63"/>
                    <a:pt x="261" y="64"/>
                    <a:pt x="261" y="64"/>
                  </a:cubicBezTo>
                  <a:cubicBezTo>
                    <a:pt x="261" y="65"/>
                    <a:pt x="261" y="66"/>
                    <a:pt x="260" y="67"/>
                  </a:cubicBezTo>
                  <a:cubicBezTo>
                    <a:pt x="259" y="70"/>
                    <a:pt x="257" y="74"/>
                    <a:pt x="255" y="77"/>
                  </a:cubicBezTo>
                  <a:cubicBezTo>
                    <a:pt x="254" y="78"/>
                    <a:pt x="253" y="80"/>
                    <a:pt x="252" y="82"/>
                  </a:cubicBezTo>
                  <a:cubicBezTo>
                    <a:pt x="252" y="82"/>
                    <a:pt x="252" y="82"/>
                    <a:pt x="252" y="82"/>
                  </a:cubicBezTo>
                  <a:cubicBezTo>
                    <a:pt x="251" y="83"/>
                    <a:pt x="251" y="83"/>
                    <a:pt x="251" y="83"/>
                  </a:cubicBezTo>
                  <a:cubicBezTo>
                    <a:pt x="250" y="84"/>
                    <a:pt x="250" y="85"/>
                    <a:pt x="249" y="85"/>
                  </a:cubicBezTo>
                  <a:cubicBezTo>
                    <a:pt x="247" y="88"/>
                    <a:pt x="244" y="91"/>
                    <a:pt x="241" y="93"/>
                  </a:cubicBezTo>
                  <a:cubicBezTo>
                    <a:pt x="240" y="94"/>
                    <a:pt x="238" y="96"/>
                    <a:pt x="237" y="97"/>
                  </a:cubicBezTo>
                  <a:cubicBezTo>
                    <a:pt x="237" y="97"/>
                    <a:pt x="237" y="97"/>
                    <a:pt x="236" y="97"/>
                  </a:cubicBezTo>
                  <a:cubicBezTo>
                    <a:pt x="236" y="98"/>
                    <a:pt x="236" y="98"/>
                    <a:pt x="236" y="98"/>
                  </a:cubicBezTo>
                  <a:cubicBezTo>
                    <a:pt x="235" y="98"/>
                    <a:pt x="234" y="99"/>
                    <a:pt x="234" y="100"/>
                  </a:cubicBezTo>
                  <a:cubicBezTo>
                    <a:pt x="231" y="102"/>
                    <a:pt x="227" y="104"/>
                    <a:pt x="224" y="106"/>
                  </a:cubicBezTo>
                  <a:cubicBezTo>
                    <a:pt x="222" y="106"/>
                    <a:pt x="221" y="107"/>
                    <a:pt x="219" y="108"/>
                  </a:cubicBezTo>
                  <a:cubicBezTo>
                    <a:pt x="218" y="108"/>
                    <a:pt x="217" y="109"/>
                    <a:pt x="217" y="109"/>
                  </a:cubicBezTo>
                  <a:cubicBezTo>
                    <a:pt x="216" y="109"/>
                    <a:pt x="216" y="110"/>
                    <a:pt x="215" y="110"/>
                  </a:cubicBezTo>
                  <a:cubicBezTo>
                    <a:pt x="215" y="110"/>
                    <a:pt x="215" y="110"/>
                    <a:pt x="215" y="110"/>
                  </a:cubicBezTo>
                  <a:cubicBezTo>
                    <a:pt x="215" y="110"/>
                    <a:pt x="215" y="110"/>
                    <a:pt x="214" y="110"/>
                  </a:cubicBezTo>
                  <a:cubicBezTo>
                    <a:pt x="211" y="112"/>
                    <a:pt x="208" y="113"/>
                    <a:pt x="204" y="115"/>
                  </a:cubicBezTo>
                  <a:cubicBezTo>
                    <a:pt x="194" y="118"/>
                    <a:pt x="186" y="119"/>
                    <a:pt x="176" y="119"/>
                  </a:cubicBezTo>
                  <a:cubicBezTo>
                    <a:pt x="167" y="120"/>
                    <a:pt x="159" y="119"/>
                    <a:pt x="150" y="121"/>
                  </a:cubicBezTo>
                  <a:cubicBezTo>
                    <a:pt x="148" y="119"/>
                    <a:pt x="144" y="119"/>
                    <a:pt x="144" y="123"/>
                  </a:cubicBezTo>
                  <a:cubicBezTo>
                    <a:pt x="143" y="125"/>
                    <a:pt x="143" y="126"/>
                    <a:pt x="142" y="128"/>
                  </a:cubicBezTo>
                  <a:cubicBezTo>
                    <a:pt x="142" y="130"/>
                    <a:pt x="141" y="133"/>
                    <a:pt x="140" y="135"/>
                  </a:cubicBezTo>
                  <a:cubicBezTo>
                    <a:pt x="140" y="137"/>
                    <a:pt x="139" y="138"/>
                    <a:pt x="139" y="140"/>
                  </a:cubicBezTo>
                  <a:cubicBezTo>
                    <a:pt x="138" y="141"/>
                    <a:pt x="138" y="143"/>
                    <a:pt x="138" y="144"/>
                  </a:cubicBezTo>
                  <a:cubicBezTo>
                    <a:pt x="137" y="144"/>
                    <a:pt x="137" y="145"/>
                    <a:pt x="137" y="145"/>
                  </a:cubicBezTo>
                  <a:cubicBezTo>
                    <a:pt x="137" y="146"/>
                    <a:pt x="137" y="146"/>
                    <a:pt x="137" y="146"/>
                  </a:cubicBezTo>
                  <a:cubicBezTo>
                    <a:pt x="137" y="146"/>
                    <a:pt x="137" y="146"/>
                    <a:pt x="136" y="146"/>
                  </a:cubicBezTo>
                  <a:cubicBezTo>
                    <a:pt x="135" y="150"/>
                    <a:pt x="133" y="154"/>
                    <a:pt x="131" y="158"/>
                  </a:cubicBezTo>
                  <a:cubicBezTo>
                    <a:pt x="129" y="161"/>
                    <a:pt x="127" y="164"/>
                    <a:pt x="124" y="167"/>
                  </a:cubicBezTo>
                  <a:cubicBezTo>
                    <a:pt x="119" y="174"/>
                    <a:pt x="113" y="179"/>
                    <a:pt x="107" y="183"/>
                  </a:cubicBezTo>
                  <a:cubicBezTo>
                    <a:pt x="103" y="184"/>
                    <a:pt x="100" y="186"/>
                    <a:pt x="97" y="188"/>
                  </a:cubicBezTo>
                  <a:cubicBezTo>
                    <a:pt x="97" y="188"/>
                    <a:pt x="96" y="188"/>
                    <a:pt x="96" y="189"/>
                  </a:cubicBezTo>
                  <a:cubicBezTo>
                    <a:pt x="92" y="190"/>
                    <a:pt x="87" y="191"/>
                    <a:pt x="84" y="192"/>
                  </a:cubicBezTo>
                  <a:cubicBezTo>
                    <a:pt x="76" y="194"/>
                    <a:pt x="69" y="195"/>
                    <a:pt x="61" y="195"/>
                  </a:cubicBezTo>
                  <a:cubicBezTo>
                    <a:pt x="53" y="196"/>
                    <a:pt x="45" y="196"/>
                    <a:pt x="38" y="196"/>
                  </a:cubicBezTo>
                  <a:cubicBezTo>
                    <a:pt x="34" y="196"/>
                    <a:pt x="29" y="196"/>
                    <a:pt x="25" y="195"/>
                  </a:cubicBezTo>
                  <a:cubicBezTo>
                    <a:pt x="21" y="195"/>
                    <a:pt x="17" y="194"/>
                    <a:pt x="13" y="193"/>
                  </a:cubicBezTo>
                  <a:cubicBezTo>
                    <a:pt x="8" y="192"/>
                    <a:pt x="4" y="190"/>
                    <a:pt x="0" y="189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89"/>
                    <a:pt x="1" y="189"/>
                    <a:pt x="1" y="188"/>
                  </a:cubicBezTo>
                  <a:cubicBezTo>
                    <a:pt x="4" y="190"/>
                    <a:pt x="7" y="190"/>
                    <a:pt x="10" y="190"/>
                  </a:cubicBezTo>
                  <a:cubicBezTo>
                    <a:pt x="14" y="190"/>
                    <a:pt x="19" y="189"/>
                    <a:pt x="24" y="189"/>
                  </a:cubicBezTo>
                  <a:cubicBezTo>
                    <a:pt x="32" y="187"/>
                    <a:pt x="41" y="186"/>
                    <a:pt x="50" y="185"/>
                  </a:cubicBezTo>
                  <a:cubicBezTo>
                    <a:pt x="59" y="183"/>
                    <a:pt x="67" y="180"/>
                    <a:pt x="76" y="178"/>
                  </a:cubicBezTo>
                  <a:cubicBezTo>
                    <a:pt x="84" y="175"/>
                    <a:pt x="92" y="170"/>
                    <a:pt x="99" y="165"/>
                  </a:cubicBezTo>
                  <a:cubicBezTo>
                    <a:pt x="107" y="160"/>
                    <a:pt x="113" y="153"/>
                    <a:pt x="119" y="146"/>
                  </a:cubicBezTo>
                  <a:cubicBezTo>
                    <a:pt x="122" y="143"/>
                    <a:pt x="124" y="139"/>
                    <a:pt x="125" y="136"/>
                  </a:cubicBezTo>
                  <a:cubicBezTo>
                    <a:pt x="126" y="137"/>
                    <a:pt x="127" y="137"/>
                    <a:pt x="128" y="136"/>
                  </a:cubicBezTo>
                  <a:cubicBezTo>
                    <a:pt x="129" y="133"/>
                    <a:pt x="131" y="129"/>
                    <a:pt x="132" y="126"/>
                  </a:cubicBezTo>
                  <a:cubicBezTo>
                    <a:pt x="133" y="126"/>
                    <a:pt x="133" y="125"/>
                    <a:pt x="133" y="125"/>
                  </a:cubicBezTo>
                  <a:cubicBezTo>
                    <a:pt x="133" y="125"/>
                    <a:pt x="133" y="125"/>
                    <a:pt x="134" y="124"/>
                  </a:cubicBezTo>
                  <a:cubicBezTo>
                    <a:pt x="134" y="124"/>
                    <a:pt x="134" y="124"/>
                    <a:pt x="134" y="124"/>
                  </a:cubicBezTo>
                  <a:cubicBezTo>
                    <a:pt x="134" y="124"/>
                    <a:pt x="133" y="124"/>
                    <a:pt x="133" y="124"/>
                  </a:cubicBezTo>
                  <a:cubicBezTo>
                    <a:pt x="134" y="122"/>
                    <a:pt x="136" y="119"/>
                    <a:pt x="138" y="118"/>
                  </a:cubicBezTo>
                  <a:cubicBezTo>
                    <a:pt x="141" y="116"/>
                    <a:pt x="145" y="115"/>
                    <a:pt x="149" y="114"/>
                  </a:cubicBezTo>
                  <a:cubicBezTo>
                    <a:pt x="153" y="114"/>
                    <a:pt x="157" y="114"/>
                    <a:pt x="161" y="113"/>
                  </a:cubicBezTo>
                  <a:cubicBezTo>
                    <a:pt x="169" y="113"/>
                    <a:pt x="177" y="113"/>
                    <a:pt x="185" y="112"/>
                  </a:cubicBezTo>
                  <a:cubicBezTo>
                    <a:pt x="192" y="110"/>
                    <a:pt x="200" y="107"/>
                    <a:pt x="206" y="103"/>
                  </a:cubicBezTo>
                  <a:cubicBezTo>
                    <a:pt x="219" y="95"/>
                    <a:pt x="229" y="83"/>
                    <a:pt x="237" y="70"/>
                  </a:cubicBezTo>
                  <a:cubicBezTo>
                    <a:pt x="241" y="64"/>
                    <a:pt x="245" y="57"/>
                    <a:pt x="249" y="50"/>
                  </a:cubicBezTo>
                  <a:cubicBezTo>
                    <a:pt x="254" y="42"/>
                    <a:pt x="258" y="34"/>
                    <a:pt x="261" y="25"/>
                  </a:cubicBezTo>
                  <a:cubicBezTo>
                    <a:pt x="263" y="21"/>
                    <a:pt x="265" y="15"/>
                    <a:pt x="267" y="10"/>
                  </a:cubicBezTo>
                  <a:cubicBezTo>
                    <a:pt x="268" y="8"/>
                    <a:pt x="269" y="5"/>
                    <a:pt x="270" y="3"/>
                  </a:cubicBezTo>
                  <a:cubicBezTo>
                    <a:pt x="271" y="2"/>
                    <a:pt x="272" y="1"/>
                    <a:pt x="273" y="1"/>
                  </a:cubicBezTo>
                  <a:lnTo>
                    <a:pt x="274" y="0"/>
                  </a:ln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7" name="íś1îḋè">
              <a:extLst>
                <a:ext uri="{FF2B5EF4-FFF2-40B4-BE49-F238E27FC236}">
                  <a16:creationId xmlns:a16="http://schemas.microsoft.com/office/drawing/2014/main" id="{40D3DEBB-00A0-4DF0-96F5-DCB7383AF5CA}"/>
                </a:ext>
              </a:extLst>
            </p:cNvPr>
            <p:cNvSpPr/>
            <p:nvPr/>
          </p:nvSpPr>
          <p:spPr bwMode="auto">
            <a:xfrm>
              <a:off x="4931192" y="2241524"/>
              <a:ext cx="929479" cy="691190"/>
            </a:xfrm>
            <a:custGeom>
              <a:avLst/>
              <a:gdLst>
                <a:gd name="T0" fmla="*/ 158 w 302"/>
                <a:gd name="T1" fmla="*/ 62 h 225"/>
                <a:gd name="T2" fmla="*/ 159 w 302"/>
                <a:gd name="T3" fmla="*/ 61 h 225"/>
                <a:gd name="T4" fmla="*/ 164 w 302"/>
                <a:gd name="T5" fmla="*/ 56 h 225"/>
                <a:gd name="T6" fmla="*/ 165 w 302"/>
                <a:gd name="T7" fmla="*/ 54 h 225"/>
                <a:gd name="T8" fmla="*/ 170 w 302"/>
                <a:gd name="T9" fmla="*/ 51 h 225"/>
                <a:gd name="T10" fmla="*/ 174 w 302"/>
                <a:gd name="T11" fmla="*/ 49 h 225"/>
                <a:gd name="T12" fmla="*/ 178 w 302"/>
                <a:gd name="T13" fmla="*/ 48 h 225"/>
                <a:gd name="T14" fmla="*/ 208 w 302"/>
                <a:gd name="T15" fmla="*/ 41 h 225"/>
                <a:gd name="T16" fmla="*/ 216 w 302"/>
                <a:gd name="T17" fmla="*/ 40 h 225"/>
                <a:gd name="T18" fmla="*/ 282 w 302"/>
                <a:gd name="T19" fmla="*/ 7 h 225"/>
                <a:gd name="T20" fmla="*/ 286 w 302"/>
                <a:gd name="T21" fmla="*/ 4 h 225"/>
                <a:gd name="T22" fmla="*/ 286 w 302"/>
                <a:gd name="T23" fmla="*/ 24 h 225"/>
                <a:gd name="T24" fmla="*/ 290 w 302"/>
                <a:gd name="T25" fmla="*/ 24 h 225"/>
                <a:gd name="T26" fmla="*/ 302 w 302"/>
                <a:gd name="T27" fmla="*/ 18 h 225"/>
                <a:gd name="T28" fmla="*/ 300 w 302"/>
                <a:gd name="T29" fmla="*/ 28 h 225"/>
                <a:gd name="T30" fmla="*/ 302 w 302"/>
                <a:gd name="T31" fmla="*/ 27 h 225"/>
                <a:gd name="T32" fmla="*/ 300 w 302"/>
                <a:gd name="T33" fmla="*/ 36 h 225"/>
                <a:gd name="T34" fmla="*/ 300 w 302"/>
                <a:gd name="T35" fmla="*/ 35 h 225"/>
                <a:gd name="T36" fmla="*/ 295 w 302"/>
                <a:gd name="T37" fmla="*/ 39 h 225"/>
                <a:gd name="T38" fmla="*/ 293 w 302"/>
                <a:gd name="T39" fmla="*/ 42 h 225"/>
                <a:gd name="T40" fmla="*/ 292 w 302"/>
                <a:gd name="T41" fmla="*/ 46 h 225"/>
                <a:gd name="T42" fmla="*/ 286 w 302"/>
                <a:gd name="T43" fmla="*/ 61 h 225"/>
                <a:gd name="T44" fmla="*/ 247 w 302"/>
                <a:gd name="T45" fmla="*/ 124 h 225"/>
                <a:gd name="T46" fmla="*/ 198 w 302"/>
                <a:gd name="T47" fmla="*/ 146 h 225"/>
                <a:gd name="T48" fmla="*/ 163 w 302"/>
                <a:gd name="T49" fmla="*/ 153 h 225"/>
                <a:gd name="T50" fmla="*/ 153 w 302"/>
                <a:gd name="T51" fmla="*/ 170 h 225"/>
                <a:gd name="T52" fmla="*/ 138 w 302"/>
                <a:gd name="T53" fmla="*/ 190 h 225"/>
                <a:gd name="T54" fmla="*/ 104 w 302"/>
                <a:gd name="T55" fmla="*/ 212 h 225"/>
                <a:gd name="T56" fmla="*/ 53 w 302"/>
                <a:gd name="T57" fmla="*/ 223 h 225"/>
                <a:gd name="T58" fmla="*/ 35 w 302"/>
                <a:gd name="T59" fmla="*/ 224 h 225"/>
                <a:gd name="T60" fmla="*/ 38 w 302"/>
                <a:gd name="T61" fmla="*/ 212 h 225"/>
                <a:gd name="T62" fmla="*/ 3 w 302"/>
                <a:gd name="T63" fmla="*/ 204 h 225"/>
                <a:gd name="T64" fmla="*/ 2 w 302"/>
                <a:gd name="T65" fmla="*/ 202 h 225"/>
                <a:gd name="T66" fmla="*/ 30 w 302"/>
                <a:gd name="T67" fmla="*/ 180 h 225"/>
                <a:gd name="T68" fmla="*/ 62 w 302"/>
                <a:gd name="T69" fmla="*/ 123 h 225"/>
                <a:gd name="T70" fmla="*/ 79 w 302"/>
                <a:gd name="T71" fmla="*/ 111 h 225"/>
                <a:gd name="T72" fmla="*/ 81 w 302"/>
                <a:gd name="T73" fmla="*/ 111 h 225"/>
                <a:gd name="T74" fmla="*/ 85 w 302"/>
                <a:gd name="T75" fmla="*/ 110 h 225"/>
                <a:gd name="T76" fmla="*/ 100 w 302"/>
                <a:gd name="T77" fmla="*/ 104 h 225"/>
                <a:gd name="T78" fmla="*/ 125 w 302"/>
                <a:gd name="T79" fmla="*/ 98 h 225"/>
                <a:gd name="T80" fmla="*/ 123 w 302"/>
                <a:gd name="T81" fmla="*/ 94 h 225"/>
                <a:gd name="T82" fmla="*/ 123 w 302"/>
                <a:gd name="T83" fmla="*/ 91 h 225"/>
                <a:gd name="T84" fmla="*/ 125 w 302"/>
                <a:gd name="T85" fmla="*/ 84 h 225"/>
                <a:gd name="T86" fmla="*/ 126 w 302"/>
                <a:gd name="T87" fmla="*/ 83 h 225"/>
                <a:gd name="T88" fmla="*/ 127 w 302"/>
                <a:gd name="T89" fmla="*/ 81 h 225"/>
                <a:gd name="T90" fmla="*/ 129 w 302"/>
                <a:gd name="T91" fmla="*/ 80 h 225"/>
                <a:gd name="T92" fmla="*/ 132 w 302"/>
                <a:gd name="T93" fmla="*/ 79 h 225"/>
                <a:gd name="T94" fmla="*/ 133 w 302"/>
                <a:gd name="T95" fmla="*/ 79 h 225"/>
                <a:gd name="T96" fmla="*/ 136 w 302"/>
                <a:gd name="T97" fmla="*/ 79 h 225"/>
                <a:gd name="T98" fmla="*/ 138 w 302"/>
                <a:gd name="T99" fmla="*/ 79 h 225"/>
                <a:gd name="T100" fmla="*/ 145 w 302"/>
                <a:gd name="T101" fmla="*/ 81 h 225"/>
                <a:gd name="T102" fmla="*/ 147 w 302"/>
                <a:gd name="T103" fmla="*/ 81 h 225"/>
                <a:gd name="T104" fmla="*/ 151 w 302"/>
                <a:gd name="T105" fmla="*/ 75 h 225"/>
                <a:gd name="T106" fmla="*/ 158 w 302"/>
                <a:gd name="T107" fmla="*/ 6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2" h="225">
                  <a:moveTo>
                    <a:pt x="158" y="62"/>
                  </a:moveTo>
                  <a:cubicBezTo>
                    <a:pt x="158" y="62"/>
                    <a:pt x="158" y="62"/>
                    <a:pt x="158" y="62"/>
                  </a:cubicBezTo>
                  <a:cubicBezTo>
                    <a:pt x="159" y="62"/>
                    <a:pt x="159" y="61"/>
                    <a:pt x="159" y="61"/>
                  </a:cubicBezTo>
                  <a:cubicBezTo>
                    <a:pt x="159" y="61"/>
                    <a:pt x="159" y="61"/>
                    <a:pt x="159" y="61"/>
                  </a:cubicBezTo>
                  <a:cubicBezTo>
                    <a:pt x="159" y="61"/>
                    <a:pt x="160" y="60"/>
                    <a:pt x="160" y="60"/>
                  </a:cubicBezTo>
                  <a:cubicBezTo>
                    <a:pt x="161" y="58"/>
                    <a:pt x="162" y="57"/>
                    <a:pt x="164" y="56"/>
                  </a:cubicBezTo>
                  <a:cubicBezTo>
                    <a:pt x="164" y="55"/>
                    <a:pt x="164" y="55"/>
                    <a:pt x="165" y="55"/>
                  </a:cubicBezTo>
                  <a:cubicBezTo>
                    <a:pt x="165" y="54"/>
                    <a:pt x="165" y="54"/>
                    <a:pt x="165" y="54"/>
                  </a:cubicBezTo>
                  <a:cubicBezTo>
                    <a:pt x="165" y="54"/>
                    <a:pt x="165" y="54"/>
                    <a:pt x="166" y="54"/>
                  </a:cubicBezTo>
                  <a:cubicBezTo>
                    <a:pt x="167" y="53"/>
                    <a:pt x="168" y="52"/>
                    <a:pt x="170" y="51"/>
                  </a:cubicBezTo>
                  <a:cubicBezTo>
                    <a:pt x="171" y="51"/>
                    <a:pt x="172" y="50"/>
                    <a:pt x="174" y="49"/>
                  </a:cubicBezTo>
                  <a:cubicBezTo>
                    <a:pt x="174" y="49"/>
                    <a:pt x="174" y="49"/>
                    <a:pt x="174" y="49"/>
                  </a:cubicBezTo>
                  <a:cubicBezTo>
                    <a:pt x="175" y="49"/>
                    <a:pt x="175" y="49"/>
                    <a:pt x="175" y="49"/>
                  </a:cubicBezTo>
                  <a:cubicBezTo>
                    <a:pt x="176" y="48"/>
                    <a:pt x="177" y="48"/>
                    <a:pt x="178" y="48"/>
                  </a:cubicBezTo>
                  <a:cubicBezTo>
                    <a:pt x="182" y="46"/>
                    <a:pt x="186" y="45"/>
                    <a:pt x="190" y="44"/>
                  </a:cubicBezTo>
                  <a:cubicBezTo>
                    <a:pt x="196" y="43"/>
                    <a:pt x="202" y="42"/>
                    <a:pt x="208" y="41"/>
                  </a:cubicBezTo>
                  <a:cubicBezTo>
                    <a:pt x="208" y="41"/>
                    <a:pt x="208" y="41"/>
                    <a:pt x="208" y="41"/>
                  </a:cubicBezTo>
                  <a:cubicBezTo>
                    <a:pt x="211" y="41"/>
                    <a:pt x="213" y="41"/>
                    <a:pt x="216" y="40"/>
                  </a:cubicBezTo>
                  <a:cubicBezTo>
                    <a:pt x="233" y="39"/>
                    <a:pt x="250" y="37"/>
                    <a:pt x="264" y="27"/>
                  </a:cubicBezTo>
                  <a:cubicBezTo>
                    <a:pt x="271" y="21"/>
                    <a:pt x="277" y="15"/>
                    <a:pt x="282" y="7"/>
                  </a:cubicBezTo>
                  <a:cubicBezTo>
                    <a:pt x="283" y="5"/>
                    <a:pt x="284" y="3"/>
                    <a:pt x="285" y="0"/>
                  </a:cubicBezTo>
                  <a:cubicBezTo>
                    <a:pt x="285" y="2"/>
                    <a:pt x="285" y="3"/>
                    <a:pt x="286" y="4"/>
                  </a:cubicBezTo>
                  <a:cubicBezTo>
                    <a:pt x="286" y="8"/>
                    <a:pt x="286" y="11"/>
                    <a:pt x="286" y="14"/>
                  </a:cubicBezTo>
                  <a:cubicBezTo>
                    <a:pt x="286" y="17"/>
                    <a:pt x="285" y="21"/>
                    <a:pt x="286" y="24"/>
                  </a:cubicBezTo>
                  <a:cubicBezTo>
                    <a:pt x="287" y="24"/>
                    <a:pt x="287" y="25"/>
                    <a:pt x="288" y="25"/>
                  </a:cubicBezTo>
                  <a:cubicBezTo>
                    <a:pt x="289" y="25"/>
                    <a:pt x="290" y="25"/>
                    <a:pt x="290" y="24"/>
                  </a:cubicBezTo>
                  <a:cubicBezTo>
                    <a:pt x="295" y="21"/>
                    <a:pt x="298" y="18"/>
                    <a:pt x="302" y="14"/>
                  </a:cubicBezTo>
                  <a:cubicBezTo>
                    <a:pt x="302" y="15"/>
                    <a:pt x="302" y="16"/>
                    <a:pt x="302" y="18"/>
                  </a:cubicBezTo>
                  <a:cubicBezTo>
                    <a:pt x="302" y="18"/>
                    <a:pt x="302" y="19"/>
                    <a:pt x="302" y="19"/>
                  </a:cubicBezTo>
                  <a:cubicBezTo>
                    <a:pt x="301" y="22"/>
                    <a:pt x="300" y="24"/>
                    <a:pt x="300" y="28"/>
                  </a:cubicBezTo>
                  <a:cubicBezTo>
                    <a:pt x="299" y="29"/>
                    <a:pt x="301" y="29"/>
                    <a:pt x="302" y="28"/>
                  </a:cubicBezTo>
                  <a:cubicBezTo>
                    <a:pt x="302" y="28"/>
                    <a:pt x="302" y="27"/>
                    <a:pt x="302" y="27"/>
                  </a:cubicBezTo>
                  <a:cubicBezTo>
                    <a:pt x="302" y="29"/>
                    <a:pt x="302" y="32"/>
                    <a:pt x="302" y="35"/>
                  </a:cubicBezTo>
                  <a:cubicBezTo>
                    <a:pt x="301" y="35"/>
                    <a:pt x="301" y="35"/>
                    <a:pt x="300" y="36"/>
                  </a:cubicBezTo>
                  <a:cubicBezTo>
                    <a:pt x="300" y="36"/>
                    <a:pt x="300" y="36"/>
                    <a:pt x="300" y="36"/>
                  </a:cubicBezTo>
                  <a:cubicBezTo>
                    <a:pt x="300" y="35"/>
                    <a:pt x="300" y="35"/>
                    <a:pt x="300" y="35"/>
                  </a:cubicBezTo>
                  <a:cubicBezTo>
                    <a:pt x="300" y="34"/>
                    <a:pt x="299" y="34"/>
                    <a:pt x="299" y="34"/>
                  </a:cubicBezTo>
                  <a:cubicBezTo>
                    <a:pt x="297" y="36"/>
                    <a:pt x="296" y="37"/>
                    <a:pt x="295" y="39"/>
                  </a:cubicBezTo>
                  <a:cubicBezTo>
                    <a:pt x="294" y="40"/>
                    <a:pt x="294" y="41"/>
                    <a:pt x="293" y="41"/>
                  </a:cubicBezTo>
                  <a:cubicBezTo>
                    <a:pt x="293" y="42"/>
                    <a:pt x="293" y="42"/>
                    <a:pt x="293" y="42"/>
                  </a:cubicBezTo>
                  <a:cubicBezTo>
                    <a:pt x="292" y="42"/>
                    <a:pt x="291" y="43"/>
                    <a:pt x="291" y="44"/>
                  </a:cubicBezTo>
                  <a:cubicBezTo>
                    <a:pt x="291" y="45"/>
                    <a:pt x="291" y="46"/>
                    <a:pt x="292" y="46"/>
                  </a:cubicBezTo>
                  <a:cubicBezTo>
                    <a:pt x="292" y="47"/>
                    <a:pt x="292" y="47"/>
                    <a:pt x="292" y="47"/>
                  </a:cubicBezTo>
                  <a:cubicBezTo>
                    <a:pt x="290" y="52"/>
                    <a:pt x="287" y="57"/>
                    <a:pt x="286" y="61"/>
                  </a:cubicBezTo>
                  <a:cubicBezTo>
                    <a:pt x="282" y="70"/>
                    <a:pt x="277" y="77"/>
                    <a:pt x="273" y="85"/>
                  </a:cubicBezTo>
                  <a:cubicBezTo>
                    <a:pt x="265" y="99"/>
                    <a:pt x="257" y="112"/>
                    <a:pt x="247" y="124"/>
                  </a:cubicBezTo>
                  <a:cubicBezTo>
                    <a:pt x="237" y="135"/>
                    <a:pt x="224" y="143"/>
                    <a:pt x="209" y="145"/>
                  </a:cubicBezTo>
                  <a:cubicBezTo>
                    <a:pt x="206" y="146"/>
                    <a:pt x="202" y="146"/>
                    <a:pt x="198" y="146"/>
                  </a:cubicBezTo>
                  <a:cubicBezTo>
                    <a:pt x="193" y="146"/>
                    <a:pt x="189" y="146"/>
                    <a:pt x="185" y="146"/>
                  </a:cubicBezTo>
                  <a:cubicBezTo>
                    <a:pt x="178" y="147"/>
                    <a:pt x="169" y="148"/>
                    <a:pt x="163" y="153"/>
                  </a:cubicBezTo>
                  <a:cubicBezTo>
                    <a:pt x="158" y="157"/>
                    <a:pt x="157" y="162"/>
                    <a:pt x="156" y="168"/>
                  </a:cubicBezTo>
                  <a:cubicBezTo>
                    <a:pt x="155" y="168"/>
                    <a:pt x="154" y="169"/>
                    <a:pt x="153" y="170"/>
                  </a:cubicBezTo>
                  <a:cubicBezTo>
                    <a:pt x="150" y="174"/>
                    <a:pt x="148" y="177"/>
                    <a:pt x="146" y="181"/>
                  </a:cubicBezTo>
                  <a:cubicBezTo>
                    <a:pt x="144" y="185"/>
                    <a:pt x="140" y="187"/>
                    <a:pt x="138" y="190"/>
                  </a:cubicBezTo>
                  <a:cubicBezTo>
                    <a:pt x="134" y="194"/>
                    <a:pt x="131" y="197"/>
                    <a:pt x="127" y="200"/>
                  </a:cubicBezTo>
                  <a:cubicBezTo>
                    <a:pt x="120" y="205"/>
                    <a:pt x="112" y="209"/>
                    <a:pt x="104" y="212"/>
                  </a:cubicBezTo>
                  <a:cubicBezTo>
                    <a:pt x="95" y="216"/>
                    <a:pt x="87" y="218"/>
                    <a:pt x="78" y="220"/>
                  </a:cubicBezTo>
                  <a:cubicBezTo>
                    <a:pt x="69" y="221"/>
                    <a:pt x="61" y="222"/>
                    <a:pt x="53" y="223"/>
                  </a:cubicBezTo>
                  <a:cubicBezTo>
                    <a:pt x="48" y="224"/>
                    <a:pt x="44" y="225"/>
                    <a:pt x="40" y="225"/>
                  </a:cubicBezTo>
                  <a:cubicBezTo>
                    <a:pt x="38" y="225"/>
                    <a:pt x="37" y="225"/>
                    <a:pt x="35" y="224"/>
                  </a:cubicBezTo>
                  <a:cubicBezTo>
                    <a:pt x="37" y="223"/>
                    <a:pt x="39" y="221"/>
                    <a:pt x="40" y="219"/>
                  </a:cubicBezTo>
                  <a:cubicBezTo>
                    <a:pt x="41" y="216"/>
                    <a:pt x="41" y="212"/>
                    <a:pt x="38" y="212"/>
                  </a:cubicBezTo>
                  <a:cubicBezTo>
                    <a:pt x="30" y="209"/>
                    <a:pt x="22" y="208"/>
                    <a:pt x="14" y="207"/>
                  </a:cubicBezTo>
                  <a:cubicBezTo>
                    <a:pt x="10" y="206"/>
                    <a:pt x="7" y="205"/>
                    <a:pt x="3" y="204"/>
                  </a:cubicBezTo>
                  <a:cubicBezTo>
                    <a:pt x="2" y="204"/>
                    <a:pt x="1" y="203"/>
                    <a:pt x="0" y="203"/>
                  </a:cubicBezTo>
                  <a:cubicBezTo>
                    <a:pt x="0" y="203"/>
                    <a:pt x="1" y="203"/>
                    <a:pt x="2" y="202"/>
                  </a:cubicBezTo>
                  <a:cubicBezTo>
                    <a:pt x="6" y="202"/>
                    <a:pt x="9" y="200"/>
                    <a:pt x="13" y="198"/>
                  </a:cubicBezTo>
                  <a:cubicBezTo>
                    <a:pt x="20" y="194"/>
                    <a:pt x="25" y="188"/>
                    <a:pt x="30" y="180"/>
                  </a:cubicBezTo>
                  <a:cubicBezTo>
                    <a:pt x="38" y="167"/>
                    <a:pt x="42" y="153"/>
                    <a:pt x="50" y="139"/>
                  </a:cubicBezTo>
                  <a:cubicBezTo>
                    <a:pt x="53" y="133"/>
                    <a:pt x="57" y="128"/>
                    <a:pt x="62" y="123"/>
                  </a:cubicBezTo>
                  <a:cubicBezTo>
                    <a:pt x="65" y="121"/>
                    <a:pt x="66" y="119"/>
                    <a:pt x="69" y="117"/>
                  </a:cubicBezTo>
                  <a:cubicBezTo>
                    <a:pt x="72" y="115"/>
                    <a:pt x="76" y="113"/>
                    <a:pt x="79" y="111"/>
                  </a:cubicBezTo>
                  <a:cubicBezTo>
                    <a:pt x="79" y="111"/>
                    <a:pt x="80" y="111"/>
                    <a:pt x="80" y="111"/>
                  </a:cubicBezTo>
                  <a:cubicBezTo>
                    <a:pt x="80" y="111"/>
                    <a:pt x="80" y="111"/>
                    <a:pt x="81" y="111"/>
                  </a:cubicBezTo>
                  <a:cubicBezTo>
                    <a:pt x="82" y="112"/>
                    <a:pt x="83" y="112"/>
                    <a:pt x="85" y="112"/>
                  </a:cubicBezTo>
                  <a:cubicBezTo>
                    <a:pt x="85" y="111"/>
                    <a:pt x="85" y="111"/>
                    <a:pt x="85" y="110"/>
                  </a:cubicBezTo>
                  <a:cubicBezTo>
                    <a:pt x="85" y="110"/>
                    <a:pt x="85" y="109"/>
                    <a:pt x="85" y="109"/>
                  </a:cubicBezTo>
                  <a:cubicBezTo>
                    <a:pt x="90" y="107"/>
                    <a:pt x="95" y="105"/>
                    <a:pt x="100" y="104"/>
                  </a:cubicBezTo>
                  <a:cubicBezTo>
                    <a:pt x="108" y="102"/>
                    <a:pt x="115" y="101"/>
                    <a:pt x="122" y="101"/>
                  </a:cubicBezTo>
                  <a:cubicBezTo>
                    <a:pt x="123" y="100"/>
                    <a:pt x="124" y="100"/>
                    <a:pt x="125" y="98"/>
                  </a:cubicBezTo>
                  <a:cubicBezTo>
                    <a:pt x="125" y="97"/>
                    <a:pt x="125" y="97"/>
                    <a:pt x="124" y="96"/>
                  </a:cubicBezTo>
                  <a:cubicBezTo>
                    <a:pt x="124" y="95"/>
                    <a:pt x="124" y="95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3"/>
                    <a:pt x="123" y="92"/>
                    <a:pt x="123" y="91"/>
                  </a:cubicBezTo>
                  <a:cubicBezTo>
                    <a:pt x="123" y="89"/>
                    <a:pt x="124" y="88"/>
                    <a:pt x="124" y="86"/>
                  </a:cubicBezTo>
                  <a:cubicBezTo>
                    <a:pt x="124" y="85"/>
                    <a:pt x="124" y="85"/>
                    <a:pt x="125" y="84"/>
                  </a:cubicBezTo>
                  <a:cubicBezTo>
                    <a:pt x="125" y="84"/>
                    <a:pt x="125" y="84"/>
                    <a:pt x="125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82"/>
                    <a:pt x="126" y="82"/>
                    <a:pt x="127" y="82"/>
                  </a:cubicBezTo>
                  <a:cubicBezTo>
                    <a:pt x="126" y="82"/>
                    <a:pt x="127" y="81"/>
                    <a:pt x="127" y="81"/>
                  </a:cubicBezTo>
                  <a:cubicBezTo>
                    <a:pt x="128" y="81"/>
                    <a:pt x="128" y="81"/>
                    <a:pt x="128" y="81"/>
                  </a:cubicBezTo>
                  <a:cubicBezTo>
                    <a:pt x="129" y="80"/>
                    <a:pt x="129" y="80"/>
                    <a:pt x="129" y="80"/>
                  </a:cubicBezTo>
                  <a:cubicBezTo>
                    <a:pt x="129" y="80"/>
                    <a:pt x="130" y="80"/>
                    <a:pt x="130" y="80"/>
                  </a:cubicBezTo>
                  <a:cubicBezTo>
                    <a:pt x="130" y="80"/>
                    <a:pt x="131" y="79"/>
                    <a:pt x="132" y="79"/>
                  </a:cubicBezTo>
                  <a:cubicBezTo>
                    <a:pt x="132" y="79"/>
                    <a:pt x="132" y="79"/>
                    <a:pt x="133" y="79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4" y="79"/>
                    <a:pt x="135" y="79"/>
                    <a:pt x="136" y="79"/>
                  </a:cubicBezTo>
                  <a:cubicBezTo>
                    <a:pt x="136" y="79"/>
                    <a:pt x="137" y="79"/>
                    <a:pt x="137" y="79"/>
                  </a:cubicBezTo>
                  <a:cubicBezTo>
                    <a:pt x="138" y="79"/>
                    <a:pt x="138" y="79"/>
                    <a:pt x="138" y="79"/>
                  </a:cubicBezTo>
                  <a:cubicBezTo>
                    <a:pt x="138" y="79"/>
                    <a:pt x="139" y="79"/>
                    <a:pt x="140" y="80"/>
                  </a:cubicBezTo>
                  <a:cubicBezTo>
                    <a:pt x="141" y="80"/>
                    <a:pt x="143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6" y="81"/>
                    <a:pt x="146" y="81"/>
                    <a:pt x="147" y="81"/>
                  </a:cubicBezTo>
                  <a:cubicBezTo>
                    <a:pt x="148" y="80"/>
                    <a:pt x="149" y="79"/>
                    <a:pt x="149" y="78"/>
                  </a:cubicBezTo>
                  <a:cubicBezTo>
                    <a:pt x="150" y="77"/>
                    <a:pt x="150" y="76"/>
                    <a:pt x="151" y="75"/>
                  </a:cubicBezTo>
                  <a:cubicBezTo>
                    <a:pt x="151" y="74"/>
                    <a:pt x="152" y="72"/>
                    <a:pt x="153" y="70"/>
                  </a:cubicBezTo>
                  <a:cubicBezTo>
                    <a:pt x="155" y="68"/>
                    <a:pt x="156" y="65"/>
                    <a:pt x="158" y="62"/>
                  </a:cubicBezTo>
                  <a:cubicBezTo>
                    <a:pt x="158" y="62"/>
                    <a:pt x="159" y="61"/>
                    <a:pt x="158" y="62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8" name="îšļîďe">
              <a:extLst>
                <a:ext uri="{FF2B5EF4-FFF2-40B4-BE49-F238E27FC236}">
                  <a16:creationId xmlns:a16="http://schemas.microsoft.com/office/drawing/2014/main" id="{07CEA966-A6B9-441E-950C-6416AF4B7D6C}"/>
                </a:ext>
              </a:extLst>
            </p:cNvPr>
            <p:cNvSpPr/>
            <p:nvPr/>
          </p:nvSpPr>
          <p:spPr bwMode="auto">
            <a:xfrm>
              <a:off x="4722503" y="2726984"/>
              <a:ext cx="57723" cy="56242"/>
            </a:xfrm>
            <a:custGeom>
              <a:avLst/>
              <a:gdLst>
                <a:gd name="T0" fmla="*/ 2 w 19"/>
                <a:gd name="T1" fmla="*/ 2 h 18"/>
                <a:gd name="T2" fmla="*/ 2 w 19"/>
                <a:gd name="T3" fmla="*/ 2 h 18"/>
                <a:gd name="T4" fmla="*/ 5 w 19"/>
                <a:gd name="T5" fmla="*/ 1 h 18"/>
                <a:gd name="T6" fmla="*/ 11 w 19"/>
                <a:gd name="T7" fmla="*/ 1 h 18"/>
                <a:gd name="T8" fmla="*/ 19 w 19"/>
                <a:gd name="T9" fmla="*/ 12 h 18"/>
                <a:gd name="T10" fmla="*/ 15 w 19"/>
                <a:gd name="T11" fmla="*/ 17 h 18"/>
                <a:gd name="T12" fmla="*/ 10 w 19"/>
                <a:gd name="T13" fmla="*/ 18 h 18"/>
                <a:gd name="T14" fmla="*/ 0 w 19"/>
                <a:gd name="T15" fmla="*/ 9 h 18"/>
                <a:gd name="T16" fmla="*/ 2 w 19"/>
                <a:gd name="T1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7" y="0"/>
                    <a:pt x="9" y="0"/>
                    <a:pt x="11" y="1"/>
                  </a:cubicBezTo>
                  <a:cubicBezTo>
                    <a:pt x="16" y="3"/>
                    <a:pt x="19" y="7"/>
                    <a:pt x="19" y="12"/>
                  </a:cubicBezTo>
                  <a:cubicBezTo>
                    <a:pt x="19" y="14"/>
                    <a:pt x="17" y="16"/>
                    <a:pt x="15" y="17"/>
                  </a:cubicBezTo>
                  <a:cubicBezTo>
                    <a:pt x="14" y="18"/>
                    <a:pt x="11" y="18"/>
                    <a:pt x="10" y="18"/>
                  </a:cubicBezTo>
                  <a:cubicBezTo>
                    <a:pt x="5" y="17"/>
                    <a:pt x="1" y="13"/>
                    <a:pt x="0" y="9"/>
                  </a:cubicBezTo>
                  <a:cubicBezTo>
                    <a:pt x="0" y="6"/>
                    <a:pt x="1" y="4"/>
                    <a:pt x="2" y="2"/>
                  </a:cubicBezTo>
                  <a:close/>
                </a:path>
              </a:pathLst>
            </a:custGeom>
            <a:solidFill>
              <a:srgbClr val="FF9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9" name="íṥlïḍè">
              <a:extLst>
                <a:ext uri="{FF2B5EF4-FFF2-40B4-BE49-F238E27FC236}">
                  <a16:creationId xmlns:a16="http://schemas.microsoft.com/office/drawing/2014/main" id="{8361FF30-A3BB-4C05-83DF-7934D7075F20}"/>
                </a:ext>
              </a:extLst>
            </p:cNvPr>
            <p:cNvSpPr/>
            <p:nvPr/>
          </p:nvSpPr>
          <p:spPr bwMode="auto">
            <a:xfrm>
              <a:off x="4762465" y="2524216"/>
              <a:ext cx="476580" cy="667509"/>
            </a:xfrm>
            <a:custGeom>
              <a:avLst/>
              <a:gdLst>
                <a:gd name="T0" fmla="*/ 82 w 155"/>
                <a:gd name="T1" fmla="*/ 19 h 217"/>
                <a:gd name="T2" fmla="*/ 82 w 155"/>
                <a:gd name="T3" fmla="*/ 19 h 217"/>
                <a:gd name="T4" fmla="*/ 71 w 155"/>
                <a:gd name="T5" fmla="*/ 25 h 217"/>
                <a:gd name="T6" fmla="*/ 59 w 155"/>
                <a:gd name="T7" fmla="*/ 32 h 217"/>
                <a:gd name="T8" fmla="*/ 39 w 155"/>
                <a:gd name="T9" fmla="*/ 47 h 217"/>
                <a:gd name="T10" fmla="*/ 6 w 155"/>
                <a:gd name="T11" fmla="*/ 95 h 217"/>
                <a:gd name="T12" fmla="*/ 3 w 155"/>
                <a:gd name="T13" fmla="*/ 102 h 217"/>
                <a:gd name="T14" fmla="*/ 0 w 155"/>
                <a:gd name="T15" fmla="*/ 90 h 217"/>
                <a:gd name="T16" fmla="*/ 11 w 155"/>
                <a:gd name="T17" fmla="*/ 81 h 217"/>
                <a:gd name="T18" fmla="*/ 6 w 155"/>
                <a:gd name="T19" fmla="*/ 65 h 217"/>
                <a:gd name="T20" fmla="*/ 4 w 155"/>
                <a:gd name="T21" fmla="*/ 64 h 217"/>
                <a:gd name="T22" fmla="*/ 5 w 155"/>
                <a:gd name="T23" fmla="*/ 63 h 217"/>
                <a:gd name="T24" fmla="*/ 9 w 155"/>
                <a:gd name="T25" fmla="*/ 57 h 217"/>
                <a:gd name="T26" fmla="*/ 16 w 155"/>
                <a:gd name="T27" fmla="*/ 47 h 217"/>
                <a:gd name="T28" fmla="*/ 30 w 155"/>
                <a:gd name="T29" fmla="*/ 30 h 217"/>
                <a:gd name="T30" fmla="*/ 66 w 155"/>
                <a:gd name="T31" fmla="*/ 6 h 217"/>
                <a:gd name="T32" fmla="*/ 78 w 155"/>
                <a:gd name="T33" fmla="*/ 2 h 217"/>
                <a:gd name="T34" fmla="*/ 84 w 155"/>
                <a:gd name="T35" fmla="*/ 1 h 217"/>
                <a:gd name="T36" fmla="*/ 86 w 155"/>
                <a:gd name="T37" fmla="*/ 0 h 217"/>
                <a:gd name="T38" fmla="*/ 86 w 155"/>
                <a:gd name="T39" fmla="*/ 12 h 217"/>
                <a:gd name="T40" fmla="*/ 87 w 155"/>
                <a:gd name="T41" fmla="*/ 19 h 217"/>
                <a:gd name="T42" fmla="*/ 85 w 155"/>
                <a:gd name="T43" fmla="*/ 19 h 217"/>
                <a:gd name="T44" fmla="*/ 82 w 155"/>
                <a:gd name="T45" fmla="*/ 19 h 217"/>
                <a:gd name="T46" fmla="*/ 129 w 155"/>
                <a:gd name="T47" fmla="*/ 184 h 217"/>
                <a:gd name="T48" fmla="*/ 129 w 155"/>
                <a:gd name="T49" fmla="*/ 184 h 217"/>
                <a:gd name="T50" fmla="*/ 143 w 155"/>
                <a:gd name="T51" fmla="*/ 172 h 217"/>
                <a:gd name="T52" fmla="*/ 149 w 155"/>
                <a:gd name="T53" fmla="*/ 167 h 217"/>
                <a:gd name="T54" fmla="*/ 150 w 155"/>
                <a:gd name="T55" fmla="*/ 171 h 217"/>
                <a:gd name="T56" fmla="*/ 154 w 155"/>
                <a:gd name="T57" fmla="*/ 179 h 217"/>
                <a:gd name="T58" fmla="*/ 155 w 155"/>
                <a:gd name="T59" fmla="*/ 183 h 217"/>
                <a:gd name="T60" fmla="*/ 155 w 155"/>
                <a:gd name="T61" fmla="*/ 183 h 217"/>
                <a:gd name="T62" fmla="*/ 149 w 155"/>
                <a:gd name="T63" fmla="*/ 185 h 217"/>
                <a:gd name="T64" fmla="*/ 145 w 155"/>
                <a:gd name="T65" fmla="*/ 189 h 217"/>
                <a:gd name="T66" fmla="*/ 136 w 155"/>
                <a:gd name="T67" fmla="*/ 198 h 217"/>
                <a:gd name="T68" fmla="*/ 129 w 155"/>
                <a:gd name="T69" fmla="*/ 217 h 217"/>
                <a:gd name="T70" fmla="*/ 115 w 155"/>
                <a:gd name="T71" fmla="*/ 213 h 217"/>
                <a:gd name="T72" fmla="*/ 129 w 155"/>
                <a:gd name="T73" fmla="*/ 18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5" h="217">
                  <a:moveTo>
                    <a:pt x="82" y="19"/>
                  </a:moveTo>
                  <a:cubicBezTo>
                    <a:pt x="82" y="19"/>
                    <a:pt x="82" y="19"/>
                    <a:pt x="82" y="19"/>
                  </a:cubicBezTo>
                  <a:cubicBezTo>
                    <a:pt x="78" y="21"/>
                    <a:pt x="74" y="23"/>
                    <a:pt x="71" y="25"/>
                  </a:cubicBezTo>
                  <a:cubicBezTo>
                    <a:pt x="67" y="28"/>
                    <a:pt x="63" y="30"/>
                    <a:pt x="59" y="32"/>
                  </a:cubicBezTo>
                  <a:cubicBezTo>
                    <a:pt x="51" y="36"/>
                    <a:pt x="45" y="41"/>
                    <a:pt x="39" y="47"/>
                  </a:cubicBezTo>
                  <a:cubicBezTo>
                    <a:pt x="26" y="62"/>
                    <a:pt x="15" y="78"/>
                    <a:pt x="6" y="95"/>
                  </a:cubicBezTo>
                  <a:cubicBezTo>
                    <a:pt x="5" y="97"/>
                    <a:pt x="4" y="100"/>
                    <a:pt x="3" y="102"/>
                  </a:cubicBezTo>
                  <a:cubicBezTo>
                    <a:pt x="2" y="98"/>
                    <a:pt x="1" y="94"/>
                    <a:pt x="0" y="90"/>
                  </a:cubicBezTo>
                  <a:cubicBezTo>
                    <a:pt x="5" y="90"/>
                    <a:pt x="9" y="86"/>
                    <a:pt x="11" y="81"/>
                  </a:cubicBezTo>
                  <a:cubicBezTo>
                    <a:pt x="13" y="75"/>
                    <a:pt x="10" y="69"/>
                    <a:pt x="6" y="65"/>
                  </a:cubicBezTo>
                  <a:cubicBezTo>
                    <a:pt x="5" y="65"/>
                    <a:pt x="5" y="64"/>
                    <a:pt x="4" y="64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6" y="61"/>
                    <a:pt x="8" y="59"/>
                    <a:pt x="9" y="57"/>
                  </a:cubicBezTo>
                  <a:cubicBezTo>
                    <a:pt x="11" y="54"/>
                    <a:pt x="13" y="50"/>
                    <a:pt x="16" y="47"/>
                  </a:cubicBezTo>
                  <a:cubicBezTo>
                    <a:pt x="20" y="41"/>
                    <a:pt x="25" y="36"/>
                    <a:pt x="30" y="30"/>
                  </a:cubicBezTo>
                  <a:cubicBezTo>
                    <a:pt x="41" y="20"/>
                    <a:pt x="53" y="12"/>
                    <a:pt x="66" y="6"/>
                  </a:cubicBezTo>
                  <a:cubicBezTo>
                    <a:pt x="70" y="5"/>
                    <a:pt x="74" y="4"/>
                    <a:pt x="78" y="2"/>
                  </a:cubicBezTo>
                  <a:cubicBezTo>
                    <a:pt x="80" y="2"/>
                    <a:pt x="82" y="1"/>
                    <a:pt x="84" y="1"/>
                  </a:cubicBezTo>
                  <a:cubicBezTo>
                    <a:pt x="85" y="1"/>
                    <a:pt x="85" y="0"/>
                    <a:pt x="86" y="0"/>
                  </a:cubicBezTo>
                  <a:cubicBezTo>
                    <a:pt x="86" y="4"/>
                    <a:pt x="86" y="8"/>
                    <a:pt x="86" y="12"/>
                  </a:cubicBezTo>
                  <a:cubicBezTo>
                    <a:pt x="86" y="14"/>
                    <a:pt x="86" y="17"/>
                    <a:pt x="87" y="19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4" y="19"/>
                    <a:pt x="83" y="19"/>
                    <a:pt x="82" y="19"/>
                  </a:cubicBezTo>
                  <a:close/>
                  <a:moveTo>
                    <a:pt x="129" y="184"/>
                  </a:moveTo>
                  <a:cubicBezTo>
                    <a:pt x="129" y="184"/>
                    <a:pt x="129" y="184"/>
                    <a:pt x="129" y="184"/>
                  </a:cubicBezTo>
                  <a:cubicBezTo>
                    <a:pt x="133" y="179"/>
                    <a:pt x="138" y="175"/>
                    <a:pt x="143" y="172"/>
                  </a:cubicBezTo>
                  <a:cubicBezTo>
                    <a:pt x="145" y="170"/>
                    <a:pt x="147" y="169"/>
                    <a:pt x="149" y="167"/>
                  </a:cubicBezTo>
                  <a:cubicBezTo>
                    <a:pt x="149" y="168"/>
                    <a:pt x="150" y="170"/>
                    <a:pt x="150" y="171"/>
                  </a:cubicBezTo>
                  <a:cubicBezTo>
                    <a:pt x="152" y="174"/>
                    <a:pt x="153" y="176"/>
                    <a:pt x="154" y="179"/>
                  </a:cubicBezTo>
                  <a:cubicBezTo>
                    <a:pt x="154" y="181"/>
                    <a:pt x="155" y="182"/>
                    <a:pt x="155" y="183"/>
                  </a:cubicBezTo>
                  <a:cubicBezTo>
                    <a:pt x="155" y="183"/>
                    <a:pt x="155" y="183"/>
                    <a:pt x="155" y="183"/>
                  </a:cubicBezTo>
                  <a:cubicBezTo>
                    <a:pt x="153" y="182"/>
                    <a:pt x="151" y="184"/>
                    <a:pt x="149" y="185"/>
                  </a:cubicBezTo>
                  <a:cubicBezTo>
                    <a:pt x="148" y="187"/>
                    <a:pt x="146" y="188"/>
                    <a:pt x="145" y="189"/>
                  </a:cubicBezTo>
                  <a:cubicBezTo>
                    <a:pt x="141" y="192"/>
                    <a:pt x="138" y="195"/>
                    <a:pt x="136" y="198"/>
                  </a:cubicBezTo>
                  <a:cubicBezTo>
                    <a:pt x="131" y="204"/>
                    <a:pt x="128" y="210"/>
                    <a:pt x="129" y="217"/>
                  </a:cubicBezTo>
                  <a:cubicBezTo>
                    <a:pt x="124" y="216"/>
                    <a:pt x="120" y="215"/>
                    <a:pt x="115" y="213"/>
                  </a:cubicBezTo>
                  <a:cubicBezTo>
                    <a:pt x="115" y="202"/>
                    <a:pt x="121" y="192"/>
                    <a:pt x="129" y="184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0" name="ïśļiḋe">
              <a:extLst>
                <a:ext uri="{FF2B5EF4-FFF2-40B4-BE49-F238E27FC236}">
                  <a16:creationId xmlns:a16="http://schemas.microsoft.com/office/drawing/2014/main" id="{6FB547C3-0A0F-4D77-8C3C-BA9665373981}"/>
                </a:ext>
              </a:extLst>
            </p:cNvPr>
            <p:cNvSpPr/>
            <p:nvPr/>
          </p:nvSpPr>
          <p:spPr bwMode="auto">
            <a:xfrm>
              <a:off x="4691422" y="3049638"/>
              <a:ext cx="205729" cy="159847"/>
            </a:xfrm>
            <a:custGeom>
              <a:avLst/>
              <a:gdLst>
                <a:gd name="T0" fmla="*/ 49 w 67"/>
                <a:gd name="T1" fmla="*/ 38 h 52"/>
                <a:gd name="T2" fmla="*/ 49 w 67"/>
                <a:gd name="T3" fmla="*/ 38 h 52"/>
                <a:gd name="T4" fmla="*/ 48 w 67"/>
                <a:gd name="T5" fmla="*/ 37 h 52"/>
                <a:gd name="T6" fmla="*/ 48 w 67"/>
                <a:gd name="T7" fmla="*/ 37 h 52"/>
                <a:gd name="T8" fmla="*/ 10 w 67"/>
                <a:gd name="T9" fmla="*/ 8 h 52"/>
                <a:gd name="T10" fmla="*/ 0 w 67"/>
                <a:gd name="T11" fmla="*/ 1 h 52"/>
                <a:gd name="T12" fmla="*/ 9 w 67"/>
                <a:gd name="T13" fmla="*/ 1 h 52"/>
                <a:gd name="T14" fmla="*/ 29 w 67"/>
                <a:gd name="T15" fmla="*/ 5 h 52"/>
                <a:gd name="T16" fmla="*/ 31 w 67"/>
                <a:gd name="T17" fmla="*/ 5 h 52"/>
                <a:gd name="T18" fmla="*/ 32 w 67"/>
                <a:gd name="T19" fmla="*/ 6 h 52"/>
                <a:gd name="T20" fmla="*/ 32 w 67"/>
                <a:gd name="T21" fmla="*/ 6 h 52"/>
                <a:gd name="T22" fmla="*/ 36 w 67"/>
                <a:gd name="T23" fmla="*/ 8 h 52"/>
                <a:gd name="T24" fmla="*/ 39 w 67"/>
                <a:gd name="T25" fmla="*/ 10 h 52"/>
                <a:gd name="T26" fmla="*/ 40 w 67"/>
                <a:gd name="T27" fmla="*/ 10 h 52"/>
                <a:gd name="T28" fmla="*/ 41 w 67"/>
                <a:gd name="T29" fmla="*/ 11 h 52"/>
                <a:gd name="T30" fmla="*/ 47 w 67"/>
                <a:gd name="T31" fmla="*/ 18 h 52"/>
                <a:gd name="T32" fmla="*/ 50 w 67"/>
                <a:gd name="T33" fmla="*/ 21 h 52"/>
                <a:gd name="T34" fmla="*/ 51 w 67"/>
                <a:gd name="T35" fmla="*/ 23 h 52"/>
                <a:gd name="T36" fmla="*/ 52 w 67"/>
                <a:gd name="T37" fmla="*/ 24 h 52"/>
                <a:gd name="T38" fmla="*/ 52 w 67"/>
                <a:gd name="T39" fmla="*/ 24 h 52"/>
                <a:gd name="T40" fmla="*/ 53 w 67"/>
                <a:gd name="T41" fmla="*/ 25 h 52"/>
                <a:gd name="T42" fmla="*/ 64 w 67"/>
                <a:gd name="T43" fmla="*/ 44 h 52"/>
                <a:gd name="T44" fmla="*/ 65 w 67"/>
                <a:gd name="T45" fmla="*/ 47 h 52"/>
                <a:gd name="T46" fmla="*/ 66 w 67"/>
                <a:gd name="T47" fmla="*/ 47 h 52"/>
                <a:gd name="T48" fmla="*/ 66 w 67"/>
                <a:gd name="T49" fmla="*/ 48 h 52"/>
                <a:gd name="T50" fmla="*/ 67 w 67"/>
                <a:gd name="T51" fmla="*/ 52 h 52"/>
                <a:gd name="T52" fmla="*/ 62 w 67"/>
                <a:gd name="T53" fmla="*/ 48 h 52"/>
                <a:gd name="T54" fmla="*/ 49 w 67"/>
                <a:gd name="T55" fmla="*/ 3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52">
                  <a:moveTo>
                    <a:pt x="49" y="38"/>
                  </a:move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35" y="28"/>
                    <a:pt x="22" y="18"/>
                    <a:pt x="10" y="8"/>
                  </a:cubicBezTo>
                  <a:cubicBezTo>
                    <a:pt x="6" y="6"/>
                    <a:pt x="3" y="4"/>
                    <a:pt x="0" y="1"/>
                  </a:cubicBezTo>
                  <a:cubicBezTo>
                    <a:pt x="3" y="1"/>
                    <a:pt x="6" y="0"/>
                    <a:pt x="9" y="1"/>
                  </a:cubicBezTo>
                  <a:cubicBezTo>
                    <a:pt x="16" y="1"/>
                    <a:pt x="22" y="2"/>
                    <a:pt x="29" y="5"/>
                  </a:cubicBezTo>
                  <a:cubicBezTo>
                    <a:pt x="29" y="5"/>
                    <a:pt x="30" y="5"/>
                    <a:pt x="31" y="5"/>
                  </a:cubicBezTo>
                  <a:cubicBezTo>
                    <a:pt x="31" y="5"/>
                    <a:pt x="31" y="6"/>
                    <a:pt x="32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5" y="7"/>
                    <a:pt x="36" y="8"/>
                  </a:cubicBezTo>
                  <a:cubicBezTo>
                    <a:pt x="37" y="9"/>
                    <a:pt x="38" y="9"/>
                    <a:pt x="39" y="10"/>
                  </a:cubicBezTo>
                  <a:cubicBezTo>
                    <a:pt x="39" y="10"/>
                    <a:pt x="40" y="10"/>
                    <a:pt x="40" y="1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3" y="14"/>
                    <a:pt x="45" y="16"/>
                    <a:pt x="47" y="18"/>
                  </a:cubicBezTo>
                  <a:cubicBezTo>
                    <a:pt x="48" y="19"/>
                    <a:pt x="49" y="20"/>
                    <a:pt x="50" y="21"/>
                  </a:cubicBezTo>
                  <a:cubicBezTo>
                    <a:pt x="50" y="22"/>
                    <a:pt x="51" y="23"/>
                    <a:pt x="51" y="23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5"/>
                    <a:pt x="52" y="25"/>
                    <a:pt x="53" y="25"/>
                  </a:cubicBezTo>
                  <a:cubicBezTo>
                    <a:pt x="57" y="31"/>
                    <a:pt x="61" y="37"/>
                    <a:pt x="64" y="44"/>
                  </a:cubicBezTo>
                  <a:cubicBezTo>
                    <a:pt x="65" y="45"/>
                    <a:pt x="65" y="46"/>
                    <a:pt x="65" y="47"/>
                  </a:cubicBezTo>
                  <a:cubicBezTo>
                    <a:pt x="65" y="47"/>
                    <a:pt x="66" y="47"/>
                    <a:pt x="66" y="47"/>
                  </a:cubicBezTo>
                  <a:cubicBezTo>
                    <a:pt x="66" y="47"/>
                    <a:pt x="66" y="48"/>
                    <a:pt x="66" y="48"/>
                  </a:cubicBezTo>
                  <a:cubicBezTo>
                    <a:pt x="67" y="49"/>
                    <a:pt x="67" y="51"/>
                    <a:pt x="67" y="52"/>
                  </a:cubicBezTo>
                  <a:cubicBezTo>
                    <a:pt x="65" y="51"/>
                    <a:pt x="64" y="49"/>
                    <a:pt x="62" y="48"/>
                  </a:cubicBezTo>
                  <a:cubicBezTo>
                    <a:pt x="57" y="45"/>
                    <a:pt x="53" y="41"/>
                    <a:pt x="49" y="38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1" name="iS1íḓè">
              <a:extLst>
                <a:ext uri="{FF2B5EF4-FFF2-40B4-BE49-F238E27FC236}">
                  <a16:creationId xmlns:a16="http://schemas.microsoft.com/office/drawing/2014/main" id="{DE606E60-CF33-437D-B3C4-DA32F7E7980E}"/>
                </a:ext>
              </a:extLst>
            </p:cNvPr>
            <p:cNvSpPr/>
            <p:nvPr/>
          </p:nvSpPr>
          <p:spPr bwMode="auto">
            <a:xfrm>
              <a:off x="4836468" y="3062959"/>
              <a:ext cx="105085" cy="122846"/>
            </a:xfrm>
            <a:custGeom>
              <a:avLst/>
              <a:gdLst>
                <a:gd name="T0" fmla="*/ 30 w 34"/>
                <a:gd name="T1" fmla="*/ 30 h 40"/>
                <a:gd name="T2" fmla="*/ 30 w 34"/>
                <a:gd name="T3" fmla="*/ 30 h 40"/>
                <a:gd name="T4" fmla="*/ 26 w 34"/>
                <a:gd name="T5" fmla="*/ 40 h 40"/>
                <a:gd name="T6" fmla="*/ 26 w 34"/>
                <a:gd name="T7" fmla="*/ 39 h 40"/>
                <a:gd name="T8" fmla="*/ 16 w 34"/>
                <a:gd name="T9" fmla="*/ 21 h 40"/>
                <a:gd name="T10" fmla="*/ 0 w 34"/>
                <a:gd name="T11" fmla="*/ 2 h 40"/>
                <a:gd name="T12" fmla="*/ 3 w 34"/>
                <a:gd name="T13" fmla="*/ 1 h 40"/>
                <a:gd name="T14" fmla="*/ 6 w 34"/>
                <a:gd name="T15" fmla="*/ 0 h 40"/>
                <a:gd name="T16" fmla="*/ 34 w 34"/>
                <a:gd name="T17" fmla="*/ 24 h 40"/>
                <a:gd name="T18" fmla="*/ 30 w 34"/>
                <a:gd name="T19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0">
                  <a:moveTo>
                    <a:pt x="30" y="30"/>
                  </a:moveTo>
                  <a:cubicBezTo>
                    <a:pt x="30" y="30"/>
                    <a:pt x="30" y="30"/>
                    <a:pt x="30" y="30"/>
                  </a:cubicBezTo>
                  <a:cubicBezTo>
                    <a:pt x="28" y="33"/>
                    <a:pt x="27" y="36"/>
                    <a:pt x="26" y="40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3" y="32"/>
                    <a:pt x="20" y="27"/>
                    <a:pt x="16" y="21"/>
                  </a:cubicBezTo>
                  <a:cubicBezTo>
                    <a:pt x="12" y="14"/>
                    <a:pt x="6" y="7"/>
                    <a:pt x="0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14" y="9"/>
                    <a:pt x="23" y="17"/>
                    <a:pt x="34" y="24"/>
                  </a:cubicBezTo>
                  <a:cubicBezTo>
                    <a:pt x="32" y="26"/>
                    <a:pt x="31" y="28"/>
                    <a:pt x="30" y="30"/>
                  </a:cubicBezTo>
                  <a:close/>
                </a:path>
              </a:pathLst>
            </a:custGeom>
            <a:solidFill>
              <a:srgbClr val="8D3C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2" name="íŝ1iḍè">
              <a:extLst>
                <a:ext uri="{FF2B5EF4-FFF2-40B4-BE49-F238E27FC236}">
                  <a16:creationId xmlns:a16="http://schemas.microsoft.com/office/drawing/2014/main" id="{3486BFB2-D380-48EA-B739-1D0C0F0E346F}"/>
                </a:ext>
              </a:extLst>
            </p:cNvPr>
            <p:cNvSpPr/>
            <p:nvPr/>
          </p:nvSpPr>
          <p:spPr bwMode="auto">
            <a:xfrm>
              <a:off x="5218324" y="2260765"/>
              <a:ext cx="334494" cy="754832"/>
            </a:xfrm>
            <a:custGeom>
              <a:avLst/>
              <a:gdLst>
                <a:gd name="T0" fmla="*/ 68 w 109"/>
                <a:gd name="T1" fmla="*/ 234 h 246"/>
                <a:gd name="T2" fmla="*/ 68 w 109"/>
                <a:gd name="T3" fmla="*/ 234 h 246"/>
                <a:gd name="T4" fmla="*/ 65 w 109"/>
                <a:gd name="T5" fmla="*/ 237 h 246"/>
                <a:gd name="T6" fmla="*/ 57 w 109"/>
                <a:gd name="T7" fmla="*/ 237 h 246"/>
                <a:gd name="T8" fmla="*/ 39 w 109"/>
                <a:gd name="T9" fmla="*/ 236 h 246"/>
                <a:gd name="T10" fmla="*/ 20 w 109"/>
                <a:gd name="T11" fmla="*/ 240 h 246"/>
                <a:gd name="T12" fmla="*/ 8 w 109"/>
                <a:gd name="T13" fmla="*/ 246 h 246"/>
                <a:gd name="T14" fmla="*/ 7 w 109"/>
                <a:gd name="T15" fmla="*/ 245 h 246"/>
                <a:gd name="T16" fmla="*/ 5 w 109"/>
                <a:gd name="T17" fmla="*/ 245 h 246"/>
                <a:gd name="T18" fmla="*/ 4 w 109"/>
                <a:gd name="T19" fmla="*/ 244 h 246"/>
                <a:gd name="T20" fmla="*/ 0 w 109"/>
                <a:gd name="T21" fmla="*/ 238 h 246"/>
                <a:gd name="T22" fmla="*/ 26 w 109"/>
                <a:gd name="T23" fmla="*/ 233 h 246"/>
                <a:gd name="T24" fmla="*/ 54 w 109"/>
                <a:gd name="T25" fmla="*/ 219 h 246"/>
                <a:gd name="T26" fmla="*/ 59 w 109"/>
                <a:gd name="T27" fmla="*/ 219 h 246"/>
                <a:gd name="T28" fmla="*/ 74 w 109"/>
                <a:gd name="T29" fmla="*/ 220 h 246"/>
                <a:gd name="T30" fmla="*/ 78 w 109"/>
                <a:gd name="T31" fmla="*/ 221 h 246"/>
                <a:gd name="T32" fmla="*/ 68 w 109"/>
                <a:gd name="T33" fmla="*/ 234 h 246"/>
                <a:gd name="T34" fmla="*/ 25 w 109"/>
                <a:gd name="T35" fmla="*/ 1 h 246"/>
                <a:gd name="T36" fmla="*/ 25 w 109"/>
                <a:gd name="T37" fmla="*/ 1 h 246"/>
                <a:gd name="T38" fmla="*/ 55 w 109"/>
                <a:gd name="T39" fmla="*/ 0 h 246"/>
                <a:gd name="T40" fmla="*/ 80 w 109"/>
                <a:gd name="T41" fmla="*/ 4 h 246"/>
                <a:gd name="T42" fmla="*/ 103 w 109"/>
                <a:gd name="T43" fmla="*/ 10 h 246"/>
                <a:gd name="T44" fmla="*/ 108 w 109"/>
                <a:gd name="T45" fmla="*/ 20 h 246"/>
                <a:gd name="T46" fmla="*/ 109 w 109"/>
                <a:gd name="T47" fmla="*/ 26 h 246"/>
                <a:gd name="T48" fmla="*/ 88 w 109"/>
                <a:gd name="T49" fmla="*/ 30 h 246"/>
                <a:gd name="T50" fmla="*/ 87 w 109"/>
                <a:gd name="T51" fmla="*/ 30 h 246"/>
                <a:gd name="T52" fmla="*/ 79 w 109"/>
                <a:gd name="T53" fmla="*/ 29 h 246"/>
                <a:gd name="T54" fmla="*/ 65 w 109"/>
                <a:gd name="T55" fmla="*/ 28 h 246"/>
                <a:gd name="T56" fmla="*/ 44 w 109"/>
                <a:gd name="T57" fmla="*/ 29 h 246"/>
                <a:gd name="T58" fmla="*/ 42 w 109"/>
                <a:gd name="T59" fmla="*/ 17 h 246"/>
                <a:gd name="T60" fmla="*/ 11 w 109"/>
                <a:gd name="T61" fmla="*/ 3 h 246"/>
                <a:gd name="T62" fmla="*/ 25 w 109"/>
                <a:gd name="T63" fmla="*/ 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" h="246">
                  <a:moveTo>
                    <a:pt x="68" y="234"/>
                  </a:moveTo>
                  <a:cubicBezTo>
                    <a:pt x="68" y="234"/>
                    <a:pt x="68" y="234"/>
                    <a:pt x="68" y="234"/>
                  </a:cubicBezTo>
                  <a:cubicBezTo>
                    <a:pt x="67" y="235"/>
                    <a:pt x="66" y="236"/>
                    <a:pt x="65" y="237"/>
                  </a:cubicBezTo>
                  <a:cubicBezTo>
                    <a:pt x="62" y="237"/>
                    <a:pt x="60" y="237"/>
                    <a:pt x="57" y="237"/>
                  </a:cubicBezTo>
                  <a:cubicBezTo>
                    <a:pt x="51" y="236"/>
                    <a:pt x="45" y="236"/>
                    <a:pt x="39" y="236"/>
                  </a:cubicBezTo>
                  <a:cubicBezTo>
                    <a:pt x="32" y="237"/>
                    <a:pt x="26" y="238"/>
                    <a:pt x="20" y="240"/>
                  </a:cubicBezTo>
                  <a:cubicBezTo>
                    <a:pt x="16" y="241"/>
                    <a:pt x="12" y="243"/>
                    <a:pt x="8" y="246"/>
                  </a:cubicBezTo>
                  <a:cubicBezTo>
                    <a:pt x="8" y="246"/>
                    <a:pt x="7" y="245"/>
                    <a:pt x="7" y="245"/>
                  </a:cubicBezTo>
                  <a:cubicBezTo>
                    <a:pt x="6" y="245"/>
                    <a:pt x="5" y="245"/>
                    <a:pt x="5" y="245"/>
                  </a:cubicBezTo>
                  <a:cubicBezTo>
                    <a:pt x="5" y="244"/>
                    <a:pt x="4" y="244"/>
                    <a:pt x="4" y="244"/>
                  </a:cubicBezTo>
                  <a:cubicBezTo>
                    <a:pt x="3" y="242"/>
                    <a:pt x="2" y="240"/>
                    <a:pt x="0" y="238"/>
                  </a:cubicBezTo>
                  <a:cubicBezTo>
                    <a:pt x="9" y="237"/>
                    <a:pt x="18" y="236"/>
                    <a:pt x="26" y="233"/>
                  </a:cubicBezTo>
                  <a:cubicBezTo>
                    <a:pt x="37" y="230"/>
                    <a:pt x="46" y="226"/>
                    <a:pt x="54" y="219"/>
                  </a:cubicBezTo>
                  <a:cubicBezTo>
                    <a:pt x="56" y="219"/>
                    <a:pt x="57" y="219"/>
                    <a:pt x="59" y="219"/>
                  </a:cubicBezTo>
                  <a:cubicBezTo>
                    <a:pt x="64" y="219"/>
                    <a:pt x="69" y="219"/>
                    <a:pt x="74" y="220"/>
                  </a:cubicBezTo>
                  <a:cubicBezTo>
                    <a:pt x="75" y="221"/>
                    <a:pt x="76" y="221"/>
                    <a:pt x="78" y="221"/>
                  </a:cubicBezTo>
                  <a:cubicBezTo>
                    <a:pt x="74" y="225"/>
                    <a:pt x="71" y="229"/>
                    <a:pt x="68" y="234"/>
                  </a:cubicBezTo>
                  <a:close/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35" y="0"/>
                    <a:pt x="45" y="0"/>
                    <a:pt x="55" y="0"/>
                  </a:cubicBezTo>
                  <a:cubicBezTo>
                    <a:pt x="63" y="0"/>
                    <a:pt x="72" y="2"/>
                    <a:pt x="80" y="4"/>
                  </a:cubicBezTo>
                  <a:cubicBezTo>
                    <a:pt x="88" y="7"/>
                    <a:pt x="95" y="9"/>
                    <a:pt x="103" y="10"/>
                  </a:cubicBezTo>
                  <a:cubicBezTo>
                    <a:pt x="105" y="13"/>
                    <a:pt x="106" y="16"/>
                    <a:pt x="108" y="20"/>
                  </a:cubicBezTo>
                  <a:cubicBezTo>
                    <a:pt x="108" y="22"/>
                    <a:pt x="109" y="24"/>
                    <a:pt x="109" y="26"/>
                  </a:cubicBezTo>
                  <a:cubicBezTo>
                    <a:pt x="102" y="27"/>
                    <a:pt x="95" y="28"/>
                    <a:pt x="88" y="30"/>
                  </a:cubicBezTo>
                  <a:cubicBezTo>
                    <a:pt x="88" y="30"/>
                    <a:pt x="87" y="30"/>
                    <a:pt x="87" y="30"/>
                  </a:cubicBezTo>
                  <a:cubicBezTo>
                    <a:pt x="84" y="30"/>
                    <a:pt x="82" y="29"/>
                    <a:pt x="79" y="29"/>
                  </a:cubicBezTo>
                  <a:cubicBezTo>
                    <a:pt x="74" y="29"/>
                    <a:pt x="70" y="28"/>
                    <a:pt x="65" y="28"/>
                  </a:cubicBezTo>
                  <a:cubicBezTo>
                    <a:pt x="58" y="28"/>
                    <a:pt x="51" y="28"/>
                    <a:pt x="44" y="29"/>
                  </a:cubicBezTo>
                  <a:cubicBezTo>
                    <a:pt x="47" y="25"/>
                    <a:pt x="46" y="19"/>
                    <a:pt x="42" y="17"/>
                  </a:cubicBezTo>
                  <a:cubicBezTo>
                    <a:pt x="32" y="12"/>
                    <a:pt x="22" y="7"/>
                    <a:pt x="11" y="3"/>
                  </a:cubicBezTo>
                  <a:cubicBezTo>
                    <a:pt x="16" y="2"/>
                    <a:pt x="21" y="2"/>
                    <a:pt x="25" y="1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3" name="ïşḷîḍê">
              <a:extLst>
                <a:ext uri="{FF2B5EF4-FFF2-40B4-BE49-F238E27FC236}">
                  <a16:creationId xmlns:a16="http://schemas.microsoft.com/office/drawing/2014/main" id="{CBD78981-D968-4589-A9DE-D6856B495929}"/>
                </a:ext>
              </a:extLst>
            </p:cNvPr>
            <p:cNvSpPr/>
            <p:nvPr/>
          </p:nvSpPr>
          <p:spPr bwMode="auto">
            <a:xfrm>
              <a:off x="5552818" y="2684063"/>
              <a:ext cx="224969" cy="261971"/>
            </a:xfrm>
            <a:custGeom>
              <a:avLst/>
              <a:gdLst>
                <a:gd name="T0" fmla="*/ 72 w 73"/>
                <a:gd name="T1" fmla="*/ 43 h 85"/>
                <a:gd name="T2" fmla="*/ 72 w 73"/>
                <a:gd name="T3" fmla="*/ 43 h 85"/>
                <a:gd name="T4" fmla="*/ 72 w 73"/>
                <a:gd name="T5" fmla="*/ 44 h 85"/>
                <a:gd name="T6" fmla="*/ 72 w 73"/>
                <a:gd name="T7" fmla="*/ 45 h 85"/>
                <a:gd name="T8" fmla="*/ 70 w 73"/>
                <a:gd name="T9" fmla="*/ 55 h 85"/>
                <a:gd name="T10" fmla="*/ 68 w 73"/>
                <a:gd name="T11" fmla="*/ 60 h 85"/>
                <a:gd name="T12" fmla="*/ 67 w 73"/>
                <a:gd name="T13" fmla="*/ 62 h 85"/>
                <a:gd name="T14" fmla="*/ 67 w 73"/>
                <a:gd name="T15" fmla="*/ 63 h 85"/>
                <a:gd name="T16" fmla="*/ 66 w 73"/>
                <a:gd name="T17" fmla="*/ 64 h 85"/>
                <a:gd name="T18" fmla="*/ 61 w 73"/>
                <a:gd name="T19" fmla="*/ 73 h 85"/>
                <a:gd name="T20" fmla="*/ 61 w 73"/>
                <a:gd name="T21" fmla="*/ 74 h 85"/>
                <a:gd name="T22" fmla="*/ 61 w 73"/>
                <a:gd name="T23" fmla="*/ 75 h 85"/>
                <a:gd name="T24" fmla="*/ 59 w 73"/>
                <a:gd name="T25" fmla="*/ 76 h 85"/>
                <a:gd name="T26" fmla="*/ 56 w 73"/>
                <a:gd name="T27" fmla="*/ 80 h 85"/>
                <a:gd name="T28" fmla="*/ 55 w 73"/>
                <a:gd name="T29" fmla="*/ 80 h 85"/>
                <a:gd name="T30" fmla="*/ 54 w 73"/>
                <a:gd name="T31" fmla="*/ 81 h 85"/>
                <a:gd name="T32" fmla="*/ 52 w 73"/>
                <a:gd name="T33" fmla="*/ 82 h 85"/>
                <a:gd name="T34" fmla="*/ 50 w 73"/>
                <a:gd name="T35" fmla="*/ 83 h 85"/>
                <a:gd name="T36" fmla="*/ 50 w 73"/>
                <a:gd name="T37" fmla="*/ 83 h 85"/>
                <a:gd name="T38" fmla="*/ 50 w 73"/>
                <a:gd name="T39" fmla="*/ 83 h 85"/>
                <a:gd name="T40" fmla="*/ 48 w 73"/>
                <a:gd name="T41" fmla="*/ 84 h 85"/>
                <a:gd name="T42" fmla="*/ 33 w 73"/>
                <a:gd name="T43" fmla="*/ 83 h 85"/>
                <a:gd name="T44" fmla="*/ 24 w 73"/>
                <a:gd name="T45" fmla="*/ 80 h 85"/>
                <a:gd name="T46" fmla="*/ 23 w 73"/>
                <a:gd name="T47" fmla="*/ 80 h 85"/>
                <a:gd name="T48" fmla="*/ 19 w 73"/>
                <a:gd name="T49" fmla="*/ 73 h 85"/>
                <a:gd name="T50" fmla="*/ 8 w 73"/>
                <a:gd name="T51" fmla="*/ 60 h 85"/>
                <a:gd name="T52" fmla="*/ 1 w 73"/>
                <a:gd name="T53" fmla="*/ 56 h 85"/>
                <a:gd name="T54" fmla="*/ 0 w 73"/>
                <a:gd name="T55" fmla="*/ 55 h 85"/>
                <a:gd name="T56" fmla="*/ 2 w 73"/>
                <a:gd name="T57" fmla="*/ 50 h 85"/>
                <a:gd name="T58" fmla="*/ 2 w 73"/>
                <a:gd name="T59" fmla="*/ 50 h 85"/>
                <a:gd name="T60" fmla="*/ 4 w 73"/>
                <a:gd name="T61" fmla="*/ 47 h 85"/>
                <a:gd name="T62" fmla="*/ 6 w 73"/>
                <a:gd name="T63" fmla="*/ 44 h 85"/>
                <a:gd name="T64" fmla="*/ 9 w 73"/>
                <a:gd name="T65" fmla="*/ 35 h 85"/>
                <a:gd name="T66" fmla="*/ 11 w 73"/>
                <a:gd name="T67" fmla="*/ 28 h 85"/>
                <a:gd name="T68" fmla="*/ 12 w 73"/>
                <a:gd name="T69" fmla="*/ 24 h 85"/>
                <a:gd name="T70" fmla="*/ 35 w 73"/>
                <a:gd name="T71" fmla="*/ 18 h 85"/>
                <a:gd name="T72" fmla="*/ 68 w 73"/>
                <a:gd name="T73" fmla="*/ 0 h 85"/>
                <a:gd name="T74" fmla="*/ 71 w 73"/>
                <a:gd name="T75" fmla="*/ 6 h 85"/>
                <a:gd name="T76" fmla="*/ 69 w 73"/>
                <a:gd name="T77" fmla="*/ 8 h 85"/>
                <a:gd name="T78" fmla="*/ 72 w 73"/>
                <a:gd name="T79" fmla="*/ 23 h 85"/>
                <a:gd name="T80" fmla="*/ 73 w 73"/>
                <a:gd name="T81" fmla="*/ 37 h 85"/>
                <a:gd name="T82" fmla="*/ 72 w 73"/>
                <a:gd name="T83" fmla="*/ 41 h 85"/>
                <a:gd name="T84" fmla="*/ 72 w 73"/>
                <a:gd name="T85" fmla="*/ 4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" h="85">
                  <a:moveTo>
                    <a:pt x="72" y="43"/>
                  </a:moveTo>
                  <a:cubicBezTo>
                    <a:pt x="72" y="43"/>
                    <a:pt x="72" y="43"/>
                    <a:pt x="72" y="43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5"/>
                    <a:pt x="72" y="45"/>
                  </a:cubicBezTo>
                  <a:cubicBezTo>
                    <a:pt x="71" y="49"/>
                    <a:pt x="71" y="52"/>
                    <a:pt x="70" y="55"/>
                  </a:cubicBezTo>
                  <a:cubicBezTo>
                    <a:pt x="69" y="57"/>
                    <a:pt x="69" y="58"/>
                    <a:pt x="68" y="60"/>
                  </a:cubicBezTo>
                  <a:cubicBezTo>
                    <a:pt x="68" y="61"/>
                    <a:pt x="68" y="62"/>
                    <a:pt x="67" y="62"/>
                  </a:cubicBezTo>
                  <a:cubicBezTo>
                    <a:pt x="67" y="62"/>
                    <a:pt x="67" y="63"/>
                    <a:pt x="67" y="63"/>
                  </a:cubicBezTo>
                  <a:cubicBezTo>
                    <a:pt x="67" y="63"/>
                    <a:pt x="67" y="64"/>
                    <a:pt x="66" y="64"/>
                  </a:cubicBezTo>
                  <a:cubicBezTo>
                    <a:pt x="65" y="67"/>
                    <a:pt x="63" y="71"/>
                    <a:pt x="61" y="73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5"/>
                  </a:cubicBezTo>
                  <a:cubicBezTo>
                    <a:pt x="60" y="75"/>
                    <a:pt x="60" y="76"/>
                    <a:pt x="59" y="76"/>
                  </a:cubicBezTo>
                  <a:cubicBezTo>
                    <a:pt x="58" y="78"/>
                    <a:pt x="57" y="79"/>
                    <a:pt x="56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1"/>
                    <a:pt x="54" y="81"/>
                  </a:cubicBezTo>
                  <a:cubicBezTo>
                    <a:pt x="54" y="81"/>
                    <a:pt x="53" y="82"/>
                    <a:pt x="52" y="82"/>
                  </a:cubicBezTo>
                  <a:cubicBezTo>
                    <a:pt x="52" y="82"/>
                    <a:pt x="51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49" y="83"/>
                    <a:pt x="49" y="83"/>
                    <a:pt x="48" y="84"/>
                  </a:cubicBezTo>
                  <a:cubicBezTo>
                    <a:pt x="43" y="85"/>
                    <a:pt x="38" y="85"/>
                    <a:pt x="33" y="83"/>
                  </a:cubicBezTo>
                  <a:cubicBezTo>
                    <a:pt x="30" y="83"/>
                    <a:pt x="27" y="81"/>
                    <a:pt x="24" y="80"/>
                  </a:cubicBezTo>
                  <a:cubicBezTo>
                    <a:pt x="24" y="80"/>
                    <a:pt x="23" y="80"/>
                    <a:pt x="23" y="80"/>
                  </a:cubicBezTo>
                  <a:cubicBezTo>
                    <a:pt x="22" y="77"/>
                    <a:pt x="21" y="75"/>
                    <a:pt x="19" y="73"/>
                  </a:cubicBezTo>
                  <a:cubicBezTo>
                    <a:pt x="16" y="67"/>
                    <a:pt x="12" y="63"/>
                    <a:pt x="8" y="60"/>
                  </a:cubicBezTo>
                  <a:cubicBezTo>
                    <a:pt x="6" y="58"/>
                    <a:pt x="4" y="57"/>
                    <a:pt x="1" y="56"/>
                  </a:cubicBezTo>
                  <a:cubicBezTo>
                    <a:pt x="1" y="55"/>
                    <a:pt x="0" y="55"/>
                    <a:pt x="0" y="55"/>
                  </a:cubicBezTo>
                  <a:cubicBezTo>
                    <a:pt x="0" y="53"/>
                    <a:pt x="1" y="52"/>
                    <a:pt x="2" y="50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3" y="49"/>
                    <a:pt x="3" y="48"/>
                    <a:pt x="4" y="47"/>
                  </a:cubicBezTo>
                  <a:cubicBezTo>
                    <a:pt x="5" y="46"/>
                    <a:pt x="6" y="45"/>
                    <a:pt x="6" y="44"/>
                  </a:cubicBezTo>
                  <a:cubicBezTo>
                    <a:pt x="8" y="41"/>
                    <a:pt x="9" y="38"/>
                    <a:pt x="9" y="35"/>
                  </a:cubicBezTo>
                  <a:cubicBezTo>
                    <a:pt x="10" y="33"/>
                    <a:pt x="11" y="30"/>
                    <a:pt x="11" y="28"/>
                  </a:cubicBezTo>
                  <a:cubicBezTo>
                    <a:pt x="11" y="27"/>
                    <a:pt x="12" y="25"/>
                    <a:pt x="12" y="24"/>
                  </a:cubicBezTo>
                  <a:cubicBezTo>
                    <a:pt x="19" y="23"/>
                    <a:pt x="27" y="21"/>
                    <a:pt x="35" y="18"/>
                  </a:cubicBezTo>
                  <a:cubicBezTo>
                    <a:pt x="47" y="14"/>
                    <a:pt x="59" y="8"/>
                    <a:pt x="68" y="0"/>
                  </a:cubicBezTo>
                  <a:cubicBezTo>
                    <a:pt x="69" y="2"/>
                    <a:pt x="70" y="4"/>
                    <a:pt x="71" y="6"/>
                  </a:cubicBezTo>
                  <a:cubicBezTo>
                    <a:pt x="70" y="7"/>
                    <a:pt x="70" y="7"/>
                    <a:pt x="69" y="8"/>
                  </a:cubicBezTo>
                  <a:cubicBezTo>
                    <a:pt x="68" y="13"/>
                    <a:pt x="71" y="18"/>
                    <a:pt x="72" y="23"/>
                  </a:cubicBezTo>
                  <a:cubicBezTo>
                    <a:pt x="73" y="27"/>
                    <a:pt x="73" y="32"/>
                    <a:pt x="73" y="37"/>
                  </a:cubicBezTo>
                  <a:cubicBezTo>
                    <a:pt x="73" y="38"/>
                    <a:pt x="73" y="40"/>
                    <a:pt x="72" y="41"/>
                  </a:cubicBezTo>
                  <a:cubicBezTo>
                    <a:pt x="72" y="42"/>
                    <a:pt x="72" y="43"/>
                    <a:pt x="72" y="43"/>
                  </a:cubicBezTo>
                  <a:close/>
                </a:path>
              </a:pathLst>
            </a:custGeom>
            <a:solidFill>
              <a:srgbClr val="8D3C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4" name="ïšḷídê">
              <a:extLst>
                <a:ext uri="{FF2B5EF4-FFF2-40B4-BE49-F238E27FC236}">
                  <a16:creationId xmlns:a16="http://schemas.microsoft.com/office/drawing/2014/main" id="{671D9984-B981-4501-98E9-F2D9C592E2A9}"/>
                </a:ext>
              </a:extLst>
            </p:cNvPr>
            <p:cNvSpPr/>
            <p:nvPr/>
          </p:nvSpPr>
          <p:spPr bwMode="auto">
            <a:xfrm>
              <a:off x="5823669" y="2586379"/>
              <a:ext cx="34042" cy="60683"/>
            </a:xfrm>
            <a:custGeom>
              <a:avLst/>
              <a:gdLst>
                <a:gd name="T0" fmla="*/ 4 w 11"/>
                <a:gd name="T1" fmla="*/ 20 h 20"/>
                <a:gd name="T2" fmla="*/ 4 w 11"/>
                <a:gd name="T3" fmla="*/ 20 h 20"/>
                <a:gd name="T4" fmla="*/ 0 w 11"/>
                <a:gd name="T5" fmla="*/ 11 h 20"/>
                <a:gd name="T6" fmla="*/ 4 w 11"/>
                <a:gd name="T7" fmla="*/ 3 h 20"/>
                <a:gd name="T8" fmla="*/ 6 w 11"/>
                <a:gd name="T9" fmla="*/ 3 h 20"/>
                <a:gd name="T10" fmla="*/ 11 w 11"/>
                <a:gd name="T11" fmla="*/ 1 h 20"/>
                <a:gd name="T12" fmla="*/ 11 w 11"/>
                <a:gd name="T13" fmla="*/ 0 h 20"/>
                <a:gd name="T14" fmla="*/ 4 w 11"/>
                <a:gd name="T15" fmla="*/ 20 h 20"/>
                <a:gd name="T16" fmla="*/ 4 w 11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0">
                  <a:moveTo>
                    <a:pt x="4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3" y="17"/>
                    <a:pt x="1" y="14"/>
                    <a:pt x="0" y="11"/>
                  </a:cubicBezTo>
                  <a:cubicBezTo>
                    <a:pt x="1" y="9"/>
                    <a:pt x="3" y="6"/>
                    <a:pt x="4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8" y="2"/>
                    <a:pt x="10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6"/>
                    <a:pt x="5" y="13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5" name="îṥļiḋé">
              <a:extLst>
                <a:ext uri="{FF2B5EF4-FFF2-40B4-BE49-F238E27FC236}">
                  <a16:creationId xmlns:a16="http://schemas.microsoft.com/office/drawing/2014/main" id="{874A2AAD-5202-4B17-B728-5D0D80336C0B}"/>
                </a:ext>
              </a:extLst>
            </p:cNvPr>
            <p:cNvSpPr/>
            <p:nvPr/>
          </p:nvSpPr>
          <p:spPr bwMode="auto">
            <a:xfrm>
              <a:off x="6618463" y="2438372"/>
              <a:ext cx="48843" cy="71043"/>
            </a:xfrm>
            <a:custGeom>
              <a:avLst/>
              <a:gdLst>
                <a:gd name="T0" fmla="*/ 16 w 16"/>
                <a:gd name="T1" fmla="*/ 22 h 23"/>
                <a:gd name="T2" fmla="*/ 16 w 16"/>
                <a:gd name="T3" fmla="*/ 22 h 23"/>
                <a:gd name="T4" fmla="*/ 10 w 16"/>
                <a:gd name="T5" fmla="*/ 21 h 23"/>
                <a:gd name="T6" fmla="*/ 3 w 16"/>
                <a:gd name="T7" fmla="*/ 16 h 23"/>
                <a:gd name="T8" fmla="*/ 0 w 16"/>
                <a:gd name="T9" fmla="*/ 13 h 23"/>
                <a:gd name="T10" fmla="*/ 0 w 16"/>
                <a:gd name="T11" fmla="*/ 4 h 23"/>
                <a:gd name="T12" fmla="*/ 0 w 16"/>
                <a:gd name="T13" fmla="*/ 0 h 23"/>
                <a:gd name="T14" fmla="*/ 16 w 16"/>
                <a:gd name="T15" fmla="*/ 4 h 23"/>
                <a:gd name="T16" fmla="*/ 15 w 16"/>
                <a:gd name="T17" fmla="*/ 9 h 23"/>
                <a:gd name="T18" fmla="*/ 16 w 16"/>
                <a:gd name="T1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3">
                  <a:moveTo>
                    <a:pt x="16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4" y="23"/>
                    <a:pt x="12" y="22"/>
                    <a:pt x="10" y="21"/>
                  </a:cubicBezTo>
                  <a:cubicBezTo>
                    <a:pt x="8" y="20"/>
                    <a:pt x="5" y="18"/>
                    <a:pt x="3" y="16"/>
                  </a:cubicBezTo>
                  <a:cubicBezTo>
                    <a:pt x="2" y="15"/>
                    <a:pt x="1" y="14"/>
                    <a:pt x="0" y="13"/>
                  </a:cubicBezTo>
                  <a:cubicBezTo>
                    <a:pt x="0" y="10"/>
                    <a:pt x="1" y="7"/>
                    <a:pt x="0" y="4"/>
                  </a:cubicBezTo>
                  <a:cubicBezTo>
                    <a:pt x="0" y="3"/>
                    <a:pt x="0" y="2"/>
                    <a:pt x="0" y="0"/>
                  </a:cubicBezTo>
                  <a:cubicBezTo>
                    <a:pt x="5" y="2"/>
                    <a:pt x="11" y="3"/>
                    <a:pt x="16" y="4"/>
                  </a:cubicBezTo>
                  <a:cubicBezTo>
                    <a:pt x="15" y="6"/>
                    <a:pt x="15" y="7"/>
                    <a:pt x="15" y="9"/>
                  </a:cubicBezTo>
                  <a:cubicBezTo>
                    <a:pt x="15" y="14"/>
                    <a:pt x="16" y="18"/>
                    <a:pt x="16" y="22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6" name="îṡ1ïḍe">
              <a:extLst>
                <a:ext uri="{FF2B5EF4-FFF2-40B4-BE49-F238E27FC236}">
                  <a16:creationId xmlns:a16="http://schemas.microsoft.com/office/drawing/2014/main" id="{AAB17E6B-3CA2-45FA-88F2-7D9B0EBFA0EA}"/>
                </a:ext>
              </a:extLst>
            </p:cNvPr>
            <p:cNvSpPr/>
            <p:nvPr/>
          </p:nvSpPr>
          <p:spPr bwMode="auto">
            <a:xfrm>
              <a:off x="6587381" y="2497575"/>
              <a:ext cx="177607" cy="254571"/>
            </a:xfrm>
            <a:custGeom>
              <a:avLst/>
              <a:gdLst>
                <a:gd name="T0" fmla="*/ 29 w 58"/>
                <a:gd name="T1" fmla="*/ 36 h 83"/>
                <a:gd name="T2" fmla="*/ 29 w 58"/>
                <a:gd name="T3" fmla="*/ 36 h 83"/>
                <a:gd name="T4" fmla="*/ 0 w 58"/>
                <a:gd name="T5" fmla="*/ 21 h 83"/>
                <a:gd name="T6" fmla="*/ 1 w 58"/>
                <a:gd name="T7" fmla="*/ 18 h 83"/>
                <a:gd name="T8" fmla="*/ 8 w 58"/>
                <a:gd name="T9" fmla="*/ 2 h 83"/>
                <a:gd name="T10" fmla="*/ 8 w 58"/>
                <a:gd name="T11" fmla="*/ 0 h 83"/>
                <a:gd name="T12" fmla="*/ 15 w 58"/>
                <a:gd name="T13" fmla="*/ 7 h 83"/>
                <a:gd name="T14" fmla="*/ 27 w 58"/>
                <a:gd name="T15" fmla="*/ 10 h 83"/>
                <a:gd name="T16" fmla="*/ 42 w 58"/>
                <a:gd name="T17" fmla="*/ 44 h 83"/>
                <a:gd name="T18" fmla="*/ 58 w 58"/>
                <a:gd name="T19" fmla="*/ 57 h 83"/>
                <a:gd name="T20" fmla="*/ 58 w 58"/>
                <a:gd name="T21" fmla="*/ 57 h 83"/>
                <a:gd name="T22" fmla="*/ 56 w 58"/>
                <a:gd name="T23" fmla="*/ 61 h 83"/>
                <a:gd name="T24" fmla="*/ 53 w 58"/>
                <a:gd name="T25" fmla="*/ 70 h 83"/>
                <a:gd name="T26" fmla="*/ 56 w 58"/>
                <a:gd name="T27" fmla="*/ 73 h 83"/>
                <a:gd name="T28" fmla="*/ 58 w 58"/>
                <a:gd name="T29" fmla="*/ 73 h 83"/>
                <a:gd name="T30" fmla="*/ 56 w 58"/>
                <a:gd name="T31" fmla="*/ 75 h 83"/>
                <a:gd name="T32" fmla="*/ 48 w 58"/>
                <a:gd name="T33" fmla="*/ 83 h 83"/>
                <a:gd name="T34" fmla="*/ 48 w 58"/>
                <a:gd name="T35" fmla="*/ 81 h 83"/>
                <a:gd name="T36" fmla="*/ 29 w 58"/>
                <a:gd name="T37" fmla="*/ 3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" h="83">
                  <a:moveTo>
                    <a:pt x="29" y="36"/>
                  </a:moveTo>
                  <a:cubicBezTo>
                    <a:pt x="29" y="36"/>
                    <a:pt x="29" y="36"/>
                    <a:pt x="29" y="36"/>
                  </a:cubicBezTo>
                  <a:cubicBezTo>
                    <a:pt x="21" y="28"/>
                    <a:pt x="11" y="22"/>
                    <a:pt x="0" y="21"/>
                  </a:cubicBezTo>
                  <a:cubicBezTo>
                    <a:pt x="0" y="20"/>
                    <a:pt x="1" y="19"/>
                    <a:pt x="1" y="18"/>
                  </a:cubicBezTo>
                  <a:cubicBezTo>
                    <a:pt x="4" y="13"/>
                    <a:pt x="6" y="8"/>
                    <a:pt x="8" y="2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10" y="3"/>
                    <a:pt x="13" y="5"/>
                    <a:pt x="15" y="7"/>
                  </a:cubicBezTo>
                  <a:cubicBezTo>
                    <a:pt x="18" y="9"/>
                    <a:pt x="23" y="11"/>
                    <a:pt x="27" y="10"/>
                  </a:cubicBezTo>
                  <a:cubicBezTo>
                    <a:pt x="30" y="22"/>
                    <a:pt x="34" y="34"/>
                    <a:pt x="42" y="44"/>
                  </a:cubicBezTo>
                  <a:cubicBezTo>
                    <a:pt x="46" y="50"/>
                    <a:pt x="52" y="54"/>
                    <a:pt x="58" y="57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7" y="59"/>
                    <a:pt x="57" y="60"/>
                    <a:pt x="56" y="61"/>
                  </a:cubicBezTo>
                  <a:cubicBezTo>
                    <a:pt x="55" y="64"/>
                    <a:pt x="54" y="67"/>
                    <a:pt x="53" y="70"/>
                  </a:cubicBezTo>
                  <a:cubicBezTo>
                    <a:pt x="53" y="72"/>
                    <a:pt x="55" y="73"/>
                    <a:pt x="56" y="73"/>
                  </a:cubicBezTo>
                  <a:cubicBezTo>
                    <a:pt x="57" y="73"/>
                    <a:pt x="58" y="73"/>
                    <a:pt x="58" y="73"/>
                  </a:cubicBezTo>
                  <a:cubicBezTo>
                    <a:pt x="58" y="74"/>
                    <a:pt x="57" y="74"/>
                    <a:pt x="56" y="75"/>
                  </a:cubicBezTo>
                  <a:cubicBezTo>
                    <a:pt x="53" y="77"/>
                    <a:pt x="50" y="80"/>
                    <a:pt x="48" y="83"/>
                  </a:cubicBezTo>
                  <a:cubicBezTo>
                    <a:pt x="48" y="82"/>
                    <a:pt x="48" y="81"/>
                    <a:pt x="48" y="81"/>
                  </a:cubicBezTo>
                  <a:cubicBezTo>
                    <a:pt x="48" y="63"/>
                    <a:pt x="42" y="47"/>
                    <a:pt x="29" y="36"/>
                  </a:cubicBezTo>
                  <a:close/>
                </a:path>
              </a:pathLst>
            </a:custGeom>
            <a:solidFill>
              <a:srgbClr val="FB73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7" name="í$1idè">
              <a:extLst>
                <a:ext uri="{FF2B5EF4-FFF2-40B4-BE49-F238E27FC236}">
                  <a16:creationId xmlns:a16="http://schemas.microsoft.com/office/drawing/2014/main" id="{6A081FEC-1C1A-4630-91C7-0BBC2A2DB649}"/>
                </a:ext>
              </a:extLst>
            </p:cNvPr>
            <p:cNvSpPr/>
            <p:nvPr/>
          </p:nvSpPr>
          <p:spPr bwMode="auto">
            <a:xfrm>
              <a:off x="6767949" y="2669262"/>
              <a:ext cx="76963" cy="37002"/>
            </a:xfrm>
            <a:custGeom>
              <a:avLst/>
              <a:gdLst>
                <a:gd name="T0" fmla="*/ 18 w 25"/>
                <a:gd name="T1" fmla="*/ 4 h 12"/>
                <a:gd name="T2" fmla="*/ 18 w 25"/>
                <a:gd name="T3" fmla="*/ 4 h 12"/>
                <a:gd name="T4" fmla="*/ 18 w 25"/>
                <a:gd name="T5" fmla="*/ 3 h 12"/>
                <a:gd name="T6" fmla="*/ 18 w 25"/>
                <a:gd name="T7" fmla="*/ 2 h 12"/>
                <a:gd name="T8" fmla="*/ 25 w 25"/>
                <a:gd name="T9" fmla="*/ 0 h 12"/>
                <a:gd name="T10" fmla="*/ 25 w 25"/>
                <a:gd name="T11" fmla="*/ 2 h 12"/>
                <a:gd name="T12" fmla="*/ 18 w 25"/>
                <a:gd name="T13" fmla="*/ 4 h 12"/>
                <a:gd name="T14" fmla="*/ 12 w 25"/>
                <a:gd name="T15" fmla="*/ 3 h 12"/>
                <a:gd name="T16" fmla="*/ 12 w 25"/>
                <a:gd name="T17" fmla="*/ 3 h 12"/>
                <a:gd name="T18" fmla="*/ 12 w 25"/>
                <a:gd name="T19" fmla="*/ 6 h 12"/>
                <a:gd name="T20" fmla="*/ 11 w 25"/>
                <a:gd name="T21" fmla="*/ 8 h 12"/>
                <a:gd name="T22" fmla="*/ 11 w 25"/>
                <a:gd name="T23" fmla="*/ 8 h 12"/>
                <a:gd name="T24" fmla="*/ 9 w 25"/>
                <a:gd name="T25" fmla="*/ 10 h 12"/>
                <a:gd name="T26" fmla="*/ 5 w 25"/>
                <a:gd name="T27" fmla="*/ 12 h 12"/>
                <a:gd name="T28" fmla="*/ 0 w 25"/>
                <a:gd name="T29" fmla="*/ 12 h 12"/>
                <a:gd name="T30" fmla="*/ 2 w 25"/>
                <a:gd name="T31" fmla="*/ 7 h 12"/>
                <a:gd name="T32" fmla="*/ 3 w 25"/>
                <a:gd name="T33" fmla="*/ 3 h 12"/>
                <a:gd name="T34" fmla="*/ 4 w 25"/>
                <a:gd name="T35" fmla="*/ 2 h 12"/>
                <a:gd name="T36" fmla="*/ 12 w 25"/>
                <a:gd name="T3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2">
                  <a:moveTo>
                    <a:pt x="18" y="4"/>
                  </a:move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3"/>
                  </a:cubicBezTo>
                  <a:cubicBezTo>
                    <a:pt x="18" y="3"/>
                    <a:pt x="18" y="3"/>
                    <a:pt x="18" y="2"/>
                  </a:cubicBezTo>
                  <a:cubicBezTo>
                    <a:pt x="21" y="2"/>
                    <a:pt x="23" y="1"/>
                    <a:pt x="25" y="0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23" y="2"/>
                    <a:pt x="20" y="3"/>
                    <a:pt x="18" y="4"/>
                  </a:cubicBezTo>
                  <a:close/>
                  <a:moveTo>
                    <a:pt x="12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5"/>
                    <a:pt x="12" y="6"/>
                  </a:cubicBezTo>
                  <a:cubicBezTo>
                    <a:pt x="12" y="7"/>
                    <a:pt x="11" y="7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9"/>
                    <a:pt x="10" y="9"/>
                    <a:pt x="9" y="10"/>
                  </a:cubicBezTo>
                  <a:cubicBezTo>
                    <a:pt x="8" y="11"/>
                    <a:pt x="6" y="12"/>
                    <a:pt x="5" y="12"/>
                  </a:cubicBezTo>
                  <a:cubicBezTo>
                    <a:pt x="3" y="12"/>
                    <a:pt x="2" y="12"/>
                    <a:pt x="0" y="12"/>
                  </a:cubicBezTo>
                  <a:cubicBezTo>
                    <a:pt x="1" y="10"/>
                    <a:pt x="1" y="8"/>
                    <a:pt x="2" y="7"/>
                  </a:cubicBezTo>
                  <a:cubicBezTo>
                    <a:pt x="2" y="6"/>
                    <a:pt x="3" y="5"/>
                    <a:pt x="3" y="3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7" y="3"/>
                    <a:pt x="9" y="3"/>
                    <a:pt x="12" y="3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8" name="iślïďé">
              <a:extLst>
                <a:ext uri="{FF2B5EF4-FFF2-40B4-BE49-F238E27FC236}">
                  <a16:creationId xmlns:a16="http://schemas.microsoft.com/office/drawing/2014/main" id="{E1E4C13A-66AF-4A22-B45D-A5202A5C6E65}"/>
                </a:ext>
              </a:extLst>
            </p:cNvPr>
            <p:cNvSpPr/>
            <p:nvPr/>
          </p:nvSpPr>
          <p:spPr bwMode="auto">
            <a:xfrm>
              <a:off x="7015120" y="2389530"/>
              <a:ext cx="85844" cy="94724"/>
            </a:xfrm>
            <a:custGeom>
              <a:avLst/>
              <a:gdLst>
                <a:gd name="T0" fmla="*/ 27 w 28"/>
                <a:gd name="T1" fmla="*/ 31 h 31"/>
                <a:gd name="T2" fmla="*/ 27 w 28"/>
                <a:gd name="T3" fmla="*/ 31 h 31"/>
                <a:gd name="T4" fmla="*/ 0 w 28"/>
                <a:gd name="T5" fmla="*/ 31 h 31"/>
                <a:gd name="T6" fmla="*/ 5 w 28"/>
                <a:gd name="T7" fmla="*/ 22 h 31"/>
                <a:gd name="T8" fmla="*/ 6 w 28"/>
                <a:gd name="T9" fmla="*/ 10 h 31"/>
                <a:gd name="T10" fmla="*/ 28 w 28"/>
                <a:gd name="T11" fmla="*/ 0 h 31"/>
                <a:gd name="T12" fmla="*/ 26 w 28"/>
                <a:gd name="T13" fmla="*/ 9 h 31"/>
                <a:gd name="T14" fmla="*/ 27 w 28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31">
                  <a:moveTo>
                    <a:pt x="27" y="31"/>
                  </a:moveTo>
                  <a:cubicBezTo>
                    <a:pt x="27" y="31"/>
                    <a:pt x="27" y="31"/>
                    <a:pt x="27" y="31"/>
                  </a:cubicBezTo>
                  <a:cubicBezTo>
                    <a:pt x="18" y="29"/>
                    <a:pt x="9" y="29"/>
                    <a:pt x="0" y="31"/>
                  </a:cubicBezTo>
                  <a:cubicBezTo>
                    <a:pt x="2" y="28"/>
                    <a:pt x="4" y="25"/>
                    <a:pt x="5" y="22"/>
                  </a:cubicBezTo>
                  <a:cubicBezTo>
                    <a:pt x="6" y="19"/>
                    <a:pt x="8" y="14"/>
                    <a:pt x="6" y="10"/>
                  </a:cubicBezTo>
                  <a:cubicBezTo>
                    <a:pt x="14" y="7"/>
                    <a:pt x="21" y="4"/>
                    <a:pt x="28" y="0"/>
                  </a:cubicBezTo>
                  <a:cubicBezTo>
                    <a:pt x="27" y="3"/>
                    <a:pt x="27" y="6"/>
                    <a:pt x="26" y="9"/>
                  </a:cubicBezTo>
                  <a:cubicBezTo>
                    <a:pt x="25" y="16"/>
                    <a:pt x="25" y="24"/>
                    <a:pt x="27" y="31"/>
                  </a:cubicBezTo>
                  <a:close/>
                </a:path>
              </a:pathLst>
            </a:custGeom>
            <a:solidFill>
              <a:srgbClr val="C01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9" name="ïSḷîdè">
              <a:extLst>
                <a:ext uri="{FF2B5EF4-FFF2-40B4-BE49-F238E27FC236}">
                  <a16:creationId xmlns:a16="http://schemas.microsoft.com/office/drawing/2014/main" id="{C3E041A7-9372-4842-B602-BD27BF8570E5}"/>
                </a:ext>
              </a:extLst>
            </p:cNvPr>
            <p:cNvSpPr/>
            <p:nvPr/>
          </p:nvSpPr>
          <p:spPr bwMode="auto">
            <a:xfrm>
              <a:off x="7285971" y="2275566"/>
              <a:ext cx="54763" cy="48843"/>
            </a:xfrm>
            <a:custGeom>
              <a:avLst/>
              <a:gdLst>
                <a:gd name="T0" fmla="*/ 13 w 18"/>
                <a:gd name="T1" fmla="*/ 1 h 16"/>
                <a:gd name="T2" fmla="*/ 13 w 18"/>
                <a:gd name="T3" fmla="*/ 1 h 16"/>
                <a:gd name="T4" fmla="*/ 14 w 18"/>
                <a:gd name="T5" fmla="*/ 1 h 16"/>
                <a:gd name="T6" fmla="*/ 15 w 18"/>
                <a:gd name="T7" fmla="*/ 2 h 16"/>
                <a:gd name="T8" fmla="*/ 15 w 18"/>
                <a:gd name="T9" fmla="*/ 3 h 16"/>
                <a:gd name="T10" fmla="*/ 15 w 18"/>
                <a:gd name="T11" fmla="*/ 3 h 16"/>
                <a:gd name="T12" fmla="*/ 16 w 18"/>
                <a:gd name="T13" fmla="*/ 4 h 16"/>
                <a:gd name="T14" fmla="*/ 17 w 18"/>
                <a:gd name="T15" fmla="*/ 4 h 16"/>
                <a:gd name="T16" fmla="*/ 17 w 18"/>
                <a:gd name="T17" fmla="*/ 5 h 16"/>
                <a:gd name="T18" fmla="*/ 18 w 18"/>
                <a:gd name="T19" fmla="*/ 6 h 16"/>
                <a:gd name="T20" fmla="*/ 18 w 18"/>
                <a:gd name="T21" fmla="*/ 6 h 16"/>
                <a:gd name="T22" fmla="*/ 18 w 18"/>
                <a:gd name="T23" fmla="*/ 7 h 16"/>
                <a:gd name="T24" fmla="*/ 18 w 18"/>
                <a:gd name="T25" fmla="*/ 8 h 16"/>
                <a:gd name="T26" fmla="*/ 18 w 18"/>
                <a:gd name="T27" fmla="*/ 8 h 16"/>
                <a:gd name="T28" fmla="*/ 18 w 18"/>
                <a:gd name="T29" fmla="*/ 8 h 16"/>
                <a:gd name="T30" fmla="*/ 18 w 18"/>
                <a:gd name="T31" fmla="*/ 9 h 16"/>
                <a:gd name="T32" fmla="*/ 18 w 18"/>
                <a:gd name="T33" fmla="*/ 10 h 16"/>
                <a:gd name="T34" fmla="*/ 18 w 18"/>
                <a:gd name="T35" fmla="*/ 10 h 16"/>
                <a:gd name="T36" fmla="*/ 18 w 18"/>
                <a:gd name="T37" fmla="*/ 11 h 16"/>
                <a:gd name="T38" fmla="*/ 18 w 18"/>
                <a:gd name="T39" fmla="*/ 12 h 16"/>
                <a:gd name="T40" fmla="*/ 18 w 18"/>
                <a:gd name="T41" fmla="*/ 12 h 16"/>
                <a:gd name="T42" fmla="*/ 17 w 18"/>
                <a:gd name="T43" fmla="*/ 13 h 16"/>
                <a:gd name="T44" fmla="*/ 17 w 18"/>
                <a:gd name="T45" fmla="*/ 13 h 16"/>
                <a:gd name="T46" fmla="*/ 16 w 18"/>
                <a:gd name="T47" fmla="*/ 14 h 16"/>
                <a:gd name="T48" fmla="*/ 16 w 18"/>
                <a:gd name="T49" fmla="*/ 14 h 16"/>
                <a:gd name="T50" fmla="*/ 15 w 18"/>
                <a:gd name="T51" fmla="*/ 14 h 16"/>
                <a:gd name="T52" fmla="*/ 15 w 18"/>
                <a:gd name="T53" fmla="*/ 14 h 16"/>
                <a:gd name="T54" fmla="*/ 15 w 18"/>
                <a:gd name="T55" fmla="*/ 14 h 16"/>
                <a:gd name="T56" fmla="*/ 14 w 18"/>
                <a:gd name="T57" fmla="*/ 15 h 16"/>
                <a:gd name="T58" fmla="*/ 14 w 18"/>
                <a:gd name="T59" fmla="*/ 15 h 16"/>
                <a:gd name="T60" fmla="*/ 13 w 18"/>
                <a:gd name="T61" fmla="*/ 15 h 16"/>
                <a:gd name="T62" fmla="*/ 11 w 18"/>
                <a:gd name="T63" fmla="*/ 15 h 16"/>
                <a:gd name="T64" fmla="*/ 7 w 18"/>
                <a:gd name="T65" fmla="*/ 14 h 16"/>
                <a:gd name="T66" fmla="*/ 4 w 18"/>
                <a:gd name="T67" fmla="*/ 12 h 16"/>
                <a:gd name="T68" fmla="*/ 2 w 18"/>
                <a:gd name="T69" fmla="*/ 10 h 16"/>
                <a:gd name="T70" fmla="*/ 1 w 18"/>
                <a:gd name="T71" fmla="*/ 9 h 16"/>
                <a:gd name="T72" fmla="*/ 1 w 18"/>
                <a:gd name="T73" fmla="*/ 8 h 16"/>
                <a:gd name="T74" fmla="*/ 1 w 18"/>
                <a:gd name="T75" fmla="*/ 7 h 16"/>
                <a:gd name="T76" fmla="*/ 1 w 18"/>
                <a:gd name="T77" fmla="*/ 6 h 16"/>
                <a:gd name="T78" fmla="*/ 0 w 18"/>
                <a:gd name="T79" fmla="*/ 6 h 16"/>
                <a:gd name="T80" fmla="*/ 0 w 18"/>
                <a:gd name="T81" fmla="*/ 4 h 16"/>
                <a:gd name="T82" fmla="*/ 1 w 18"/>
                <a:gd name="T83" fmla="*/ 3 h 16"/>
                <a:gd name="T84" fmla="*/ 1 w 18"/>
                <a:gd name="T85" fmla="*/ 3 h 16"/>
                <a:gd name="T86" fmla="*/ 1 w 18"/>
                <a:gd name="T87" fmla="*/ 2 h 16"/>
                <a:gd name="T88" fmla="*/ 1 w 18"/>
                <a:gd name="T89" fmla="*/ 2 h 16"/>
                <a:gd name="T90" fmla="*/ 1 w 18"/>
                <a:gd name="T91" fmla="*/ 2 h 16"/>
                <a:gd name="T92" fmla="*/ 1 w 18"/>
                <a:gd name="T93" fmla="*/ 2 h 16"/>
                <a:gd name="T94" fmla="*/ 2 w 18"/>
                <a:gd name="T95" fmla="*/ 1 h 16"/>
                <a:gd name="T96" fmla="*/ 2 w 18"/>
                <a:gd name="T97" fmla="*/ 1 h 16"/>
                <a:gd name="T98" fmla="*/ 3 w 18"/>
                <a:gd name="T99" fmla="*/ 0 h 16"/>
                <a:gd name="T100" fmla="*/ 7 w 18"/>
                <a:gd name="T101" fmla="*/ 0 h 16"/>
                <a:gd name="T102" fmla="*/ 11 w 18"/>
                <a:gd name="T103" fmla="*/ 1 h 16"/>
                <a:gd name="T104" fmla="*/ 12 w 18"/>
                <a:gd name="T105" fmla="*/ 1 h 16"/>
                <a:gd name="T106" fmla="*/ 13 w 18"/>
                <a:gd name="T107" fmla="*/ 1 h 16"/>
                <a:gd name="T108" fmla="*/ 13 w 18"/>
                <a:gd name="T10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" h="16">
                  <a:moveTo>
                    <a:pt x="13" y="1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4" y="1"/>
                  </a:cubicBezTo>
                  <a:cubicBezTo>
                    <a:pt x="14" y="2"/>
                    <a:pt x="14" y="2"/>
                    <a:pt x="15" y="2"/>
                  </a:cubicBezTo>
                  <a:cubicBezTo>
                    <a:pt x="15" y="2"/>
                    <a:pt x="15" y="2"/>
                    <a:pt x="15" y="3"/>
                  </a:cubicBezTo>
                  <a:cubicBezTo>
                    <a:pt x="15" y="2"/>
                    <a:pt x="15" y="3"/>
                    <a:pt x="15" y="3"/>
                  </a:cubicBezTo>
                  <a:cubicBezTo>
                    <a:pt x="16" y="3"/>
                    <a:pt x="16" y="4"/>
                    <a:pt x="16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4"/>
                    <a:pt x="16" y="14"/>
                  </a:cubicBezTo>
                  <a:cubicBezTo>
                    <a:pt x="17" y="13"/>
                    <a:pt x="16" y="14"/>
                    <a:pt x="16" y="14"/>
                  </a:cubicBezTo>
                  <a:cubicBezTo>
                    <a:pt x="16" y="14"/>
                    <a:pt x="16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5"/>
                    <a:pt x="15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6"/>
                    <a:pt x="11" y="15"/>
                    <a:pt x="11" y="15"/>
                  </a:cubicBezTo>
                  <a:cubicBezTo>
                    <a:pt x="10" y="15"/>
                    <a:pt x="8" y="15"/>
                    <a:pt x="7" y="14"/>
                  </a:cubicBezTo>
                  <a:cubicBezTo>
                    <a:pt x="6" y="14"/>
                    <a:pt x="5" y="13"/>
                    <a:pt x="4" y="12"/>
                  </a:cubicBezTo>
                  <a:cubicBezTo>
                    <a:pt x="3" y="12"/>
                    <a:pt x="3" y="11"/>
                    <a:pt x="2" y="10"/>
                  </a:cubicBezTo>
                  <a:cubicBezTo>
                    <a:pt x="2" y="10"/>
                    <a:pt x="2" y="9"/>
                    <a:pt x="1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0"/>
                    <a:pt x="7" y="0"/>
                  </a:cubicBezTo>
                  <a:cubicBezTo>
                    <a:pt x="8" y="0"/>
                    <a:pt x="10" y="0"/>
                    <a:pt x="11" y="1"/>
                  </a:cubicBezTo>
                  <a:cubicBezTo>
                    <a:pt x="11" y="1"/>
                    <a:pt x="12" y="1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0" name="íṣ1iḑe">
              <a:extLst>
                <a:ext uri="{FF2B5EF4-FFF2-40B4-BE49-F238E27FC236}">
                  <a16:creationId xmlns:a16="http://schemas.microsoft.com/office/drawing/2014/main" id="{10B7AFC7-72F0-45AA-8DE9-70A91CB64A14}"/>
                </a:ext>
              </a:extLst>
            </p:cNvPr>
            <p:cNvSpPr/>
            <p:nvPr/>
          </p:nvSpPr>
          <p:spPr bwMode="auto">
            <a:xfrm>
              <a:off x="6688025" y="2429492"/>
              <a:ext cx="324134" cy="223490"/>
            </a:xfrm>
            <a:custGeom>
              <a:avLst/>
              <a:gdLst>
                <a:gd name="T0" fmla="*/ 26 w 105"/>
                <a:gd name="T1" fmla="*/ 11 h 73"/>
                <a:gd name="T2" fmla="*/ 93 w 105"/>
                <a:gd name="T3" fmla="*/ 5 h 73"/>
                <a:gd name="T4" fmla="*/ 95 w 105"/>
                <a:gd name="T5" fmla="*/ 11 h 73"/>
                <a:gd name="T6" fmla="*/ 105 w 105"/>
                <a:gd name="T7" fmla="*/ 0 h 73"/>
                <a:gd name="T8" fmla="*/ 105 w 105"/>
                <a:gd name="T9" fmla="*/ 1 h 73"/>
                <a:gd name="T10" fmla="*/ 104 w 105"/>
                <a:gd name="T11" fmla="*/ 4 h 73"/>
                <a:gd name="T12" fmla="*/ 104 w 105"/>
                <a:gd name="T13" fmla="*/ 6 h 73"/>
                <a:gd name="T14" fmla="*/ 101 w 105"/>
                <a:gd name="T15" fmla="*/ 10 h 73"/>
                <a:gd name="T16" fmla="*/ 99 w 105"/>
                <a:gd name="T17" fmla="*/ 13 h 73"/>
                <a:gd name="T18" fmla="*/ 94 w 105"/>
                <a:gd name="T19" fmla="*/ 19 h 73"/>
                <a:gd name="T20" fmla="*/ 91 w 105"/>
                <a:gd name="T21" fmla="*/ 21 h 73"/>
                <a:gd name="T22" fmla="*/ 90 w 105"/>
                <a:gd name="T23" fmla="*/ 22 h 73"/>
                <a:gd name="T24" fmla="*/ 77 w 105"/>
                <a:gd name="T25" fmla="*/ 29 h 73"/>
                <a:gd name="T26" fmla="*/ 65 w 105"/>
                <a:gd name="T27" fmla="*/ 42 h 73"/>
                <a:gd name="T28" fmla="*/ 52 w 105"/>
                <a:gd name="T29" fmla="*/ 45 h 73"/>
                <a:gd name="T30" fmla="*/ 61 w 105"/>
                <a:gd name="T31" fmla="*/ 47 h 73"/>
                <a:gd name="T32" fmla="*/ 61 w 105"/>
                <a:gd name="T33" fmla="*/ 47 h 73"/>
                <a:gd name="T34" fmla="*/ 63 w 105"/>
                <a:gd name="T35" fmla="*/ 48 h 73"/>
                <a:gd name="T36" fmla="*/ 64 w 105"/>
                <a:gd name="T37" fmla="*/ 48 h 73"/>
                <a:gd name="T38" fmla="*/ 64 w 105"/>
                <a:gd name="T39" fmla="*/ 49 h 73"/>
                <a:gd name="T40" fmla="*/ 64 w 105"/>
                <a:gd name="T41" fmla="*/ 50 h 73"/>
                <a:gd name="T42" fmla="*/ 64 w 105"/>
                <a:gd name="T43" fmla="*/ 52 h 73"/>
                <a:gd name="T44" fmla="*/ 64 w 105"/>
                <a:gd name="T45" fmla="*/ 53 h 73"/>
                <a:gd name="T46" fmla="*/ 63 w 105"/>
                <a:gd name="T47" fmla="*/ 56 h 73"/>
                <a:gd name="T48" fmla="*/ 62 w 105"/>
                <a:gd name="T49" fmla="*/ 58 h 73"/>
                <a:gd name="T50" fmla="*/ 61 w 105"/>
                <a:gd name="T51" fmla="*/ 61 h 73"/>
                <a:gd name="T52" fmla="*/ 59 w 105"/>
                <a:gd name="T53" fmla="*/ 63 h 73"/>
                <a:gd name="T54" fmla="*/ 59 w 105"/>
                <a:gd name="T55" fmla="*/ 63 h 73"/>
                <a:gd name="T56" fmla="*/ 57 w 105"/>
                <a:gd name="T57" fmla="*/ 64 h 73"/>
                <a:gd name="T58" fmla="*/ 57 w 105"/>
                <a:gd name="T59" fmla="*/ 64 h 73"/>
                <a:gd name="T60" fmla="*/ 55 w 105"/>
                <a:gd name="T61" fmla="*/ 64 h 73"/>
                <a:gd name="T62" fmla="*/ 54 w 105"/>
                <a:gd name="T63" fmla="*/ 65 h 73"/>
                <a:gd name="T64" fmla="*/ 53 w 105"/>
                <a:gd name="T65" fmla="*/ 64 h 73"/>
                <a:gd name="T66" fmla="*/ 52 w 105"/>
                <a:gd name="T67" fmla="*/ 64 h 73"/>
                <a:gd name="T68" fmla="*/ 52 w 105"/>
                <a:gd name="T69" fmla="*/ 64 h 73"/>
                <a:gd name="T70" fmla="*/ 50 w 105"/>
                <a:gd name="T71" fmla="*/ 63 h 73"/>
                <a:gd name="T72" fmla="*/ 49 w 105"/>
                <a:gd name="T73" fmla="*/ 62 h 73"/>
                <a:gd name="T74" fmla="*/ 48 w 105"/>
                <a:gd name="T75" fmla="*/ 51 h 73"/>
                <a:gd name="T76" fmla="*/ 51 w 105"/>
                <a:gd name="T77" fmla="*/ 42 h 73"/>
                <a:gd name="T78" fmla="*/ 43 w 105"/>
                <a:gd name="T79" fmla="*/ 49 h 73"/>
                <a:gd name="T80" fmla="*/ 49 w 105"/>
                <a:gd name="T81" fmla="*/ 69 h 73"/>
                <a:gd name="T82" fmla="*/ 35 w 105"/>
                <a:gd name="T83" fmla="*/ 73 h 73"/>
                <a:gd name="T84" fmla="*/ 34 w 105"/>
                <a:gd name="T85" fmla="*/ 72 h 73"/>
                <a:gd name="T86" fmla="*/ 32 w 105"/>
                <a:gd name="T87" fmla="*/ 72 h 73"/>
                <a:gd name="T88" fmla="*/ 28 w 105"/>
                <a:gd name="T89" fmla="*/ 71 h 73"/>
                <a:gd name="T90" fmla="*/ 27 w 105"/>
                <a:gd name="T91" fmla="*/ 70 h 73"/>
                <a:gd name="T92" fmla="*/ 21 w 105"/>
                <a:gd name="T93" fmla="*/ 67 h 73"/>
                <a:gd name="T94" fmla="*/ 21 w 105"/>
                <a:gd name="T95" fmla="*/ 67 h 73"/>
                <a:gd name="T96" fmla="*/ 19 w 105"/>
                <a:gd name="T97" fmla="*/ 65 h 73"/>
                <a:gd name="T98" fmla="*/ 15 w 105"/>
                <a:gd name="T99" fmla="*/ 61 h 73"/>
                <a:gd name="T100" fmla="*/ 14 w 105"/>
                <a:gd name="T101" fmla="*/ 59 h 73"/>
                <a:gd name="T102" fmla="*/ 5 w 105"/>
                <a:gd name="T103" fmla="*/ 39 h 73"/>
                <a:gd name="T104" fmla="*/ 1 w 105"/>
                <a:gd name="T105" fmla="*/ 22 h 73"/>
                <a:gd name="T106" fmla="*/ 0 w 105"/>
                <a:gd name="T107" fmla="*/ 20 h 73"/>
                <a:gd name="T108" fmla="*/ 0 w 105"/>
                <a:gd name="T109" fmla="*/ 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5" h="73">
                  <a:moveTo>
                    <a:pt x="26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49" y="12"/>
                    <a:pt x="72" y="10"/>
                    <a:pt x="93" y="3"/>
                  </a:cubicBezTo>
                  <a:cubicBezTo>
                    <a:pt x="93" y="4"/>
                    <a:pt x="93" y="4"/>
                    <a:pt x="93" y="5"/>
                  </a:cubicBezTo>
                  <a:cubicBezTo>
                    <a:pt x="93" y="7"/>
                    <a:pt x="93" y="9"/>
                    <a:pt x="93" y="10"/>
                  </a:cubicBezTo>
                  <a:cubicBezTo>
                    <a:pt x="93" y="11"/>
                    <a:pt x="94" y="12"/>
                    <a:pt x="95" y="11"/>
                  </a:cubicBezTo>
                  <a:cubicBezTo>
                    <a:pt x="97" y="9"/>
                    <a:pt x="98" y="6"/>
                    <a:pt x="97" y="2"/>
                  </a:cubicBezTo>
                  <a:cubicBezTo>
                    <a:pt x="100" y="2"/>
                    <a:pt x="102" y="1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3"/>
                    <a:pt x="105" y="3"/>
                    <a:pt x="104" y="4"/>
                  </a:cubicBezTo>
                  <a:cubicBezTo>
                    <a:pt x="104" y="4"/>
                    <a:pt x="104" y="5"/>
                    <a:pt x="104" y="5"/>
                  </a:cubicBezTo>
                  <a:cubicBezTo>
                    <a:pt x="104" y="5"/>
                    <a:pt x="104" y="5"/>
                    <a:pt x="104" y="6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3" y="7"/>
                    <a:pt x="102" y="9"/>
                    <a:pt x="101" y="10"/>
                  </a:cubicBezTo>
                  <a:cubicBezTo>
                    <a:pt x="101" y="11"/>
                    <a:pt x="100" y="12"/>
                    <a:pt x="100" y="13"/>
                  </a:cubicBezTo>
                  <a:cubicBezTo>
                    <a:pt x="100" y="12"/>
                    <a:pt x="99" y="13"/>
                    <a:pt x="99" y="13"/>
                  </a:cubicBezTo>
                  <a:cubicBezTo>
                    <a:pt x="99" y="14"/>
                    <a:pt x="98" y="14"/>
                    <a:pt x="98" y="14"/>
                  </a:cubicBezTo>
                  <a:cubicBezTo>
                    <a:pt x="97" y="16"/>
                    <a:pt x="95" y="17"/>
                    <a:pt x="94" y="19"/>
                  </a:cubicBezTo>
                  <a:cubicBezTo>
                    <a:pt x="93" y="19"/>
                    <a:pt x="93" y="20"/>
                    <a:pt x="92" y="20"/>
                  </a:cubicBezTo>
                  <a:cubicBezTo>
                    <a:pt x="92" y="20"/>
                    <a:pt x="90" y="22"/>
                    <a:pt x="91" y="2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1" y="21"/>
                    <a:pt x="90" y="21"/>
                    <a:pt x="90" y="22"/>
                  </a:cubicBezTo>
                  <a:cubicBezTo>
                    <a:pt x="90" y="22"/>
                    <a:pt x="90" y="22"/>
                    <a:pt x="89" y="22"/>
                  </a:cubicBezTo>
                  <a:cubicBezTo>
                    <a:pt x="85" y="24"/>
                    <a:pt x="81" y="27"/>
                    <a:pt x="77" y="29"/>
                  </a:cubicBezTo>
                  <a:cubicBezTo>
                    <a:pt x="74" y="31"/>
                    <a:pt x="71" y="34"/>
                    <a:pt x="69" y="36"/>
                  </a:cubicBezTo>
                  <a:cubicBezTo>
                    <a:pt x="67" y="38"/>
                    <a:pt x="66" y="40"/>
                    <a:pt x="65" y="42"/>
                  </a:cubicBezTo>
                  <a:cubicBezTo>
                    <a:pt x="64" y="41"/>
                    <a:pt x="62" y="41"/>
                    <a:pt x="61" y="41"/>
                  </a:cubicBezTo>
                  <a:cubicBezTo>
                    <a:pt x="58" y="41"/>
                    <a:pt x="55" y="43"/>
                    <a:pt x="52" y="45"/>
                  </a:cubicBezTo>
                  <a:cubicBezTo>
                    <a:pt x="51" y="46"/>
                    <a:pt x="52" y="47"/>
                    <a:pt x="53" y="47"/>
                  </a:cubicBezTo>
                  <a:cubicBezTo>
                    <a:pt x="56" y="47"/>
                    <a:pt x="58" y="47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62" y="48"/>
                    <a:pt x="63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8"/>
                    <a:pt x="64" y="48"/>
                    <a:pt x="64" y="48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49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4" y="51"/>
                    <a:pt x="64" y="51"/>
                    <a:pt x="6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4"/>
                    <a:pt x="64" y="55"/>
                    <a:pt x="63" y="56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63" y="57"/>
                    <a:pt x="63" y="57"/>
                    <a:pt x="62" y="58"/>
                  </a:cubicBezTo>
                  <a:cubicBezTo>
                    <a:pt x="62" y="59"/>
                    <a:pt x="62" y="59"/>
                    <a:pt x="61" y="60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1" y="61"/>
                    <a:pt x="60" y="61"/>
                    <a:pt x="60" y="62"/>
                  </a:cubicBezTo>
                  <a:cubicBezTo>
                    <a:pt x="60" y="62"/>
                    <a:pt x="59" y="62"/>
                    <a:pt x="59" y="63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58" y="63"/>
                    <a:pt x="58" y="63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5" y="65"/>
                    <a:pt x="54" y="65"/>
                    <a:pt x="54" y="6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4"/>
                    <a:pt x="53" y="64"/>
                    <a:pt x="5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1" y="64"/>
                    <a:pt x="51" y="63"/>
                    <a:pt x="50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8" y="61"/>
                    <a:pt x="47" y="60"/>
                    <a:pt x="46" y="58"/>
                  </a:cubicBezTo>
                  <a:cubicBezTo>
                    <a:pt x="46" y="56"/>
                    <a:pt x="46" y="53"/>
                    <a:pt x="48" y="51"/>
                  </a:cubicBezTo>
                  <a:cubicBezTo>
                    <a:pt x="49" y="49"/>
                    <a:pt x="51" y="46"/>
                    <a:pt x="53" y="44"/>
                  </a:cubicBezTo>
                  <a:cubicBezTo>
                    <a:pt x="53" y="43"/>
                    <a:pt x="53" y="42"/>
                    <a:pt x="51" y="42"/>
                  </a:cubicBezTo>
                  <a:cubicBezTo>
                    <a:pt x="50" y="43"/>
                    <a:pt x="48" y="43"/>
                    <a:pt x="47" y="44"/>
                  </a:cubicBezTo>
                  <a:cubicBezTo>
                    <a:pt x="45" y="46"/>
                    <a:pt x="44" y="47"/>
                    <a:pt x="43" y="49"/>
                  </a:cubicBezTo>
                  <a:cubicBezTo>
                    <a:pt x="41" y="53"/>
                    <a:pt x="40" y="57"/>
                    <a:pt x="41" y="61"/>
                  </a:cubicBezTo>
                  <a:cubicBezTo>
                    <a:pt x="43" y="65"/>
                    <a:pt x="45" y="67"/>
                    <a:pt x="49" y="69"/>
                  </a:cubicBezTo>
                  <a:cubicBezTo>
                    <a:pt x="47" y="70"/>
                    <a:pt x="46" y="71"/>
                    <a:pt x="44" y="71"/>
                  </a:cubicBezTo>
                  <a:cubicBezTo>
                    <a:pt x="41" y="73"/>
                    <a:pt x="37" y="73"/>
                    <a:pt x="35" y="73"/>
                  </a:cubicBezTo>
                  <a:cubicBezTo>
                    <a:pt x="34" y="73"/>
                    <a:pt x="34" y="72"/>
                    <a:pt x="34" y="72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4" y="72"/>
                    <a:pt x="34" y="72"/>
                    <a:pt x="33" y="72"/>
                  </a:cubicBezTo>
                  <a:cubicBezTo>
                    <a:pt x="33" y="72"/>
                    <a:pt x="32" y="72"/>
                    <a:pt x="32" y="72"/>
                  </a:cubicBezTo>
                  <a:cubicBezTo>
                    <a:pt x="30" y="72"/>
                    <a:pt x="29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7" y="71"/>
                    <a:pt x="27" y="70"/>
                    <a:pt x="27" y="70"/>
                  </a:cubicBezTo>
                  <a:cubicBezTo>
                    <a:pt x="26" y="70"/>
                    <a:pt x="26" y="70"/>
                    <a:pt x="25" y="69"/>
                  </a:cubicBezTo>
                  <a:cubicBezTo>
                    <a:pt x="24" y="69"/>
                    <a:pt x="23" y="68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6"/>
                  </a:cubicBezTo>
                  <a:cubicBezTo>
                    <a:pt x="20" y="66"/>
                    <a:pt x="20" y="66"/>
                    <a:pt x="19" y="65"/>
                  </a:cubicBezTo>
                  <a:cubicBezTo>
                    <a:pt x="18" y="64"/>
                    <a:pt x="17" y="63"/>
                    <a:pt x="16" y="62"/>
                  </a:cubicBezTo>
                  <a:cubicBezTo>
                    <a:pt x="16" y="62"/>
                    <a:pt x="15" y="61"/>
                    <a:pt x="15" y="61"/>
                  </a:cubicBezTo>
                  <a:cubicBezTo>
                    <a:pt x="15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59"/>
                  </a:cubicBezTo>
                  <a:cubicBezTo>
                    <a:pt x="13" y="58"/>
                    <a:pt x="12" y="56"/>
                    <a:pt x="12" y="55"/>
                  </a:cubicBezTo>
                  <a:cubicBezTo>
                    <a:pt x="8" y="50"/>
                    <a:pt x="6" y="45"/>
                    <a:pt x="5" y="39"/>
                  </a:cubicBezTo>
                  <a:cubicBezTo>
                    <a:pt x="3" y="36"/>
                    <a:pt x="2" y="32"/>
                    <a:pt x="2" y="28"/>
                  </a:cubicBezTo>
                  <a:cubicBezTo>
                    <a:pt x="1" y="26"/>
                    <a:pt x="1" y="24"/>
                    <a:pt x="1" y="22"/>
                  </a:cubicBezTo>
                  <a:cubicBezTo>
                    <a:pt x="1" y="22"/>
                    <a:pt x="1" y="21"/>
                    <a:pt x="1" y="2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0" y="14"/>
                    <a:pt x="0" y="11"/>
                    <a:pt x="0" y="8"/>
                  </a:cubicBezTo>
                  <a:cubicBezTo>
                    <a:pt x="9" y="10"/>
                    <a:pt x="17" y="11"/>
                    <a:pt x="26" y="11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1" name="ïṩľíḍe">
              <a:extLst>
                <a:ext uri="{FF2B5EF4-FFF2-40B4-BE49-F238E27FC236}">
                  <a16:creationId xmlns:a16="http://schemas.microsoft.com/office/drawing/2014/main" id="{40F1591D-272C-4246-A6D1-18A7933EA5CD}"/>
                </a:ext>
              </a:extLst>
            </p:cNvPr>
            <p:cNvSpPr/>
            <p:nvPr/>
          </p:nvSpPr>
          <p:spPr bwMode="auto">
            <a:xfrm>
              <a:off x="6408294" y="2383610"/>
              <a:ext cx="185008" cy="202769"/>
            </a:xfrm>
            <a:custGeom>
              <a:avLst/>
              <a:gdLst>
                <a:gd name="T0" fmla="*/ 42 w 60"/>
                <a:gd name="T1" fmla="*/ 11 h 66"/>
                <a:gd name="T2" fmla="*/ 42 w 60"/>
                <a:gd name="T3" fmla="*/ 11 h 66"/>
                <a:gd name="T4" fmla="*/ 45 w 60"/>
                <a:gd name="T5" fmla="*/ 15 h 66"/>
                <a:gd name="T6" fmla="*/ 48 w 60"/>
                <a:gd name="T7" fmla="*/ 20 h 66"/>
                <a:gd name="T8" fmla="*/ 51 w 60"/>
                <a:gd name="T9" fmla="*/ 24 h 66"/>
                <a:gd name="T10" fmla="*/ 53 w 60"/>
                <a:gd name="T11" fmla="*/ 24 h 66"/>
                <a:gd name="T12" fmla="*/ 48 w 60"/>
                <a:gd name="T13" fmla="*/ 13 h 66"/>
                <a:gd name="T14" fmla="*/ 48 w 60"/>
                <a:gd name="T15" fmla="*/ 13 h 66"/>
                <a:gd name="T16" fmla="*/ 54 w 60"/>
                <a:gd name="T17" fmla="*/ 15 h 66"/>
                <a:gd name="T18" fmla="*/ 57 w 60"/>
                <a:gd name="T19" fmla="*/ 15 h 66"/>
                <a:gd name="T20" fmla="*/ 57 w 60"/>
                <a:gd name="T21" fmla="*/ 16 h 66"/>
                <a:gd name="T22" fmla="*/ 58 w 60"/>
                <a:gd name="T23" fmla="*/ 17 h 66"/>
                <a:gd name="T24" fmla="*/ 58 w 60"/>
                <a:gd name="T25" fmla="*/ 17 h 66"/>
                <a:gd name="T26" fmla="*/ 58 w 60"/>
                <a:gd name="T27" fmla="*/ 18 h 66"/>
                <a:gd name="T28" fmla="*/ 59 w 60"/>
                <a:gd name="T29" fmla="*/ 18 h 66"/>
                <a:gd name="T30" fmla="*/ 59 w 60"/>
                <a:gd name="T31" fmla="*/ 19 h 66"/>
                <a:gd name="T32" fmla="*/ 60 w 60"/>
                <a:gd name="T33" fmla="*/ 21 h 66"/>
                <a:gd name="T34" fmla="*/ 60 w 60"/>
                <a:gd name="T35" fmla="*/ 22 h 66"/>
                <a:gd name="T36" fmla="*/ 60 w 60"/>
                <a:gd name="T37" fmla="*/ 23 h 66"/>
                <a:gd name="T38" fmla="*/ 60 w 60"/>
                <a:gd name="T39" fmla="*/ 27 h 66"/>
                <a:gd name="T40" fmla="*/ 60 w 60"/>
                <a:gd name="T41" fmla="*/ 28 h 66"/>
                <a:gd name="T42" fmla="*/ 60 w 60"/>
                <a:gd name="T43" fmla="*/ 29 h 66"/>
                <a:gd name="T44" fmla="*/ 59 w 60"/>
                <a:gd name="T45" fmla="*/ 29 h 66"/>
                <a:gd name="T46" fmla="*/ 58 w 60"/>
                <a:gd name="T47" fmla="*/ 37 h 66"/>
                <a:gd name="T48" fmla="*/ 53 w 60"/>
                <a:gd name="T49" fmla="*/ 51 h 66"/>
                <a:gd name="T50" fmla="*/ 49 w 60"/>
                <a:gd name="T51" fmla="*/ 57 h 66"/>
                <a:gd name="T52" fmla="*/ 49 w 60"/>
                <a:gd name="T53" fmla="*/ 57 h 66"/>
                <a:gd name="T54" fmla="*/ 49 w 60"/>
                <a:gd name="T55" fmla="*/ 57 h 66"/>
                <a:gd name="T56" fmla="*/ 48 w 60"/>
                <a:gd name="T57" fmla="*/ 58 h 66"/>
                <a:gd name="T58" fmla="*/ 31 w 60"/>
                <a:gd name="T59" fmla="*/ 66 h 66"/>
                <a:gd name="T60" fmla="*/ 21 w 60"/>
                <a:gd name="T61" fmla="*/ 44 h 66"/>
                <a:gd name="T62" fmla="*/ 5 w 60"/>
                <a:gd name="T63" fmla="*/ 11 h 66"/>
                <a:gd name="T64" fmla="*/ 0 w 60"/>
                <a:gd name="T65" fmla="*/ 0 h 66"/>
                <a:gd name="T66" fmla="*/ 22 w 60"/>
                <a:gd name="T67" fmla="*/ 5 h 66"/>
                <a:gd name="T68" fmla="*/ 42 w 60"/>
                <a:gd name="T69" fmla="*/ 1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6">
                  <a:moveTo>
                    <a:pt x="42" y="11"/>
                  </a:moveTo>
                  <a:cubicBezTo>
                    <a:pt x="42" y="11"/>
                    <a:pt x="42" y="11"/>
                    <a:pt x="42" y="11"/>
                  </a:cubicBezTo>
                  <a:cubicBezTo>
                    <a:pt x="43" y="12"/>
                    <a:pt x="44" y="13"/>
                    <a:pt x="45" y="15"/>
                  </a:cubicBezTo>
                  <a:cubicBezTo>
                    <a:pt x="46" y="16"/>
                    <a:pt x="47" y="18"/>
                    <a:pt x="48" y="20"/>
                  </a:cubicBezTo>
                  <a:cubicBezTo>
                    <a:pt x="49" y="21"/>
                    <a:pt x="49" y="23"/>
                    <a:pt x="51" y="24"/>
                  </a:cubicBezTo>
                  <a:cubicBezTo>
                    <a:pt x="51" y="25"/>
                    <a:pt x="52" y="25"/>
                    <a:pt x="53" y="24"/>
                  </a:cubicBezTo>
                  <a:cubicBezTo>
                    <a:pt x="54" y="20"/>
                    <a:pt x="50" y="16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0" y="13"/>
                    <a:pt x="53" y="14"/>
                    <a:pt x="54" y="15"/>
                  </a:cubicBezTo>
                  <a:cubicBezTo>
                    <a:pt x="55" y="15"/>
                    <a:pt x="56" y="15"/>
                    <a:pt x="57" y="15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8"/>
                  </a:cubicBezTo>
                  <a:cubicBezTo>
                    <a:pt x="57" y="17"/>
                    <a:pt x="58" y="18"/>
                    <a:pt x="59" y="18"/>
                  </a:cubicBezTo>
                  <a:cubicBezTo>
                    <a:pt x="59" y="18"/>
                    <a:pt x="59" y="19"/>
                    <a:pt x="59" y="19"/>
                  </a:cubicBezTo>
                  <a:cubicBezTo>
                    <a:pt x="59" y="20"/>
                    <a:pt x="59" y="20"/>
                    <a:pt x="60" y="21"/>
                  </a:cubicBezTo>
                  <a:cubicBezTo>
                    <a:pt x="60" y="21"/>
                    <a:pt x="60" y="22"/>
                    <a:pt x="60" y="22"/>
                  </a:cubicBezTo>
                  <a:cubicBezTo>
                    <a:pt x="60" y="22"/>
                    <a:pt x="60" y="23"/>
                    <a:pt x="60" y="23"/>
                  </a:cubicBezTo>
                  <a:cubicBezTo>
                    <a:pt x="60" y="25"/>
                    <a:pt x="60" y="26"/>
                    <a:pt x="60" y="27"/>
                  </a:cubicBezTo>
                  <a:cubicBezTo>
                    <a:pt x="60" y="27"/>
                    <a:pt x="60" y="28"/>
                    <a:pt x="60" y="28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32"/>
                    <a:pt x="58" y="35"/>
                    <a:pt x="58" y="37"/>
                  </a:cubicBezTo>
                  <a:cubicBezTo>
                    <a:pt x="56" y="43"/>
                    <a:pt x="55" y="47"/>
                    <a:pt x="53" y="51"/>
                  </a:cubicBezTo>
                  <a:cubicBezTo>
                    <a:pt x="52" y="53"/>
                    <a:pt x="50" y="55"/>
                    <a:pt x="49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8"/>
                    <a:pt x="48" y="58"/>
                    <a:pt x="48" y="58"/>
                  </a:cubicBezTo>
                  <a:cubicBezTo>
                    <a:pt x="42" y="59"/>
                    <a:pt x="35" y="61"/>
                    <a:pt x="31" y="66"/>
                  </a:cubicBezTo>
                  <a:cubicBezTo>
                    <a:pt x="28" y="58"/>
                    <a:pt x="24" y="51"/>
                    <a:pt x="21" y="44"/>
                  </a:cubicBezTo>
                  <a:cubicBezTo>
                    <a:pt x="16" y="33"/>
                    <a:pt x="10" y="22"/>
                    <a:pt x="5" y="11"/>
                  </a:cubicBezTo>
                  <a:cubicBezTo>
                    <a:pt x="4" y="7"/>
                    <a:pt x="2" y="4"/>
                    <a:pt x="0" y="0"/>
                  </a:cubicBezTo>
                  <a:cubicBezTo>
                    <a:pt x="7" y="2"/>
                    <a:pt x="15" y="3"/>
                    <a:pt x="22" y="5"/>
                  </a:cubicBezTo>
                  <a:cubicBezTo>
                    <a:pt x="29" y="7"/>
                    <a:pt x="35" y="8"/>
                    <a:pt x="42" y="11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2" name="íSľîḋè">
              <a:extLst>
                <a:ext uri="{FF2B5EF4-FFF2-40B4-BE49-F238E27FC236}">
                  <a16:creationId xmlns:a16="http://schemas.microsoft.com/office/drawing/2014/main" id="{DCF56DE3-97E8-4881-9E35-9F92A43C20C7}"/>
                </a:ext>
              </a:extLst>
            </p:cNvPr>
            <p:cNvSpPr/>
            <p:nvPr/>
          </p:nvSpPr>
          <p:spPr bwMode="auto">
            <a:xfrm>
              <a:off x="6162604" y="2023955"/>
              <a:ext cx="273812" cy="282692"/>
            </a:xfrm>
            <a:custGeom>
              <a:avLst/>
              <a:gdLst>
                <a:gd name="T0" fmla="*/ 18 w 89"/>
                <a:gd name="T1" fmla="*/ 63 h 92"/>
                <a:gd name="T2" fmla="*/ 18 w 89"/>
                <a:gd name="T3" fmla="*/ 63 h 92"/>
                <a:gd name="T4" fmla="*/ 19 w 89"/>
                <a:gd name="T5" fmla="*/ 59 h 92"/>
                <a:gd name="T6" fmla="*/ 20 w 89"/>
                <a:gd name="T7" fmla="*/ 59 h 92"/>
                <a:gd name="T8" fmla="*/ 21 w 89"/>
                <a:gd name="T9" fmla="*/ 53 h 92"/>
                <a:gd name="T10" fmla="*/ 17 w 89"/>
                <a:gd name="T11" fmla="*/ 48 h 92"/>
                <a:gd name="T12" fmla="*/ 10 w 89"/>
                <a:gd name="T13" fmla="*/ 39 h 92"/>
                <a:gd name="T14" fmla="*/ 6 w 89"/>
                <a:gd name="T15" fmla="*/ 35 h 92"/>
                <a:gd name="T16" fmla="*/ 11 w 89"/>
                <a:gd name="T17" fmla="*/ 35 h 92"/>
                <a:gd name="T18" fmla="*/ 20 w 89"/>
                <a:gd name="T19" fmla="*/ 35 h 92"/>
                <a:gd name="T20" fmla="*/ 28 w 89"/>
                <a:gd name="T21" fmla="*/ 32 h 92"/>
                <a:gd name="T22" fmla="*/ 33 w 89"/>
                <a:gd name="T23" fmla="*/ 31 h 92"/>
                <a:gd name="T24" fmla="*/ 43 w 89"/>
                <a:gd name="T25" fmla="*/ 11 h 92"/>
                <a:gd name="T26" fmla="*/ 49 w 89"/>
                <a:gd name="T27" fmla="*/ 0 h 92"/>
                <a:gd name="T28" fmla="*/ 53 w 89"/>
                <a:gd name="T29" fmla="*/ 13 h 92"/>
                <a:gd name="T30" fmla="*/ 56 w 89"/>
                <a:gd name="T31" fmla="*/ 25 h 92"/>
                <a:gd name="T32" fmla="*/ 60 w 89"/>
                <a:gd name="T33" fmla="*/ 35 h 92"/>
                <a:gd name="T34" fmla="*/ 60 w 89"/>
                <a:gd name="T35" fmla="*/ 35 h 92"/>
                <a:gd name="T36" fmla="*/ 61 w 89"/>
                <a:gd name="T37" fmla="*/ 36 h 92"/>
                <a:gd name="T38" fmla="*/ 64 w 89"/>
                <a:gd name="T39" fmla="*/ 37 h 92"/>
                <a:gd name="T40" fmla="*/ 68 w 89"/>
                <a:gd name="T41" fmla="*/ 37 h 92"/>
                <a:gd name="T42" fmla="*/ 77 w 89"/>
                <a:gd name="T43" fmla="*/ 39 h 92"/>
                <a:gd name="T44" fmla="*/ 89 w 89"/>
                <a:gd name="T45" fmla="*/ 40 h 92"/>
                <a:gd name="T46" fmla="*/ 84 w 89"/>
                <a:gd name="T47" fmla="*/ 43 h 92"/>
                <a:gd name="T48" fmla="*/ 74 w 89"/>
                <a:gd name="T49" fmla="*/ 49 h 92"/>
                <a:gd name="T50" fmla="*/ 66 w 89"/>
                <a:gd name="T51" fmla="*/ 54 h 92"/>
                <a:gd name="T52" fmla="*/ 65 w 89"/>
                <a:gd name="T53" fmla="*/ 54 h 92"/>
                <a:gd name="T54" fmla="*/ 63 w 89"/>
                <a:gd name="T55" fmla="*/ 59 h 92"/>
                <a:gd name="T56" fmla="*/ 64 w 89"/>
                <a:gd name="T57" fmla="*/ 67 h 92"/>
                <a:gd name="T58" fmla="*/ 65 w 89"/>
                <a:gd name="T59" fmla="*/ 68 h 92"/>
                <a:gd name="T60" fmla="*/ 65 w 89"/>
                <a:gd name="T61" fmla="*/ 69 h 92"/>
                <a:gd name="T62" fmla="*/ 65 w 89"/>
                <a:gd name="T63" fmla="*/ 71 h 92"/>
                <a:gd name="T64" fmla="*/ 66 w 89"/>
                <a:gd name="T65" fmla="*/ 77 h 92"/>
                <a:gd name="T66" fmla="*/ 70 w 89"/>
                <a:gd name="T67" fmla="*/ 92 h 92"/>
                <a:gd name="T68" fmla="*/ 57 w 89"/>
                <a:gd name="T69" fmla="*/ 83 h 92"/>
                <a:gd name="T70" fmla="*/ 40 w 89"/>
                <a:gd name="T71" fmla="*/ 72 h 92"/>
                <a:gd name="T72" fmla="*/ 35 w 89"/>
                <a:gd name="T73" fmla="*/ 72 h 92"/>
                <a:gd name="T74" fmla="*/ 25 w 89"/>
                <a:gd name="T75" fmla="*/ 78 h 92"/>
                <a:gd name="T76" fmla="*/ 14 w 89"/>
                <a:gd name="T77" fmla="*/ 83 h 92"/>
                <a:gd name="T78" fmla="*/ 0 w 89"/>
                <a:gd name="T79" fmla="*/ 88 h 92"/>
                <a:gd name="T80" fmla="*/ 1 w 89"/>
                <a:gd name="T81" fmla="*/ 87 h 92"/>
                <a:gd name="T82" fmla="*/ 8 w 89"/>
                <a:gd name="T83" fmla="*/ 78 h 92"/>
                <a:gd name="T84" fmla="*/ 15 w 89"/>
                <a:gd name="T85" fmla="*/ 68 h 92"/>
                <a:gd name="T86" fmla="*/ 18 w 89"/>
                <a:gd name="T87" fmla="*/ 6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9" h="92">
                  <a:moveTo>
                    <a:pt x="18" y="63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19" y="61"/>
                    <a:pt x="19" y="60"/>
                    <a:pt x="19" y="59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2" y="58"/>
                    <a:pt x="22" y="55"/>
                    <a:pt x="21" y="53"/>
                  </a:cubicBezTo>
                  <a:cubicBezTo>
                    <a:pt x="20" y="51"/>
                    <a:pt x="18" y="49"/>
                    <a:pt x="17" y="48"/>
                  </a:cubicBezTo>
                  <a:cubicBezTo>
                    <a:pt x="14" y="45"/>
                    <a:pt x="12" y="42"/>
                    <a:pt x="10" y="39"/>
                  </a:cubicBezTo>
                  <a:cubicBezTo>
                    <a:pt x="9" y="38"/>
                    <a:pt x="7" y="36"/>
                    <a:pt x="6" y="35"/>
                  </a:cubicBezTo>
                  <a:cubicBezTo>
                    <a:pt x="7" y="35"/>
                    <a:pt x="9" y="35"/>
                    <a:pt x="11" y="35"/>
                  </a:cubicBezTo>
                  <a:cubicBezTo>
                    <a:pt x="13" y="35"/>
                    <a:pt x="16" y="35"/>
                    <a:pt x="20" y="35"/>
                  </a:cubicBezTo>
                  <a:cubicBezTo>
                    <a:pt x="22" y="35"/>
                    <a:pt x="26" y="35"/>
                    <a:pt x="28" y="32"/>
                  </a:cubicBezTo>
                  <a:cubicBezTo>
                    <a:pt x="30" y="33"/>
                    <a:pt x="32" y="33"/>
                    <a:pt x="33" y="31"/>
                  </a:cubicBezTo>
                  <a:cubicBezTo>
                    <a:pt x="36" y="25"/>
                    <a:pt x="39" y="18"/>
                    <a:pt x="43" y="11"/>
                  </a:cubicBezTo>
                  <a:cubicBezTo>
                    <a:pt x="45" y="7"/>
                    <a:pt x="47" y="4"/>
                    <a:pt x="49" y="0"/>
                  </a:cubicBezTo>
                  <a:cubicBezTo>
                    <a:pt x="50" y="4"/>
                    <a:pt x="51" y="9"/>
                    <a:pt x="53" y="13"/>
                  </a:cubicBezTo>
                  <a:cubicBezTo>
                    <a:pt x="54" y="17"/>
                    <a:pt x="55" y="21"/>
                    <a:pt x="56" y="25"/>
                  </a:cubicBezTo>
                  <a:cubicBezTo>
                    <a:pt x="57" y="27"/>
                    <a:pt x="58" y="33"/>
                    <a:pt x="60" y="35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1" y="35"/>
                    <a:pt x="61" y="35"/>
                    <a:pt x="61" y="36"/>
                  </a:cubicBezTo>
                  <a:cubicBezTo>
                    <a:pt x="62" y="36"/>
                    <a:pt x="63" y="36"/>
                    <a:pt x="64" y="37"/>
                  </a:cubicBezTo>
                  <a:cubicBezTo>
                    <a:pt x="65" y="37"/>
                    <a:pt x="67" y="37"/>
                    <a:pt x="68" y="37"/>
                  </a:cubicBezTo>
                  <a:cubicBezTo>
                    <a:pt x="71" y="38"/>
                    <a:pt x="74" y="38"/>
                    <a:pt x="77" y="39"/>
                  </a:cubicBezTo>
                  <a:cubicBezTo>
                    <a:pt x="81" y="39"/>
                    <a:pt x="85" y="39"/>
                    <a:pt x="89" y="40"/>
                  </a:cubicBezTo>
                  <a:cubicBezTo>
                    <a:pt x="87" y="41"/>
                    <a:pt x="85" y="42"/>
                    <a:pt x="84" y="43"/>
                  </a:cubicBezTo>
                  <a:cubicBezTo>
                    <a:pt x="81" y="45"/>
                    <a:pt x="78" y="47"/>
                    <a:pt x="74" y="49"/>
                  </a:cubicBezTo>
                  <a:cubicBezTo>
                    <a:pt x="72" y="51"/>
                    <a:pt x="68" y="52"/>
                    <a:pt x="66" y="54"/>
                  </a:cubicBezTo>
                  <a:cubicBezTo>
                    <a:pt x="66" y="54"/>
                    <a:pt x="65" y="54"/>
                    <a:pt x="65" y="54"/>
                  </a:cubicBezTo>
                  <a:cubicBezTo>
                    <a:pt x="63" y="55"/>
                    <a:pt x="62" y="57"/>
                    <a:pt x="63" y="59"/>
                  </a:cubicBezTo>
                  <a:cubicBezTo>
                    <a:pt x="63" y="62"/>
                    <a:pt x="64" y="64"/>
                    <a:pt x="64" y="67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5" y="69"/>
                    <a:pt x="65" y="69"/>
                  </a:cubicBezTo>
                  <a:cubicBezTo>
                    <a:pt x="65" y="70"/>
                    <a:pt x="65" y="70"/>
                    <a:pt x="65" y="71"/>
                  </a:cubicBezTo>
                  <a:cubicBezTo>
                    <a:pt x="65" y="73"/>
                    <a:pt x="65" y="75"/>
                    <a:pt x="66" y="77"/>
                  </a:cubicBezTo>
                  <a:cubicBezTo>
                    <a:pt x="67" y="82"/>
                    <a:pt x="69" y="87"/>
                    <a:pt x="70" y="92"/>
                  </a:cubicBezTo>
                  <a:cubicBezTo>
                    <a:pt x="65" y="90"/>
                    <a:pt x="61" y="86"/>
                    <a:pt x="57" y="83"/>
                  </a:cubicBezTo>
                  <a:cubicBezTo>
                    <a:pt x="52" y="80"/>
                    <a:pt x="47" y="74"/>
                    <a:pt x="40" y="72"/>
                  </a:cubicBezTo>
                  <a:cubicBezTo>
                    <a:pt x="38" y="72"/>
                    <a:pt x="37" y="71"/>
                    <a:pt x="35" y="72"/>
                  </a:cubicBezTo>
                  <a:cubicBezTo>
                    <a:pt x="32" y="74"/>
                    <a:pt x="29" y="76"/>
                    <a:pt x="25" y="78"/>
                  </a:cubicBezTo>
                  <a:cubicBezTo>
                    <a:pt x="22" y="80"/>
                    <a:pt x="18" y="82"/>
                    <a:pt x="14" y="83"/>
                  </a:cubicBezTo>
                  <a:cubicBezTo>
                    <a:pt x="10" y="85"/>
                    <a:pt x="5" y="87"/>
                    <a:pt x="0" y="88"/>
                  </a:cubicBezTo>
                  <a:cubicBezTo>
                    <a:pt x="0" y="88"/>
                    <a:pt x="0" y="87"/>
                    <a:pt x="1" y="87"/>
                  </a:cubicBezTo>
                  <a:cubicBezTo>
                    <a:pt x="3" y="84"/>
                    <a:pt x="5" y="81"/>
                    <a:pt x="8" y="78"/>
                  </a:cubicBezTo>
                  <a:cubicBezTo>
                    <a:pt x="11" y="75"/>
                    <a:pt x="13" y="71"/>
                    <a:pt x="15" y="68"/>
                  </a:cubicBezTo>
                  <a:cubicBezTo>
                    <a:pt x="16" y="67"/>
                    <a:pt x="17" y="64"/>
                    <a:pt x="18" y="63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3" name="ïṧḷíḍê">
              <a:extLst>
                <a:ext uri="{FF2B5EF4-FFF2-40B4-BE49-F238E27FC236}">
                  <a16:creationId xmlns:a16="http://schemas.microsoft.com/office/drawing/2014/main" id="{35BCB709-1E62-4067-B731-C9552E0C79F7}"/>
                </a:ext>
              </a:extLst>
            </p:cNvPr>
            <p:cNvSpPr/>
            <p:nvPr/>
          </p:nvSpPr>
          <p:spPr bwMode="auto">
            <a:xfrm>
              <a:off x="5814789" y="1581416"/>
              <a:ext cx="193889" cy="282692"/>
            </a:xfrm>
            <a:custGeom>
              <a:avLst/>
              <a:gdLst>
                <a:gd name="T0" fmla="*/ 4 w 63"/>
                <a:gd name="T1" fmla="*/ 80 h 92"/>
                <a:gd name="T2" fmla="*/ 4 w 63"/>
                <a:gd name="T3" fmla="*/ 80 h 92"/>
                <a:gd name="T4" fmla="*/ 10 w 63"/>
                <a:gd name="T5" fmla="*/ 65 h 92"/>
                <a:gd name="T6" fmla="*/ 10 w 63"/>
                <a:gd name="T7" fmla="*/ 59 h 92"/>
                <a:gd name="T8" fmla="*/ 13 w 63"/>
                <a:gd name="T9" fmla="*/ 54 h 92"/>
                <a:gd name="T10" fmla="*/ 16 w 63"/>
                <a:gd name="T11" fmla="*/ 46 h 92"/>
                <a:gd name="T12" fmla="*/ 21 w 63"/>
                <a:gd name="T13" fmla="*/ 32 h 92"/>
                <a:gd name="T14" fmla="*/ 24 w 63"/>
                <a:gd name="T15" fmla="*/ 14 h 92"/>
                <a:gd name="T16" fmla="*/ 28 w 63"/>
                <a:gd name="T17" fmla="*/ 16 h 92"/>
                <a:gd name="T18" fmla="*/ 32 w 63"/>
                <a:gd name="T19" fmla="*/ 19 h 92"/>
                <a:gd name="T20" fmla="*/ 35 w 63"/>
                <a:gd name="T21" fmla="*/ 24 h 92"/>
                <a:gd name="T22" fmla="*/ 36 w 63"/>
                <a:gd name="T23" fmla="*/ 23 h 92"/>
                <a:gd name="T24" fmla="*/ 31 w 63"/>
                <a:gd name="T25" fmla="*/ 14 h 92"/>
                <a:gd name="T26" fmla="*/ 24 w 63"/>
                <a:gd name="T27" fmla="*/ 10 h 92"/>
                <a:gd name="T28" fmla="*/ 24 w 63"/>
                <a:gd name="T29" fmla="*/ 2 h 92"/>
                <a:gd name="T30" fmla="*/ 24 w 63"/>
                <a:gd name="T31" fmla="*/ 0 h 92"/>
                <a:gd name="T32" fmla="*/ 30 w 63"/>
                <a:gd name="T33" fmla="*/ 8 h 92"/>
                <a:gd name="T34" fmla="*/ 60 w 63"/>
                <a:gd name="T35" fmla="*/ 18 h 92"/>
                <a:gd name="T36" fmla="*/ 61 w 63"/>
                <a:gd name="T37" fmla="*/ 17 h 92"/>
                <a:gd name="T38" fmla="*/ 62 w 63"/>
                <a:gd name="T39" fmla="*/ 17 h 92"/>
                <a:gd name="T40" fmla="*/ 63 w 63"/>
                <a:gd name="T41" fmla="*/ 19 h 92"/>
                <a:gd name="T42" fmla="*/ 35 w 63"/>
                <a:gd name="T43" fmla="*/ 41 h 92"/>
                <a:gd name="T44" fmla="*/ 1 w 63"/>
                <a:gd name="T45" fmla="*/ 92 h 92"/>
                <a:gd name="T46" fmla="*/ 0 w 63"/>
                <a:gd name="T47" fmla="*/ 85 h 92"/>
                <a:gd name="T48" fmla="*/ 4 w 63"/>
                <a:gd name="T49" fmla="*/ 8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3" h="92">
                  <a:moveTo>
                    <a:pt x="4" y="80"/>
                  </a:moveTo>
                  <a:cubicBezTo>
                    <a:pt x="4" y="80"/>
                    <a:pt x="4" y="80"/>
                    <a:pt x="4" y="80"/>
                  </a:cubicBezTo>
                  <a:cubicBezTo>
                    <a:pt x="8" y="75"/>
                    <a:pt x="10" y="70"/>
                    <a:pt x="10" y="65"/>
                  </a:cubicBezTo>
                  <a:cubicBezTo>
                    <a:pt x="10" y="63"/>
                    <a:pt x="10" y="61"/>
                    <a:pt x="10" y="59"/>
                  </a:cubicBezTo>
                  <a:cubicBezTo>
                    <a:pt x="11" y="58"/>
                    <a:pt x="12" y="56"/>
                    <a:pt x="13" y="54"/>
                  </a:cubicBezTo>
                  <a:cubicBezTo>
                    <a:pt x="14" y="51"/>
                    <a:pt x="15" y="48"/>
                    <a:pt x="16" y="46"/>
                  </a:cubicBezTo>
                  <a:cubicBezTo>
                    <a:pt x="18" y="41"/>
                    <a:pt x="19" y="37"/>
                    <a:pt x="21" y="32"/>
                  </a:cubicBezTo>
                  <a:cubicBezTo>
                    <a:pt x="22" y="26"/>
                    <a:pt x="23" y="20"/>
                    <a:pt x="24" y="14"/>
                  </a:cubicBezTo>
                  <a:cubicBezTo>
                    <a:pt x="25" y="14"/>
                    <a:pt x="27" y="15"/>
                    <a:pt x="28" y="16"/>
                  </a:cubicBezTo>
                  <a:cubicBezTo>
                    <a:pt x="29" y="17"/>
                    <a:pt x="31" y="18"/>
                    <a:pt x="32" y="19"/>
                  </a:cubicBezTo>
                  <a:cubicBezTo>
                    <a:pt x="33" y="21"/>
                    <a:pt x="33" y="22"/>
                    <a:pt x="35" y="24"/>
                  </a:cubicBezTo>
                  <a:cubicBezTo>
                    <a:pt x="35" y="24"/>
                    <a:pt x="36" y="24"/>
                    <a:pt x="36" y="23"/>
                  </a:cubicBezTo>
                  <a:cubicBezTo>
                    <a:pt x="37" y="19"/>
                    <a:pt x="34" y="16"/>
                    <a:pt x="31" y="14"/>
                  </a:cubicBezTo>
                  <a:cubicBezTo>
                    <a:pt x="29" y="12"/>
                    <a:pt x="26" y="11"/>
                    <a:pt x="24" y="10"/>
                  </a:cubicBezTo>
                  <a:cubicBezTo>
                    <a:pt x="24" y="7"/>
                    <a:pt x="24" y="5"/>
                    <a:pt x="24" y="2"/>
                  </a:cubicBezTo>
                  <a:cubicBezTo>
                    <a:pt x="24" y="2"/>
                    <a:pt x="24" y="1"/>
                    <a:pt x="24" y="0"/>
                  </a:cubicBezTo>
                  <a:cubicBezTo>
                    <a:pt x="26" y="3"/>
                    <a:pt x="28" y="5"/>
                    <a:pt x="30" y="8"/>
                  </a:cubicBezTo>
                  <a:cubicBezTo>
                    <a:pt x="38" y="15"/>
                    <a:pt x="49" y="20"/>
                    <a:pt x="60" y="18"/>
                  </a:cubicBezTo>
                  <a:cubicBezTo>
                    <a:pt x="60" y="18"/>
                    <a:pt x="61" y="17"/>
                    <a:pt x="61" y="17"/>
                  </a:cubicBezTo>
                  <a:cubicBezTo>
                    <a:pt x="61" y="17"/>
                    <a:pt x="61" y="17"/>
                    <a:pt x="62" y="17"/>
                  </a:cubicBezTo>
                  <a:cubicBezTo>
                    <a:pt x="62" y="18"/>
                    <a:pt x="62" y="18"/>
                    <a:pt x="63" y="19"/>
                  </a:cubicBezTo>
                  <a:cubicBezTo>
                    <a:pt x="53" y="25"/>
                    <a:pt x="44" y="33"/>
                    <a:pt x="35" y="41"/>
                  </a:cubicBezTo>
                  <a:cubicBezTo>
                    <a:pt x="21" y="56"/>
                    <a:pt x="9" y="73"/>
                    <a:pt x="1" y="92"/>
                  </a:cubicBezTo>
                  <a:cubicBezTo>
                    <a:pt x="0" y="90"/>
                    <a:pt x="0" y="87"/>
                    <a:pt x="0" y="85"/>
                  </a:cubicBezTo>
                  <a:cubicBezTo>
                    <a:pt x="1" y="83"/>
                    <a:pt x="3" y="81"/>
                    <a:pt x="4" y="8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4" name="îşļïḋè">
              <a:extLst>
                <a:ext uri="{FF2B5EF4-FFF2-40B4-BE49-F238E27FC236}">
                  <a16:creationId xmlns:a16="http://schemas.microsoft.com/office/drawing/2014/main" id="{758C6AF8-9EDB-435F-BF8B-DE4172D927FD}"/>
                </a:ext>
              </a:extLst>
            </p:cNvPr>
            <p:cNvSpPr/>
            <p:nvPr/>
          </p:nvSpPr>
          <p:spPr bwMode="auto">
            <a:xfrm>
              <a:off x="5429972" y="1761984"/>
              <a:ext cx="310813" cy="439579"/>
            </a:xfrm>
            <a:custGeom>
              <a:avLst/>
              <a:gdLst>
                <a:gd name="T0" fmla="*/ 0 w 101"/>
                <a:gd name="T1" fmla="*/ 47 h 143"/>
                <a:gd name="T2" fmla="*/ 0 w 101"/>
                <a:gd name="T3" fmla="*/ 47 h 143"/>
                <a:gd name="T4" fmla="*/ 1 w 101"/>
                <a:gd name="T5" fmla="*/ 43 h 143"/>
                <a:gd name="T6" fmla="*/ 2 w 101"/>
                <a:gd name="T7" fmla="*/ 37 h 143"/>
                <a:gd name="T8" fmla="*/ 4 w 101"/>
                <a:gd name="T9" fmla="*/ 29 h 143"/>
                <a:gd name="T10" fmla="*/ 9 w 101"/>
                <a:gd name="T11" fmla="*/ 29 h 143"/>
                <a:gd name="T12" fmla="*/ 21 w 101"/>
                <a:gd name="T13" fmla="*/ 20 h 143"/>
                <a:gd name="T14" fmla="*/ 19 w 101"/>
                <a:gd name="T15" fmla="*/ 7 h 143"/>
                <a:gd name="T16" fmla="*/ 17 w 101"/>
                <a:gd name="T17" fmla="*/ 4 h 143"/>
                <a:gd name="T18" fmla="*/ 18 w 101"/>
                <a:gd name="T19" fmla="*/ 4 h 143"/>
                <a:gd name="T20" fmla="*/ 23 w 101"/>
                <a:gd name="T21" fmla="*/ 1 h 143"/>
                <a:gd name="T22" fmla="*/ 33 w 101"/>
                <a:gd name="T23" fmla="*/ 0 h 143"/>
                <a:gd name="T24" fmla="*/ 43 w 101"/>
                <a:gd name="T25" fmla="*/ 1 h 143"/>
                <a:gd name="T26" fmla="*/ 47 w 101"/>
                <a:gd name="T27" fmla="*/ 1 h 143"/>
                <a:gd name="T28" fmla="*/ 51 w 101"/>
                <a:gd name="T29" fmla="*/ 6 h 143"/>
                <a:gd name="T30" fmla="*/ 77 w 101"/>
                <a:gd name="T31" fmla="*/ 27 h 143"/>
                <a:gd name="T32" fmla="*/ 86 w 101"/>
                <a:gd name="T33" fmla="*/ 30 h 143"/>
                <a:gd name="T34" fmla="*/ 86 w 101"/>
                <a:gd name="T35" fmla="*/ 31 h 143"/>
                <a:gd name="T36" fmla="*/ 87 w 101"/>
                <a:gd name="T37" fmla="*/ 35 h 143"/>
                <a:gd name="T38" fmla="*/ 88 w 101"/>
                <a:gd name="T39" fmla="*/ 38 h 143"/>
                <a:gd name="T40" fmla="*/ 91 w 101"/>
                <a:gd name="T41" fmla="*/ 45 h 143"/>
                <a:gd name="T42" fmla="*/ 96 w 101"/>
                <a:gd name="T43" fmla="*/ 59 h 143"/>
                <a:gd name="T44" fmla="*/ 101 w 101"/>
                <a:gd name="T45" fmla="*/ 86 h 143"/>
                <a:gd name="T46" fmla="*/ 92 w 101"/>
                <a:gd name="T47" fmla="*/ 130 h 143"/>
                <a:gd name="T48" fmla="*/ 84 w 101"/>
                <a:gd name="T49" fmla="*/ 138 h 143"/>
                <a:gd name="T50" fmla="*/ 74 w 101"/>
                <a:gd name="T51" fmla="*/ 143 h 143"/>
                <a:gd name="T52" fmla="*/ 70 w 101"/>
                <a:gd name="T53" fmla="*/ 143 h 143"/>
                <a:gd name="T54" fmla="*/ 64 w 101"/>
                <a:gd name="T55" fmla="*/ 143 h 143"/>
                <a:gd name="T56" fmla="*/ 63 w 101"/>
                <a:gd name="T57" fmla="*/ 143 h 143"/>
                <a:gd name="T58" fmla="*/ 61 w 101"/>
                <a:gd name="T59" fmla="*/ 142 h 143"/>
                <a:gd name="T60" fmla="*/ 59 w 101"/>
                <a:gd name="T61" fmla="*/ 142 h 143"/>
                <a:gd name="T62" fmla="*/ 53 w 101"/>
                <a:gd name="T63" fmla="*/ 140 h 143"/>
                <a:gd name="T64" fmla="*/ 43 w 101"/>
                <a:gd name="T65" fmla="*/ 134 h 143"/>
                <a:gd name="T66" fmla="*/ 34 w 101"/>
                <a:gd name="T67" fmla="*/ 127 h 143"/>
                <a:gd name="T68" fmla="*/ 19 w 101"/>
                <a:gd name="T69" fmla="*/ 110 h 143"/>
                <a:gd name="T70" fmla="*/ 1 w 101"/>
                <a:gd name="T71" fmla="*/ 69 h 143"/>
                <a:gd name="T72" fmla="*/ 0 w 101"/>
                <a:gd name="T73" fmla="*/ 4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" h="143">
                  <a:moveTo>
                    <a:pt x="0" y="47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6"/>
                    <a:pt x="0" y="45"/>
                    <a:pt x="1" y="43"/>
                  </a:cubicBezTo>
                  <a:cubicBezTo>
                    <a:pt x="1" y="41"/>
                    <a:pt x="1" y="39"/>
                    <a:pt x="2" y="37"/>
                  </a:cubicBezTo>
                  <a:cubicBezTo>
                    <a:pt x="2" y="35"/>
                    <a:pt x="3" y="32"/>
                    <a:pt x="4" y="29"/>
                  </a:cubicBezTo>
                  <a:cubicBezTo>
                    <a:pt x="6" y="29"/>
                    <a:pt x="7" y="29"/>
                    <a:pt x="9" y="29"/>
                  </a:cubicBezTo>
                  <a:cubicBezTo>
                    <a:pt x="15" y="28"/>
                    <a:pt x="19" y="25"/>
                    <a:pt x="21" y="20"/>
                  </a:cubicBezTo>
                  <a:cubicBezTo>
                    <a:pt x="22" y="15"/>
                    <a:pt x="22" y="10"/>
                    <a:pt x="19" y="7"/>
                  </a:cubicBezTo>
                  <a:cubicBezTo>
                    <a:pt x="19" y="6"/>
                    <a:pt x="18" y="5"/>
                    <a:pt x="17" y="4"/>
                  </a:cubicBezTo>
                  <a:cubicBezTo>
                    <a:pt x="17" y="4"/>
                    <a:pt x="18" y="4"/>
                    <a:pt x="18" y="4"/>
                  </a:cubicBezTo>
                  <a:cubicBezTo>
                    <a:pt x="20" y="3"/>
                    <a:pt x="21" y="2"/>
                    <a:pt x="23" y="1"/>
                  </a:cubicBezTo>
                  <a:cubicBezTo>
                    <a:pt x="26" y="0"/>
                    <a:pt x="29" y="0"/>
                    <a:pt x="33" y="0"/>
                  </a:cubicBezTo>
                  <a:cubicBezTo>
                    <a:pt x="36" y="0"/>
                    <a:pt x="40" y="0"/>
                    <a:pt x="43" y="1"/>
                  </a:cubicBezTo>
                  <a:cubicBezTo>
                    <a:pt x="44" y="1"/>
                    <a:pt x="45" y="1"/>
                    <a:pt x="47" y="1"/>
                  </a:cubicBezTo>
                  <a:cubicBezTo>
                    <a:pt x="48" y="3"/>
                    <a:pt x="50" y="5"/>
                    <a:pt x="51" y="6"/>
                  </a:cubicBezTo>
                  <a:cubicBezTo>
                    <a:pt x="58" y="14"/>
                    <a:pt x="67" y="21"/>
                    <a:pt x="77" y="27"/>
                  </a:cubicBezTo>
                  <a:cubicBezTo>
                    <a:pt x="80" y="28"/>
                    <a:pt x="83" y="29"/>
                    <a:pt x="86" y="30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2"/>
                    <a:pt x="86" y="34"/>
                    <a:pt x="87" y="35"/>
                  </a:cubicBezTo>
                  <a:cubicBezTo>
                    <a:pt x="87" y="36"/>
                    <a:pt x="88" y="37"/>
                    <a:pt x="88" y="38"/>
                  </a:cubicBezTo>
                  <a:cubicBezTo>
                    <a:pt x="89" y="41"/>
                    <a:pt x="90" y="43"/>
                    <a:pt x="91" y="45"/>
                  </a:cubicBezTo>
                  <a:cubicBezTo>
                    <a:pt x="93" y="49"/>
                    <a:pt x="94" y="54"/>
                    <a:pt x="96" y="59"/>
                  </a:cubicBezTo>
                  <a:cubicBezTo>
                    <a:pt x="98" y="68"/>
                    <a:pt x="100" y="77"/>
                    <a:pt x="101" y="86"/>
                  </a:cubicBezTo>
                  <a:cubicBezTo>
                    <a:pt x="101" y="102"/>
                    <a:pt x="100" y="117"/>
                    <a:pt x="92" y="130"/>
                  </a:cubicBezTo>
                  <a:cubicBezTo>
                    <a:pt x="90" y="133"/>
                    <a:pt x="87" y="136"/>
                    <a:pt x="84" y="138"/>
                  </a:cubicBezTo>
                  <a:cubicBezTo>
                    <a:pt x="81" y="140"/>
                    <a:pt x="78" y="142"/>
                    <a:pt x="74" y="143"/>
                  </a:cubicBezTo>
                  <a:cubicBezTo>
                    <a:pt x="73" y="143"/>
                    <a:pt x="72" y="143"/>
                    <a:pt x="70" y="143"/>
                  </a:cubicBezTo>
                  <a:cubicBezTo>
                    <a:pt x="68" y="143"/>
                    <a:pt x="66" y="143"/>
                    <a:pt x="64" y="143"/>
                  </a:cubicBezTo>
                  <a:cubicBezTo>
                    <a:pt x="64" y="143"/>
                    <a:pt x="63" y="143"/>
                    <a:pt x="63" y="143"/>
                  </a:cubicBezTo>
                  <a:cubicBezTo>
                    <a:pt x="62" y="143"/>
                    <a:pt x="62" y="143"/>
                    <a:pt x="61" y="142"/>
                  </a:cubicBezTo>
                  <a:cubicBezTo>
                    <a:pt x="61" y="142"/>
                    <a:pt x="60" y="142"/>
                    <a:pt x="59" y="142"/>
                  </a:cubicBezTo>
                  <a:cubicBezTo>
                    <a:pt x="57" y="141"/>
                    <a:pt x="55" y="141"/>
                    <a:pt x="53" y="140"/>
                  </a:cubicBezTo>
                  <a:cubicBezTo>
                    <a:pt x="50" y="139"/>
                    <a:pt x="46" y="136"/>
                    <a:pt x="43" y="134"/>
                  </a:cubicBezTo>
                  <a:cubicBezTo>
                    <a:pt x="40" y="132"/>
                    <a:pt x="37" y="130"/>
                    <a:pt x="34" y="127"/>
                  </a:cubicBezTo>
                  <a:cubicBezTo>
                    <a:pt x="28" y="122"/>
                    <a:pt x="23" y="115"/>
                    <a:pt x="19" y="110"/>
                  </a:cubicBezTo>
                  <a:cubicBezTo>
                    <a:pt x="10" y="97"/>
                    <a:pt x="4" y="84"/>
                    <a:pt x="1" y="69"/>
                  </a:cubicBezTo>
                  <a:cubicBezTo>
                    <a:pt x="0" y="62"/>
                    <a:pt x="0" y="55"/>
                    <a:pt x="0" y="47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5" name="ïşlïḑê">
              <a:extLst>
                <a:ext uri="{FF2B5EF4-FFF2-40B4-BE49-F238E27FC236}">
                  <a16:creationId xmlns:a16="http://schemas.microsoft.com/office/drawing/2014/main" id="{60D9B0A8-CFD4-4CC3-9C09-4621A396DBC3}"/>
                </a:ext>
              </a:extLst>
            </p:cNvPr>
            <p:cNvSpPr/>
            <p:nvPr/>
          </p:nvSpPr>
          <p:spPr bwMode="auto">
            <a:xfrm>
              <a:off x="5435893" y="1787145"/>
              <a:ext cx="42922" cy="48843"/>
            </a:xfrm>
            <a:custGeom>
              <a:avLst/>
              <a:gdLst>
                <a:gd name="T0" fmla="*/ 0 w 14"/>
                <a:gd name="T1" fmla="*/ 8 h 16"/>
                <a:gd name="T2" fmla="*/ 0 w 14"/>
                <a:gd name="T3" fmla="*/ 8 h 16"/>
                <a:gd name="T4" fmla="*/ 3 w 14"/>
                <a:gd name="T5" fmla="*/ 4 h 16"/>
                <a:gd name="T6" fmla="*/ 4 w 14"/>
                <a:gd name="T7" fmla="*/ 2 h 16"/>
                <a:gd name="T8" fmla="*/ 5 w 14"/>
                <a:gd name="T9" fmla="*/ 1 h 16"/>
                <a:gd name="T10" fmla="*/ 7 w 14"/>
                <a:gd name="T11" fmla="*/ 0 h 16"/>
                <a:gd name="T12" fmla="*/ 8 w 14"/>
                <a:gd name="T13" fmla="*/ 0 h 16"/>
                <a:gd name="T14" fmla="*/ 9 w 14"/>
                <a:gd name="T15" fmla="*/ 0 h 16"/>
                <a:gd name="T16" fmla="*/ 9 w 14"/>
                <a:gd name="T17" fmla="*/ 0 h 16"/>
                <a:gd name="T18" fmla="*/ 9 w 14"/>
                <a:gd name="T19" fmla="*/ 0 h 16"/>
                <a:gd name="T20" fmla="*/ 10 w 14"/>
                <a:gd name="T21" fmla="*/ 0 h 16"/>
                <a:gd name="T22" fmla="*/ 11 w 14"/>
                <a:gd name="T23" fmla="*/ 0 h 16"/>
                <a:gd name="T24" fmla="*/ 11 w 14"/>
                <a:gd name="T25" fmla="*/ 0 h 16"/>
                <a:gd name="T26" fmla="*/ 12 w 14"/>
                <a:gd name="T27" fmla="*/ 1 h 16"/>
                <a:gd name="T28" fmla="*/ 12 w 14"/>
                <a:gd name="T29" fmla="*/ 1 h 16"/>
                <a:gd name="T30" fmla="*/ 13 w 14"/>
                <a:gd name="T31" fmla="*/ 2 h 16"/>
                <a:gd name="T32" fmla="*/ 13 w 14"/>
                <a:gd name="T33" fmla="*/ 3 h 16"/>
                <a:gd name="T34" fmla="*/ 13 w 14"/>
                <a:gd name="T35" fmla="*/ 3 h 16"/>
                <a:gd name="T36" fmla="*/ 13 w 14"/>
                <a:gd name="T37" fmla="*/ 3 h 16"/>
                <a:gd name="T38" fmla="*/ 14 w 14"/>
                <a:gd name="T39" fmla="*/ 4 h 16"/>
                <a:gd name="T40" fmla="*/ 14 w 14"/>
                <a:gd name="T41" fmla="*/ 9 h 16"/>
                <a:gd name="T42" fmla="*/ 11 w 14"/>
                <a:gd name="T43" fmla="*/ 13 h 16"/>
                <a:gd name="T44" fmla="*/ 11 w 14"/>
                <a:gd name="T45" fmla="*/ 14 h 16"/>
                <a:gd name="T46" fmla="*/ 11 w 14"/>
                <a:gd name="T47" fmla="*/ 14 h 16"/>
                <a:gd name="T48" fmla="*/ 10 w 14"/>
                <a:gd name="T49" fmla="*/ 14 h 16"/>
                <a:gd name="T50" fmla="*/ 9 w 14"/>
                <a:gd name="T51" fmla="*/ 15 h 16"/>
                <a:gd name="T52" fmla="*/ 5 w 14"/>
                <a:gd name="T53" fmla="*/ 15 h 16"/>
                <a:gd name="T54" fmla="*/ 1 w 14"/>
                <a:gd name="T55" fmla="*/ 14 h 16"/>
                <a:gd name="T56" fmla="*/ 0 w 14"/>
                <a:gd name="T57" fmla="*/ 11 h 16"/>
                <a:gd name="T58" fmla="*/ 0 w 14"/>
                <a:gd name="T59" fmla="*/ 10 h 16"/>
                <a:gd name="T60" fmla="*/ 0 w 14"/>
                <a:gd name="T6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" h="16"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1" y="4"/>
                    <a:pt x="3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6" y="1"/>
                    <a:pt x="6" y="1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3" y="1"/>
                    <a:pt x="13" y="2"/>
                  </a:cubicBezTo>
                  <a:cubicBezTo>
                    <a:pt x="13" y="2"/>
                    <a:pt x="13" y="2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4" y="4"/>
                    <a:pt x="14" y="4"/>
                  </a:cubicBezTo>
                  <a:cubicBezTo>
                    <a:pt x="14" y="6"/>
                    <a:pt x="14" y="7"/>
                    <a:pt x="14" y="9"/>
                  </a:cubicBezTo>
                  <a:cubicBezTo>
                    <a:pt x="13" y="11"/>
                    <a:pt x="13" y="12"/>
                    <a:pt x="11" y="13"/>
                  </a:cubicBezTo>
                  <a:cubicBezTo>
                    <a:pt x="11" y="13"/>
                    <a:pt x="11" y="13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0" y="14"/>
                    <a:pt x="10" y="14"/>
                  </a:cubicBezTo>
                  <a:cubicBezTo>
                    <a:pt x="10" y="14"/>
                    <a:pt x="9" y="15"/>
                    <a:pt x="9" y="15"/>
                  </a:cubicBezTo>
                  <a:cubicBezTo>
                    <a:pt x="8" y="15"/>
                    <a:pt x="6" y="15"/>
                    <a:pt x="5" y="15"/>
                  </a:cubicBezTo>
                  <a:cubicBezTo>
                    <a:pt x="4" y="16"/>
                    <a:pt x="2" y="15"/>
                    <a:pt x="1" y="14"/>
                  </a:cubicBezTo>
                  <a:cubicBezTo>
                    <a:pt x="2" y="13"/>
                    <a:pt x="1" y="12"/>
                    <a:pt x="0" y="11"/>
                  </a:cubicBezTo>
                  <a:cubicBezTo>
                    <a:pt x="0" y="11"/>
                    <a:pt x="0" y="10"/>
                    <a:pt x="0" y="10"/>
                  </a:cubicBezTo>
                  <a:cubicBezTo>
                    <a:pt x="0" y="9"/>
                    <a:pt x="0" y="9"/>
                    <a:pt x="0" y="8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6" name="i$ļiḍé">
              <a:extLst>
                <a:ext uri="{FF2B5EF4-FFF2-40B4-BE49-F238E27FC236}">
                  <a16:creationId xmlns:a16="http://schemas.microsoft.com/office/drawing/2014/main" id="{959C6513-4D55-4DF8-95A6-C7E438D3A375}"/>
                </a:ext>
              </a:extLst>
            </p:cNvPr>
            <p:cNvSpPr/>
            <p:nvPr/>
          </p:nvSpPr>
          <p:spPr bwMode="auto">
            <a:xfrm>
              <a:off x="5162082" y="2186762"/>
              <a:ext cx="356695" cy="967961"/>
            </a:xfrm>
            <a:custGeom>
              <a:avLst/>
              <a:gdLst>
                <a:gd name="T0" fmla="*/ 69 w 116"/>
                <a:gd name="T1" fmla="*/ 0 h 315"/>
                <a:gd name="T2" fmla="*/ 69 w 116"/>
                <a:gd name="T3" fmla="*/ 0 h 315"/>
                <a:gd name="T4" fmla="*/ 70 w 116"/>
                <a:gd name="T5" fmla="*/ 0 h 315"/>
                <a:gd name="T6" fmla="*/ 70 w 116"/>
                <a:gd name="T7" fmla="*/ 1 h 315"/>
                <a:gd name="T8" fmla="*/ 71 w 116"/>
                <a:gd name="T9" fmla="*/ 1 h 315"/>
                <a:gd name="T10" fmla="*/ 73 w 116"/>
                <a:gd name="T11" fmla="*/ 1 h 315"/>
                <a:gd name="T12" fmla="*/ 78 w 116"/>
                <a:gd name="T13" fmla="*/ 2 h 315"/>
                <a:gd name="T14" fmla="*/ 88 w 116"/>
                <a:gd name="T15" fmla="*/ 5 h 315"/>
                <a:gd name="T16" fmla="*/ 89 w 116"/>
                <a:gd name="T17" fmla="*/ 6 h 315"/>
                <a:gd name="T18" fmla="*/ 90 w 116"/>
                <a:gd name="T19" fmla="*/ 6 h 315"/>
                <a:gd name="T20" fmla="*/ 91 w 116"/>
                <a:gd name="T21" fmla="*/ 7 h 315"/>
                <a:gd name="T22" fmla="*/ 96 w 116"/>
                <a:gd name="T23" fmla="*/ 9 h 315"/>
                <a:gd name="T24" fmla="*/ 100 w 116"/>
                <a:gd name="T25" fmla="*/ 12 h 315"/>
                <a:gd name="T26" fmla="*/ 103 w 116"/>
                <a:gd name="T27" fmla="*/ 14 h 315"/>
                <a:gd name="T28" fmla="*/ 104 w 116"/>
                <a:gd name="T29" fmla="*/ 14 h 315"/>
                <a:gd name="T30" fmla="*/ 105 w 116"/>
                <a:gd name="T31" fmla="*/ 15 h 315"/>
                <a:gd name="T32" fmla="*/ 116 w 116"/>
                <a:gd name="T33" fmla="*/ 27 h 315"/>
                <a:gd name="T34" fmla="*/ 99 w 116"/>
                <a:gd name="T35" fmla="*/ 22 h 315"/>
                <a:gd name="T36" fmla="*/ 72 w 116"/>
                <a:gd name="T37" fmla="*/ 17 h 315"/>
                <a:gd name="T38" fmla="*/ 42 w 116"/>
                <a:gd name="T39" fmla="*/ 19 h 315"/>
                <a:gd name="T40" fmla="*/ 21 w 116"/>
                <a:gd name="T41" fmla="*/ 24 h 315"/>
                <a:gd name="T42" fmla="*/ 0 w 116"/>
                <a:gd name="T43" fmla="*/ 18 h 315"/>
                <a:gd name="T44" fmla="*/ 9 w 116"/>
                <a:gd name="T45" fmla="*/ 13 h 315"/>
                <a:gd name="T46" fmla="*/ 28 w 116"/>
                <a:gd name="T47" fmla="*/ 5 h 315"/>
                <a:gd name="T48" fmla="*/ 48 w 116"/>
                <a:gd name="T49" fmla="*/ 0 h 315"/>
                <a:gd name="T50" fmla="*/ 69 w 116"/>
                <a:gd name="T51" fmla="*/ 0 h 315"/>
                <a:gd name="T52" fmla="*/ 40 w 116"/>
                <a:gd name="T53" fmla="*/ 315 h 315"/>
                <a:gd name="T54" fmla="*/ 40 w 116"/>
                <a:gd name="T55" fmla="*/ 315 h 315"/>
                <a:gd name="T56" fmla="*/ 38 w 116"/>
                <a:gd name="T57" fmla="*/ 307 h 315"/>
                <a:gd name="T58" fmla="*/ 31 w 116"/>
                <a:gd name="T59" fmla="*/ 286 h 315"/>
                <a:gd name="T60" fmla="*/ 26 w 116"/>
                <a:gd name="T61" fmla="*/ 275 h 315"/>
                <a:gd name="T62" fmla="*/ 40 w 116"/>
                <a:gd name="T63" fmla="*/ 269 h 315"/>
                <a:gd name="T64" fmla="*/ 58 w 116"/>
                <a:gd name="T65" fmla="*/ 267 h 315"/>
                <a:gd name="T66" fmla="*/ 75 w 116"/>
                <a:gd name="T67" fmla="*/ 267 h 315"/>
                <a:gd name="T68" fmla="*/ 79 w 116"/>
                <a:gd name="T69" fmla="*/ 268 h 315"/>
                <a:gd name="T70" fmla="*/ 72 w 116"/>
                <a:gd name="T71" fmla="*/ 279 h 315"/>
                <a:gd name="T72" fmla="*/ 65 w 116"/>
                <a:gd name="T73" fmla="*/ 295 h 315"/>
                <a:gd name="T74" fmla="*/ 62 w 116"/>
                <a:gd name="T75" fmla="*/ 305 h 315"/>
                <a:gd name="T76" fmla="*/ 40 w 116"/>
                <a:gd name="T77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6" h="315"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70" y="0"/>
                    <a:pt x="70" y="0"/>
                  </a:cubicBezTo>
                  <a:cubicBezTo>
                    <a:pt x="70" y="0"/>
                    <a:pt x="70" y="0"/>
                    <a:pt x="70" y="1"/>
                  </a:cubicBezTo>
                  <a:cubicBezTo>
                    <a:pt x="70" y="1"/>
                    <a:pt x="70" y="1"/>
                    <a:pt x="71" y="1"/>
                  </a:cubicBezTo>
                  <a:cubicBezTo>
                    <a:pt x="71" y="1"/>
                    <a:pt x="72" y="1"/>
                    <a:pt x="73" y="1"/>
                  </a:cubicBezTo>
                  <a:cubicBezTo>
                    <a:pt x="75" y="1"/>
                    <a:pt x="76" y="2"/>
                    <a:pt x="78" y="2"/>
                  </a:cubicBezTo>
                  <a:cubicBezTo>
                    <a:pt x="81" y="3"/>
                    <a:pt x="85" y="4"/>
                    <a:pt x="88" y="5"/>
                  </a:cubicBezTo>
                  <a:cubicBezTo>
                    <a:pt x="89" y="5"/>
                    <a:pt x="89" y="5"/>
                    <a:pt x="89" y="6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91" y="6"/>
                    <a:pt x="91" y="6"/>
                    <a:pt x="91" y="7"/>
                  </a:cubicBezTo>
                  <a:cubicBezTo>
                    <a:pt x="93" y="7"/>
                    <a:pt x="95" y="8"/>
                    <a:pt x="96" y="9"/>
                  </a:cubicBezTo>
                  <a:cubicBezTo>
                    <a:pt x="98" y="10"/>
                    <a:pt x="99" y="11"/>
                    <a:pt x="100" y="12"/>
                  </a:cubicBezTo>
                  <a:cubicBezTo>
                    <a:pt x="101" y="13"/>
                    <a:pt x="102" y="13"/>
                    <a:pt x="103" y="14"/>
                  </a:cubicBezTo>
                  <a:cubicBezTo>
                    <a:pt x="103" y="14"/>
                    <a:pt x="103" y="14"/>
                    <a:pt x="104" y="14"/>
                  </a:cubicBezTo>
                  <a:cubicBezTo>
                    <a:pt x="104" y="14"/>
                    <a:pt x="104" y="15"/>
                    <a:pt x="105" y="15"/>
                  </a:cubicBezTo>
                  <a:cubicBezTo>
                    <a:pt x="109" y="19"/>
                    <a:pt x="113" y="23"/>
                    <a:pt x="116" y="27"/>
                  </a:cubicBezTo>
                  <a:cubicBezTo>
                    <a:pt x="110" y="25"/>
                    <a:pt x="105" y="24"/>
                    <a:pt x="99" y="22"/>
                  </a:cubicBezTo>
                  <a:cubicBezTo>
                    <a:pt x="90" y="19"/>
                    <a:pt x="81" y="17"/>
                    <a:pt x="72" y="17"/>
                  </a:cubicBezTo>
                  <a:cubicBezTo>
                    <a:pt x="62" y="17"/>
                    <a:pt x="52" y="18"/>
                    <a:pt x="42" y="19"/>
                  </a:cubicBezTo>
                  <a:cubicBezTo>
                    <a:pt x="35" y="20"/>
                    <a:pt x="28" y="22"/>
                    <a:pt x="21" y="24"/>
                  </a:cubicBezTo>
                  <a:cubicBezTo>
                    <a:pt x="14" y="22"/>
                    <a:pt x="7" y="19"/>
                    <a:pt x="0" y="18"/>
                  </a:cubicBezTo>
                  <a:cubicBezTo>
                    <a:pt x="3" y="16"/>
                    <a:pt x="6" y="14"/>
                    <a:pt x="9" y="13"/>
                  </a:cubicBezTo>
                  <a:cubicBezTo>
                    <a:pt x="15" y="9"/>
                    <a:pt x="21" y="7"/>
                    <a:pt x="28" y="5"/>
                  </a:cubicBezTo>
                  <a:cubicBezTo>
                    <a:pt x="35" y="3"/>
                    <a:pt x="42" y="1"/>
                    <a:pt x="48" y="0"/>
                  </a:cubicBezTo>
                  <a:cubicBezTo>
                    <a:pt x="55" y="0"/>
                    <a:pt x="62" y="0"/>
                    <a:pt x="69" y="0"/>
                  </a:cubicBezTo>
                  <a:close/>
                  <a:moveTo>
                    <a:pt x="40" y="315"/>
                  </a:moveTo>
                  <a:cubicBezTo>
                    <a:pt x="40" y="315"/>
                    <a:pt x="40" y="315"/>
                    <a:pt x="40" y="315"/>
                  </a:cubicBezTo>
                  <a:cubicBezTo>
                    <a:pt x="39" y="312"/>
                    <a:pt x="38" y="309"/>
                    <a:pt x="38" y="307"/>
                  </a:cubicBezTo>
                  <a:cubicBezTo>
                    <a:pt x="36" y="300"/>
                    <a:pt x="34" y="293"/>
                    <a:pt x="31" y="286"/>
                  </a:cubicBezTo>
                  <a:cubicBezTo>
                    <a:pt x="30" y="282"/>
                    <a:pt x="28" y="279"/>
                    <a:pt x="26" y="275"/>
                  </a:cubicBezTo>
                  <a:cubicBezTo>
                    <a:pt x="30" y="272"/>
                    <a:pt x="36" y="270"/>
                    <a:pt x="40" y="269"/>
                  </a:cubicBezTo>
                  <a:cubicBezTo>
                    <a:pt x="46" y="267"/>
                    <a:pt x="52" y="267"/>
                    <a:pt x="58" y="267"/>
                  </a:cubicBezTo>
                  <a:cubicBezTo>
                    <a:pt x="64" y="267"/>
                    <a:pt x="69" y="267"/>
                    <a:pt x="75" y="267"/>
                  </a:cubicBezTo>
                  <a:cubicBezTo>
                    <a:pt x="77" y="267"/>
                    <a:pt x="78" y="267"/>
                    <a:pt x="79" y="268"/>
                  </a:cubicBezTo>
                  <a:cubicBezTo>
                    <a:pt x="77" y="271"/>
                    <a:pt x="74" y="275"/>
                    <a:pt x="72" y="279"/>
                  </a:cubicBezTo>
                  <a:cubicBezTo>
                    <a:pt x="69" y="284"/>
                    <a:pt x="67" y="289"/>
                    <a:pt x="65" y="295"/>
                  </a:cubicBezTo>
                  <a:cubicBezTo>
                    <a:pt x="64" y="298"/>
                    <a:pt x="63" y="301"/>
                    <a:pt x="62" y="305"/>
                  </a:cubicBezTo>
                  <a:cubicBezTo>
                    <a:pt x="54" y="308"/>
                    <a:pt x="47" y="311"/>
                    <a:pt x="40" y="315"/>
                  </a:cubicBezTo>
                  <a:close/>
                </a:path>
              </a:pathLst>
            </a:custGeom>
            <a:solidFill>
              <a:srgbClr val="9C50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7" name="ïṣḷiḍê">
              <a:extLst>
                <a:ext uri="{FF2B5EF4-FFF2-40B4-BE49-F238E27FC236}">
                  <a16:creationId xmlns:a16="http://schemas.microsoft.com/office/drawing/2014/main" id="{7127E628-A91D-4BFE-B252-F3EE20DC6646}"/>
                </a:ext>
              </a:extLst>
            </p:cNvPr>
            <p:cNvSpPr/>
            <p:nvPr/>
          </p:nvSpPr>
          <p:spPr bwMode="auto">
            <a:xfrm>
              <a:off x="4947472" y="2038756"/>
              <a:ext cx="137646" cy="182048"/>
            </a:xfrm>
            <a:custGeom>
              <a:avLst/>
              <a:gdLst>
                <a:gd name="T0" fmla="*/ 29 w 45"/>
                <a:gd name="T1" fmla="*/ 56 h 59"/>
                <a:gd name="T2" fmla="*/ 29 w 45"/>
                <a:gd name="T3" fmla="*/ 56 h 59"/>
                <a:gd name="T4" fmla="*/ 25 w 45"/>
                <a:gd name="T5" fmla="*/ 46 h 59"/>
                <a:gd name="T6" fmla="*/ 19 w 45"/>
                <a:gd name="T7" fmla="*/ 35 h 59"/>
                <a:gd name="T8" fmla="*/ 1 w 45"/>
                <a:gd name="T9" fmla="*/ 16 h 59"/>
                <a:gd name="T10" fmla="*/ 0 w 45"/>
                <a:gd name="T11" fmla="*/ 16 h 59"/>
                <a:gd name="T12" fmla="*/ 6 w 45"/>
                <a:gd name="T13" fmla="*/ 6 h 59"/>
                <a:gd name="T14" fmla="*/ 11 w 45"/>
                <a:gd name="T15" fmla="*/ 1 h 59"/>
                <a:gd name="T16" fmla="*/ 12 w 45"/>
                <a:gd name="T17" fmla="*/ 0 h 59"/>
                <a:gd name="T18" fmla="*/ 14 w 45"/>
                <a:gd name="T19" fmla="*/ 6 h 59"/>
                <a:gd name="T20" fmla="*/ 34 w 45"/>
                <a:gd name="T21" fmla="*/ 46 h 59"/>
                <a:gd name="T22" fmla="*/ 45 w 45"/>
                <a:gd name="T23" fmla="*/ 59 h 59"/>
                <a:gd name="T24" fmla="*/ 29 w 45"/>
                <a:gd name="T25" fmla="*/ 5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59">
                  <a:moveTo>
                    <a:pt x="29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29" y="52"/>
                    <a:pt x="27" y="49"/>
                    <a:pt x="25" y="46"/>
                  </a:cubicBezTo>
                  <a:cubicBezTo>
                    <a:pt x="24" y="42"/>
                    <a:pt x="21" y="38"/>
                    <a:pt x="19" y="35"/>
                  </a:cubicBezTo>
                  <a:cubicBezTo>
                    <a:pt x="14" y="28"/>
                    <a:pt x="8" y="21"/>
                    <a:pt x="1" y="16"/>
                  </a:cubicBezTo>
                  <a:cubicBezTo>
                    <a:pt x="1" y="16"/>
                    <a:pt x="1" y="16"/>
                    <a:pt x="0" y="16"/>
                  </a:cubicBezTo>
                  <a:cubicBezTo>
                    <a:pt x="2" y="12"/>
                    <a:pt x="4" y="9"/>
                    <a:pt x="6" y="6"/>
                  </a:cubicBezTo>
                  <a:cubicBezTo>
                    <a:pt x="8" y="4"/>
                    <a:pt x="9" y="2"/>
                    <a:pt x="11" y="1"/>
                  </a:cubicBezTo>
                  <a:cubicBezTo>
                    <a:pt x="11" y="1"/>
                    <a:pt x="12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8" y="20"/>
                    <a:pt x="25" y="34"/>
                    <a:pt x="34" y="46"/>
                  </a:cubicBezTo>
                  <a:cubicBezTo>
                    <a:pt x="37" y="50"/>
                    <a:pt x="41" y="55"/>
                    <a:pt x="45" y="59"/>
                  </a:cubicBezTo>
                  <a:cubicBezTo>
                    <a:pt x="40" y="58"/>
                    <a:pt x="35" y="57"/>
                    <a:pt x="29" y="56"/>
                  </a:cubicBezTo>
                  <a:close/>
                </a:path>
              </a:pathLst>
            </a:custGeom>
            <a:solidFill>
              <a:srgbClr val="3767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8" name="iśḷíďè">
              <a:extLst>
                <a:ext uri="{FF2B5EF4-FFF2-40B4-BE49-F238E27FC236}">
                  <a16:creationId xmlns:a16="http://schemas.microsoft.com/office/drawing/2014/main" id="{EFC17844-9623-41B3-85DB-BC475A6F6A4F}"/>
                </a:ext>
              </a:extLst>
            </p:cNvPr>
            <p:cNvSpPr/>
            <p:nvPr/>
          </p:nvSpPr>
          <p:spPr bwMode="auto">
            <a:xfrm>
              <a:off x="4787625" y="2087597"/>
              <a:ext cx="220530" cy="119886"/>
            </a:xfrm>
            <a:custGeom>
              <a:avLst/>
              <a:gdLst>
                <a:gd name="T0" fmla="*/ 0 w 72"/>
                <a:gd name="T1" fmla="*/ 34 h 39"/>
                <a:gd name="T2" fmla="*/ 0 w 72"/>
                <a:gd name="T3" fmla="*/ 34 h 39"/>
                <a:gd name="T4" fmla="*/ 0 w 72"/>
                <a:gd name="T5" fmla="*/ 31 h 39"/>
                <a:gd name="T6" fmla="*/ 2 w 72"/>
                <a:gd name="T7" fmla="*/ 21 h 39"/>
                <a:gd name="T8" fmla="*/ 14 w 72"/>
                <a:gd name="T9" fmla="*/ 5 h 39"/>
                <a:gd name="T10" fmla="*/ 23 w 72"/>
                <a:gd name="T11" fmla="*/ 1 h 39"/>
                <a:gd name="T12" fmla="*/ 33 w 72"/>
                <a:gd name="T13" fmla="*/ 1 h 39"/>
                <a:gd name="T14" fmla="*/ 34 w 72"/>
                <a:gd name="T15" fmla="*/ 1 h 39"/>
                <a:gd name="T16" fmla="*/ 35 w 72"/>
                <a:gd name="T17" fmla="*/ 1 h 39"/>
                <a:gd name="T18" fmla="*/ 38 w 72"/>
                <a:gd name="T19" fmla="*/ 2 h 39"/>
                <a:gd name="T20" fmla="*/ 42 w 72"/>
                <a:gd name="T21" fmla="*/ 4 h 39"/>
                <a:gd name="T22" fmla="*/ 51 w 72"/>
                <a:gd name="T23" fmla="*/ 10 h 39"/>
                <a:gd name="T24" fmla="*/ 65 w 72"/>
                <a:gd name="T25" fmla="*/ 26 h 39"/>
                <a:gd name="T26" fmla="*/ 70 w 72"/>
                <a:gd name="T27" fmla="*/ 34 h 39"/>
                <a:gd name="T28" fmla="*/ 72 w 72"/>
                <a:gd name="T29" fmla="*/ 38 h 39"/>
                <a:gd name="T30" fmla="*/ 72 w 72"/>
                <a:gd name="T31" fmla="*/ 39 h 39"/>
                <a:gd name="T32" fmla="*/ 0 w 72"/>
                <a:gd name="T33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39">
                  <a:moveTo>
                    <a:pt x="0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33"/>
                    <a:pt x="0" y="32"/>
                    <a:pt x="0" y="31"/>
                  </a:cubicBezTo>
                  <a:cubicBezTo>
                    <a:pt x="0" y="28"/>
                    <a:pt x="1" y="24"/>
                    <a:pt x="2" y="21"/>
                  </a:cubicBezTo>
                  <a:cubicBezTo>
                    <a:pt x="4" y="15"/>
                    <a:pt x="9" y="9"/>
                    <a:pt x="14" y="5"/>
                  </a:cubicBezTo>
                  <a:cubicBezTo>
                    <a:pt x="17" y="3"/>
                    <a:pt x="19" y="2"/>
                    <a:pt x="23" y="1"/>
                  </a:cubicBezTo>
                  <a:cubicBezTo>
                    <a:pt x="26" y="0"/>
                    <a:pt x="29" y="0"/>
                    <a:pt x="33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1"/>
                    <a:pt x="35" y="1"/>
                    <a:pt x="35" y="1"/>
                  </a:cubicBezTo>
                  <a:cubicBezTo>
                    <a:pt x="36" y="1"/>
                    <a:pt x="37" y="2"/>
                    <a:pt x="38" y="2"/>
                  </a:cubicBezTo>
                  <a:cubicBezTo>
                    <a:pt x="39" y="2"/>
                    <a:pt x="40" y="3"/>
                    <a:pt x="42" y="4"/>
                  </a:cubicBezTo>
                  <a:cubicBezTo>
                    <a:pt x="45" y="5"/>
                    <a:pt x="49" y="8"/>
                    <a:pt x="51" y="10"/>
                  </a:cubicBezTo>
                  <a:cubicBezTo>
                    <a:pt x="57" y="15"/>
                    <a:pt x="62" y="20"/>
                    <a:pt x="65" y="26"/>
                  </a:cubicBezTo>
                  <a:cubicBezTo>
                    <a:pt x="67" y="28"/>
                    <a:pt x="68" y="31"/>
                    <a:pt x="70" y="34"/>
                  </a:cubicBezTo>
                  <a:cubicBezTo>
                    <a:pt x="71" y="36"/>
                    <a:pt x="71" y="37"/>
                    <a:pt x="72" y="38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48" y="35"/>
                    <a:pt x="24" y="34"/>
                    <a:pt x="0" y="34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9" name="îšlíḑé">
              <a:extLst>
                <a:ext uri="{FF2B5EF4-FFF2-40B4-BE49-F238E27FC236}">
                  <a16:creationId xmlns:a16="http://schemas.microsoft.com/office/drawing/2014/main" id="{D9D342E1-1AEA-4127-BB92-F5A9B50A0925}"/>
                </a:ext>
              </a:extLst>
            </p:cNvPr>
            <p:cNvSpPr/>
            <p:nvPr/>
          </p:nvSpPr>
          <p:spPr bwMode="auto">
            <a:xfrm>
              <a:off x="3983952" y="3640183"/>
              <a:ext cx="550583" cy="390736"/>
            </a:xfrm>
            <a:custGeom>
              <a:avLst/>
              <a:gdLst>
                <a:gd name="T0" fmla="*/ 156 w 179"/>
                <a:gd name="T1" fmla="*/ 46 h 127"/>
                <a:gd name="T2" fmla="*/ 156 w 179"/>
                <a:gd name="T3" fmla="*/ 46 h 127"/>
                <a:gd name="T4" fmla="*/ 155 w 179"/>
                <a:gd name="T5" fmla="*/ 45 h 127"/>
                <a:gd name="T6" fmla="*/ 149 w 179"/>
                <a:gd name="T7" fmla="*/ 40 h 127"/>
                <a:gd name="T8" fmla="*/ 137 w 179"/>
                <a:gd name="T9" fmla="*/ 31 h 127"/>
                <a:gd name="T10" fmla="*/ 112 w 179"/>
                <a:gd name="T11" fmla="*/ 16 h 127"/>
                <a:gd name="T12" fmla="*/ 89 w 179"/>
                <a:gd name="T13" fmla="*/ 4 h 127"/>
                <a:gd name="T14" fmla="*/ 83 w 179"/>
                <a:gd name="T15" fmla="*/ 2 h 127"/>
                <a:gd name="T16" fmla="*/ 89 w 179"/>
                <a:gd name="T17" fmla="*/ 1 h 127"/>
                <a:gd name="T18" fmla="*/ 105 w 179"/>
                <a:gd name="T19" fmla="*/ 1 h 127"/>
                <a:gd name="T20" fmla="*/ 121 w 179"/>
                <a:gd name="T21" fmla="*/ 1 h 127"/>
                <a:gd name="T22" fmla="*/ 157 w 179"/>
                <a:gd name="T23" fmla="*/ 0 h 127"/>
                <a:gd name="T24" fmla="*/ 163 w 179"/>
                <a:gd name="T25" fmla="*/ 4 h 127"/>
                <a:gd name="T26" fmla="*/ 176 w 179"/>
                <a:gd name="T27" fmla="*/ 14 h 127"/>
                <a:gd name="T28" fmla="*/ 179 w 179"/>
                <a:gd name="T29" fmla="*/ 17 h 127"/>
                <a:gd name="T30" fmla="*/ 156 w 179"/>
                <a:gd name="T31" fmla="*/ 46 h 127"/>
                <a:gd name="T32" fmla="*/ 100 w 179"/>
                <a:gd name="T33" fmla="*/ 121 h 127"/>
                <a:gd name="T34" fmla="*/ 100 w 179"/>
                <a:gd name="T35" fmla="*/ 121 h 127"/>
                <a:gd name="T36" fmla="*/ 83 w 179"/>
                <a:gd name="T37" fmla="*/ 108 h 127"/>
                <a:gd name="T38" fmla="*/ 64 w 179"/>
                <a:gd name="T39" fmla="*/ 94 h 127"/>
                <a:gd name="T40" fmla="*/ 54 w 179"/>
                <a:gd name="T41" fmla="*/ 87 h 127"/>
                <a:gd name="T42" fmla="*/ 51 w 179"/>
                <a:gd name="T43" fmla="*/ 86 h 127"/>
                <a:gd name="T44" fmla="*/ 44 w 179"/>
                <a:gd name="T45" fmla="*/ 71 h 127"/>
                <a:gd name="T46" fmla="*/ 25 w 179"/>
                <a:gd name="T47" fmla="*/ 35 h 127"/>
                <a:gd name="T48" fmla="*/ 2 w 179"/>
                <a:gd name="T49" fmla="*/ 11 h 127"/>
                <a:gd name="T50" fmla="*/ 2 w 179"/>
                <a:gd name="T51" fmla="*/ 11 h 127"/>
                <a:gd name="T52" fmla="*/ 0 w 179"/>
                <a:gd name="T53" fmla="*/ 9 h 127"/>
                <a:gd name="T54" fmla="*/ 0 w 179"/>
                <a:gd name="T55" fmla="*/ 9 h 127"/>
                <a:gd name="T56" fmla="*/ 6 w 179"/>
                <a:gd name="T57" fmla="*/ 10 h 127"/>
                <a:gd name="T58" fmla="*/ 14 w 179"/>
                <a:gd name="T59" fmla="*/ 12 h 127"/>
                <a:gd name="T60" fmla="*/ 32 w 179"/>
                <a:gd name="T61" fmla="*/ 20 h 127"/>
                <a:gd name="T62" fmla="*/ 66 w 179"/>
                <a:gd name="T63" fmla="*/ 45 h 127"/>
                <a:gd name="T64" fmla="*/ 93 w 179"/>
                <a:gd name="T65" fmla="*/ 66 h 127"/>
                <a:gd name="T66" fmla="*/ 107 w 179"/>
                <a:gd name="T67" fmla="*/ 81 h 127"/>
                <a:gd name="T68" fmla="*/ 114 w 179"/>
                <a:gd name="T69" fmla="*/ 89 h 127"/>
                <a:gd name="T70" fmla="*/ 121 w 179"/>
                <a:gd name="T71" fmla="*/ 98 h 127"/>
                <a:gd name="T72" fmla="*/ 123 w 179"/>
                <a:gd name="T73" fmla="*/ 98 h 127"/>
                <a:gd name="T74" fmla="*/ 110 w 179"/>
                <a:gd name="T75" fmla="*/ 124 h 127"/>
                <a:gd name="T76" fmla="*/ 107 w 179"/>
                <a:gd name="T77" fmla="*/ 126 h 127"/>
                <a:gd name="T78" fmla="*/ 107 w 179"/>
                <a:gd name="T79" fmla="*/ 127 h 127"/>
                <a:gd name="T80" fmla="*/ 100 w 179"/>
                <a:gd name="T81" fmla="*/ 121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9" h="127">
                  <a:moveTo>
                    <a:pt x="156" y="46"/>
                  </a:moveTo>
                  <a:cubicBezTo>
                    <a:pt x="156" y="46"/>
                    <a:pt x="156" y="46"/>
                    <a:pt x="156" y="46"/>
                  </a:cubicBezTo>
                  <a:cubicBezTo>
                    <a:pt x="156" y="46"/>
                    <a:pt x="155" y="45"/>
                    <a:pt x="155" y="45"/>
                  </a:cubicBezTo>
                  <a:cubicBezTo>
                    <a:pt x="153" y="43"/>
                    <a:pt x="151" y="42"/>
                    <a:pt x="149" y="40"/>
                  </a:cubicBezTo>
                  <a:cubicBezTo>
                    <a:pt x="145" y="37"/>
                    <a:pt x="141" y="34"/>
                    <a:pt x="137" y="31"/>
                  </a:cubicBezTo>
                  <a:cubicBezTo>
                    <a:pt x="129" y="26"/>
                    <a:pt x="121" y="21"/>
                    <a:pt x="112" y="16"/>
                  </a:cubicBezTo>
                  <a:cubicBezTo>
                    <a:pt x="104" y="12"/>
                    <a:pt x="97" y="9"/>
                    <a:pt x="89" y="4"/>
                  </a:cubicBezTo>
                  <a:cubicBezTo>
                    <a:pt x="87" y="3"/>
                    <a:pt x="85" y="3"/>
                    <a:pt x="83" y="2"/>
                  </a:cubicBezTo>
                  <a:cubicBezTo>
                    <a:pt x="85" y="2"/>
                    <a:pt x="87" y="2"/>
                    <a:pt x="89" y="1"/>
                  </a:cubicBezTo>
                  <a:cubicBezTo>
                    <a:pt x="94" y="1"/>
                    <a:pt x="100" y="1"/>
                    <a:pt x="105" y="1"/>
                  </a:cubicBezTo>
                  <a:cubicBezTo>
                    <a:pt x="110" y="1"/>
                    <a:pt x="116" y="1"/>
                    <a:pt x="121" y="1"/>
                  </a:cubicBezTo>
                  <a:cubicBezTo>
                    <a:pt x="133" y="1"/>
                    <a:pt x="145" y="1"/>
                    <a:pt x="157" y="0"/>
                  </a:cubicBezTo>
                  <a:cubicBezTo>
                    <a:pt x="159" y="2"/>
                    <a:pt x="161" y="3"/>
                    <a:pt x="163" y="4"/>
                  </a:cubicBezTo>
                  <a:cubicBezTo>
                    <a:pt x="167" y="7"/>
                    <a:pt x="172" y="11"/>
                    <a:pt x="176" y="14"/>
                  </a:cubicBezTo>
                  <a:cubicBezTo>
                    <a:pt x="177" y="15"/>
                    <a:pt x="178" y="16"/>
                    <a:pt x="179" y="17"/>
                  </a:cubicBezTo>
                  <a:cubicBezTo>
                    <a:pt x="172" y="26"/>
                    <a:pt x="164" y="36"/>
                    <a:pt x="156" y="46"/>
                  </a:cubicBezTo>
                  <a:close/>
                  <a:moveTo>
                    <a:pt x="100" y="121"/>
                  </a:moveTo>
                  <a:cubicBezTo>
                    <a:pt x="100" y="121"/>
                    <a:pt x="100" y="121"/>
                    <a:pt x="100" y="121"/>
                  </a:cubicBezTo>
                  <a:cubicBezTo>
                    <a:pt x="95" y="117"/>
                    <a:pt x="89" y="113"/>
                    <a:pt x="83" y="108"/>
                  </a:cubicBezTo>
                  <a:cubicBezTo>
                    <a:pt x="77" y="104"/>
                    <a:pt x="71" y="98"/>
                    <a:pt x="64" y="94"/>
                  </a:cubicBezTo>
                  <a:cubicBezTo>
                    <a:pt x="61" y="91"/>
                    <a:pt x="57" y="89"/>
                    <a:pt x="54" y="87"/>
                  </a:cubicBezTo>
                  <a:cubicBezTo>
                    <a:pt x="53" y="87"/>
                    <a:pt x="52" y="86"/>
                    <a:pt x="51" y="86"/>
                  </a:cubicBezTo>
                  <a:cubicBezTo>
                    <a:pt x="49" y="81"/>
                    <a:pt x="47" y="76"/>
                    <a:pt x="44" y="71"/>
                  </a:cubicBezTo>
                  <a:cubicBezTo>
                    <a:pt x="39" y="58"/>
                    <a:pt x="32" y="46"/>
                    <a:pt x="25" y="35"/>
                  </a:cubicBezTo>
                  <a:cubicBezTo>
                    <a:pt x="18" y="26"/>
                    <a:pt x="11" y="18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0"/>
                    <a:pt x="1" y="10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9"/>
                    <a:pt x="4" y="9"/>
                    <a:pt x="6" y="10"/>
                  </a:cubicBezTo>
                  <a:cubicBezTo>
                    <a:pt x="9" y="10"/>
                    <a:pt x="11" y="11"/>
                    <a:pt x="14" y="12"/>
                  </a:cubicBezTo>
                  <a:cubicBezTo>
                    <a:pt x="21" y="14"/>
                    <a:pt x="27" y="17"/>
                    <a:pt x="32" y="20"/>
                  </a:cubicBezTo>
                  <a:cubicBezTo>
                    <a:pt x="44" y="27"/>
                    <a:pt x="55" y="36"/>
                    <a:pt x="66" y="45"/>
                  </a:cubicBezTo>
                  <a:cubicBezTo>
                    <a:pt x="75" y="52"/>
                    <a:pt x="84" y="59"/>
                    <a:pt x="93" y="66"/>
                  </a:cubicBezTo>
                  <a:cubicBezTo>
                    <a:pt x="98" y="71"/>
                    <a:pt x="103" y="76"/>
                    <a:pt x="107" y="81"/>
                  </a:cubicBezTo>
                  <a:cubicBezTo>
                    <a:pt x="110" y="84"/>
                    <a:pt x="112" y="86"/>
                    <a:pt x="114" y="89"/>
                  </a:cubicBezTo>
                  <a:cubicBezTo>
                    <a:pt x="117" y="92"/>
                    <a:pt x="119" y="95"/>
                    <a:pt x="121" y="98"/>
                  </a:cubicBezTo>
                  <a:cubicBezTo>
                    <a:pt x="122" y="98"/>
                    <a:pt x="122" y="98"/>
                    <a:pt x="123" y="98"/>
                  </a:cubicBezTo>
                  <a:cubicBezTo>
                    <a:pt x="118" y="107"/>
                    <a:pt x="114" y="115"/>
                    <a:pt x="110" y="124"/>
                  </a:cubicBezTo>
                  <a:cubicBezTo>
                    <a:pt x="109" y="125"/>
                    <a:pt x="108" y="125"/>
                    <a:pt x="107" y="126"/>
                  </a:cubicBezTo>
                  <a:cubicBezTo>
                    <a:pt x="107" y="127"/>
                    <a:pt x="107" y="127"/>
                    <a:pt x="107" y="127"/>
                  </a:cubicBezTo>
                  <a:cubicBezTo>
                    <a:pt x="104" y="125"/>
                    <a:pt x="103" y="123"/>
                    <a:pt x="100" y="121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0" name="îṧliḓé">
              <a:extLst>
                <a:ext uri="{FF2B5EF4-FFF2-40B4-BE49-F238E27FC236}">
                  <a16:creationId xmlns:a16="http://schemas.microsoft.com/office/drawing/2014/main" id="{13A6D1D6-34C7-4844-80A7-99B3B9F7A59A}"/>
                </a:ext>
              </a:extLst>
            </p:cNvPr>
            <p:cNvSpPr/>
            <p:nvPr/>
          </p:nvSpPr>
          <p:spPr bwMode="auto">
            <a:xfrm>
              <a:off x="7374774" y="2527176"/>
              <a:ext cx="319693" cy="319693"/>
            </a:xfrm>
            <a:custGeom>
              <a:avLst/>
              <a:gdLst>
                <a:gd name="T0" fmla="*/ 74 w 104"/>
                <a:gd name="T1" fmla="*/ 4 h 104"/>
                <a:gd name="T2" fmla="*/ 74 w 104"/>
                <a:gd name="T3" fmla="*/ 4 h 104"/>
                <a:gd name="T4" fmla="*/ 84 w 104"/>
                <a:gd name="T5" fmla="*/ 10 h 104"/>
                <a:gd name="T6" fmla="*/ 86 w 104"/>
                <a:gd name="T7" fmla="*/ 12 h 104"/>
                <a:gd name="T8" fmla="*/ 94 w 104"/>
                <a:gd name="T9" fmla="*/ 20 h 104"/>
                <a:gd name="T10" fmla="*/ 94 w 104"/>
                <a:gd name="T11" fmla="*/ 20 h 104"/>
                <a:gd name="T12" fmla="*/ 96 w 104"/>
                <a:gd name="T13" fmla="*/ 23 h 104"/>
                <a:gd name="T14" fmla="*/ 99 w 104"/>
                <a:gd name="T15" fmla="*/ 29 h 104"/>
                <a:gd name="T16" fmla="*/ 101 w 104"/>
                <a:gd name="T17" fmla="*/ 33 h 104"/>
                <a:gd name="T18" fmla="*/ 104 w 104"/>
                <a:gd name="T19" fmla="*/ 43 h 104"/>
                <a:gd name="T20" fmla="*/ 104 w 104"/>
                <a:gd name="T21" fmla="*/ 44 h 104"/>
                <a:gd name="T22" fmla="*/ 104 w 104"/>
                <a:gd name="T23" fmla="*/ 48 h 104"/>
                <a:gd name="T24" fmla="*/ 98 w 104"/>
                <a:gd name="T25" fmla="*/ 78 h 104"/>
                <a:gd name="T26" fmla="*/ 96 w 104"/>
                <a:gd name="T27" fmla="*/ 81 h 104"/>
                <a:gd name="T28" fmla="*/ 93 w 104"/>
                <a:gd name="T29" fmla="*/ 89 h 104"/>
                <a:gd name="T30" fmla="*/ 84 w 104"/>
                <a:gd name="T31" fmla="*/ 94 h 104"/>
                <a:gd name="T32" fmla="*/ 1 w 104"/>
                <a:gd name="T33" fmla="*/ 104 h 104"/>
                <a:gd name="T34" fmla="*/ 1 w 104"/>
                <a:gd name="T35" fmla="*/ 72 h 104"/>
                <a:gd name="T36" fmla="*/ 8 w 104"/>
                <a:gd name="T37" fmla="*/ 42 h 104"/>
                <a:gd name="T38" fmla="*/ 17 w 104"/>
                <a:gd name="T39" fmla="*/ 24 h 104"/>
                <a:gd name="T40" fmla="*/ 19 w 104"/>
                <a:gd name="T41" fmla="*/ 21 h 104"/>
                <a:gd name="T42" fmla="*/ 22 w 104"/>
                <a:gd name="T43" fmla="*/ 17 h 104"/>
                <a:gd name="T44" fmla="*/ 29 w 104"/>
                <a:gd name="T45" fmla="*/ 10 h 104"/>
                <a:gd name="T46" fmla="*/ 32 w 104"/>
                <a:gd name="T47" fmla="*/ 8 h 104"/>
                <a:gd name="T48" fmla="*/ 38 w 104"/>
                <a:gd name="T49" fmla="*/ 4 h 104"/>
                <a:gd name="T50" fmla="*/ 40 w 104"/>
                <a:gd name="T51" fmla="*/ 4 h 104"/>
                <a:gd name="T52" fmla="*/ 45 w 104"/>
                <a:gd name="T53" fmla="*/ 4 h 104"/>
                <a:gd name="T54" fmla="*/ 50 w 104"/>
                <a:gd name="T55" fmla="*/ 1 h 104"/>
                <a:gd name="T56" fmla="*/ 53 w 104"/>
                <a:gd name="T57" fmla="*/ 0 h 104"/>
                <a:gd name="T58" fmla="*/ 60 w 104"/>
                <a:gd name="T59" fmla="*/ 0 h 104"/>
                <a:gd name="T60" fmla="*/ 62 w 104"/>
                <a:gd name="T61" fmla="*/ 1 h 104"/>
                <a:gd name="T62" fmla="*/ 65 w 104"/>
                <a:gd name="T63" fmla="*/ 1 h 104"/>
                <a:gd name="T64" fmla="*/ 72 w 104"/>
                <a:gd name="T65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4" h="104">
                  <a:moveTo>
                    <a:pt x="74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8" y="5"/>
                    <a:pt x="81" y="7"/>
                    <a:pt x="84" y="9"/>
                  </a:cubicBezTo>
                  <a:cubicBezTo>
                    <a:pt x="84" y="10"/>
                    <a:pt x="84" y="10"/>
                    <a:pt x="84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1"/>
                    <a:pt x="86" y="11"/>
                    <a:pt x="86" y="12"/>
                  </a:cubicBezTo>
                  <a:cubicBezTo>
                    <a:pt x="88" y="13"/>
                    <a:pt x="89" y="14"/>
                    <a:pt x="90" y="16"/>
                  </a:cubicBezTo>
                  <a:cubicBezTo>
                    <a:pt x="92" y="17"/>
                    <a:pt x="93" y="18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4" y="20"/>
                    <a:pt x="95" y="21"/>
                    <a:pt x="95" y="21"/>
                  </a:cubicBezTo>
                  <a:cubicBezTo>
                    <a:pt x="95" y="22"/>
                    <a:pt x="96" y="23"/>
                    <a:pt x="96" y="23"/>
                  </a:cubicBezTo>
                  <a:cubicBezTo>
                    <a:pt x="97" y="25"/>
                    <a:pt x="98" y="27"/>
                    <a:pt x="99" y="28"/>
                  </a:cubicBezTo>
                  <a:cubicBezTo>
                    <a:pt x="99" y="28"/>
                    <a:pt x="99" y="28"/>
                    <a:pt x="99" y="29"/>
                  </a:cubicBezTo>
                  <a:cubicBezTo>
                    <a:pt x="98" y="29"/>
                    <a:pt x="98" y="31"/>
                    <a:pt x="99" y="32"/>
                  </a:cubicBezTo>
                  <a:cubicBezTo>
                    <a:pt x="100" y="32"/>
                    <a:pt x="100" y="32"/>
                    <a:pt x="101" y="33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2" y="36"/>
                    <a:pt x="103" y="40"/>
                    <a:pt x="104" y="43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5"/>
                    <a:pt x="104" y="45"/>
                  </a:cubicBezTo>
                  <a:cubicBezTo>
                    <a:pt x="104" y="46"/>
                    <a:pt x="104" y="47"/>
                    <a:pt x="104" y="48"/>
                  </a:cubicBezTo>
                  <a:cubicBezTo>
                    <a:pt x="104" y="50"/>
                    <a:pt x="104" y="52"/>
                    <a:pt x="104" y="54"/>
                  </a:cubicBezTo>
                  <a:cubicBezTo>
                    <a:pt x="104" y="62"/>
                    <a:pt x="101" y="71"/>
                    <a:pt x="98" y="78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7" y="80"/>
                    <a:pt x="96" y="81"/>
                    <a:pt x="96" y="81"/>
                  </a:cubicBezTo>
                  <a:cubicBezTo>
                    <a:pt x="95" y="82"/>
                    <a:pt x="95" y="83"/>
                    <a:pt x="95" y="84"/>
                  </a:cubicBezTo>
                  <a:cubicBezTo>
                    <a:pt x="94" y="85"/>
                    <a:pt x="93" y="87"/>
                    <a:pt x="93" y="89"/>
                  </a:cubicBezTo>
                  <a:cubicBezTo>
                    <a:pt x="92" y="90"/>
                    <a:pt x="91" y="91"/>
                    <a:pt x="90" y="92"/>
                  </a:cubicBezTo>
                  <a:cubicBezTo>
                    <a:pt x="88" y="93"/>
                    <a:pt x="86" y="93"/>
                    <a:pt x="84" y="94"/>
                  </a:cubicBezTo>
                  <a:cubicBezTo>
                    <a:pt x="67" y="97"/>
                    <a:pt x="49" y="100"/>
                    <a:pt x="32" y="102"/>
                  </a:cubicBezTo>
                  <a:cubicBezTo>
                    <a:pt x="22" y="103"/>
                    <a:pt x="11" y="104"/>
                    <a:pt x="1" y="104"/>
                  </a:cubicBezTo>
                  <a:cubicBezTo>
                    <a:pt x="1" y="101"/>
                    <a:pt x="0" y="97"/>
                    <a:pt x="0" y="93"/>
                  </a:cubicBezTo>
                  <a:cubicBezTo>
                    <a:pt x="0" y="86"/>
                    <a:pt x="0" y="79"/>
                    <a:pt x="1" y="72"/>
                  </a:cubicBezTo>
                  <a:cubicBezTo>
                    <a:pt x="2" y="66"/>
                    <a:pt x="3" y="59"/>
                    <a:pt x="5" y="52"/>
                  </a:cubicBezTo>
                  <a:cubicBezTo>
                    <a:pt x="6" y="48"/>
                    <a:pt x="7" y="45"/>
                    <a:pt x="8" y="42"/>
                  </a:cubicBezTo>
                  <a:cubicBezTo>
                    <a:pt x="9" y="38"/>
                    <a:pt x="10" y="36"/>
                    <a:pt x="11" y="33"/>
                  </a:cubicBezTo>
                  <a:cubicBezTo>
                    <a:pt x="13" y="30"/>
                    <a:pt x="15" y="27"/>
                    <a:pt x="17" y="24"/>
                  </a:cubicBezTo>
                  <a:cubicBezTo>
                    <a:pt x="17" y="23"/>
                    <a:pt x="17" y="22"/>
                    <a:pt x="18" y="22"/>
                  </a:cubicBezTo>
                  <a:cubicBezTo>
                    <a:pt x="18" y="21"/>
                    <a:pt x="18" y="21"/>
                    <a:pt x="19" y="21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0" y="19"/>
                    <a:pt x="21" y="18"/>
                    <a:pt x="22" y="17"/>
                  </a:cubicBezTo>
                  <a:cubicBezTo>
                    <a:pt x="24" y="14"/>
                    <a:pt x="27" y="12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0" y="10"/>
                    <a:pt x="30" y="9"/>
                    <a:pt x="30" y="9"/>
                  </a:cubicBezTo>
                  <a:cubicBezTo>
                    <a:pt x="31" y="9"/>
                    <a:pt x="31" y="8"/>
                    <a:pt x="32" y="8"/>
                  </a:cubicBezTo>
                  <a:cubicBezTo>
                    <a:pt x="33" y="7"/>
                    <a:pt x="35" y="6"/>
                    <a:pt x="36" y="5"/>
                  </a:cubicBezTo>
                  <a:cubicBezTo>
                    <a:pt x="37" y="5"/>
                    <a:pt x="37" y="5"/>
                    <a:pt x="38" y="4"/>
                  </a:cubicBezTo>
                  <a:cubicBezTo>
                    <a:pt x="38" y="4"/>
                    <a:pt x="39" y="4"/>
                    <a:pt x="39" y="4"/>
                  </a:cubicBezTo>
                  <a:cubicBezTo>
                    <a:pt x="39" y="4"/>
                    <a:pt x="39" y="4"/>
                    <a:pt x="40" y="4"/>
                  </a:cubicBezTo>
                  <a:cubicBezTo>
                    <a:pt x="40" y="3"/>
                    <a:pt x="40" y="3"/>
                    <a:pt x="41" y="3"/>
                  </a:cubicBezTo>
                  <a:cubicBezTo>
                    <a:pt x="42" y="5"/>
                    <a:pt x="44" y="5"/>
                    <a:pt x="45" y="4"/>
                  </a:cubicBezTo>
                  <a:cubicBezTo>
                    <a:pt x="46" y="3"/>
                    <a:pt x="47" y="2"/>
                    <a:pt x="47" y="1"/>
                  </a:cubicBezTo>
                  <a:cubicBezTo>
                    <a:pt x="48" y="1"/>
                    <a:pt x="49" y="1"/>
                    <a:pt x="50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2" y="0"/>
                    <a:pt x="52" y="0"/>
                    <a:pt x="53" y="0"/>
                  </a:cubicBezTo>
                  <a:cubicBezTo>
                    <a:pt x="54" y="0"/>
                    <a:pt x="55" y="0"/>
                    <a:pt x="56" y="0"/>
                  </a:cubicBezTo>
                  <a:cubicBezTo>
                    <a:pt x="57" y="0"/>
                    <a:pt x="59" y="0"/>
                    <a:pt x="60" y="0"/>
                  </a:cubicBezTo>
                  <a:cubicBezTo>
                    <a:pt x="61" y="0"/>
                    <a:pt x="61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3" y="1"/>
                    <a:pt x="64" y="1"/>
                    <a:pt x="65" y="1"/>
                  </a:cubicBezTo>
                  <a:cubicBezTo>
                    <a:pt x="67" y="1"/>
                    <a:pt x="68" y="2"/>
                    <a:pt x="70" y="2"/>
                  </a:cubicBezTo>
                  <a:cubicBezTo>
                    <a:pt x="71" y="3"/>
                    <a:pt x="72" y="3"/>
                    <a:pt x="72" y="3"/>
                  </a:cubicBezTo>
                  <a:cubicBezTo>
                    <a:pt x="73" y="3"/>
                    <a:pt x="73" y="4"/>
                    <a:pt x="74" y="4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1" name="ïṣľîḍe">
              <a:extLst>
                <a:ext uri="{FF2B5EF4-FFF2-40B4-BE49-F238E27FC236}">
                  <a16:creationId xmlns:a16="http://schemas.microsoft.com/office/drawing/2014/main" id="{9C759DC4-A7FA-41E2-A179-881AEF422259}"/>
                </a:ext>
              </a:extLst>
            </p:cNvPr>
            <p:cNvSpPr/>
            <p:nvPr/>
          </p:nvSpPr>
          <p:spPr bwMode="auto">
            <a:xfrm>
              <a:off x="8017121" y="329532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2" name="ïŝľiḑé">
              <a:extLst>
                <a:ext uri="{FF2B5EF4-FFF2-40B4-BE49-F238E27FC236}">
                  <a16:creationId xmlns:a16="http://schemas.microsoft.com/office/drawing/2014/main" id="{D1D5E9AA-028F-461D-98DB-62B296FDA7E3}"/>
                </a:ext>
              </a:extLst>
            </p:cNvPr>
            <p:cNvSpPr/>
            <p:nvPr/>
          </p:nvSpPr>
          <p:spPr bwMode="auto">
            <a:xfrm>
              <a:off x="6730948" y="3660904"/>
              <a:ext cx="1019763" cy="947240"/>
            </a:xfrm>
            <a:custGeom>
              <a:avLst/>
              <a:gdLst>
                <a:gd name="T0" fmla="*/ 293 w 331"/>
                <a:gd name="T1" fmla="*/ 40 h 308"/>
                <a:gd name="T2" fmla="*/ 276 w 331"/>
                <a:gd name="T3" fmla="*/ 44 h 308"/>
                <a:gd name="T4" fmla="*/ 273 w 331"/>
                <a:gd name="T5" fmla="*/ 48 h 308"/>
                <a:gd name="T6" fmla="*/ 246 w 331"/>
                <a:gd name="T7" fmla="*/ 2 h 308"/>
                <a:gd name="T8" fmla="*/ 315 w 331"/>
                <a:gd name="T9" fmla="*/ 59 h 308"/>
                <a:gd name="T10" fmla="*/ 294 w 331"/>
                <a:gd name="T11" fmla="*/ 65 h 308"/>
                <a:gd name="T12" fmla="*/ 240 w 331"/>
                <a:gd name="T13" fmla="*/ 261 h 308"/>
                <a:gd name="T14" fmla="*/ 243 w 331"/>
                <a:gd name="T15" fmla="*/ 307 h 308"/>
                <a:gd name="T16" fmla="*/ 227 w 331"/>
                <a:gd name="T17" fmla="*/ 288 h 308"/>
                <a:gd name="T18" fmla="*/ 240 w 331"/>
                <a:gd name="T19" fmla="*/ 261 h 308"/>
                <a:gd name="T20" fmla="*/ 144 w 331"/>
                <a:gd name="T21" fmla="*/ 163 h 308"/>
                <a:gd name="T22" fmla="*/ 140 w 331"/>
                <a:gd name="T23" fmla="*/ 129 h 308"/>
                <a:gd name="T24" fmla="*/ 156 w 331"/>
                <a:gd name="T25" fmla="*/ 157 h 308"/>
                <a:gd name="T26" fmla="*/ 153 w 331"/>
                <a:gd name="T27" fmla="*/ 189 h 308"/>
                <a:gd name="T28" fmla="*/ 185 w 331"/>
                <a:gd name="T29" fmla="*/ 185 h 308"/>
                <a:gd name="T30" fmla="*/ 170 w 331"/>
                <a:gd name="T31" fmla="*/ 200 h 308"/>
                <a:gd name="T32" fmla="*/ 179 w 331"/>
                <a:gd name="T33" fmla="*/ 237 h 308"/>
                <a:gd name="T34" fmla="*/ 179 w 331"/>
                <a:gd name="T35" fmla="*/ 227 h 308"/>
                <a:gd name="T36" fmla="*/ 233 w 331"/>
                <a:gd name="T37" fmla="*/ 235 h 308"/>
                <a:gd name="T38" fmla="*/ 225 w 331"/>
                <a:gd name="T39" fmla="*/ 216 h 308"/>
                <a:gd name="T40" fmla="*/ 231 w 331"/>
                <a:gd name="T41" fmla="*/ 209 h 308"/>
                <a:gd name="T42" fmla="*/ 266 w 331"/>
                <a:gd name="T43" fmla="*/ 196 h 308"/>
                <a:gd name="T44" fmla="*/ 307 w 331"/>
                <a:gd name="T45" fmla="*/ 209 h 308"/>
                <a:gd name="T46" fmla="*/ 233 w 331"/>
                <a:gd name="T47" fmla="*/ 235 h 308"/>
                <a:gd name="T48" fmla="*/ 59 w 331"/>
                <a:gd name="T49" fmla="*/ 47 h 308"/>
                <a:gd name="T50" fmla="*/ 43 w 331"/>
                <a:gd name="T51" fmla="*/ 44 h 308"/>
                <a:gd name="T52" fmla="*/ 25 w 331"/>
                <a:gd name="T53" fmla="*/ 56 h 308"/>
                <a:gd name="T54" fmla="*/ 10 w 331"/>
                <a:gd name="T55" fmla="*/ 55 h 308"/>
                <a:gd name="T56" fmla="*/ 33 w 331"/>
                <a:gd name="T57" fmla="*/ 40 h 308"/>
                <a:gd name="T58" fmla="*/ 95 w 331"/>
                <a:gd name="T59" fmla="*/ 37 h 308"/>
                <a:gd name="T60" fmla="*/ 102 w 331"/>
                <a:gd name="T61" fmla="*/ 26 h 308"/>
                <a:gd name="T62" fmla="*/ 180 w 331"/>
                <a:gd name="T63" fmla="*/ 89 h 308"/>
                <a:gd name="T64" fmla="*/ 179 w 331"/>
                <a:gd name="T65" fmla="*/ 104 h 308"/>
                <a:gd name="T66" fmla="*/ 175 w 331"/>
                <a:gd name="T67" fmla="*/ 114 h 308"/>
                <a:gd name="T68" fmla="*/ 135 w 331"/>
                <a:gd name="T69" fmla="*/ 75 h 308"/>
                <a:gd name="T70" fmla="*/ 119 w 331"/>
                <a:gd name="T71" fmla="*/ 53 h 308"/>
                <a:gd name="T72" fmla="*/ 135 w 331"/>
                <a:gd name="T73" fmla="*/ 33 h 308"/>
                <a:gd name="T74" fmla="*/ 207 w 331"/>
                <a:gd name="T75" fmla="*/ 11 h 308"/>
                <a:gd name="T76" fmla="*/ 191 w 331"/>
                <a:gd name="T77" fmla="*/ 9 h 308"/>
                <a:gd name="T78" fmla="*/ 243 w 331"/>
                <a:gd name="T79" fmla="*/ 78 h 308"/>
                <a:gd name="T80" fmla="*/ 261 w 331"/>
                <a:gd name="T81" fmla="*/ 110 h 308"/>
                <a:gd name="T82" fmla="*/ 255 w 331"/>
                <a:gd name="T83" fmla="*/ 132 h 308"/>
                <a:gd name="T84" fmla="*/ 251 w 331"/>
                <a:gd name="T85" fmla="*/ 120 h 308"/>
                <a:gd name="T86" fmla="*/ 226 w 331"/>
                <a:gd name="T87" fmla="*/ 112 h 308"/>
                <a:gd name="T88" fmla="*/ 226 w 331"/>
                <a:gd name="T89" fmla="*/ 98 h 308"/>
                <a:gd name="T90" fmla="*/ 237 w 331"/>
                <a:gd name="T91" fmla="*/ 74 h 308"/>
                <a:gd name="T92" fmla="*/ 326 w 331"/>
                <a:gd name="T93" fmla="*/ 135 h 308"/>
                <a:gd name="T94" fmla="*/ 310 w 331"/>
                <a:gd name="T95" fmla="*/ 177 h 308"/>
                <a:gd name="T96" fmla="*/ 303 w 331"/>
                <a:gd name="T97" fmla="*/ 171 h 308"/>
                <a:gd name="T98" fmla="*/ 321 w 331"/>
                <a:gd name="T99" fmla="*/ 126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1" h="308">
                  <a:moveTo>
                    <a:pt x="290" y="62"/>
                  </a:moveTo>
                  <a:cubicBezTo>
                    <a:pt x="290" y="62"/>
                    <a:pt x="290" y="62"/>
                    <a:pt x="290" y="62"/>
                  </a:cubicBezTo>
                  <a:cubicBezTo>
                    <a:pt x="295" y="62"/>
                    <a:pt x="303" y="58"/>
                    <a:pt x="303" y="52"/>
                  </a:cubicBezTo>
                  <a:cubicBezTo>
                    <a:pt x="303" y="46"/>
                    <a:pt x="297" y="42"/>
                    <a:pt x="293" y="40"/>
                  </a:cubicBezTo>
                  <a:cubicBezTo>
                    <a:pt x="290" y="39"/>
                    <a:pt x="287" y="38"/>
                    <a:pt x="284" y="38"/>
                  </a:cubicBezTo>
                  <a:cubicBezTo>
                    <a:pt x="281" y="37"/>
                    <a:pt x="278" y="38"/>
                    <a:pt x="276" y="40"/>
                  </a:cubicBezTo>
                  <a:cubicBezTo>
                    <a:pt x="275" y="41"/>
                    <a:pt x="276" y="42"/>
                    <a:pt x="277" y="43"/>
                  </a:cubicBezTo>
                  <a:cubicBezTo>
                    <a:pt x="277" y="43"/>
                    <a:pt x="276" y="43"/>
                    <a:pt x="276" y="44"/>
                  </a:cubicBezTo>
                  <a:cubicBezTo>
                    <a:pt x="275" y="47"/>
                    <a:pt x="275" y="50"/>
                    <a:pt x="276" y="52"/>
                  </a:cubicBezTo>
                  <a:cubicBezTo>
                    <a:pt x="277" y="54"/>
                    <a:pt x="278" y="56"/>
                    <a:pt x="280" y="57"/>
                  </a:cubicBezTo>
                  <a:cubicBezTo>
                    <a:pt x="279" y="57"/>
                    <a:pt x="278" y="56"/>
                    <a:pt x="277" y="56"/>
                  </a:cubicBezTo>
                  <a:cubicBezTo>
                    <a:pt x="277" y="53"/>
                    <a:pt x="275" y="50"/>
                    <a:pt x="273" y="48"/>
                  </a:cubicBezTo>
                  <a:cubicBezTo>
                    <a:pt x="271" y="45"/>
                    <a:pt x="269" y="42"/>
                    <a:pt x="268" y="40"/>
                  </a:cubicBezTo>
                  <a:cubicBezTo>
                    <a:pt x="263" y="34"/>
                    <a:pt x="258" y="29"/>
                    <a:pt x="254" y="24"/>
                  </a:cubicBezTo>
                  <a:cubicBezTo>
                    <a:pt x="246" y="16"/>
                    <a:pt x="239" y="9"/>
                    <a:pt x="231" y="3"/>
                  </a:cubicBezTo>
                  <a:cubicBezTo>
                    <a:pt x="236" y="3"/>
                    <a:pt x="241" y="3"/>
                    <a:pt x="246" y="2"/>
                  </a:cubicBezTo>
                  <a:cubicBezTo>
                    <a:pt x="250" y="2"/>
                    <a:pt x="255" y="1"/>
                    <a:pt x="259" y="0"/>
                  </a:cubicBezTo>
                  <a:cubicBezTo>
                    <a:pt x="262" y="4"/>
                    <a:pt x="265" y="6"/>
                    <a:pt x="268" y="8"/>
                  </a:cubicBezTo>
                  <a:cubicBezTo>
                    <a:pt x="274" y="13"/>
                    <a:pt x="279" y="18"/>
                    <a:pt x="285" y="23"/>
                  </a:cubicBezTo>
                  <a:cubicBezTo>
                    <a:pt x="296" y="34"/>
                    <a:pt x="307" y="46"/>
                    <a:pt x="315" y="59"/>
                  </a:cubicBezTo>
                  <a:cubicBezTo>
                    <a:pt x="317" y="64"/>
                    <a:pt x="319" y="69"/>
                    <a:pt x="321" y="73"/>
                  </a:cubicBezTo>
                  <a:cubicBezTo>
                    <a:pt x="322" y="76"/>
                    <a:pt x="322" y="78"/>
                    <a:pt x="323" y="81"/>
                  </a:cubicBezTo>
                  <a:cubicBezTo>
                    <a:pt x="322" y="80"/>
                    <a:pt x="322" y="80"/>
                    <a:pt x="321" y="80"/>
                  </a:cubicBezTo>
                  <a:cubicBezTo>
                    <a:pt x="312" y="75"/>
                    <a:pt x="303" y="70"/>
                    <a:pt x="294" y="65"/>
                  </a:cubicBezTo>
                  <a:cubicBezTo>
                    <a:pt x="293" y="64"/>
                    <a:pt x="290" y="63"/>
                    <a:pt x="288" y="61"/>
                  </a:cubicBezTo>
                  <a:cubicBezTo>
                    <a:pt x="289" y="62"/>
                    <a:pt x="290" y="62"/>
                    <a:pt x="290" y="62"/>
                  </a:cubicBezTo>
                  <a:close/>
                  <a:moveTo>
                    <a:pt x="240" y="261"/>
                  </a:moveTo>
                  <a:cubicBezTo>
                    <a:pt x="240" y="261"/>
                    <a:pt x="240" y="261"/>
                    <a:pt x="240" y="261"/>
                  </a:cubicBezTo>
                  <a:cubicBezTo>
                    <a:pt x="242" y="268"/>
                    <a:pt x="243" y="275"/>
                    <a:pt x="244" y="282"/>
                  </a:cubicBezTo>
                  <a:cubicBezTo>
                    <a:pt x="244" y="286"/>
                    <a:pt x="244" y="291"/>
                    <a:pt x="244" y="295"/>
                  </a:cubicBezTo>
                  <a:cubicBezTo>
                    <a:pt x="244" y="297"/>
                    <a:pt x="243" y="299"/>
                    <a:pt x="243" y="301"/>
                  </a:cubicBezTo>
                  <a:cubicBezTo>
                    <a:pt x="243" y="303"/>
                    <a:pt x="242" y="305"/>
                    <a:pt x="243" y="307"/>
                  </a:cubicBezTo>
                  <a:cubicBezTo>
                    <a:pt x="242" y="307"/>
                    <a:pt x="242" y="308"/>
                    <a:pt x="241" y="308"/>
                  </a:cubicBezTo>
                  <a:cubicBezTo>
                    <a:pt x="241" y="307"/>
                    <a:pt x="241" y="307"/>
                    <a:pt x="241" y="307"/>
                  </a:cubicBezTo>
                  <a:cubicBezTo>
                    <a:pt x="241" y="303"/>
                    <a:pt x="237" y="300"/>
                    <a:pt x="235" y="297"/>
                  </a:cubicBezTo>
                  <a:cubicBezTo>
                    <a:pt x="232" y="294"/>
                    <a:pt x="229" y="291"/>
                    <a:pt x="227" y="288"/>
                  </a:cubicBezTo>
                  <a:cubicBezTo>
                    <a:pt x="227" y="286"/>
                    <a:pt x="227" y="283"/>
                    <a:pt x="227" y="280"/>
                  </a:cubicBezTo>
                  <a:cubicBezTo>
                    <a:pt x="227" y="276"/>
                    <a:pt x="226" y="271"/>
                    <a:pt x="225" y="268"/>
                  </a:cubicBezTo>
                  <a:cubicBezTo>
                    <a:pt x="225" y="267"/>
                    <a:pt x="226" y="267"/>
                    <a:pt x="226" y="267"/>
                  </a:cubicBezTo>
                  <a:cubicBezTo>
                    <a:pt x="231" y="265"/>
                    <a:pt x="235" y="263"/>
                    <a:pt x="240" y="261"/>
                  </a:cubicBezTo>
                  <a:close/>
                  <a:moveTo>
                    <a:pt x="156" y="157"/>
                  </a:moveTo>
                  <a:cubicBezTo>
                    <a:pt x="156" y="157"/>
                    <a:pt x="156" y="157"/>
                    <a:pt x="156" y="157"/>
                  </a:cubicBezTo>
                  <a:cubicBezTo>
                    <a:pt x="154" y="159"/>
                    <a:pt x="151" y="160"/>
                    <a:pt x="148" y="161"/>
                  </a:cubicBezTo>
                  <a:cubicBezTo>
                    <a:pt x="147" y="162"/>
                    <a:pt x="146" y="162"/>
                    <a:pt x="144" y="163"/>
                  </a:cubicBezTo>
                  <a:cubicBezTo>
                    <a:pt x="145" y="158"/>
                    <a:pt x="143" y="153"/>
                    <a:pt x="142" y="149"/>
                  </a:cubicBezTo>
                  <a:cubicBezTo>
                    <a:pt x="141" y="147"/>
                    <a:pt x="140" y="144"/>
                    <a:pt x="139" y="142"/>
                  </a:cubicBezTo>
                  <a:cubicBezTo>
                    <a:pt x="139" y="141"/>
                    <a:pt x="140" y="140"/>
                    <a:pt x="140" y="139"/>
                  </a:cubicBezTo>
                  <a:cubicBezTo>
                    <a:pt x="141" y="136"/>
                    <a:pt x="141" y="132"/>
                    <a:pt x="140" y="129"/>
                  </a:cubicBezTo>
                  <a:cubicBezTo>
                    <a:pt x="140" y="126"/>
                    <a:pt x="139" y="123"/>
                    <a:pt x="139" y="120"/>
                  </a:cubicBezTo>
                  <a:cubicBezTo>
                    <a:pt x="140" y="122"/>
                    <a:pt x="142" y="123"/>
                    <a:pt x="144" y="125"/>
                  </a:cubicBezTo>
                  <a:cubicBezTo>
                    <a:pt x="150" y="130"/>
                    <a:pt x="157" y="134"/>
                    <a:pt x="163" y="139"/>
                  </a:cubicBezTo>
                  <a:cubicBezTo>
                    <a:pt x="160" y="144"/>
                    <a:pt x="157" y="150"/>
                    <a:pt x="156" y="157"/>
                  </a:cubicBezTo>
                  <a:close/>
                  <a:moveTo>
                    <a:pt x="142" y="205"/>
                  </a:moveTo>
                  <a:cubicBezTo>
                    <a:pt x="142" y="205"/>
                    <a:pt x="142" y="205"/>
                    <a:pt x="142" y="205"/>
                  </a:cubicBezTo>
                  <a:cubicBezTo>
                    <a:pt x="137" y="202"/>
                    <a:pt x="133" y="199"/>
                    <a:pt x="129" y="196"/>
                  </a:cubicBezTo>
                  <a:cubicBezTo>
                    <a:pt x="137" y="193"/>
                    <a:pt x="145" y="191"/>
                    <a:pt x="153" y="189"/>
                  </a:cubicBezTo>
                  <a:cubicBezTo>
                    <a:pt x="158" y="188"/>
                    <a:pt x="163" y="186"/>
                    <a:pt x="168" y="185"/>
                  </a:cubicBezTo>
                  <a:cubicBezTo>
                    <a:pt x="170" y="185"/>
                    <a:pt x="173" y="184"/>
                    <a:pt x="176" y="184"/>
                  </a:cubicBezTo>
                  <a:cubicBezTo>
                    <a:pt x="178" y="183"/>
                    <a:pt x="180" y="183"/>
                    <a:pt x="183" y="182"/>
                  </a:cubicBezTo>
                  <a:cubicBezTo>
                    <a:pt x="183" y="183"/>
                    <a:pt x="184" y="184"/>
                    <a:pt x="185" y="185"/>
                  </a:cubicBezTo>
                  <a:cubicBezTo>
                    <a:pt x="187" y="188"/>
                    <a:pt x="190" y="190"/>
                    <a:pt x="193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0" y="193"/>
                    <a:pt x="187" y="194"/>
                    <a:pt x="185" y="195"/>
                  </a:cubicBezTo>
                  <a:cubicBezTo>
                    <a:pt x="180" y="197"/>
                    <a:pt x="175" y="199"/>
                    <a:pt x="170" y="200"/>
                  </a:cubicBezTo>
                  <a:cubicBezTo>
                    <a:pt x="165" y="201"/>
                    <a:pt x="160" y="203"/>
                    <a:pt x="155" y="204"/>
                  </a:cubicBezTo>
                  <a:cubicBezTo>
                    <a:pt x="152" y="204"/>
                    <a:pt x="149" y="205"/>
                    <a:pt x="146" y="205"/>
                  </a:cubicBezTo>
                  <a:cubicBezTo>
                    <a:pt x="145" y="205"/>
                    <a:pt x="143" y="205"/>
                    <a:pt x="142" y="205"/>
                  </a:cubicBezTo>
                  <a:close/>
                  <a:moveTo>
                    <a:pt x="179" y="237"/>
                  </a:moveTo>
                  <a:cubicBezTo>
                    <a:pt x="179" y="237"/>
                    <a:pt x="179" y="237"/>
                    <a:pt x="179" y="237"/>
                  </a:cubicBezTo>
                  <a:cubicBezTo>
                    <a:pt x="179" y="236"/>
                    <a:pt x="178" y="236"/>
                    <a:pt x="178" y="235"/>
                  </a:cubicBezTo>
                  <a:cubicBezTo>
                    <a:pt x="176" y="233"/>
                    <a:pt x="174" y="232"/>
                    <a:pt x="172" y="230"/>
                  </a:cubicBezTo>
                  <a:cubicBezTo>
                    <a:pt x="174" y="229"/>
                    <a:pt x="177" y="228"/>
                    <a:pt x="179" y="227"/>
                  </a:cubicBezTo>
                  <a:cubicBezTo>
                    <a:pt x="181" y="229"/>
                    <a:pt x="183" y="230"/>
                    <a:pt x="184" y="231"/>
                  </a:cubicBezTo>
                  <a:cubicBezTo>
                    <a:pt x="182" y="233"/>
                    <a:pt x="181" y="235"/>
                    <a:pt x="179" y="237"/>
                  </a:cubicBezTo>
                  <a:close/>
                  <a:moveTo>
                    <a:pt x="233" y="235"/>
                  </a:moveTo>
                  <a:cubicBezTo>
                    <a:pt x="233" y="235"/>
                    <a:pt x="233" y="235"/>
                    <a:pt x="233" y="235"/>
                  </a:cubicBezTo>
                  <a:cubicBezTo>
                    <a:pt x="236" y="232"/>
                    <a:pt x="240" y="230"/>
                    <a:pt x="243" y="228"/>
                  </a:cubicBezTo>
                  <a:cubicBezTo>
                    <a:pt x="245" y="227"/>
                    <a:pt x="245" y="223"/>
                    <a:pt x="243" y="222"/>
                  </a:cubicBezTo>
                  <a:cubicBezTo>
                    <a:pt x="239" y="221"/>
                    <a:pt x="235" y="219"/>
                    <a:pt x="231" y="218"/>
                  </a:cubicBezTo>
                  <a:cubicBezTo>
                    <a:pt x="229" y="217"/>
                    <a:pt x="227" y="217"/>
                    <a:pt x="225" y="216"/>
                  </a:cubicBezTo>
                  <a:cubicBezTo>
                    <a:pt x="223" y="216"/>
                    <a:pt x="222" y="216"/>
                    <a:pt x="221" y="216"/>
                  </a:cubicBezTo>
                  <a:cubicBezTo>
                    <a:pt x="221" y="215"/>
                    <a:pt x="221" y="215"/>
                    <a:pt x="220" y="215"/>
                  </a:cubicBezTo>
                  <a:cubicBezTo>
                    <a:pt x="222" y="214"/>
                    <a:pt x="223" y="213"/>
                    <a:pt x="225" y="212"/>
                  </a:cubicBezTo>
                  <a:cubicBezTo>
                    <a:pt x="227" y="211"/>
                    <a:pt x="229" y="210"/>
                    <a:pt x="231" y="209"/>
                  </a:cubicBezTo>
                  <a:cubicBezTo>
                    <a:pt x="233" y="209"/>
                    <a:pt x="235" y="208"/>
                    <a:pt x="237" y="207"/>
                  </a:cubicBezTo>
                  <a:cubicBezTo>
                    <a:pt x="242" y="206"/>
                    <a:pt x="246" y="205"/>
                    <a:pt x="250" y="202"/>
                  </a:cubicBezTo>
                  <a:cubicBezTo>
                    <a:pt x="253" y="201"/>
                    <a:pt x="256" y="200"/>
                    <a:pt x="259" y="198"/>
                  </a:cubicBezTo>
                  <a:cubicBezTo>
                    <a:pt x="261" y="198"/>
                    <a:pt x="264" y="197"/>
                    <a:pt x="266" y="196"/>
                  </a:cubicBezTo>
                  <a:cubicBezTo>
                    <a:pt x="267" y="196"/>
                    <a:pt x="268" y="195"/>
                    <a:pt x="269" y="195"/>
                  </a:cubicBezTo>
                  <a:cubicBezTo>
                    <a:pt x="271" y="196"/>
                    <a:pt x="274" y="197"/>
                    <a:pt x="277" y="198"/>
                  </a:cubicBezTo>
                  <a:cubicBezTo>
                    <a:pt x="289" y="202"/>
                    <a:pt x="300" y="206"/>
                    <a:pt x="313" y="206"/>
                  </a:cubicBezTo>
                  <a:cubicBezTo>
                    <a:pt x="311" y="207"/>
                    <a:pt x="309" y="208"/>
                    <a:pt x="307" y="209"/>
                  </a:cubicBezTo>
                  <a:cubicBezTo>
                    <a:pt x="300" y="212"/>
                    <a:pt x="292" y="214"/>
                    <a:pt x="284" y="216"/>
                  </a:cubicBezTo>
                  <a:cubicBezTo>
                    <a:pt x="267" y="222"/>
                    <a:pt x="248" y="226"/>
                    <a:pt x="232" y="236"/>
                  </a:cubicBezTo>
                  <a:cubicBezTo>
                    <a:pt x="231" y="236"/>
                    <a:pt x="230" y="237"/>
                    <a:pt x="229" y="238"/>
                  </a:cubicBezTo>
                  <a:cubicBezTo>
                    <a:pt x="231" y="237"/>
                    <a:pt x="232" y="236"/>
                    <a:pt x="233" y="235"/>
                  </a:cubicBezTo>
                  <a:close/>
                  <a:moveTo>
                    <a:pt x="45" y="37"/>
                  </a:moveTo>
                  <a:cubicBezTo>
                    <a:pt x="45" y="37"/>
                    <a:pt x="45" y="37"/>
                    <a:pt x="45" y="37"/>
                  </a:cubicBezTo>
                  <a:cubicBezTo>
                    <a:pt x="48" y="40"/>
                    <a:pt x="52" y="41"/>
                    <a:pt x="55" y="44"/>
                  </a:cubicBezTo>
                  <a:cubicBezTo>
                    <a:pt x="56" y="45"/>
                    <a:pt x="58" y="46"/>
                    <a:pt x="59" y="47"/>
                  </a:cubicBezTo>
                  <a:cubicBezTo>
                    <a:pt x="59" y="48"/>
                    <a:pt x="60" y="48"/>
                    <a:pt x="60" y="49"/>
                  </a:cubicBezTo>
                  <a:cubicBezTo>
                    <a:pt x="56" y="48"/>
                    <a:pt x="51" y="47"/>
                    <a:pt x="47" y="46"/>
                  </a:cubicBezTo>
                  <a:cubicBezTo>
                    <a:pt x="46" y="45"/>
                    <a:pt x="46" y="45"/>
                    <a:pt x="45" y="45"/>
                  </a:cubicBezTo>
                  <a:cubicBezTo>
                    <a:pt x="44" y="45"/>
                    <a:pt x="44" y="45"/>
                    <a:pt x="43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0" y="43"/>
                    <a:pt x="38" y="42"/>
                    <a:pt x="36" y="41"/>
                  </a:cubicBezTo>
                  <a:cubicBezTo>
                    <a:pt x="33" y="39"/>
                    <a:pt x="30" y="41"/>
                    <a:pt x="29" y="44"/>
                  </a:cubicBezTo>
                  <a:cubicBezTo>
                    <a:pt x="28" y="48"/>
                    <a:pt x="26" y="52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4" y="55"/>
                    <a:pt x="22" y="55"/>
                    <a:pt x="21" y="55"/>
                  </a:cubicBezTo>
                  <a:cubicBezTo>
                    <a:pt x="17" y="55"/>
                    <a:pt x="14" y="55"/>
                    <a:pt x="11" y="55"/>
                  </a:cubicBezTo>
                  <a:cubicBezTo>
                    <a:pt x="11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4"/>
                  </a:cubicBezTo>
                  <a:cubicBezTo>
                    <a:pt x="9" y="52"/>
                    <a:pt x="7" y="50"/>
                    <a:pt x="5" y="49"/>
                  </a:cubicBezTo>
                  <a:cubicBezTo>
                    <a:pt x="3" y="48"/>
                    <a:pt x="1" y="48"/>
                    <a:pt x="0" y="47"/>
                  </a:cubicBezTo>
                  <a:cubicBezTo>
                    <a:pt x="11" y="45"/>
                    <a:pt x="22" y="42"/>
                    <a:pt x="33" y="40"/>
                  </a:cubicBezTo>
                  <a:cubicBezTo>
                    <a:pt x="37" y="39"/>
                    <a:pt x="41" y="38"/>
                    <a:pt x="45" y="37"/>
                  </a:cubicBezTo>
                  <a:close/>
                  <a:moveTo>
                    <a:pt x="102" y="26"/>
                  </a:moveTo>
                  <a:cubicBezTo>
                    <a:pt x="102" y="26"/>
                    <a:pt x="102" y="26"/>
                    <a:pt x="102" y="26"/>
                  </a:cubicBezTo>
                  <a:cubicBezTo>
                    <a:pt x="100" y="29"/>
                    <a:pt x="97" y="33"/>
                    <a:pt x="95" y="37"/>
                  </a:cubicBezTo>
                  <a:cubicBezTo>
                    <a:pt x="93" y="35"/>
                    <a:pt x="92" y="34"/>
                    <a:pt x="90" y="33"/>
                  </a:cubicBezTo>
                  <a:cubicBezTo>
                    <a:pt x="88" y="31"/>
                    <a:pt x="87" y="29"/>
                    <a:pt x="85" y="28"/>
                  </a:cubicBezTo>
                  <a:cubicBezTo>
                    <a:pt x="92" y="27"/>
                    <a:pt x="98" y="26"/>
                    <a:pt x="104" y="24"/>
                  </a:cubicBezTo>
                  <a:cubicBezTo>
                    <a:pt x="104" y="25"/>
                    <a:pt x="103" y="26"/>
                    <a:pt x="102" y="26"/>
                  </a:cubicBezTo>
                  <a:close/>
                  <a:moveTo>
                    <a:pt x="136" y="33"/>
                  </a:moveTo>
                  <a:cubicBezTo>
                    <a:pt x="139" y="37"/>
                    <a:pt x="142" y="41"/>
                    <a:pt x="146" y="44"/>
                  </a:cubicBezTo>
                  <a:cubicBezTo>
                    <a:pt x="150" y="48"/>
                    <a:pt x="155" y="53"/>
                    <a:pt x="160" y="58"/>
                  </a:cubicBezTo>
                  <a:cubicBezTo>
                    <a:pt x="168" y="67"/>
                    <a:pt x="178" y="77"/>
                    <a:pt x="180" y="89"/>
                  </a:cubicBezTo>
                  <a:cubicBezTo>
                    <a:pt x="180" y="92"/>
                    <a:pt x="180" y="94"/>
                    <a:pt x="180" y="97"/>
                  </a:cubicBezTo>
                  <a:cubicBezTo>
                    <a:pt x="179" y="98"/>
                    <a:pt x="179" y="99"/>
                    <a:pt x="179" y="100"/>
                  </a:cubicBezTo>
                  <a:cubicBezTo>
                    <a:pt x="179" y="101"/>
                    <a:pt x="178" y="102"/>
                    <a:pt x="178" y="102"/>
                  </a:cubicBezTo>
                  <a:cubicBezTo>
                    <a:pt x="178" y="103"/>
                    <a:pt x="179" y="103"/>
                    <a:pt x="179" y="104"/>
                  </a:cubicBezTo>
                  <a:cubicBezTo>
                    <a:pt x="179" y="104"/>
                    <a:pt x="179" y="104"/>
                    <a:pt x="179" y="104"/>
                  </a:cubicBezTo>
                  <a:cubicBezTo>
                    <a:pt x="179" y="104"/>
                    <a:pt x="179" y="104"/>
                    <a:pt x="179" y="104"/>
                  </a:cubicBezTo>
                  <a:cubicBezTo>
                    <a:pt x="179" y="105"/>
                    <a:pt x="179" y="105"/>
                    <a:pt x="179" y="105"/>
                  </a:cubicBezTo>
                  <a:cubicBezTo>
                    <a:pt x="178" y="108"/>
                    <a:pt x="176" y="111"/>
                    <a:pt x="175" y="114"/>
                  </a:cubicBezTo>
                  <a:cubicBezTo>
                    <a:pt x="168" y="109"/>
                    <a:pt x="161" y="104"/>
                    <a:pt x="154" y="99"/>
                  </a:cubicBezTo>
                  <a:cubicBezTo>
                    <a:pt x="150" y="96"/>
                    <a:pt x="147" y="93"/>
                    <a:pt x="143" y="90"/>
                  </a:cubicBezTo>
                  <a:cubicBezTo>
                    <a:pt x="141" y="88"/>
                    <a:pt x="140" y="87"/>
                    <a:pt x="138" y="85"/>
                  </a:cubicBezTo>
                  <a:cubicBezTo>
                    <a:pt x="138" y="82"/>
                    <a:pt x="138" y="78"/>
                    <a:pt x="135" y="75"/>
                  </a:cubicBezTo>
                  <a:cubicBezTo>
                    <a:pt x="133" y="72"/>
                    <a:pt x="130" y="71"/>
                    <a:pt x="127" y="70"/>
                  </a:cubicBezTo>
                  <a:cubicBezTo>
                    <a:pt x="124" y="69"/>
                    <a:pt x="122" y="68"/>
                    <a:pt x="120" y="67"/>
                  </a:cubicBezTo>
                  <a:cubicBezTo>
                    <a:pt x="119" y="65"/>
                    <a:pt x="119" y="64"/>
                    <a:pt x="118" y="61"/>
                  </a:cubicBezTo>
                  <a:cubicBezTo>
                    <a:pt x="118" y="59"/>
                    <a:pt x="118" y="56"/>
                    <a:pt x="119" y="53"/>
                  </a:cubicBezTo>
                  <a:cubicBezTo>
                    <a:pt x="120" y="48"/>
                    <a:pt x="122" y="43"/>
                    <a:pt x="125" y="39"/>
                  </a:cubicBezTo>
                  <a:cubicBezTo>
                    <a:pt x="128" y="36"/>
                    <a:pt x="130" y="34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2"/>
                    <a:pt x="134" y="33"/>
                    <a:pt x="135" y="33"/>
                  </a:cubicBezTo>
                  <a:lnTo>
                    <a:pt x="136" y="33"/>
                  </a:lnTo>
                  <a:close/>
                  <a:moveTo>
                    <a:pt x="204" y="6"/>
                  </a:moveTo>
                  <a:cubicBezTo>
                    <a:pt x="204" y="6"/>
                    <a:pt x="204" y="6"/>
                    <a:pt x="204" y="6"/>
                  </a:cubicBezTo>
                  <a:cubicBezTo>
                    <a:pt x="205" y="8"/>
                    <a:pt x="206" y="9"/>
                    <a:pt x="207" y="11"/>
                  </a:cubicBezTo>
                  <a:cubicBezTo>
                    <a:pt x="209" y="14"/>
                    <a:pt x="211" y="17"/>
                    <a:pt x="213" y="19"/>
                  </a:cubicBezTo>
                  <a:cubicBezTo>
                    <a:pt x="213" y="19"/>
                    <a:pt x="213" y="19"/>
                    <a:pt x="213" y="19"/>
                  </a:cubicBezTo>
                  <a:cubicBezTo>
                    <a:pt x="209" y="17"/>
                    <a:pt x="206" y="15"/>
                    <a:pt x="202" y="13"/>
                  </a:cubicBezTo>
                  <a:cubicBezTo>
                    <a:pt x="198" y="12"/>
                    <a:pt x="195" y="10"/>
                    <a:pt x="191" y="9"/>
                  </a:cubicBezTo>
                  <a:cubicBezTo>
                    <a:pt x="191" y="9"/>
                    <a:pt x="191" y="9"/>
                    <a:pt x="190" y="9"/>
                  </a:cubicBezTo>
                  <a:cubicBezTo>
                    <a:pt x="195" y="8"/>
                    <a:pt x="199" y="7"/>
                    <a:pt x="204" y="6"/>
                  </a:cubicBezTo>
                  <a:close/>
                  <a:moveTo>
                    <a:pt x="243" y="78"/>
                  </a:moveTo>
                  <a:cubicBezTo>
                    <a:pt x="243" y="78"/>
                    <a:pt x="243" y="78"/>
                    <a:pt x="243" y="78"/>
                  </a:cubicBezTo>
                  <a:cubicBezTo>
                    <a:pt x="243" y="78"/>
                    <a:pt x="243" y="78"/>
                    <a:pt x="243" y="78"/>
                  </a:cubicBezTo>
                  <a:cubicBezTo>
                    <a:pt x="245" y="82"/>
                    <a:pt x="247" y="85"/>
                    <a:pt x="249" y="89"/>
                  </a:cubicBezTo>
                  <a:cubicBezTo>
                    <a:pt x="252" y="92"/>
                    <a:pt x="254" y="96"/>
                    <a:pt x="256" y="99"/>
                  </a:cubicBezTo>
                  <a:cubicBezTo>
                    <a:pt x="258" y="103"/>
                    <a:pt x="260" y="106"/>
                    <a:pt x="261" y="110"/>
                  </a:cubicBezTo>
                  <a:cubicBezTo>
                    <a:pt x="261" y="112"/>
                    <a:pt x="262" y="114"/>
                    <a:pt x="262" y="116"/>
                  </a:cubicBezTo>
                  <a:cubicBezTo>
                    <a:pt x="262" y="118"/>
                    <a:pt x="261" y="121"/>
                    <a:pt x="262" y="123"/>
                  </a:cubicBezTo>
                  <a:cubicBezTo>
                    <a:pt x="263" y="123"/>
                    <a:pt x="263" y="123"/>
                    <a:pt x="263" y="123"/>
                  </a:cubicBezTo>
                  <a:cubicBezTo>
                    <a:pt x="259" y="126"/>
                    <a:pt x="256" y="128"/>
                    <a:pt x="255" y="132"/>
                  </a:cubicBezTo>
                  <a:cubicBezTo>
                    <a:pt x="253" y="131"/>
                    <a:pt x="251" y="131"/>
                    <a:pt x="250" y="131"/>
                  </a:cubicBezTo>
                  <a:cubicBezTo>
                    <a:pt x="249" y="128"/>
                    <a:pt x="248" y="126"/>
                    <a:pt x="247" y="124"/>
                  </a:cubicBezTo>
                  <a:cubicBezTo>
                    <a:pt x="247" y="124"/>
                    <a:pt x="247" y="124"/>
                    <a:pt x="247" y="124"/>
                  </a:cubicBezTo>
                  <a:cubicBezTo>
                    <a:pt x="249" y="124"/>
                    <a:pt x="250" y="122"/>
                    <a:pt x="251" y="120"/>
                  </a:cubicBezTo>
                  <a:cubicBezTo>
                    <a:pt x="254" y="115"/>
                    <a:pt x="256" y="106"/>
                    <a:pt x="251" y="101"/>
                  </a:cubicBezTo>
                  <a:cubicBezTo>
                    <a:pt x="246" y="96"/>
                    <a:pt x="240" y="99"/>
                    <a:pt x="235" y="103"/>
                  </a:cubicBezTo>
                  <a:cubicBezTo>
                    <a:pt x="233" y="106"/>
                    <a:pt x="231" y="109"/>
                    <a:pt x="230" y="113"/>
                  </a:cubicBezTo>
                  <a:cubicBezTo>
                    <a:pt x="228" y="113"/>
                    <a:pt x="227" y="113"/>
                    <a:pt x="226" y="112"/>
                  </a:cubicBezTo>
                  <a:cubicBezTo>
                    <a:pt x="225" y="112"/>
                    <a:pt x="223" y="112"/>
                    <a:pt x="221" y="112"/>
                  </a:cubicBezTo>
                  <a:cubicBezTo>
                    <a:pt x="221" y="112"/>
                    <a:pt x="221" y="112"/>
                    <a:pt x="221" y="112"/>
                  </a:cubicBezTo>
                  <a:cubicBezTo>
                    <a:pt x="222" y="111"/>
                    <a:pt x="222" y="110"/>
                    <a:pt x="223" y="109"/>
                  </a:cubicBezTo>
                  <a:cubicBezTo>
                    <a:pt x="225" y="105"/>
                    <a:pt x="226" y="102"/>
                    <a:pt x="226" y="98"/>
                  </a:cubicBezTo>
                  <a:cubicBezTo>
                    <a:pt x="227" y="90"/>
                    <a:pt x="225" y="83"/>
                    <a:pt x="222" y="76"/>
                  </a:cubicBezTo>
                  <a:cubicBezTo>
                    <a:pt x="220" y="72"/>
                    <a:pt x="219" y="69"/>
                    <a:pt x="217" y="65"/>
                  </a:cubicBezTo>
                  <a:cubicBezTo>
                    <a:pt x="216" y="63"/>
                    <a:pt x="214" y="61"/>
                    <a:pt x="213" y="59"/>
                  </a:cubicBezTo>
                  <a:cubicBezTo>
                    <a:pt x="221" y="64"/>
                    <a:pt x="229" y="69"/>
                    <a:pt x="237" y="74"/>
                  </a:cubicBezTo>
                  <a:cubicBezTo>
                    <a:pt x="239" y="76"/>
                    <a:pt x="241" y="77"/>
                    <a:pt x="243" y="78"/>
                  </a:cubicBezTo>
                  <a:close/>
                  <a:moveTo>
                    <a:pt x="321" y="126"/>
                  </a:moveTo>
                  <a:cubicBezTo>
                    <a:pt x="321" y="126"/>
                    <a:pt x="321" y="126"/>
                    <a:pt x="321" y="126"/>
                  </a:cubicBezTo>
                  <a:cubicBezTo>
                    <a:pt x="323" y="129"/>
                    <a:pt x="324" y="132"/>
                    <a:pt x="326" y="135"/>
                  </a:cubicBezTo>
                  <a:cubicBezTo>
                    <a:pt x="328" y="139"/>
                    <a:pt x="329" y="143"/>
                    <a:pt x="330" y="147"/>
                  </a:cubicBezTo>
                  <a:cubicBezTo>
                    <a:pt x="331" y="155"/>
                    <a:pt x="329" y="163"/>
                    <a:pt x="324" y="169"/>
                  </a:cubicBezTo>
                  <a:cubicBezTo>
                    <a:pt x="321" y="171"/>
                    <a:pt x="320" y="173"/>
                    <a:pt x="317" y="174"/>
                  </a:cubicBezTo>
                  <a:cubicBezTo>
                    <a:pt x="315" y="176"/>
                    <a:pt x="313" y="176"/>
                    <a:pt x="310" y="177"/>
                  </a:cubicBezTo>
                  <a:cubicBezTo>
                    <a:pt x="307" y="178"/>
                    <a:pt x="305" y="178"/>
                    <a:pt x="302" y="178"/>
                  </a:cubicBezTo>
                  <a:cubicBezTo>
                    <a:pt x="299" y="178"/>
                    <a:pt x="296" y="177"/>
                    <a:pt x="293" y="177"/>
                  </a:cubicBezTo>
                  <a:cubicBezTo>
                    <a:pt x="293" y="177"/>
                    <a:pt x="293" y="177"/>
                    <a:pt x="292" y="177"/>
                  </a:cubicBezTo>
                  <a:cubicBezTo>
                    <a:pt x="296" y="177"/>
                    <a:pt x="300" y="174"/>
                    <a:pt x="303" y="171"/>
                  </a:cubicBezTo>
                  <a:cubicBezTo>
                    <a:pt x="307" y="167"/>
                    <a:pt x="309" y="163"/>
                    <a:pt x="311" y="158"/>
                  </a:cubicBezTo>
                  <a:cubicBezTo>
                    <a:pt x="314" y="146"/>
                    <a:pt x="312" y="134"/>
                    <a:pt x="309" y="123"/>
                  </a:cubicBezTo>
                  <a:cubicBezTo>
                    <a:pt x="308" y="121"/>
                    <a:pt x="308" y="119"/>
                    <a:pt x="307" y="117"/>
                  </a:cubicBezTo>
                  <a:cubicBezTo>
                    <a:pt x="312" y="120"/>
                    <a:pt x="317" y="123"/>
                    <a:pt x="321" y="126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3" name="ïṡľîďê">
              <a:extLst>
                <a:ext uri="{FF2B5EF4-FFF2-40B4-BE49-F238E27FC236}">
                  <a16:creationId xmlns:a16="http://schemas.microsoft.com/office/drawing/2014/main" id="{A99BECFC-C305-4D69-9273-DAC4A2F8A352}"/>
                </a:ext>
              </a:extLst>
            </p:cNvPr>
            <p:cNvSpPr/>
            <p:nvPr/>
          </p:nvSpPr>
          <p:spPr bwMode="auto">
            <a:xfrm>
              <a:off x="7593823" y="3794110"/>
              <a:ext cx="51803" cy="45882"/>
            </a:xfrm>
            <a:custGeom>
              <a:avLst/>
              <a:gdLst>
                <a:gd name="T0" fmla="*/ 0 w 17"/>
                <a:gd name="T1" fmla="*/ 4 h 15"/>
                <a:gd name="T2" fmla="*/ 0 w 17"/>
                <a:gd name="T3" fmla="*/ 4 h 15"/>
                <a:gd name="T4" fmla="*/ 1 w 17"/>
                <a:gd name="T5" fmla="*/ 2 h 15"/>
                <a:gd name="T6" fmla="*/ 3 w 17"/>
                <a:gd name="T7" fmla="*/ 0 h 15"/>
                <a:gd name="T8" fmla="*/ 5 w 17"/>
                <a:gd name="T9" fmla="*/ 1 h 15"/>
                <a:gd name="T10" fmla="*/ 13 w 17"/>
                <a:gd name="T11" fmla="*/ 3 h 15"/>
                <a:gd name="T12" fmla="*/ 17 w 17"/>
                <a:gd name="T13" fmla="*/ 8 h 15"/>
                <a:gd name="T14" fmla="*/ 17 w 17"/>
                <a:gd name="T15" fmla="*/ 9 h 15"/>
                <a:gd name="T16" fmla="*/ 17 w 17"/>
                <a:gd name="T17" fmla="*/ 9 h 15"/>
                <a:gd name="T18" fmla="*/ 17 w 17"/>
                <a:gd name="T19" fmla="*/ 9 h 15"/>
                <a:gd name="T20" fmla="*/ 17 w 17"/>
                <a:gd name="T21" fmla="*/ 9 h 15"/>
                <a:gd name="T22" fmla="*/ 17 w 17"/>
                <a:gd name="T23" fmla="*/ 10 h 15"/>
                <a:gd name="T24" fmla="*/ 17 w 17"/>
                <a:gd name="T25" fmla="*/ 10 h 15"/>
                <a:gd name="T26" fmla="*/ 17 w 17"/>
                <a:gd name="T27" fmla="*/ 10 h 15"/>
                <a:gd name="T28" fmla="*/ 17 w 17"/>
                <a:gd name="T29" fmla="*/ 10 h 15"/>
                <a:gd name="T30" fmla="*/ 16 w 17"/>
                <a:gd name="T31" fmla="*/ 11 h 15"/>
                <a:gd name="T32" fmla="*/ 3 w 17"/>
                <a:gd name="T33" fmla="*/ 10 h 15"/>
                <a:gd name="T34" fmla="*/ 0 w 17"/>
                <a:gd name="T35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5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4" y="0"/>
                    <a:pt x="5" y="1"/>
                  </a:cubicBezTo>
                  <a:cubicBezTo>
                    <a:pt x="8" y="1"/>
                    <a:pt x="10" y="2"/>
                    <a:pt x="13" y="3"/>
                  </a:cubicBezTo>
                  <a:cubicBezTo>
                    <a:pt x="14" y="5"/>
                    <a:pt x="16" y="6"/>
                    <a:pt x="17" y="8"/>
                  </a:cubicBezTo>
                  <a:cubicBezTo>
                    <a:pt x="17" y="8"/>
                    <a:pt x="17" y="8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2" y="15"/>
                    <a:pt x="6" y="13"/>
                    <a:pt x="3" y="10"/>
                  </a:cubicBezTo>
                  <a:cubicBezTo>
                    <a:pt x="1" y="8"/>
                    <a:pt x="0" y="6"/>
                    <a:pt x="0" y="4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4" name="îśḻïḋé">
              <a:extLst>
                <a:ext uri="{FF2B5EF4-FFF2-40B4-BE49-F238E27FC236}">
                  <a16:creationId xmlns:a16="http://schemas.microsoft.com/office/drawing/2014/main" id="{2B81D09F-7034-4EDB-88A3-8F89D8474E16}"/>
                </a:ext>
              </a:extLst>
            </p:cNvPr>
            <p:cNvSpPr/>
            <p:nvPr/>
          </p:nvSpPr>
          <p:spPr bwMode="auto">
            <a:xfrm>
              <a:off x="6578501" y="3657944"/>
              <a:ext cx="1255093" cy="928000"/>
            </a:xfrm>
            <a:custGeom>
              <a:avLst/>
              <a:gdLst>
                <a:gd name="T0" fmla="*/ 382 w 408"/>
                <a:gd name="T1" fmla="*/ 66 h 302"/>
                <a:gd name="T2" fmla="*/ 374 w 408"/>
                <a:gd name="T3" fmla="*/ 68 h 302"/>
                <a:gd name="T4" fmla="*/ 317 w 408"/>
                <a:gd name="T5" fmla="*/ 1 h 302"/>
                <a:gd name="T6" fmla="*/ 356 w 408"/>
                <a:gd name="T7" fmla="*/ 26 h 302"/>
                <a:gd name="T8" fmla="*/ 271 w 408"/>
                <a:gd name="T9" fmla="*/ 284 h 302"/>
                <a:gd name="T10" fmla="*/ 311 w 408"/>
                <a:gd name="T11" fmla="*/ 254 h 302"/>
                <a:gd name="T12" fmla="*/ 314 w 408"/>
                <a:gd name="T13" fmla="*/ 285 h 302"/>
                <a:gd name="T14" fmla="*/ 298 w 408"/>
                <a:gd name="T15" fmla="*/ 302 h 302"/>
                <a:gd name="T16" fmla="*/ 296 w 408"/>
                <a:gd name="T17" fmla="*/ 260 h 302"/>
                <a:gd name="T18" fmla="*/ 182 w 408"/>
                <a:gd name="T19" fmla="*/ 116 h 302"/>
                <a:gd name="T20" fmla="*/ 168 w 408"/>
                <a:gd name="T21" fmla="*/ 114 h 302"/>
                <a:gd name="T22" fmla="*/ 207 w 408"/>
                <a:gd name="T23" fmla="*/ 163 h 302"/>
                <a:gd name="T24" fmla="*/ 231 w 408"/>
                <a:gd name="T25" fmla="*/ 179 h 302"/>
                <a:gd name="T26" fmla="*/ 175 w 408"/>
                <a:gd name="T27" fmla="*/ 194 h 302"/>
                <a:gd name="T28" fmla="*/ 193 w 408"/>
                <a:gd name="T29" fmla="*/ 171 h 302"/>
                <a:gd name="T30" fmla="*/ 269 w 408"/>
                <a:gd name="T31" fmla="*/ 210 h 302"/>
                <a:gd name="T32" fmla="*/ 258 w 408"/>
                <a:gd name="T33" fmla="*/ 197 h 302"/>
                <a:gd name="T34" fmla="*/ 243 w 408"/>
                <a:gd name="T35" fmla="*/ 216 h 302"/>
                <a:gd name="T36" fmla="*/ 221 w 408"/>
                <a:gd name="T37" fmla="*/ 220 h 302"/>
                <a:gd name="T38" fmla="*/ 198 w 408"/>
                <a:gd name="T39" fmla="*/ 211 h 302"/>
                <a:gd name="T40" fmla="*/ 244 w 408"/>
                <a:gd name="T41" fmla="*/ 198 h 302"/>
                <a:gd name="T42" fmla="*/ 260 w 408"/>
                <a:gd name="T43" fmla="*/ 196 h 302"/>
                <a:gd name="T44" fmla="*/ 263 w 408"/>
                <a:gd name="T45" fmla="*/ 197 h 302"/>
                <a:gd name="T46" fmla="*/ 272 w 408"/>
                <a:gd name="T47" fmla="*/ 208 h 302"/>
                <a:gd name="T48" fmla="*/ 403 w 408"/>
                <a:gd name="T49" fmla="*/ 192 h 302"/>
                <a:gd name="T50" fmla="*/ 377 w 408"/>
                <a:gd name="T51" fmla="*/ 223 h 302"/>
                <a:gd name="T52" fmla="*/ 337 w 408"/>
                <a:gd name="T53" fmla="*/ 240 h 302"/>
                <a:gd name="T54" fmla="*/ 317 w 408"/>
                <a:gd name="T55" fmla="*/ 246 h 302"/>
                <a:gd name="T56" fmla="*/ 275 w 408"/>
                <a:gd name="T57" fmla="*/ 262 h 302"/>
                <a:gd name="T58" fmla="*/ 247 w 408"/>
                <a:gd name="T59" fmla="*/ 260 h 302"/>
                <a:gd name="T60" fmla="*/ 273 w 408"/>
                <a:gd name="T61" fmla="*/ 259 h 302"/>
                <a:gd name="T62" fmla="*/ 327 w 408"/>
                <a:gd name="T63" fmla="*/ 225 h 302"/>
                <a:gd name="T64" fmla="*/ 393 w 408"/>
                <a:gd name="T65" fmla="*/ 198 h 302"/>
                <a:gd name="T66" fmla="*/ 405 w 408"/>
                <a:gd name="T67" fmla="*/ 187 h 302"/>
                <a:gd name="T68" fmla="*/ 58 w 408"/>
                <a:gd name="T69" fmla="*/ 57 h 302"/>
                <a:gd name="T70" fmla="*/ 45 w 408"/>
                <a:gd name="T71" fmla="*/ 58 h 302"/>
                <a:gd name="T72" fmla="*/ 0 w 408"/>
                <a:gd name="T73" fmla="*/ 60 h 302"/>
                <a:gd name="T74" fmla="*/ 130 w 408"/>
                <a:gd name="T75" fmla="*/ 30 h 302"/>
                <a:gd name="T76" fmla="*/ 137 w 408"/>
                <a:gd name="T77" fmla="*/ 54 h 302"/>
                <a:gd name="T78" fmla="*/ 130 w 408"/>
                <a:gd name="T79" fmla="*/ 30 h 302"/>
                <a:gd name="T80" fmla="*/ 270 w 408"/>
                <a:gd name="T81" fmla="*/ 88 h 302"/>
                <a:gd name="T82" fmla="*/ 234 w 408"/>
                <a:gd name="T83" fmla="*/ 99 h 302"/>
                <a:gd name="T84" fmla="*/ 198 w 408"/>
                <a:gd name="T85" fmla="*/ 42 h 302"/>
                <a:gd name="T86" fmla="*/ 188 w 408"/>
                <a:gd name="T87" fmla="*/ 27 h 302"/>
                <a:gd name="T88" fmla="*/ 213 w 408"/>
                <a:gd name="T89" fmla="*/ 27 h 302"/>
                <a:gd name="T90" fmla="*/ 280 w 408"/>
                <a:gd name="T91" fmla="*/ 31 h 302"/>
                <a:gd name="T92" fmla="*/ 261 w 408"/>
                <a:gd name="T93" fmla="*/ 10 h 302"/>
                <a:gd name="T94" fmla="*/ 313 w 408"/>
                <a:gd name="T95" fmla="*/ 43 h 302"/>
                <a:gd name="T96" fmla="*/ 280 w 408"/>
                <a:gd name="T97" fmla="*/ 31 h 302"/>
                <a:gd name="T98" fmla="*/ 356 w 408"/>
                <a:gd name="T99" fmla="*/ 149 h 302"/>
                <a:gd name="T100" fmla="*/ 339 w 408"/>
                <a:gd name="T101" fmla="*/ 173 h 302"/>
                <a:gd name="T102" fmla="*/ 325 w 408"/>
                <a:gd name="T103" fmla="*/ 157 h 302"/>
                <a:gd name="T104" fmla="*/ 322 w 408"/>
                <a:gd name="T105" fmla="*/ 123 h 302"/>
                <a:gd name="T106" fmla="*/ 311 w 408"/>
                <a:gd name="T107" fmla="*/ 99 h 302"/>
                <a:gd name="T108" fmla="*/ 350 w 408"/>
                <a:gd name="T109" fmla="*/ 11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08" h="302">
                  <a:moveTo>
                    <a:pt x="356" y="26"/>
                  </a:moveTo>
                  <a:cubicBezTo>
                    <a:pt x="356" y="26"/>
                    <a:pt x="356" y="26"/>
                    <a:pt x="356" y="26"/>
                  </a:cubicBezTo>
                  <a:cubicBezTo>
                    <a:pt x="362" y="32"/>
                    <a:pt x="366" y="38"/>
                    <a:pt x="370" y="45"/>
                  </a:cubicBezTo>
                  <a:cubicBezTo>
                    <a:pt x="374" y="52"/>
                    <a:pt x="379" y="59"/>
                    <a:pt x="382" y="66"/>
                  </a:cubicBezTo>
                  <a:cubicBezTo>
                    <a:pt x="386" y="73"/>
                    <a:pt x="389" y="79"/>
                    <a:pt x="392" y="85"/>
                  </a:cubicBezTo>
                  <a:cubicBezTo>
                    <a:pt x="393" y="88"/>
                    <a:pt x="393" y="90"/>
                    <a:pt x="394" y="92"/>
                  </a:cubicBezTo>
                  <a:cubicBezTo>
                    <a:pt x="389" y="89"/>
                    <a:pt x="383" y="87"/>
                    <a:pt x="377" y="84"/>
                  </a:cubicBezTo>
                  <a:cubicBezTo>
                    <a:pt x="378" y="79"/>
                    <a:pt x="376" y="73"/>
                    <a:pt x="374" y="68"/>
                  </a:cubicBezTo>
                  <a:cubicBezTo>
                    <a:pt x="372" y="61"/>
                    <a:pt x="368" y="54"/>
                    <a:pt x="364" y="48"/>
                  </a:cubicBezTo>
                  <a:cubicBezTo>
                    <a:pt x="355" y="35"/>
                    <a:pt x="343" y="23"/>
                    <a:pt x="332" y="13"/>
                  </a:cubicBezTo>
                  <a:cubicBezTo>
                    <a:pt x="327" y="9"/>
                    <a:pt x="323" y="6"/>
                    <a:pt x="319" y="2"/>
                  </a:cubicBezTo>
                  <a:cubicBezTo>
                    <a:pt x="318" y="1"/>
                    <a:pt x="318" y="1"/>
                    <a:pt x="317" y="1"/>
                  </a:cubicBezTo>
                  <a:cubicBezTo>
                    <a:pt x="320" y="0"/>
                    <a:pt x="323" y="0"/>
                    <a:pt x="326" y="0"/>
                  </a:cubicBezTo>
                  <a:cubicBezTo>
                    <a:pt x="327" y="0"/>
                    <a:pt x="328" y="1"/>
                    <a:pt x="329" y="1"/>
                  </a:cubicBezTo>
                  <a:cubicBezTo>
                    <a:pt x="332" y="4"/>
                    <a:pt x="336" y="7"/>
                    <a:pt x="339" y="9"/>
                  </a:cubicBezTo>
                  <a:cubicBezTo>
                    <a:pt x="345" y="14"/>
                    <a:pt x="351" y="20"/>
                    <a:pt x="356" y="26"/>
                  </a:cubicBezTo>
                  <a:close/>
                  <a:moveTo>
                    <a:pt x="270" y="271"/>
                  </a:moveTo>
                  <a:cubicBezTo>
                    <a:pt x="270" y="271"/>
                    <a:pt x="270" y="271"/>
                    <a:pt x="270" y="271"/>
                  </a:cubicBezTo>
                  <a:cubicBezTo>
                    <a:pt x="271" y="274"/>
                    <a:pt x="271" y="277"/>
                    <a:pt x="271" y="280"/>
                  </a:cubicBezTo>
                  <a:cubicBezTo>
                    <a:pt x="271" y="281"/>
                    <a:pt x="271" y="283"/>
                    <a:pt x="271" y="284"/>
                  </a:cubicBezTo>
                  <a:cubicBezTo>
                    <a:pt x="269" y="280"/>
                    <a:pt x="265" y="277"/>
                    <a:pt x="262" y="274"/>
                  </a:cubicBezTo>
                  <a:cubicBezTo>
                    <a:pt x="265" y="273"/>
                    <a:pt x="268" y="272"/>
                    <a:pt x="270" y="271"/>
                  </a:cubicBezTo>
                  <a:close/>
                  <a:moveTo>
                    <a:pt x="311" y="254"/>
                  </a:moveTo>
                  <a:cubicBezTo>
                    <a:pt x="311" y="254"/>
                    <a:pt x="311" y="254"/>
                    <a:pt x="311" y="254"/>
                  </a:cubicBezTo>
                  <a:cubicBezTo>
                    <a:pt x="313" y="259"/>
                    <a:pt x="314" y="264"/>
                    <a:pt x="315" y="270"/>
                  </a:cubicBezTo>
                  <a:cubicBezTo>
                    <a:pt x="315" y="273"/>
                    <a:pt x="315" y="277"/>
                    <a:pt x="315" y="280"/>
                  </a:cubicBezTo>
                  <a:cubicBezTo>
                    <a:pt x="315" y="281"/>
                    <a:pt x="315" y="283"/>
                    <a:pt x="315" y="284"/>
                  </a:cubicBezTo>
                  <a:cubicBezTo>
                    <a:pt x="315" y="284"/>
                    <a:pt x="314" y="285"/>
                    <a:pt x="314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2" y="287"/>
                    <a:pt x="311" y="289"/>
                    <a:pt x="309" y="291"/>
                  </a:cubicBezTo>
                  <a:cubicBezTo>
                    <a:pt x="306" y="295"/>
                    <a:pt x="302" y="299"/>
                    <a:pt x="298" y="302"/>
                  </a:cubicBezTo>
                  <a:cubicBezTo>
                    <a:pt x="298" y="301"/>
                    <a:pt x="299" y="299"/>
                    <a:pt x="299" y="298"/>
                  </a:cubicBezTo>
                  <a:cubicBezTo>
                    <a:pt x="299" y="293"/>
                    <a:pt x="299" y="288"/>
                    <a:pt x="298" y="284"/>
                  </a:cubicBezTo>
                  <a:cubicBezTo>
                    <a:pt x="298" y="276"/>
                    <a:pt x="296" y="268"/>
                    <a:pt x="295" y="261"/>
                  </a:cubicBezTo>
                  <a:cubicBezTo>
                    <a:pt x="295" y="260"/>
                    <a:pt x="295" y="260"/>
                    <a:pt x="296" y="260"/>
                  </a:cubicBezTo>
                  <a:cubicBezTo>
                    <a:pt x="301" y="258"/>
                    <a:pt x="306" y="256"/>
                    <a:pt x="311" y="254"/>
                  </a:cubicBezTo>
                  <a:close/>
                  <a:moveTo>
                    <a:pt x="176" y="110"/>
                  </a:moveTo>
                  <a:cubicBezTo>
                    <a:pt x="176" y="110"/>
                    <a:pt x="176" y="110"/>
                    <a:pt x="176" y="110"/>
                  </a:cubicBezTo>
                  <a:cubicBezTo>
                    <a:pt x="178" y="112"/>
                    <a:pt x="180" y="114"/>
                    <a:pt x="182" y="116"/>
                  </a:cubicBezTo>
                  <a:cubicBezTo>
                    <a:pt x="182" y="118"/>
                    <a:pt x="183" y="120"/>
                    <a:pt x="184" y="122"/>
                  </a:cubicBezTo>
                  <a:cubicBezTo>
                    <a:pt x="184" y="125"/>
                    <a:pt x="185" y="129"/>
                    <a:pt x="185" y="132"/>
                  </a:cubicBezTo>
                  <a:cubicBezTo>
                    <a:pt x="185" y="133"/>
                    <a:pt x="185" y="134"/>
                    <a:pt x="184" y="136"/>
                  </a:cubicBezTo>
                  <a:cubicBezTo>
                    <a:pt x="180" y="128"/>
                    <a:pt x="174" y="121"/>
                    <a:pt x="168" y="114"/>
                  </a:cubicBezTo>
                  <a:cubicBezTo>
                    <a:pt x="170" y="113"/>
                    <a:pt x="171" y="111"/>
                    <a:pt x="173" y="109"/>
                  </a:cubicBezTo>
                  <a:cubicBezTo>
                    <a:pt x="174" y="108"/>
                    <a:pt x="174" y="108"/>
                    <a:pt x="174" y="108"/>
                  </a:cubicBezTo>
                  <a:cubicBezTo>
                    <a:pt x="175" y="109"/>
                    <a:pt x="175" y="109"/>
                    <a:pt x="176" y="110"/>
                  </a:cubicBezTo>
                  <a:close/>
                  <a:moveTo>
                    <a:pt x="207" y="163"/>
                  </a:moveTo>
                  <a:cubicBezTo>
                    <a:pt x="207" y="163"/>
                    <a:pt x="207" y="163"/>
                    <a:pt x="207" y="163"/>
                  </a:cubicBezTo>
                  <a:cubicBezTo>
                    <a:pt x="207" y="164"/>
                    <a:pt x="208" y="165"/>
                    <a:pt x="208" y="166"/>
                  </a:cubicBezTo>
                  <a:cubicBezTo>
                    <a:pt x="212" y="175"/>
                    <a:pt x="222" y="179"/>
                    <a:pt x="231" y="179"/>
                  </a:cubicBezTo>
                  <a:cubicBezTo>
                    <a:pt x="231" y="179"/>
                    <a:pt x="231" y="179"/>
                    <a:pt x="231" y="179"/>
                  </a:cubicBezTo>
                  <a:cubicBezTo>
                    <a:pt x="229" y="179"/>
                    <a:pt x="227" y="180"/>
                    <a:pt x="226" y="180"/>
                  </a:cubicBezTo>
                  <a:cubicBezTo>
                    <a:pt x="223" y="180"/>
                    <a:pt x="220" y="181"/>
                    <a:pt x="218" y="182"/>
                  </a:cubicBezTo>
                  <a:cubicBezTo>
                    <a:pt x="213" y="183"/>
                    <a:pt x="207" y="184"/>
                    <a:pt x="202" y="185"/>
                  </a:cubicBezTo>
                  <a:cubicBezTo>
                    <a:pt x="193" y="188"/>
                    <a:pt x="184" y="191"/>
                    <a:pt x="175" y="194"/>
                  </a:cubicBezTo>
                  <a:cubicBezTo>
                    <a:pt x="173" y="193"/>
                    <a:pt x="171" y="191"/>
                    <a:pt x="170" y="190"/>
                  </a:cubicBezTo>
                  <a:cubicBezTo>
                    <a:pt x="174" y="187"/>
                    <a:pt x="179" y="185"/>
                    <a:pt x="184" y="181"/>
                  </a:cubicBezTo>
                  <a:cubicBezTo>
                    <a:pt x="187" y="179"/>
                    <a:pt x="190" y="176"/>
                    <a:pt x="192" y="172"/>
                  </a:cubicBezTo>
                  <a:cubicBezTo>
                    <a:pt x="192" y="172"/>
                    <a:pt x="193" y="171"/>
                    <a:pt x="193" y="171"/>
                  </a:cubicBezTo>
                  <a:cubicBezTo>
                    <a:pt x="194" y="170"/>
                    <a:pt x="194" y="170"/>
                    <a:pt x="195" y="169"/>
                  </a:cubicBezTo>
                  <a:cubicBezTo>
                    <a:pt x="197" y="169"/>
                    <a:pt x="199" y="168"/>
                    <a:pt x="201" y="167"/>
                  </a:cubicBezTo>
                  <a:cubicBezTo>
                    <a:pt x="203" y="166"/>
                    <a:pt x="205" y="165"/>
                    <a:pt x="207" y="163"/>
                  </a:cubicBezTo>
                  <a:close/>
                  <a:moveTo>
                    <a:pt x="269" y="210"/>
                  </a:moveTo>
                  <a:cubicBezTo>
                    <a:pt x="269" y="210"/>
                    <a:pt x="269" y="210"/>
                    <a:pt x="269" y="210"/>
                  </a:cubicBezTo>
                  <a:cubicBezTo>
                    <a:pt x="268" y="210"/>
                    <a:pt x="268" y="209"/>
                    <a:pt x="268" y="209"/>
                  </a:cubicBezTo>
                  <a:cubicBezTo>
                    <a:pt x="266" y="205"/>
                    <a:pt x="264" y="202"/>
                    <a:pt x="262" y="198"/>
                  </a:cubicBezTo>
                  <a:cubicBezTo>
                    <a:pt x="261" y="196"/>
                    <a:pt x="259" y="195"/>
                    <a:pt x="258" y="197"/>
                  </a:cubicBezTo>
                  <a:cubicBezTo>
                    <a:pt x="254" y="200"/>
                    <a:pt x="251" y="204"/>
                    <a:pt x="249" y="208"/>
                  </a:cubicBezTo>
                  <a:cubicBezTo>
                    <a:pt x="247" y="210"/>
                    <a:pt x="246" y="212"/>
                    <a:pt x="245" y="214"/>
                  </a:cubicBezTo>
                  <a:cubicBezTo>
                    <a:pt x="245" y="214"/>
                    <a:pt x="245" y="215"/>
                    <a:pt x="245" y="216"/>
                  </a:cubicBezTo>
                  <a:cubicBezTo>
                    <a:pt x="244" y="216"/>
                    <a:pt x="243" y="216"/>
                    <a:pt x="243" y="216"/>
                  </a:cubicBezTo>
                  <a:cubicBezTo>
                    <a:pt x="242" y="215"/>
                    <a:pt x="241" y="215"/>
                    <a:pt x="240" y="215"/>
                  </a:cubicBezTo>
                  <a:cubicBezTo>
                    <a:pt x="238" y="215"/>
                    <a:pt x="236" y="215"/>
                    <a:pt x="234" y="215"/>
                  </a:cubicBezTo>
                  <a:cubicBezTo>
                    <a:pt x="231" y="215"/>
                    <a:pt x="227" y="215"/>
                    <a:pt x="223" y="215"/>
                  </a:cubicBezTo>
                  <a:cubicBezTo>
                    <a:pt x="221" y="215"/>
                    <a:pt x="220" y="218"/>
                    <a:pt x="221" y="220"/>
                  </a:cubicBezTo>
                  <a:cubicBezTo>
                    <a:pt x="222" y="222"/>
                    <a:pt x="224" y="224"/>
                    <a:pt x="226" y="226"/>
                  </a:cubicBezTo>
                  <a:cubicBezTo>
                    <a:pt x="224" y="226"/>
                    <a:pt x="222" y="226"/>
                    <a:pt x="220" y="227"/>
                  </a:cubicBezTo>
                  <a:cubicBezTo>
                    <a:pt x="220" y="227"/>
                    <a:pt x="219" y="227"/>
                    <a:pt x="217" y="227"/>
                  </a:cubicBezTo>
                  <a:cubicBezTo>
                    <a:pt x="211" y="222"/>
                    <a:pt x="204" y="216"/>
                    <a:pt x="198" y="211"/>
                  </a:cubicBezTo>
                  <a:cubicBezTo>
                    <a:pt x="200" y="211"/>
                    <a:pt x="203" y="211"/>
                    <a:pt x="205" y="210"/>
                  </a:cubicBezTo>
                  <a:cubicBezTo>
                    <a:pt x="211" y="209"/>
                    <a:pt x="216" y="208"/>
                    <a:pt x="221" y="207"/>
                  </a:cubicBezTo>
                  <a:cubicBezTo>
                    <a:pt x="226" y="205"/>
                    <a:pt x="231" y="203"/>
                    <a:pt x="236" y="201"/>
                  </a:cubicBezTo>
                  <a:cubicBezTo>
                    <a:pt x="239" y="200"/>
                    <a:pt x="241" y="199"/>
                    <a:pt x="244" y="198"/>
                  </a:cubicBezTo>
                  <a:cubicBezTo>
                    <a:pt x="245" y="197"/>
                    <a:pt x="247" y="196"/>
                    <a:pt x="248" y="195"/>
                  </a:cubicBezTo>
                  <a:cubicBezTo>
                    <a:pt x="251" y="196"/>
                    <a:pt x="253" y="196"/>
                    <a:pt x="256" y="196"/>
                  </a:cubicBezTo>
                  <a:cubicBezTo>
                    <a:pt x="257" y="195"/>
                    <a:pt x="258" y="195"/>
                    <a:pt x="259" y="196"/>
                  </a:cubicBezTo>
                  <a:cubicBezTo>
                    <a:pt x="258" y="196"/>
                    <a:pt x="260" y="196"/>
                    <a:pt x="260" y="196"/>
                  </a:cubicBezTo>
                  <a:cubicBezTo>
                    <a:pt x="260" y="196"/>
                    <a:pt x="260" y="196"/>
                    <a:pt x="261" y="196"/>
                  </a:cubicBezTo>
                  <a:cubicBezTo>
                    <a:pt x="261" y="196"/>
                    <a:pt x="261" y="196"/>
                    <a:pt x="262" y="196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3" y="197"/>
                    <a:pt x="263" y="197"/>
                    <a:pt x="263" y="197"/>
                  </a:cubicBezTo>
                  <a:cubicBezTo>
                    <a:pt x="263" y="198"/>
                    <a:pt x="264" y="198"/>
                    <a:pt x="264" y="198"/>
                  </a:cubicBezTo>
                  <a:cubicBezTo>
                    <a:pt x="267" y="201"/>
                    <a:pt x="269" y="204"/>
                    <a:pt x="272" y="206"/>
                  </a:cubicBezTo>
                  <a:cubicBezTo>
                    <a:pt x="273" y="206"/>
                    <a:pt x="274" y="207"/>
                    <a:pt x="275" y="207"/>
                  </a:cubicBezTo>
                  <a:cubicBezTo>
                    <a:pt x="274" y="208"/>
                    <a:pt x="273" y="208"/>
                    <a:pt x="272" y="208"/>
                  </a:cubicBezTo>
                  <a:cubicBezTo>
                    <a:pt x="271" y="209"/>
                    <a:pt x="269" y="210"/>
                    <a:pt x="269" y="210"/>
                  </a:cubicBezTo>
                  <a:close/>
                  <a:moveTo>
                    <a:pt x="405" y="187"/>
                  </a:moveTo>
                  <a:cubicBezTo>
                    <a:pt x="405" y="187"/>
                    <a:pt x="405" y="187"/>
                    <a:pt x="405" y="187"/>
                  </a:cubicBezTo>
                  <a:cubicBezTo>
                    <a:pt x="404" y="189"/>
                    <a:pt x="404" y="190"/>
                    <a:pt x="403" y="192"/>
                  </a:cubicBezTo>
                  <a:cubicBezTo>
                    <a:pt x="402" y="195"/>
                    <a:pt x="400" y="198"/>
                    <a:pt x="398" y="201"/>
                  </a:cubicBezTo>
                  <a:cubicBezTo>
                    <a:pt x="396" y="204"/>
                    <a:pt x="395" y="206"/>
                    <a:pt x="392" y="208"/>
                  </a:cubicBezTo>
                  <a:cubicBezTo>
                    <a:pt x="390" y="211"/>
                    <a:pt x="388" y="214"/>
                    <a:pt x="385" y="216"/>
                  </a:cubicBezTo>
                  <a:cubicBezTo>
                    <a:pt x="382" y="219"/>
                    <a:pt x="380" y="221"/>
                    <a:pt x="377" y="223"/>
                  </a:cubicBezTo>
                  <a:cubicBezTo>
                    <a:pt x="373" y="226"/>
                    <a:pt x="369" y="228"/>
                    <a:pt x="366" y="230"/>
                  </a:cubicBezTo>
                  <a:cubicBezTo>
                    <a:pt x="362" y="232"/>
                    <a:pt x="358" y="234"/>
                    <a:pt x="354" y="235"/>
                  </a:cubicBezTo>
                  <a:cubicBezTo>
                    <a:pt x="350" y="237"/>
                    <a:pt x="346" y="238"/>
                    <a:pt x="343" y="239"/>
                  </a:cubicBezTo>
                  <a:cubicBezTo>
                    <a:pt x="341" y="240"/>
                    <a:pt x="339" y="240"/>
                    <a:pt x="337" y="240"/>
                  </a:cubicBezTo>
                  <a:cubicBezTo>
                    <a:pt x="336" y="241"/>
                    <a:pt x="335" y="241"/>
                    <a:pt x="334" y="241"/>
                  </a:cubicBezTo>
                  <a:cubicBezTo>
                    <a:pt x="333" y="241"/>
                    <a:pt x="331" y="242"/>
                    <a:pt x="331" y="243"/>
                  </a:cubicBezTo>
                  <a:cubicBezTo>
                    <a:pt x="330" y="243"/>
                    <a:pt x="330" y="243"/>
                    <a:pt x="330" y="244"/>
                  </a:cubicBezTo>
                  <a:cubicBezTo>
                    <a:pt x="325" y="244"/>
                    <a:pt x="321" y="245"/>
                    <a:pt x="317" y="246"/>
                  </a:cubicBezTo>
                  <a:cubicBezTo>
                    <a:pt x="309" y="248"/>
                    <a:pt x="302" y="251"/>
                    <a:pt x="295" y="254"/>
                  </a:cubicBezTo>
                  <a:cubicBezTo>
                    <a:pt x="295" y="254"/>
                    <a:pt x="294" y="255"/>
                    <a:pt x="293" y="255"/>
                  </a:cubicBezTo>
                  <a:cubicBezTo>
                    <a:pt x="292" y="254"/>
                    <a:pt x="289" y="255"/>
                    <a:pt x="289" y="256"/>
                  </a:cubicBezTo>
                  <a:cubicBezTo>
                    <a:pt x="284" y="258"/>
                    <a:pt x="280" y="260"/>
                    <a:pt x="275" y="262"/>
                  </a:cubicBezTo>
                  <a:cubicBezTo>
                    <a:pt x="274" y="262"/>
                    <a:pt x="273" y="263"/>
                    <a:pt x="272" y="263"/>
                  </a:cubicBezTo>
                  <a:cubicBezTo>
                    <a:pt x="271" y="263"/>
                    <a:pt x="270" y="263"/>
                    <a:pt x="270" y="264"/>
                  </a:cubicBezTo>
                  <a:cubicBezTo>
                    <a:pt x="266" y="266"/>
                    <a:pt x="262" y="267"/>
                    <a:pt x="257" y="269"/>
                  </a:cubicBezTo>
                  <a:cubicBezTo>
                    <a:pt x="254" y="266"/>
                    <a:pt x="250" y="263"/>
                    <a:pt x="247" y="260"/>
                  </a:cubicBezTo>
                  <a:cubicBezTo>
                    <a:pt x="245" y="258"/>
                    <a:pt x="243" y="256"/>
                    <a:pt x="241" y="254"/>
                  </a:cubicBezTo>
                  <a:cubicBezTo>
                    <a:pt x="240" y="253"/>
                    <a:pt x="239" y="252"/>
                    <a:pt x="239" y="252"/>
                  </a:cubicBezTo>
                  <a:cubicBezTo>
                    <a:pt x="242" y="250"/>
                    <a:pt x="245" y="248"/>
                    <a:pt x="247" y="247"/>
                  </a:cubicBezTo>
                  <a:cubicBezTo>
                    <a:pt x="254" y="254"/>
                    <a:pt x="265" y="255"/>
                    <a:pt x="273" y="259"/>
                  </a:cubicBezTo>
                  <a:cubicBezTo>
                    <a:pt x="275" y="260"/>
                    <a:pt x="277" y="258"/>
                    <a:pt x="277" y="257"/>
                  </a:cubicBezTo>
                  <a:cubicBezTo>
                    <a:pt x="278" y="253"/>
                    <a:pt x="278" y="248"/>
                    <a:pt x="278" y="244"/>
                  </a:cubicBezTo>
                  <a:cubicBezTo>
                    <a:pt x="285" y="240"/>
                    <a:pt x="293" y="237"/>
                    <a:pt x="300" y="234"/>
                  </a:cubicBezTo>
                  <a:cubicBezTo>
                    <a:pt x="309" y="230"/>
                    <a:pt x="318" y="228"/>
                    <a:pt x="327" y="225"/>
                  </a:cubicBezTo>
                  <a:cubicBezTo>
                    <a:pt x="343" y="221"/>
                    <a:pt x="359" y="218"/>
                    <a:pt x="371" y="208"/>
                  </a:cubicBezTo>
                  <a:cubicBezTo>
                    <a:pt x="372" y="207"/>
                    <a:pt x="372" y="207"/>
                    <a:pt x="373" y="207"/>
                  </a:cubicBezTo>
                  <a:cubicBezTo>
                    <a:pt x="373" y="207"/>
                    <a:pt x="373" y="207"/>
                    <a:pt x="374" y="207"/>
                  </a:cubicBezTo>
                  <a:cubicBezTo>
                    <a:pt x="381" y="205"/>
                    <a:pt x="388" y="202"/>
                    <a:pt x="393" y="198"/>
                  </a:cubicBezTo>
                  <a:cubicBezTo>
                    <a:pt x="400" y="193"/>
                    <a:pt x="404" y="185"/>
                    <a:pt x="407" y="178"/>
                  </a:cubicBezTo>
                  <a:cubicBezTo>
                    <a:pt x="407" y="177"/>
                    <a:pt x="407" y="177"/>
                    <a:pt x="408" y="176"/>
                  </a:cubicBezTo>
                  <a:cubicBezTo>
                    <a:pt x="407" y="178"/>
                    <a:pt x="407" y="180"/>
                    <a:pt x="406" y="182"/>
                  </a:cubicBezTo>
                  <a:cubicBezTo>
                    <a:pt x="406" y="184"/>
                    <a:pt x="406" y="185"/>
                    <a:pt x="405" y="187"/>
                  </a:cubicBezTo>
                  <a:close/>
                  <a:moveTo>
                    <a:pt x="47" y="51"/>
                  </a:moveTo>
                  <a:cubicBezTo>
                    <a:pt x="47" y="51"/>
                    <a:pt x="47" y="51"/>
                    <a:pt x="47" y="51"/>
                  </a:cubicBezTo>
                  <a:cubicBezTo>
                    <a:pt x="49" y="52"/>
                    <a:pt x="51" y="53"/>
                    <a:pt x="53" y="54"/>
                  </a:cubicBezTo>
                  <a:cubicBezTo>
                    <a:pt x="54" y="55"/>
                    <a:pt x="56" y="56"/>
                    <a:pt x="58" y="57"/>
                  </a:cubicBezTo>
                  <a:cubicBezTo>
                    <a:pt x="56" y="57"/>
                    <a:pt x="53" y="57"/>
                    <a:pt x="50" y="58"/>
                  </a:cubicBezTo>
                  <a:cubicBezTo>
                    <a:pt x="49" y="58"/>
                    <a:pt x="47" y="58"/>
                    <a:pt x="46" y="58"/>
                  </a:cubicBezTo>
                  <a:cubicBezTo>
                    <a:pt x="46" y="58"/>
                    <a:pt x="46" y="58"/>
                    <a:pt x="45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9"/>
                    <a:pt x="43" y="59"/>
                    <a:pt x="42" y="59"/>
                  </a:cubicBezTo>
                  <a:cubicBezTo>
                    <a:pt x="38" y="59"/>
                    <a:pt x="33" y="59"/>
                    <a:pt x="28" y="59"/>
                  </a:cubicBezTo>
                  <a:cubicBezTo>
                    <a:pt x="23" y="59"/>
                    <a:pt x="18" y="59"/>
                    <a:pt x="12" y="60"/>
                  </a:cubicBezTo>
                  <a:cubicBezTo>
                    <a:pt x="8" y="60"/>
                    <a:pt x="4" y="60"/>
                    <a:pt x="0" y="60"/>
                  </a:cubicBezTo>
                  <a:cubicBezTo>
                    <a:pt x="16" y="56"/>
                    <a:pt x="31" y="53"/>
                    <a:pt x="46" y="49"/>
                  </a:cubicBezTo>
                  <a:cubicBezTo>
                    <a:pt x="46" y="50"/>
                    <a:pt x="46" y="51"/>
                    <a:pt x="47" y="51"/>
                  </a:cubicBezTo>
                  <a:close/>
                  <a:moveTo>
                    <a:pt x="130" y="30"/>
                  </a:moveTo>
                  <a:cubicBezTo>
                    <a:pt x="130" y="30"/>
                    <a:pt x="130" y="30"/>
                    <a:pt x="130" y="30"/>
                  </a:cubicBezTo>
                  <a:cubicBezTo>
                    <a:pt x="132" y="33"/>
                    <a:pt x="135" y="35"/>
                    <a:pt x="137" y="37"/>
                  </a:cubicBezTo>
                  <a:cubicBezTo>
                    <a:pt x="139" y="39"/>
                    <a:pt x="141" y="40"/>
                    <a:pt x="143" y="42"/>
                  </a:cubicBezTo>
                  <a:cubicBezTo>
                    <a:pt x="141" y="47"/>
                    <a:pt x="140" y="51"/>
                    <a:pt x="141" y="56"/>
                  </a:cubicBezTo>
                  <a:cubicBezTo>
                    <a:pt x="140" y="55"/>
                    <a:pt x="138" y="55"/>
                    <a:pt x="137" y="54"/>
                  </a:cubicBezTo>
                  <a:cubicBezTo>
                    <a:pt x="129" y="52"/>
                    <a:pt x="122" y="51"/>
                    <a:pt x="114" y="50"/>
                  </a:cubicBezTo>
                  <a:cubicBezTo>
                    <a:pt x="114" y="47"/>
                    <a:pt x="111" y="44"/>
                    <a:pt x="108" y="42"/>
                  </a:cubicBezTo>
                  <a:cubicBezTo>
                    <a:pt x="106" y="40"/>
                    <a:pt x="103" y="39"/>
                    <a:pt x="100" y="37"/>
                  </a:cubicBezTo>
                  <a:cubicBezTo>
                    <a:pt x="110" y="35"/>
                    <a:pt x="120" y="33"/>
                    <a:pt x="130" y="30"/>
                  </a:cubicBezTo>
                  <a:close/>
                  <a:moveTo>
                    <a:pt x="253" y="54"/>
                  </a:moveTo>
                  <a:cubicBezTo>
                    <a:pt x="253" y="54"/>
                    <a:pt x="253" y="54"/>
                    <a:pt x="253" y="54"/>
                  </a:cubicBezTo>
                  <a:cubicBezTo>
                    <a:pt x="257" y="59"/>
                    <a:pt x="261" y="66"/>
                    <a:pt x="264" y="72"/>
                  </a:cubicBezTo>
                  <a:cubicBezTo>
                    <a:pt x="267" y="77"/>
                    <a:pt x="269" y="82"/>
                    <a:pt x="270" y="88"/>
                  </a:cubicBezTo>
                  <a:cubicBezTo>
                    <a:pt x="270" y="87"/>
                    <a:pt x="269" y="86"/>
                    <a:pt x="268" y="85"/>
                  </a:cubicBezTo>
                  <a:cubicBezTo>
                    <a:pt x="264" y="81"/>
                    <a:pt x="257" y="81"/>
                    <a:pt x="252" y="84"/>
                  </a:cubicBezTo>
                  <a:cubicBezTo>
                    <a:pt x="249" y="86"/>
                    <a:pt x="246" y="89"/>
                    <a:pt x="245" y="93"/>
                  </a:cubicBezTo>
                  <a:cubicBezTo>
                    <a:pt x="241" y="94"/>
                    <a:pt x="237" y="96"/>
                    <a:pt x="234" y="99"/>
                  </a:cubicBezTo>
                  <a:cubicBezTo>
                    <a:pt x="235" y="99"/>
                    <a:pt x="235" y="98"/>
                    <a:pt x="235" y="98"/>
                  </a:cubicBezTo>
                  <a:cubicBezTo>
                    <a:pt x="235" y="94"/>
                    <a:pt x="235" y="91"/>
                    <a:pt x="234" y="88"/>
                  </a:cubicBezTo>
                  <a:cubicBezTo>
                    <a:pt x="233" y="82"/>
                    <a:pt x="230" y="76"/>
                    <a:pt x="227" y="71"/>
                  </a:cubicBezTo>
                  <a:cubicBezTo>
                    <a:pt x="219" y="60"/>
                    <a:pt x="208" y="51"/>
                    <a:pt x="198" y="42"/>
                  </a:cubicBezTo>
                  <a:cubicBezTo>
                    <a:pt x="195" y="39"/>
                    <a:pt x="192" y="36"/>
                    <a:pt x="188" y="33"/>
                  </a:cubicBezTo>
                  <a:cubicBezTo>
                    <a:pt x="188" y="31"/>
                    <a:pt x="188" y="31"/>
                    <a:pt x="187" y="30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90" y="26"/>
                    <a:pt x="193" y="24"/>
                    <a:pt x="195" y="23"/>
                  </a:cubicBezTo>
                  <a:cubicBezTo>
                    <a:pt x="196" y="22"/>
                    <a:pt x="197" y="21"/>
                    <a:pt x="198" y="21"/>
                  </a:cubicBezTo>
                  <a:cubicBezTo>
                    <a:pt x="198" y="20"/>
                    <a:pt x="199" y="20"/>
                    <a:pt x="199" y="20"/>
                  </a:cubicBezTo>
                  <a:cubicBezTo>
                    <a:pt x="204" y="22"/>
                    <a:pt x="208" y="25"/>
                    <a:pt x="213" y="27"/>
                  </a:cubicBezTo>
                  <a:cubicBezTo>
                    <a:pt x="220" y="32"/>
                    <a:pt x="228" y="37"/>
                    <a:pt x="236" y="42"/>
                  </a:cubicBezTo>
                  <a:cubicBezTo>
                    <a:pt x="242" y="46"/>
                    <a:pt x="247" y="50"/>
                    <a:pt x="253" y="54"/>
                  </a:cubicBezTo>
                  <a:close/>
                  <a:moveTo>
                    <a:pt x="280" y="31"/>
                  </a:moveTo>
                  <a:cubicBezTo>
                    <a:pt x="280" y="31"/>
                    <a:pt x="280" y="31"/>
                    <a:pt x="280" y="31"/>
                  </a:cubicBezTo>
                  <a:cubicBezTo>
                    <a:pt x="280" y="31"/>
                    <a:pt x="280" y="31"/>
                    <a:pt x="280" y="31"/>
                  </a:cubicBezTo>
                  <a:cubicBezTo>
                    <a:pt x="279" y="28"/>
                    <a:pt x="276" y="27"/>
                    <a:pt x="274" y="25"/>
                  </a:cubicBezTo>
                  <a:cubicBezTo>
                    <a:pt x="271" y="23"/>
                    <a:pt x="269" y="20"/>
                    <a:pt x="267" y="18"/>
                  </a:cubicBezTo>
                  <a:cubicBezTo>
                    <a:pt x="265" y="15"/>
                    <a:pt x="263" y="13"/>
                    <a:pt x="261" y="10"/>
                  </a:cubicBezTo>
                  <a:cubicBezTo>
                    <a:pt x="260" y="9"/>
                    <a:pt x="259" y="8"/>
                    <a:pt x="259" y="6"/>
                  </a:cubicBezTo>
                  <a:cubicBezTo>
                    <a:pt x="265" y="5"/>
                    <a:pt x="270" y="5"/>
                    <a:pt x="276" y="4"/>
                  </a:cubicBezTo>
                  <a:cubicBezTo>
                    <a:pt x="284" y="12"/>
                    <a:pt x="292" y="19"/>
                    <a:pt x="299" y="27"/>
                  </a:cubicBezTo>
                  <a:cubicBezTo>
                    <a:pt x="304" y="33"/>
                    <a:pt x="309" y="38"/>
                    <a:pt x="313" y="43"/>
                  </a:cubicBezTo>
                  <a:cubicBezTo>
                    <a:pt x="315" y="45"/>
                    <a:pt x="317" y="48"/>
                    <a:pt x="319" y="51"/>
                  </a:cubicBezTo>
                  <a:cubicBezTo>
                    <a:pt x="319" y="52"/>
                    <a:pt x="319" y="52"/>
                    <a:pt x="320" y="53"/>
                  </a:cubicBezTo>
                  <a:cubicBezTo>
                    <a:pt x="319" y="53"/>
                    <a:pt x="318" y="52"/>
                    <a:pt x="317" y="52"/>
                  </a:cubicBezTo>
                  <a:cubicBezTo>
                    <a:pt x="305" y="45"/>
                    <a:pt x="292" y="39"/>
                    <a:pt x="280" y="31"/>
                  </a:cubicBezTo>
                  <a:close/>
                  <a:moveTo>
                    <a:pt x="350" y="114"/>
                  </a:moveTo>
                  <a:cubicBezTo>
                    <a:pt x="350" y="114"/>
                    <a:pt x="350" y="114"/>
                    <a:pt x="350" y="114"/>
                  </a:cubicBezTo>
                  <a:cubicBezTo>
                    <a:pt x="353" y="119"/>
                    <a:pt x="354" y="127"/>
                    <a:pt x="355" y="133"/>
                  </a:cubicBezTo>
                  <a:cubicBezTo>
                    <a:pt x="356" y="138"/>
                    <a:pt x="357" y="144"/>
                    <a:pt x="356" y="149"/>
                  </a:cubicBezTo>
                  <a:cubicBezTo>
                    <a:pt x="356" y="154"/>
                    <a:pt x="354" y="159"/>
                    <a:pt x="352" y="163"/>
                  </a:cubicBezTo>
                  <a:cubicBezTo>
                    <a:pt x="351" y="166"/>
                    <a:pt x="349" y="168"/>
                    <a:pt x="347" y="169"/>
                  </a:cubicBezTo>
                  <a:cubicBezTo>
                    <a:pt x="345" y="170"/>
                    <a:pt x="344" y="171"/>
                    <a:pt x="343" y="171"/>
                  </a:cubicBezTo>
                  <a:cubicBezTo>
                    <a:pt x="342" y="172"/>
                    <a:pt x="340" y="172"/>
                    <a:pt x="339" y="173"/>
                  </a:cubicBezTo>
                  <a:cubicBezTo>
                    <a:pt x="338" y="174"/>
                    <a:pt x="338" y="176"/>
                    <a:pt x="339" y="177"/>
                  </a:cubicBezTo>
                  <a:cubicBezTo>
                    <a:pt x="332" y="175"/>
                    <a:pt x="327" y="173"/>
                    <a:pt x="321" y="170"/>
                  </a:cubicBezTo>
                  <a:cubicBezTo>
                    <a:pt x="322" y="168"/>
                    <a:pt x="322" y="166"/>
                    <a:pt x="323" y="165"/>
                  </a:cubicBezTo>
                  <a:cubicBezTo>
                    <a:pt x="324" y="162"/>
                    <a:pt x="325" y="160"/>
                    <a:pt x="325" y="157"/>
                  </a:cubicBezTo>
                  <a:cubicBezTo>
                    <a:pt x="325" y="153"/>
                    <a:pt x="325" y="150"/>
                    <a:pt x="323" y="146"/>
                  </a:cubicBezTo>
                  <a:cubicBezTo>
                    <a:pt x="327" y="145"/>
                    <a:pt x="329" y="143"/>
                    <a:pt x="331" y="140"/>
                  </a:cubicBezTo>
                  <a:cubicBezTo>
                    <a:pt x="332" y="136"/>
                    <a:pt x="333" y="132"/>
                    <a:pt x="331" y="129"/>
                  </a:cubicBezTo>
                  <a:cubicBezTo>
                    <a:pt x="329" y="126"/>
                    <a:pt x="325" y="123"/>
                    <a:pt x="322" y="123"/>
                  </a:cubicBezTo>
                  <a:cubicBezTo>
                    <a:pt x="320" y="123"/>
                    <a:pt x="319" y="123"/>
                    <a:pt x="317" y="123"/>
                  </a:cubicBezTo>
                  <a:cubicBezTo>
                    <a:pt x="318" y="121"/>
                    <a:pt x="318" y="119"/>
                    <a:pt x="317" y="117"/>
                  </a:cubicBezTo>
                  <a:cubicBezTo>
                    <a:pt x="317" y="115"/>
                    <a:pt x="317" y="113"/>
                    <a:pt x="316" y="110"/>
                  </a:cubicBezTo>
                  <a:cubicBezTo>
                    <a:pt x="315" y="106"/>
                    <a:pt x="314" y="102"/>
                    <a:pt x="311" y="99"/>
                  </a:cubicBezTo>
                  <a:cubicBezTo>
                    <a:pt x="309" y="95"/>
                    <a:pt x="307" y="91"/>
                    <a:pt x="304" y="88"/>
                  </a:cubicBezTo>
                  <a:cubicBezTo>
                    <a:pt x="303" y="87"/>
                    <a:pt x="302" y="86"/>
                    <a:pt x="301" y="84"/>
                  </a:cubicBezTo>
                  <a:cubicBezTo>
                    <a:pt x="313" y="92"/>
                    <a:pt x="325" y="100"/>
                    <a:pt x="338" y="107"/>
                  </a:cubicBezTo>
                  <a:cubicBezTo>
                    <a:pt x="342" y="109"/>
                    <a:pt x="346" y="111"/>
                    <a:pt x="350" y="114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5" name="íšļïḍé">
              <a:extLst>
                <a:ext uri="{FF2B5EF4-FFF2-40B4-BE49-F238E27FC236}">
                  <a16:creationId xmlns:a16="http://schemas.microsoft.com/office/drawing/2014/main" id="{E9133698-BF9E-4D93-B0B3-DF4FEEC83001}"/>
                </a:ext>
              </a:extLst>
            </p:cNvPr>
            <p:cNvSpPr/>
            <p:nvPr/>
          </p:nvSpPr>
          <p:spPr bwMode="auto">
            <a:xfrm>
              <a:off x="5088079" y="2426532"/>
              <a:ext cx="594985" cy="411457"/>
            </a:xfrm>
            <a:custGeom>
              <a:avLst/>
              <a:gdLst>
                <a:gd name="T0" fmla="*/ 120 w 193"/>
                <a:gd name="T1" fmla="*/ 45 h 134"/>
                <a:gd name="T2" fmla="*/ 120 w 193"/>
                <a:gd name="T3" fmla="*/ 45 h 134"/>
                <a:gd name="T4" fmla="*/ 125 w 193"/>
                <a:gd name="T5" fmla="*/ 21 h 134"/>
                <a:gd name="T6" fmla="*/ 160 w 193"/>
                <a:gd name="T7" fmla="*/ 1 h 134"/>
                <a:gd name="T8" fmla="*/ 179 w 193"/>
                <a:gd name="T9" fmla="*/ 3 h 134"/>
                <a:gd name="T10" fmla="*/ 191 w 193"/>
                <a:gd name="T11" fmla="*/ 9 h 134"/>
                <a:gd name="T12" fmla="*/ 193 w 193"/>
                <a:gd name="T13" fmla="*/ 11 h 134"/>
                <a:gd name="T14" fmla="*/ 180 w 193"/>
                <a:gd name="T15" fmla="*/ 9 h 134"/>
                <a:gd name="T16" fmla="*/ 156 w 193"/>
                <a:gd name="T17" fmla="*/ 12 h 134"/>
                <a:gd name="T18" fmla="*/ 135 w 193"/>
                <a:gd name="T19" fmla="*/ 25 h 134"/>
                <a:gd name="T20" fmla="*/ 124 w 193"/>
                <a:gd name="T21" fmla="*/ 45 h 134"/>
                <a:gd name="T22" fmla="*/ 120 w 193"/>
                <a:gd name="T23" fmla="*/ 57 h 134"/>
                <a:gd name="T24" fmla="*/ 120 w 193"/>
                <a:gd name="T25" fmla="*/ 45 h 134"/>
                <a:gd name="T26" fmla="*/ 1 w 193"/>
                <a:gd name="T27" fmla="*/ 113 h 134"/>
                <a:gd name="T28" fmla="*/ 1 w 193"/>
                <a:gd name="T29" fmla="*/ 113 h 134"/>
                <a:gd name="T30" fmla="*/ 11 w 193"/>
                <a:gd name="T31" fmla="*/ 88 h 134"/>
                <a:gd name="T32" fmla="*/ 28 w 193"/>
                <a:gd name="T33" fmla="*/ 78 h 134"/>
                <a:gd name="T34" fmla="*/ 48 w 193"/>
                <a:gd name="T35" fmla="*/ 82 h 134"/>
                <a:gd name="T36" fmla="*/ 62 w 193"/>
                <a:gd name="T37" fmla="*/ 88 h 134"/>
                <a:gd name="T38" fmla="*/ 61 w 193"/>
                <a:gd name="T39" fmla="*/ 88 h 134"/>
                <a:gd name="T40" fmla="*/ 42 w 193"/>
                <a:gd name="T41" fmla="*/ 87 h 134"/>
                <a:gd name="T42" fmla="*/ 11 w 193"/>
                <a:gd name="T43" fmla="*/ 104 h 134"/>
                <a:gd name="T44" fmla="*/ 4 w 193"/>
                <a:gd name="T45" fmla="*/ 119 h 134"/>
                <a:gd name="T46" fmla="*/ 2 w 193"/>
                <a:gd name="T47" fmla="*/ 131 h 134"/>
                <a:gd name="T48" fmla="*/ 2 w 193"/>
                <a:gd name="T49" fmla="*/ 134 h 134"/>
                <a:gd name="T50" fmla="*/ 1 w 193"/>
                <a:gd name="T51" fmla="*/ 11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3" h="134">
                  <a:moveTo>
                    <a:pt x="120" y="45"/>
                  </a:moveTo>
                  <a:cubicBezTo>
                    <a:pt x="120" y="45"/>
                    <a:pt x="120" y="45"/>
                    <a:pt x="120" y="45"/>
                  </a:cubicBezTo>
                  <a:cubicBezTo>
                    <a:pt x="120" y="37"/>
                    <a:pt x="121" y="28"/>
                    <a:pt x="125" y="21"/>
                  </a:cubicBezTo>
                  <a:cubicBezTo>
                    <a:pt x="132" y="8"/>
                    <a:pt x="146" y="2"/>
                    <a:pt x="160" y="1"/>
                  </a:cubicBezTo>
                  <a:cubicBezTo>
                    <a:pt x="166" y="0"/>
                    <a:pt x="173" y="1"/>
                    <a:pt x="179" y="3"/>
                  </a:cubicBezTo>
                  <a:cubicBezTo>
                    <a:pt x="183" y="5"/>
                    <a:pt x="187" y="7"/>
                    <a:pt x="191" y="9"/>
                  </a:cubicBezTo>
                  <a:cubicBezTo>
                    <a:pt x="191" y="10"/>
                    <a:pt x="192" y="10"/>
                    <a:pt x="193" y="11"/>
                  </a:cubicBezTo>
                  <a:cubicBezTo>
                    <a:pt x="188" y="10"/>
                    <a:pt x="184" y="9"/>
                    <a:pt x="180" y="9"/>
                  </a:cubicBezTo>
                  <a:cubicBezTo>
                    <a:pt x="172" y="9"/>
                    <a:pt x="163" y="10"/>
                    <a:pt x="156" y="12"/>
                  </a:cubicBezTo>
                  <a:cubicBezTo>
                    <a:pt x="148" y="15"/>
                    <a:pt x="141" y="19"/>
                    <a:pt x="135" y="25"/>
                  </a:cubicBezTo>
                  <a:cubicBezTo>
                    <a:pt x="130" y="31"/>
                    <a:pt x="126" y="38"/>
                    <a:pt x="124" y="45"/>
                  </a:cubicBezTo>
                  <a:cubicBezTo>
                    <a:pt x="122" y="49"/>
                    <a:pt x="121" y="53"/>
                    <a:pt x="120" y="57"/>
                  </a:cubicBezTo>
                  <a:cubicBezTo>
                    <a:pt x="120" y="53"/>
                    <a:pt x="120" y="49"/>
                    <a:pt x="120" y="45"/>
                  </a:cubicBezTo>
                  <a:close/>
                  <a:moveTo>
                    <a:pt x="1" y="113"/>
                  </a:moveTo>
                  <a:cubicBezTo>
                    <a:pt x="1" y="113"/>
                    <a:pt x="1" y="113"/>
                    <a:pt x="1" y="113"/>
                  </a:cubicBezTo>
                  <a:cubicBezTo>
                    <a:pt x="2" y="104"/>
                    <a:pt x="5" y="95"/>
                    <a:pt x="11" y="88"/>
                  </a:cubicBezTo>
                  <a:cubicBezTo>
                    <a:pt x="15" y="82"/>
                    <a:pt x="21" y="79"/>
                    <a:pt x="28" y="78"/>
                  </a:cubicBezTo>
                  <a:cubicBezTo>
                    <a:pt x="35" y="78"/>
                    <a:pt x="42" y="79"/>
                    <a:pt x="48" y="82"/>
                  </a:cubicBezTo>
                  <a:cubicBezTo>
                    <a:pt x="53" y="83"/>
                    <a:pt x="57" y="85"/>
                    <a:pt x="62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55" y="87"/>
                    <a:pt x="48" y="87"/>
                    <a:pt x="42" y="87"/>
                  </a:cubicBezTo>
                  <a:cubicBezTo>
                    <a:pt x="30" y="88"/>
                    <a:pt x="18" y="94"/>
                    <a:pt x="11" y="104"/>
                  </a:cubicBezTo>
                  <a:cubicBezTo>
                    <a:pt x="7" y="108"/>
                    <a:pt x="5" y="114"/>
                    <a:pt x="4" y="119"/>
                  </a:cubicBezTo>
                  <a:cubicBezTo>
                    <a:pt x="3" y="123"/>
                    <a:pt x="2" y="127"/>
                    <a:pt x="2" y="131"/>
                  </a:cubicBezTo>
                  <a:cubicBezTo>
                    <a:pt x="2" y="132"/>
                    <a:pt x="2" y="133"/>
                    <a:pt x="2" y="134"/>
                  </a:cubicBezTo>
                  <a:cubicBezTo>
                    <a:pt x="0" y="127"/>
                    <a:pt x="0" y="120"/>
                    <a:pt x="1" y="113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6" name="îṧḻíḍê">
              <a:extLst>
                <a:ext uri="{FF2B5EF4-FFF2-40B4-BE49-F238E27FC236}">
                  <a16:creationId xmlns:a16="http://schemas.microsoft.com/office/drawing/2014/main" id="{4F64D896-4FB2-4805-8AF9-DEC212E64687}"/>
                </a:ext>
              </a:extLst>
            </p:cNvPr>
            <p:cNvSpPr/>
            <p:nvPr/>
          </p:nvSpPr>
          <p:spPr bwMode="auto">
            <a:xfrm>
              <a:off x="5466974" y="2475374"/>
              <a:ext cx="245690" cy="171687"/>
            </a:xfrm>
            <a:custGeom>
              <a:avLst/>
              <a:gdLst>
                <a:gd name="T0" fmla="*/ 77 w 80"/>
                <a:gd name="T1" fmla="*/ 13 h 56"/>
                <a:gd name="T2" fmla="*/ 77 w 80"/>
                <a:gd name="T3" fmla="*/ 13 h 56"/>
                <a:gd name="T4" fmla="*/ 72 w 80"/>
                <a:gd name="T5" fmla="*/ 22 h 56"/>
                <a:gd name="T6" fmla="*/ 58 w 80"/>
                <a:gd name="T7" fmla="*/ 37 h 56"/>
                <a:gd name="T8" fmla="*/ 20 w 80"/>
                <a:gd name="T9" fmla="*/ 55 h 56"/>
                <a:gd name="T10" fmla="*/ 10 w 80"/>
                <a:gd name="T11" fmla="*/ 56 h 56"/>
                <a:gd name="T12" fmla="*/ 0 w 80"/>
                <a:gd name="T13" fmla="*/ 56 h 56"/>
                <a:gd name="T14" fmla="*/ 5 w 80"/>
                <a:gd name="T15" fmla="*/ 35 h 56"/>
                <a:gd name="T16" fmla="*/ 14 w 80"/>
                <a:gd name="T17" fmla="*/ 16 h 56"/>
                <a:gd name="T18" fmla="*/ 57 w 80"/>
                <a:gd name="T19" fmla="*/ 0 h 56"/>
                <a:gd name="T20" fmla="*/ 69 w 80"/>
                <a:gd name="T21" fmla="*/ 1 h 56"/>
                <a:gd name="T22" fmla="*/ 75 w 80"/>
                <a:gd name="T23" fmla="*/ 3 h 56"/>
                <a:gd name="T24" fmla="*/ 80 w 80"/>
                <a:gd name="T25" fmla="*/ 5 h 56"/>
                <a:gd name="T26" fmla="*/ 79 w 80"/>
                <a:gd name="T27" fmla="*/ 7 h 56"/>
                <a:gd name="T28" fmla="*/ 77 w 80"/>
                <a:gd name="T29" fmla="*/ 1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6">
                  <a:moveTo>
                    <a:pt x="77" y="13"/>
                  </a:moveTo>
                  <a:cubicBezTo>
                    <a:pt x="77" y="13"/>
                    <a:pt x="77" y="13"/>
                    <a:pt x="77" y="13"/>
                  </a:cubicBezTo>
                  <a:cubicBezTo>
                    <a:pt x="76" y="16"/>
                    <a:pt x="74" y="19"/>
                    <a:pt x="72" y="22"/>
                  </a:cubicBezTo>
                  <a:cubicBezTo>
                    <a:pt x="68" y="28"/>
                    <a:pt x="64" y="33"/>
                    <a:pt x="58" y="37"/>
                  </a:cubicBezTo>
                  <a:cubicBezTo>
                    <a:pt x="47" y="47"/>
                    <a:pt x="34" y="53"/>
                    <a:pt x="20" y="55"/>
                  </a:cubicBezTo>
                  <a:cubicBezTo>
                    <a:pt x="17" y="55"/>
                    <a:pt x="14" y="55"/>
                    <a:pt x="10" y="56"/>
                  </a:cubicBezTo>
                  <a:cubicBezTo>
                    <a:pt x="7" y="56"/>
                    <a:pt x="4" y="56"/>
                    <a:pt x="0" y="56"/>
                  </a:cubicBezTo>
                  <a:cubicBezTo>
                    <a:pt x="1" y="49"/>
                    <a:pt x="3" y="42"/>
                    <a:pt x="5" y="35"/>
                  </a:cubicBezTo>
                  <a:cubicBezTo>
                    <a:pt x="7" y="28"/>
                    <a:pt x="10" y="21"/>
                    <a:pt x="14" y="16"/>
                  </a:cubicBezTo>
                  <a:cubicBezTo>
                    <a:pt x="24" y="3"/>
                    <a:pt x="41" y="0"/>
                    <a:pt x="57" y="0"/>
                  </a:cubicBezTo>
                  <a:cubicBezTo>
                    <a:pt x="61" y="0"/>
                    <a:pt x="65" y="0"/>
                    <a:pt x="69" y="1"/>
                  </a:cubicBezTo>
                  <a:cubicBezTo>
                    <a:pt x="71" y="2"/>
                    <a:pt x="73" y="2"/>
                    <a:pt x="75" y="3"/>
                  </a:cubicBezTo>
                  <a:cubicBezTo>
                    <a:pt x="77" y="4"/>
                    <a:pt x="78" y="4"/>
                    <a:pt x="80" y="5"/>
                  </a:cubicBezTo>
                  <a:cubicBezTo>
                    <a:pt x="80" y="6"/>
                    <a:pt x="79" y="7"/>
                    <a:pt x="79" y="7"/>
                  </a:cubicBezTo>
                  <a:cubicBezTo>
                    <a:pt x="78" y="9"/>
                    <a:pt x="78" y="11"/>
                    <a:pt x="77" y="13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7" name="îṩḻîḓe">
              <a:extLst>
                <a:ext uri="{FF2B5EF4-FFF2-40B4-BE49-F238E27FC236}">
                  <a16:creationId xmlns:a16="http://schemas.microsoft.com/office/drawing/2014/main" id="{0E05C843-6B56-49EC-9286-176A99967586}"/>
                </a:ext>
              </a:extLst>
            </p:cNvPr>
            <p:cNvSpPr/>
            <p:nvPr/>
          </p:nvSpPr>
          <p:spPr bwMode="auto">
            <a:xfrm>
              <a:off x="7235648" y="4466058"/>
              <a:ext cx="2960" cy="296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8" name="ïṥlîḋe">
              <a:extLst>
                <a:ext uri="{FF2B5EF4-FFF2-40B4-BE49-F238E27FC236}">
                  <a16:creationId xmlns:a16="http://schemas.microsoft.com/office/drawing/2014/main" id="{46F5E230-D0F1-4244-A2C5-860F51F2BE4F}"/>
                </a:ext>
              </a:extLst>
            </p:cNvPr>
            <p:cNvSpPr/>
            <p:nvPr/>
          </p:nvSpPr>
          <p:spPr bwMode="auto">
            <a:xfrm>
              <a:off x="6162604" y="5238650"/>
              <a:ext cx="251611" cy="69563"/>
            </a:xfrm>
            <a:custGeom>
              <a:avLst/>
              <a:gdLst>
                <a:gd name="T0" fmla="*/ 72 w 82"/>
                <a:gd name="T1" fmla="*/ 18 h 23"/>
                <a:gd name="T2" fmla="*/ 72 w 82"/>
                <a:gd name="T3" fmla="*/ 18 h 23"/>
                <a:gd name="T4" fmla="*/ 77 w 82"/>
                <a:gd name="T5" fmla="*/ 11 h 23"/>
                <a:gd name="T6" fmla="*/ 78 w 82"/>
                <a:gd name="T7" fmla="*/ 10 h 23"/>
                <a:gd name="T8" fmla="*/ 81 w 82"/>
                <a:gd name="T9" fmla="*/ 12 h 23"/>
                <a:gd name="T10" fmla="*/ 82 w 82"/>
                <a:gd name="T11" fmla="*/ 16 h 23"/>
                <a:gd name="T12" fmla="*/ 75 w 82"/>
                <a:gd name="T13" fmla="*/ 23 h 23"/>
                <a:gd name="T14" fmla="*/ 74 w 82"/>
                <a:gd name="T15" fmla="*/ 23 h 23"/>
                <a:gd name="T16" fmla="*/ 73 w 82"/>
                <a:gd name="T17" fmla="*/ 22 h 23"/>
                <a:gd name="T18" fmla="*/ 72 w 82"/>
                <a:gd name="T19" fmla="*/ 18 h 23"/>
                <a:gd name="T20" fmla="*/ 6 w 82"/>
                <a:gd name="T21" fmla="*/ 0 h 23"/>
                <a:gd name="T22" fmla="*/ 6 w 82"/>
                <a:gd name="T23" fmla="*/ 0 h 23"/>
                <a:gd name="T24" fmla="*/ 10 w 82"/>
                <a:gd name="T25" fmla="*/ 2 h 23"/>
                <a:gd name="T26" fmla="*/ 13 w 82"/>
                <a:gd name="T27" fmla="*/ 7 h 23"/>
                <a:gd name="T28" fmla="*/ 7 w 82"/>
                <a:gd name="T29" fmla="*/ 16 h 23"/>
                <a:gd name="T30" fmla="*/ 0 w 82"/>
                <a:gd name="T31" fmla="*/ 10 h 23"/>
                <a:gd name="T32" fmla="*/ 6 w 82"/>
                <a:gd name="T3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2" h="23">
                  <a:moveTo>
                    <a:pt x="72" y="18"/>
                  </a:moveTo>
                  <a:cubicBezTo>
                    <a:pt x="72" y="18"/>
                    <a:pt x="72" y="18"/>
                    <a:pt x="72" y="18"/>
                  </a:cubicBezTo>
                  <a:cubicBezTo>
                    <a:pt x="72" y="15"/>
                    <a:pt x="74" y="12"/>
                    <a:pt x="77" y="11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0"/>
                    <a:pt x="80" y="11"/>
                    <a:pt x="81" y="12"/>
                  </a:cubicBezTo>
                  <a:cubicBezTo>
                    <a:pt x="82" y="13"/>
                    <a:pt x="82" y="14"/>
                    <a:pt x="82" y="16"/>
                  </a:cubicBezTo>
                  <a:cubicBezTo>
                    <a:pt x="81" y="19"/>
                    <a:pt x="78" y="22"/>
                    <a:pt x="75" y="23"/>
                  </a:cubicBezTo>
                  <a:cubicBezTo>
                    <a:pt x="75" y="23"/>
                    <a:pt x="74" y="23"/>
                    <a:pt x="74" y="23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21"/>
                    <a:pt x="72" y="20"/>
                    <a:pt x="72" y="18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7" y="1"/>
                    <a:pt x="9" y="1"/>
                    <a:pt x="10" y="2"/>
                  </a:cubicBezTo>
                  <a:cubicBezTo>
                    <a:pt x="12" y="3"/>
                    <a:pt x="13" y="5"/>
                    <a:pt x="13" y="7"/>
                  </a:cubicBezTo>
                  <a:cubicBezTo>
                    <a:pt x="13" y="10"/>
                    <a:pt x="11" y="15"/>
                    <a:pt x="7" y="16"/>
                  </a:cubicBezTo>
                  <a:cubicBezTo>
                    <a:pt x="3" y="17"/>
                    <a:pt x="0" y="13"/>
                    <a:pt x="0" y="10"/>
                  </a:cubicBezTo>
                  <a:cubicBezTo>
                    <a:pt x="0" y="6"/>
                    <a:pt x="2" y="2"/>
                    <a:pt x="6" y="0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9" name="işḻiḑè">
              <a:extLst>
                <a:ext uri="{FF2B5EF4-FFF2-40B4-BE49-F238E27FC236}">
                  <a16:creationId xmlns:a16="http://schemas.microsoft.com/office/drawing/2014/main" id="{9AF59B7A-A06C-4D58-8BE8-45A03E072DB8}"/>
                </a:ext>
              </a:extLst>
            </p:cNvPr>
            <p:cNvSpPr/>
            <p:nvPr/>
          </p:nvSpPr>
          <p:spPr bwMode="auto">
            <a:xfrm>
              <a:off x="6233647" y="5225329"/>
              <a:ext cx="79923" cy="116925"/>
            </a:xfrm>
            <a:custGeom>
              <a:avLst/>
              <a:gdLst>
                <a:gd name="T0" fmla="*/ 4 w 26"/>
                <a:gd name="T1" fmla="*/ 19 h 38"/>
                <a:gd name="T2" fmla="*/ 4 w 26"/>
                <a:gd name="T3" fmla="*/ 19 h 38"/>
                <a:gd name="T4" fmla="*/ 9 w 26"/>
                <a:gd name="T5" fmla="*/ 8 h 38"/>
                <a:gd name="T6" fmla="*/ 13 w 26"/>
                <a:gd name="T7" fmla="*/ 2 h 38"/>
                <a:gd name="T8" fmla="*/ 21 w 26"/>
                <a:gd name="T9" fmla="*/ 1 h 38"/>
                <a:gd name="T10" fmla="*/ 25 w 26"/>
                <a:gd name="T11" fmla="*/ 7 h 38"/>
                <a:gd name="T12" fmla="*/ 24 w 26"/>
                <a:gd name="T13" fmla="*/ 22 h 38"/>
                <a:gd name="T14" fmla="*/ 17 w 26"/>
                <a:gd name="T15" fmla="*/ 36 h 38"/>
                <a:gd name="T16" fmla="*/ 12 w 26"/>
                <a:gd name="T17" fmla="*/ 38 h 38"/>
                <a:gd name="T18" fmla="*/ 12 w 26"/>
                <a:gd name="T19" fmla="*/ 38 h 38"/>
                <a:gd name="T20" fmla="*/ 12 w 26"/>
                <a:gd name="T21" fmla="*/ 38 h 38"/>
                <a:gd name="T22" fmla="*/ 11 w 26"/>
                <a:gd name="T23" fmla="*/ 38 h 38"/>
                <a:gd name="T24" fmla="*/ 10 w 26"/>
                <a:gd name="T25" fmla="*/ 38 h 38"/>
                <a:gd name="T26" fmla="*/ 10 w 26"/>
                <a:gd name="T27" fmla="*/ 38 h 38"/>
                <a:gd name="T28" fmla="*/ 10 w 26"/>
                <a:gd name="T29" fmla="*/ 38 h 38"/>
                <a:gd name="T30" fmla="*/ 6 w 26"/>
                <a:gd name="T31" fmla="*/ 37 h 38"/>
                <a:gd name="T32" fmla="*/ 4 w 26"/>
                <a:gd name="T33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38">
                  <a:moveTo>
                    <a:pt x="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6" y="15"/>
                    <a:pt x="7" y="12"/>
                    <a:pt x="9" y="8"/>
                  </a:cubicBezTo>
                  <a:cubicBezTo>
                    <a:pt x="11" y="6"/>
                    <a:pt x="12" y="4"/>
                    <a:pt x="13" y="2"/>
                  </a:cubicBezTo>
                  <a:cubicBezTo>
                    <a:pt x="15" y="1"/>
                    <a:pt x="18" y="0"/>
                    <a:pt x="21" y="1"/>
                  </a:cubicBezTo>
                  <a:cubicBezTo>
                    <a:pt x="24" y="2"/>
                    <a:pt x="25" y="4"/>
                    <a:pt x="25" y="7"/>
                  </a:cubicBezTo>
                  <a:cubicBezTo>
                    <a:pt x="26" y="11"/>
                    <a:pt x="26" y="17"/>
                    <a:pt x="24" y="22"/>
                  </a:cubicBezTo>
                  <a:cubicBezTo>
                    <a:pt x="23" y="27"/>
                    <a:pt x="20" y="32"/>
                    <a:pt x="17" y="36"/>
                  </a:cubicBezTo>
                  <a:cubicBezTo>
                    <a:pt x="15" y="37"/>
                    <a:pt x="14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1" y="38"/>
                    <a:pt x="11" y="38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9" y="38"/>
                    <a:pt x="7" y="38"/>
                    <a:pt x="6" y="37"/>
                  </a:cubicBezTo>
                  <a:cubicBezTo>
                    <a:pt x="0" y="34"/>
                    <a:pt x="3" y="24"/>
                    <a:pt x="4" y="19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0" name="îšľîdè">
              <a:extLst>
                <a:ext uri="{FF2B5EF4-FFF2-40B4-BE49-F238E27FC236}">
                  <a16:creationId xmlns:a16="http://schemas.microsoft.com/office/drawing/2014/main" id="{C6A83184-9AD0-4DDC-981C-A67BA1177F6A}"/>
                </a:ext>
              </a:extLst>
            </p:cNvPr>
            <p:cNvSpPr/>
            <p:nvPr/>
          </p:nvSpPr>
          <p:spPr bwMode="auto">
            <a:xfrm>
              <a:off x="5709705" y="5139486"/>
              <a:ext cx="119886" cy="111005"/>
            </a:xfrm>
            <a:custGeom>
              <a:avLst/>
              <a:gdLst>
                <a:gd name="T0" fmla="*/ 8 w 39"/>
                <a:gd name="T1" fmla="*/ 4 h 36"/>
                <a:gd name="T2" fmla="*/ 8 w 39"/>
                <a:gd name="T3" fmla="*/ 4 h 36"/>
                <a:gd name="T4" fmla="*/ 19 w 39"/>
                <a:gd name="T5" fmla="*/ 0 h 36"/>
                <a:gd name="T6" fmla="*/ 25 w 39"/>
                <a:gd name="T7" fmla="*/ 0 h 36"/>
                <a:gd name="T8" fmla="*/ 29 w 39"/>
                <a:gd name="T9" fmla="*/ 2 h 36"/>
                <a:gd name="T10" fmla="*/ 35 w 39"/>
                <a:gd name="T11" fmla="*/ 7 h 36"/>
                <a:gd name="T12" fmla="*/ 35 w 39"/>
                <a:gd name="T13" fmla="*/ 7 h 36"/>
                <a:gd name="T14" fmla="*/ 36 w 39"/>
                <a:gd name="T15" fmla="*/ 7 h 36"/>
                <a:gd name="T16" fmla="*/ 36 w 39"/>
                <a:gd name="T17" fmla="*/ 8 h 36"/>
                <a:gd name="T18" fmla="*/ 37 w 39"/>
                <a:gd name="T19" fmla="*/ 9 h 36"/>
                <a:gd name="T20" fmla="*/ 37 w 39"/>
                <a:gd name="T21" fmla="*/ 10 h 36"/>
                <a:gd name="T22" fmla="*/ 38 w 39"/>
                <a:gd name="T23" fmla="*/ 10 h 36"/>
                <a:gd name="T24" fmla="*/ 38 w 39"/>
                <a:gd name="T25" fmla="*/ 11 h 36"/>
                <a:gd name="T26" fmla="*/ 38 w 39"/>
                <a:gd name="T27" fmla="*/ 13 h 36"/>
                <a:gd name="T28" fmla="*/ 39 w 39"/>
                <a:gd name="T29" fmla="*/ 15 h 36"/>
                <a:gd name="T30" fmla="*/ 39 w 39"/>
                <a:gd name="T31" fmla="*/ 15 h 36"/>
                <a:gd name="T32" fmla="*/ 39 w 39"/>
                <a:gd name="T33" fmla="*/ 15 h 36"/>
                <a:gd name="T34" fmla="*/ 39 w 39"/>
                <a:gd name="T35" fmla="*/ 16 h 36"/>
                <a:gd name="T36" fmla="*/ 39 w 39"/>
                <a:gd name="T37" fmla="*/ 18 h 36"/>
                <a:gd name="T38" fmla="*/ 39 w 39"/>
                <a:gd name="T39" fmla="*/ 19 h 36"/>
                <a:gd name="T40" fmla="*/ 39 w 39"/>
                <a:gd name="T41" fmla="*/ 20 h 36"/>
                <a:gd name="T42" fmla="*/ 39 w 39"/>
                <a:gd name="T43" fmla="*/ 20 h 36"/>
                <a:gd name="T44" fmla="*/ 31 w 39"/>
                <a:gd name="T45" fmla="*/ 31 h 36"/>
                <a:gd name="T46" fmla="*/ 7 w 39"/>
                <a:gd name="T47" fmla="*/ 28 h 36"/>
                <a:gd name="T48" fmla="*/ 1 w 39"/>
                <a:gd name="T49" fmla="*/ 16 h 36"/>
                <a:gd name="T50" fmla="*/ 2 w 39"/>
                <a:gd name="T51" fmla="*/ 8 h 36"/>
                <a:gd name="T52" fmla="*/ 8 w 39"/>
                <a:gd name="T53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9" h="36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2"/>
                    <a:pt x="15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ubicBezTo>
                    <a:pt x="27" y="1"/>
                    <a:pt x="28" y="1"/>
                    <a:pt x="29" y="2"/>
                  </a:cubicBezTo>
                  <a:cubicBezTo>
                    <a:pt x="32" y="3"/>
                    <a:pt x="34" y="4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6" y="7"/>
                  </a:cubicBezTo>
                  <a:cubicBezTo>
                    <a:pt x="36" y="7"/>
                    <a:pt x="36" y="8"/>
                    <a:pt x="36" y="8"/>
                  </a:cubicBezTo>
                  <a:cubicBezTo>
                    <a:pt x="36" y="8"/>
                    <a:pt x="37" y="9"/>
                    <a:pt x="37" y="9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8" y="10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2"/>
                    <a:pt x="38" y="13"/>
                  </a:cubicBezTo>
                  <a:cubicBezTo>
                    <a:pt x="38" y="13"/>
                    <a:pt x="39" y="14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6"/>
                  </a:cubicBezTo>
                  <a:cubicBezTo>
                    <a:pt x="39" y="16"/>
                    <a:pt x="39" y="17"/>
                    <a:pt x="39" y="18"/>
                  </a:cubicBezTo>
                  <a:cubicBezTo>
                    <a:pt x="39" y="18"/>
                    <a:pt x="39" y="18"/>
                    <a:pt x="39" y="19"/>
                  </a:cubicBezTo>
                  <a:cubicBezTo>
                    <a:pt x="39" y="19"/>
                    <a:pt x="39" y="19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5"/>
                    <a:pt x="35" y="29"/>
                    <a:pt x="31" y="31"/>
                  </a:cubicBezTo>
                  <a:cubicBezTo>
                    <a:pt x="23" y="36"/>
                    <a:pt x="13" y="35"/>
                    <a:pt x="7" y="28"/>
                  </a:cubicBezTo>
                  <a:cubicBezTo>
                    <a:pt x="4" y="25"/>
                    <a:pt x="1" y="21"/>
                    <a:pt x="1" y="16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4" y="7"/>
                    <a:pt x="6" y="5"/>
                    <a:pt x="8" y="4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1" name="íšlïḑê">
              <a:extLst>
                <a:ext uri="{FF2B5EF4-FFF2-40B4-BE49-F238E27FC236}">
                  <a16:creationId xmlns:a16="http://schemas.microsoft.com/office/drawing/2014/main" id="{658F1152-84B2-42F6-A17B-5D36335292B1}"/>
                </a:ext>
              </a:extLst>
            </p:cNvPr>
            <p:cNvSpPr/>
            <p:nvPr/>
          </p:nvSpPr>
          <p:spPr bwMode="auto">
            <a:xfrm>
              <a:off x="5688983" y="2835029"/>
              <a:ext cx="39962" cy="42922"/>
            </a:xfrm>
            <a:custGeom>
              <a:avLst/>
              <a:gdLst>
                <a:gd name="T0" fmla="*/ 13 w 13"/>
                <a:gd name="T1" fmla="*/ 4 h 14"/>
                <a:gd name="T2" fmla="*/ 13 w 13"/>
                <a:gd name="T3" fmla="*/ 4 h 14"/>
                <a:gd name="T4" fmla="*/ 13 w 13"/>
                <a:gd name="T5" fmla="*/ 4 h 14"/>
                <a:gd name="T6" fmla="*/ 13 w 13"/>
                <a:gd name="T7" fmla="*/ 5 h 14"/>
                <a:gd name="T8" fmla="*/ 12 w 13"/>
                <a:gd name="T9" fmla="*/ 6 h 14"/>
                <a:gd name="T10" fmla="*/ 12 w 13"/>
                <a:gd name="T11" fmla="*/ 7 h 14"/>
                <a:gd name="T12" fmla="*/ 12 w 13"/>
                <a:gd name="T13" fmla="*/ 7 h 14"/>
                <a:gd name="T14" fmla="*/ 12 w 13"/>
                <a:gd name="T15" fmla="*/ 8 h 14"/>
                <a:gd name="T16" fmla="*/ 11 w 13"/>
                <a:gd name="T17" fmla="*/ 10 h 14"/>
                <a:gd name="T18" fmla="*/ 10 w 13"/>
                <a:gd name="T19" fmla="*/ 11 h 14"/>
                <a:gd name="T20" fmla="*/ 9 w 13"/>
                <a:gd name="T21" fmla="*/ 11 h 14"/>
                <a:gd name="T22" fmla="*/ 9 w 13"/>
                <a:gd name="T23" fmla="*/ 12 h 14"/>
                <a:gd name="T24" fmla="*/ 8 w 13"/>
                <a:gd name="T25" fmla="*/ 13 h 14"/>
                <a:gd name="T26" fmla="*/ 8 w 13"/>
                <a:gd name="T27" fmla="*/ 13 h 14"/>
                <a:gd name="T28" fmla="*/ 7 w 13"/>
                <a:gd name="T29" fmla="*/ 13 h 14"/>
                <a:gd name="T30" fmla="*/ 7 w 13"/>
                <a:gd name="T31" fmla="*/ 13 h 14"/>
                <a:gd name="T32" fmla="*/ 7 w 13"/>
                <a:gd name="T33" fmla="*/ 13 h 14"/>
                <a:gd name="T34" fmla="*/ 6 w 13"/>
                <a:gd name="T35" fmla="*/ 14 h 14"/>
                <a:gd name="T36" fmla="*/ 6 w 13"/>
                <a:gd name="T37" fmla="*/ 14 h 14"/>
                <a:gd name="T38" fmla="*/ 5 w 13"/>
                <a:gd name="T39" fmla="*/ 13 h 14"/>
                <a:gd name="T40" fmla="*/ 5 w 13"/>
                <a:gd name="T41" fmla="*/ 13 h 14"/>
                <a:gd name="T42" fmla="*/ 5 w 13"/>
                <a:gd name="T43" fmla="*/ 13 h 14"/>
                <a:gd name="T44" fmla="*/ 4 w 13"/>
                <a:gd name="T45" fmla="*/ 13 h 14"/>
                <a:gd name="T46" fmla="*/ 4 w 13"/>
                <a:gd name="T47" fmla="*/ 12 h 14"/>
                <a:gd name="T48" fmla="*/ 2 w 13"/>
                <a:gd name="T49" fmla="*/ 10 h 14"/>
                <a:gd name="T50" fmla="*/ 2 w 13"/>
                <a:gd name="T51" fmla="*/ 2 h 14"/>
                <a:gd name="T52" fmla="*/ 3 w 13"/>
                <a:gd name="T53" fmla="*/ 2 h 14"/>
                <a:gd name="T54" fmla="*/ 5 w 13"/>
                <a:gd name="T55" fmla="*/ 1 h 14"/>
                <a:gd name="T56" fmla="*/ 9 w 13"/>
                <a:gd name="T57" fmla="*/ 0 h 14"/>
                <a:gd name="T58" fmla="*/ 9 w 13"/>
                <a:gd name="T59" fmla="*/ 0 h 14"/>
                <a:gd name="T60" fmla="*/ 9 w 13"/>
                <a:gd name="T61" fmla="*/ 0 h 14"/>
                <a:gd name="T62" fmla="*/ 10 w 13"/>
                <a:gd name="T63" fmla="*/ 0 h 14"/>
                <a:gd name="T64" fmla="*/ 11 w 13"/>
                <a:gd name="T65" fmla="*/ 0 h 14"/>
                <a:gd name="T66" fmla="*/ 12 w 13"/>
                <a:gd name="T67" fmla="*/ 0 h 14"/>
                <a:gd name="T68" fmla="*/ 12 w 13"/>
                <a:gd name="T69" fmla="*/ 1 h 14"/>
                <a:gd name="T70" fmla="*/ 12 w 13"/>
                <a:gd name="T71" fmla="*/ 1 h 14"/>
                <a:gd name="T72" fmla="*/ 13 w 13"/>
                <a:gd name="T73" fmla="*/ 1 h 14"/>
                <a:gd name="T74" fmla="*/ 13 w 13"/>
                <a:gd name="T75" fmla="*/ 1 h 14"/>
                <a:gd name="T76" fmla="*/ 13 w 13"/>
                <a:gd name="T77" fmla="*/ 2 h 14"/>
                <a:gd name="T78" fmla="*/ 13 w 13"/>
                <a:gd name="T79" fmla="*/ 2 h 14"/>
                <a:gd name="T80" fmla="*/ 13 w 13"/>
                <a:gd name="T81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" h="14">
                  <a:moveTo>
                    <a:pt x="13" y="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5"/>
                  </a:cubicBezTo>
                  <a:cubicBezTo>
                    <a:pt x="13" y="5"/>
                    <a:pt x="13" y="6"/>
                    <a:pt x="12" y="6"/>
                  </a:cubicBezTo>
                  <a:cubicBezTo>
                    <a:pt x="12" y="6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8"/>
                    <a:pt x="12" y="8"/>
                  </a:cubicBezTo>
                  <a:cubicBezTo>
                    <a:pt x="11" y="8"/>
                    <a:pt x="11" y="9"/>
                    <a:pt x="11" y="10"/>
                  </a:cubicBezTo>
                  <a:cubicBezTo>
                    <a:pt x="10" y="10"/>
                    <a:pt x="10" y="11"/>
                    <a:pt x="10" y="11"/>
                  </a:cubicBezTo>
                  <a:cubicBezTo>
                    <a:pt x="10" y="11"/>
                    <a:pt x="10" y="11"/>
                    <a:pt x="9" y="11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2"/>
                    <a:pt x="8" y="12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6" y="13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5" y="13"/>
                    <a:pt x="4" y="12"/>
                    <a:pt x="4" y="12"/>
                  </a:cubicBezTo>
                  <a:cubicBezTo>
                    <a:pt x="3" y="12"/>
                    <a:pt x="2" y="11"/>
                    <a:pt x="2" y="10"/>
                  </a:cubicBezTo>
                  <a:cubicBezTo>
                    <a:pt x="0" y="7"/>
                    <a:pt x="1" y="5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4" y="2"/>
                    <a:pt x="5" y="2"/>
                    <a:pt x="5" y="1"/>
                  </a:cubicBezTo>
                  <a:cubicBezTo>
                    <a:pt x="7" y="1"/>
                    <a:pt x="8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3"/>
                    <a:pt x="13" y="4"/>
                    <a:pt x="13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2" name="ïŝḻîdè">
              <a:extLst>
                <a:ext uri="{FF2B5EF4-FFF2-40B4-BE49-F238E27FC236}">
                  <a16:creationId xmlns:a16="http://schemas.microsoft.com/office/drawing/2014/main" id="{64BD86DA-5726-4E39-9175-521129EBADD1}"/>
                </a:ext>
              </a:extLst>
            </p:cNvPr>
            <p:cNvSpPr/>
            <p:nvPr/>
          </p:nvSpPr>
          <p:spPr bwMode="auto">
            <a:xfrm>
              <a:off x="5672703" y="2812828"/>
              <a:ext cx="76963" cy="87324"/>
            </a:xfrm>
            <a:custGeom>
              <a:avLst/>
              <a:gdLst>
                <a:gd name="T0" fmla="*/ 16 w 25"/>
                <a:gd name="T1" fmla="*/ 2 h 28"/>
                <a:gd name="T2" fmla="*/ 12 w 25"/>
                <a:gd name="T3" fmla="*/ 2 h 28"/>
                <a:gd name="T4" fmla="*/ 9 w 25"/>
                <a:gd name="T5" fmla="*/ 0 h 28"/>
                <a:gd name="T6" fmla="*/ 1 w 25"/>
                <a:gd name="T7" fmla="*/ 10 h 28"/>
                <a:gd name="T8" fmla="*/ 4 w 25"/>
                <a:gd name="T9" fmla="*/ 22 h 28"/>
                <a:gd name="T10" fmla="*/ 15 w 25"/>
                <a:gd name="T11" fmla="*/ 25 h 28"/>
                <a:gd name="T12" fmla="*/ 23 w 25"/>
                <a:gd name="T13" fmla="*/ 7 h 28"/>
                <a:gd name="T14" fmla="*/ 16 w 25"/>
                <a:gd name="T15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8">
                  <a:moveTo>
                    <a:pt x="16" y="2"/>
                  </a:moveTo>
                  <a:cubicBezTo>
                    <a:pt x="15" y="1"/>
                    <a:pt x="13" y="2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5" y="3"/>
                    <a:pt x="2" y="6"/>
                    <a:pt x="1" y="10"/>
                  </a:cubicBezTo>
                  <a:cubicBezTo>
                    <a:pt x="0" y="14"/>
                    <a:pt x="1" y="19"/>
                    <a:pt x="4" y="22"/>
                  </a:cubicBezTo>
                  <a:cubicBezTo>
                    <a:pt x="7" y="26"/>
                    <a:pt x="11" y="28"/>
                    <a:pt x="15" y="25"/>
                  </a:cubicBezTo>
                  <a:cubicBezTo>
                    <a:pt x="21" y="22"/>
                    <a:pt x="25" y="13"/>
                    <a:pt x="23" y="7"/>
                  </a:cubicBezTo>
                  <a:cubicBezTo>
                    <a:pt x="22" y="4"/>
                    <a:pt x="19" y="2"/>
                    <a:pt x="16" y="2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3" name="iṧļîďé">
              <a:extLst>
                <a:ext uri="{FF2B5EF4-FFF2-40B4-BE49-F238E27FC236}">
                  <a16:creationId xmlns:a16="http://schemas.microsoft.com/office/drawing/2014/main" id="{4B3706DC-C1D9-44B5-85E9-AB380BCF3962}"/>
                </a:ext>
              </a:extLst>
            </p:cNvPr>
            <p:cNvSpPr/>
            <p:nvPr/>
          </p:nvSpPr>
          <p:spPr bwMode="auto">
            <a:xfrm>
              <a:off x="4771344" y="4884915"/>
              <a:ext cx="42922" cy="31082"/>
            </a:xfrm>
            <a:custGeom>
              <a:avLst/>
              <a:gdLst>
                <a:gd name="T0" fmla="*/ 11 w 14"/>
                <a:gd name="T1" fmla="*/ 1 h 10"/>
                <a:gd name="T2" fmla="*/ 11 w 14"/>
                <a:gd name="T3" fmla="*/ 1 h 10"/>
                <a:gd name="T4" fmla="*/ 11 w 14"/>
                <a:gd name="T5" fmla="*/ 1 h 10"/>
                <a:gd name="T6" fmla="*/ 11 w 14"/>
                <a:gd name="T7" fmla="*/ 1 h 10"/>
                <a:gd name="T8" fmla="*/ 12 w 14"/>
                <a:gd name="T9" fmla="*/ 1 h 10"/>
                <a:gd name="T10" fmla="*/ 12 w 14"/>
                <a:gd name="T11" fmla="*/ 1 h 10"/>
                <a:gd name="T12" fmla="*/ 12 w 14"/>
                <a:gd name="T13" fmla="*/ 1 h 10"/>
                <a:gd name="T14" fmla="*/ 12 w 14"/>
                <a:gd name="T15" fmla="*/ 1 h 10"/>
                <a:gd name="T16" fmla="*/ 13 w 14"/>
                <a:gd name="T17" fmla="*/ 2 h 10"/>
                <a:gd name="T18" fmla="*/ 13 w 14"/>
                <a:gd name="T19" fmla="*/ 2 h 10"/>
                <a:gd name="T20" fmla="*/ 13 w 14"/>
                <a:gd name="T21" fmla="*/ 2 h 10"/>
                <a:gd name="T22" fmla="*/ 14 w 14"/>
                <a:gd name="T23" fmla="*/ 3 h 10"/>
                <a:gd name="T24" fmla="*/ 14 w 14"/>
                <a:gd name="T25" fmla="*/ 3 h 10"/>
                <a:gd name="T26" fmla="*/ 14 w 14"/>
                <a:gd name="T27" fmla="*/ 3 h 10"/>
                <a:gd name="T28" fmla="*/ 14 w 14"/>
                <a:gd name="T29" fmla="*/ 4 h 10"/>
                <a:gd name="T30" fmla="*/ 14 w 14"/>
                <a:gd name="T31" fmla="*/ 4 h 10"/>
                <a:gd name="T32" fmla="*/ 14 w 14"/>
                <a:gd name="T33" fmla="*/ 4 h 10"/>
                <a:gd name="T34" fmla="*/ 14 w 14"/>
                <a:gd name="T35" fmla="*/ 5 h 10"/>
                <a:gd name="T36" fmla="*/ 14 w 14"/>
                <a:gd name="T37" fmla="*/ 5 h 10"/>
                <a:gd name="T38" fmla="*/ 14 w 14"/>
                <a:gd name="T39" fmla="*/ 5 h 10"/>
                <a:gd name="T40" fmla="*/ 14 w 14"/>
                <a:gd name="T41" fmla="*/ 6 h 10"/>
                <a:gd name="T42" fmla="*/ 14 w 14"/>
                <a:gd name="T43" fmla="*/ 6 h 10"/>
                <a:gd name="T44" fmla="*/ 14 w 14"/>
                <a:gd name="T45" fmla="*/ 6 h 10"/>
                <a:gd name="T46" fmla="*/ 13 w 14"/>
                <a:gd name="T47" fmla="*/ 6 h 10"/>
                <a:gd name="T48" fmla="*/ 13 w 14"/>
                <a:gd name="T49" fmla="*/ 7 h 10"/>
                <a:gd name="T50" fmla="*/ 13 w 14"/>
                <a:gd name="T51" fmla="*/ 7 h 10"/>
                <a:gd name="T52" fmla="*/ 13 w 14"/>
                <a:gd name="T53" fmla="*/ 7 h 10"/>
                <a:gd name="T54" fmla="*/ 12 w 14"/>
                <a:gd name="T55" fmla="*/ 8 h 10"/>
                <a:gd name="T56" fmla="*/ 11 w 14"/>
                <a:gd name="T57" fmla="*/ 9 h 10"/>
                <a:gd name="T58" fmla="*/ 11 w 14"/>
                <a:gd name="T59" fmla="*/ 9 h 10"/>
                <a:gd name="T60" fmla="*/ 8 w 14"/>
                <a:gd name="T61" fmla="*/ 10 h 10"/>
                <a:gd name="T62" fmla="*/ 0 w 14"/>
                <a:gd name="T63" fmla="*/ 10 h 10"/>
                <a:gd name="T64" fmla="*/ 0 w 14"/>
                <a:gd name="T65" fmla="*/ 5 h 10"/>
                <a:gd name="T66" fmla="*/ 0 w 14"/>
                <a:gd name="T67" fmla="*/ 4 h 10"/>
                <a:gd name="T68" fmla="*/ 0 w 14"/>
                <a:gd name="T69" fmla="*/ 4 h 10"/>
                <a:gd name="T70" fmla="*/ 7 w 14"/>
                <a:gd name="T71" fmla="*/ 0 h 10"/>
                <a:gd name="T72" fmla="*/ 11 w 14"/>
                <a:gd name="T73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" h="10"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3" y="6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8"/>
                    <a:pt x="12" y="8"/>
                  </a:cubicBezTo>
                  <a:cubicBezTo>
                    <a:pt x="12" y="8"/>
                    <a:pt x="12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10"/>
                    <a:pt x="9" y="10"/>
                    <a:pt x="8" y="10"/>
                  </a:cubicBezTo>
                  <a:cubicBezTo>
                    <a:pt x="5" y="10"/>
                    <a:pt x="3" y="10"/>
                    <a:pt x="0" y="10"/>
                  </a:cubicBezTo>
                  <a:cubicBezTo>
                    <a:pt x="0" y="8"/>
                    <a:pt x="0" y="7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1"/>
                    <a:pt x="7" y="0"/>
                  </a:cubicBezTo>
                  <a:cubicBezTo>
                    <a:pt x="8" y="0"/>
                    <a:pt x="10" y="0"/>
                    <a:pt x="11" y="1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4" name="íšļíḓè">
              <a:extLst>
                <a:ext uri="{FF2B5EF4-FFF2-40B4-BE49-F238E27FC236}">
                  <a16:creationId xmlns:a16="http://schemas.microsoft.com/office/drawing/2014/main" id="{9CBFEC35-69F6-46C4-A824-C8402FF40798}"/>
                </a:ext>
              </a:extLst>
            </p:cNvPr>
            <p:cNvSpPr/>
            <p:nvPr/>
          </p:nvSpPr>
          <p:spPr bwMode="auto">
            <a:xfrm>
              <a:off x="5341169" y="2576018"/>
              <a:ext cx="51803" cy="76963"/>
            </a:xfrm>
            <a:custGeom>
              <a:avLst/>
              <a:gdLst>
                <a:gd name="T0" fmla="*/ 17 w 17"/>
                <a:gd name="T1" fmla="*/ 19 h 25"/>
                <a:gd name="T2" fmla="*/ 17 w 17"/>
                <a:gd name="T3" fmla="*/ 19 h 25"/>
                <a:gd name="T4" fmla="*/ 7 w 17"/>
                <a:gd name="T5" fmla="*/ 22 h 25"/>
                <a:gd name="T6" fmla="*/ 0 w 17"/>
                <a:gd name="T7" fmla="*/ 7 h 25"/>
                <a:gd name="T8" fmla="*/ 0 w 17"/>
                <a:gd name="T9" fmla="*/ 6 h 25"/>
                <a:gd name="T10" fmla="*/ 2 w 17"/>
                <a:gd name="T11" fmla="*/ 4 h 25"/>
                <a:gd name="T12" fmla="*/ 2 w 17"/>
                <a:gd name="T13" fmla="*/ 1 h 25"/>
                <a:gd name="T14" fmla="*/ 6 w 17"/>
                <a:gd name="T15" fmla="*/ 1 h 25"/>
                <a:gd name="T16" fmla="*/ 11 w 17"/>
                <a:gd name="T17" fmla="*/ 4 h 25"/>
                <a:gd name="T18" fmla="*/ 17 w 17"/>
                <a:gd name="T19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5">
                  <a:moveTo>
                    <a:pt x="17" y="19"/>
                  </a:moveTo>
                  <a:cubicBezTo>
                    <a:pt x="17" y="19"/>
                    <a:pt x="17" y="19"/>
                    <a:pt x="17" y="19"/>
                  </a:cubicBezTo>
                  <a:cubicBezTo>
                    <a:pt x="16" y="23"/>
                    <a:pt x="10" y="25"/>
                    <a:pt x="7" y="22"/>
                  </a:cubicBezTo>
                  <a:cubicBezTo>
                    <a:pt x="3" y="19"/>
                    <a:pt x="1" y="12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2" y="5"/>
                    <a:pt x="2" y="4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8" y="1"/>
                    <a:pt x="9" y="2"/>
                    <a:pt x="11" y="4"/>
                  </a:cubicBezTo>
                  <a:cubicBezTo>
                    <a:pt x="15" y="8"/>
                    <a:pt x="17" y="14"/>
                    <a:pt x="17" y="19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5" name="îś1îḑé">
              <a:extLst>
                <a:ext uri="{FF2B5EF4-FFF2-40B4-BE49-F238E27FC236}">
                  <a16:creationId xmlns:a16="http://schemas.microsoft.com/office/drawing/2014/main" id="{A8C9E492-46F1-4B30-A1AD-258E24FF49B0}"/>
                </a:ext>
              </a:extLst>
            </p:cNvPr>
            <p:cNvSpPr/>
            <p:nvPr/>
          </p:nvSpPr>
          <p:spPr bwMode="auto">
            <a:xfrm>
              <a:off x="5110279" y="2709223"/>
              <a:ext cx="211649" cy="150966"/>
            </a:xfrm>
            <a:custGeom>
              <a:avLst/>
              <a:gdLst>
                <a:gd name="T0" fmla="*/ 59 w 69"/>
                <a:gd name="T1" fmla="*/ 19 h 49"/>
                <a:gd name="T2" fmla="*/ 59 w 69"/>
                <a:gd name="T3" fmla="*/ 19 h 49"/>
                <a:gd name="T4" fmla="*/ 52 w 69"/>
                <a:gd name="T5" fmla="*/ 27 h 49"/>
                <a:gd name="T6" fmla="*/ 44 w 69"/>
                <a:gd name="T7" fmla="*/ 35 h 49"/>
                <a:gd name="T8" fmla="*/ 23 w 69"/>
                <a:gd name="T9" fmla="*/ 45 h 49"/>
                <a:gd name="T10" fmla="*/ 11 w 69"/>
                <a:gd name="T11" fmla="*/ 48 h 49"/>
                <a:gd name="T12" fmla="*/ 4 w 69"/>
                <a:gd name="T13" fmla="*/ 49 h 49"/>
                <a:gd name="T14" fmla="*/ 0 w 69"/>
                <a:gd name="T15" fmla="*/ 49 h 49"/>
                <a:gd name="T16" fmla="*/ 1 w 69"/>
                <a:gd name="T17" fmla="*/ 44 h 49"/>
                <a:gd name="T18" fmla="*/ 1 w 69"/>
                <a:gd name="T19" fmla="*/ 36 h 49"/>
                <a:gd name="T20" fmla="*/ 4 w 69"/>
                <a:gd name="T21" fmla="*/ 23 h 49"/>
                <a:gd name="T22" fmla="*/ 14 w 69"/>
                <a:gd name="T23" fmla="*/ 9 h 49"/>
                <a:gd name="T24" fmla="*/ 48 w 69"/>
                <a:gd name="T25" fmla="*/ 0 h 49"/>
                <a:gd name="T26" fmla="*/ 63 w 69"/>
                <a:gd name="T27" fmla="*/ 1 h 49"/>
                <a:gd name="T28" fmla="*/ 65 w 69"/>
                <a:gd name="T29" fmla="*/ 2 h 49"/>
                <a:gd name="T30" fmla="*/ 69 w 69"/>
                <a:gd name="T31" fmla="*/ 4 h 49"/>
                <a:gd name="T32" fmla="*/ 69 w 69"/>
                <a:gd name="T33" fmla="*/ 4 h 49"/>
                <a:gd name="T34" fmla="*/ 66 w 69"/>
                <a:gd name="T35" fmla="*/ 10 h 49"/>
                <a:gd name="T36" fmla="*/ 59 w 69"/>
                <a:gd name="T37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9" h="49">
                  <a:moveTo>
                    <a:pt x="59" y="19"/>
                  </a:moveTo>
                  <a:cubicBezTo>
                    <a:pt x="59" y="19"/>
                    <a:pt x="59" y="19"/>
                    <a:pt x="59" y="19"/>
                  </a:cubicBezTo>
                  <a:cubicBezTo>
                    <a:pt x="57" y="22"/>
                    <a:pt x="55" y="25"/>
                    <a:pt x="52" y="27"/>
                  </a:cubicBezTo>
                  <a:cubicBezTo>
                    <a:pt x="49" y="30"/>
                    <a:pt x="47" y="33"/>
                    <a:pt x="44" y="35"/>
                  </a:cubicBezTo>
                  <a:cubicBezTo>
                    <a:pt x="38" y="39"/>
                    <a:pt x="30" y="43"/>
                    <a:pt x="23" y="45"/>
                  </a:cubicBezTo>
                  <a:cubicBezTo>
                    <a:pt x="19" y="47"/>
                    <a:pt x="15" y="48"/>
                    <a:pt x="11" y="48"/>
                  </a:cubicBezTo>
                  <a:cubicBezTo>
                    <a:pt x="9" y="48"/>
                    <a:pt x="7" y="49"/>
                    <a:pt x="4" y="49"/>
                  </a:cubicBezTo>
                  <a:cubicBezTo>
                    <a:pt x="3" y="49"/>
                    <a:pt x="1" y="49"/>
                    <a:pt x="0" y="49"/>
                  </a:cubicBezTo>
                  <a:cubicBezTo>
                    <a:pt x="1" y="48"/>
                    <a:pt x="1" y="46"/>
                    <a:pt x="1" y="44"/>
                  </a:cubicBezTo>
                  <a:cubicBezTo>
                    <a:pt x="1" y="41"/>
                    <a:pt x="1" y="38"/>
                    <a:pt x="1" y="36"/>
                  </a:cubicBezTo>
                  <a:cubicBezTo>
                    <a:pt x="2" y="31"/>
                    <a:pt x="3" y="27"/>
                    <a:pt x="4" y="23"/>
                  </a:cubicBezTo>
                  <a:cubicBezTo>
                    <a:pt x="6" y="17"/>
                    <a:pt x="9" y="12"/>
                    <a:pt x="14" y="9"/>
                  </a:cubicBezTo>
                  <a:cubicBezTo>
                    <a:pt x="24" y="1"/>
                    <a:pt x="36" y="0"/>
                    <a:pt x="48" y="0"/>
                  </a:cubicBezTo>
                  <a:cubicBezTo>
                    <a:pt x="53" y="0"/>
                    <a:pt x="58" y="1"/>
                    <a:pt x="63" y="1"/>
                  </a:cubicBezTo>
                  <a:cubicBezTo>
                    <a:pt x="64" y="2"/>
                    <a:pt x="64" y="2"/>
                    <a:pt x="65" y="2"/>
                  </a:cubicBezTo>
                  <a:cubicBezTo>
                    <a:pt x="66" y="3"/>
                    <a:pt x="67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8" y="6"/>
                    <a:pt x="68" y="8"/>
                    <a:pt x="66" y="10"/>
                  </a:cubicBezTo>
                  <a:cubicBezTo>
                    <a:pt x="64" y="13"/>
                    <a:pt x="62" y="16"/>
                    <a:pt x="59" y="19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6" name="íṧlíḋê">
              <a:extLst>
                <a:ext uri="{FF2B5EF4-FFF2-40B4-BE49-F238E27FC236}">
                  <a16:creationId xmlns:a16="http://schemas.microsoft.com/office/drawing/2014/main" id="{997D8910-114D-4F79-AAD6-6FBD95904D5B}"/>
                </a:ext>
              </a:extLst>
            </p:cNvPr>
            <p:cNvSpPr/>
            <p:nvPr/>
          </p:nvSpPr>
          <p:spPr bwMode="auto">
            <a:xfrm>
              <a:off x="6008676" y="1418609"/>
              <a:ext cx="79923" cy="94724"/>
            </a:xfrm>
            <a:custGeom>
              <a:avLst/>
              <a:gdLst>
                <a:gd name="T0" fmla="*/ 5 w 26"/>
                <a:gd name="T1" fmla="*/ 11 h 31"/>
                <a:gd name="T2" fmla="*/ 5 w 26"/>
                <a:gd name="T3" fmla="*/ 9 h 31"/>
                <a:gd name="T4" fmla="*/ 8 w 26"/>
                <a:gd name="T5" fmla="*/ 6 h 31"/>
                <a:gd name="T6" fmla="*/ 8 w 26"/>
                <a:gd name="T7" fmla="*/ 6 h 31"/>
                <a:gd name="T8" fmla="*/ 8 w 26"/>
                <a:gd name="T9" fmla="*/ 2 h 31"/>
                <a:gd name="T10" fmla="*/ 20 w 26"/>
                <a:gd name="T11" fmla="*/ 6 h 31"/>
                <a:gd name="T12" fmla="*/ 24 w 26"/>
                <a:gd name="T13" fmla="*/ 21 h 31"/>
                <a:gd name="T14" fmla="*/ 11 w 26"/>
                <a:gd name="T15" fmla="*/ 30 h 31"/>
                <a:gd name="T16" fmla="*/ 3 w 26"/>
                <a:gd name="T17" fmla="*/ 28 h 31"/>
                <a:gd name="T18" fmla="*/ 1 w 26"/>
                <a:gd name="T19" fmla="*/ 21 h 31"/>
                <a:gd name="T20" fmla="*/ 5 w 26"/>
                <a:gd name="T21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1">
                  <a:moveTo>
                    <a:pt x="5" y="11"/>
                  </a:moveTo>
                  <a:cubicBezTo>
                    <a:pt x="5" y="10"/>
                    <a:pt x="5" y="9"/>
                    <a:pt x="5" y="9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7" y="3"/>
                    <a:pt x="8" y="2"/>
                  </a:cubicBezTo>
                  <a:cubicBezTo>
                    <a:pt x="12" y="0"/>
                    <a:pt x="17" y="3"/>
                    <a:pt x="20" y="6"/>
                  </a:cubicBezTo>
                  <a:cubicBezTo>
                    <a:pt x="24" y="10"/>
                    <a:pt x="26" y="16"/>
                    <a:pt x="24" y="21"/>
                  </a:cubicBezTo>
                  <a:cubicBezTo>
                    <a:pt x="22" y="27"/>
                    <a:pt x="17" y="30"/>
                    <a:pt x="11" y="30"/>
                  </a:cubicBezTo>
                  <a:cubicBezTo>
                    <a:pt x="8" y="30"/>
                    <a:pt x="5" y="31"/>
                    <a:pt x="3" y="28"/>
                  </a:cubicBezTo>
                  <a:cubicBezTo>
                    <a:pt x="1" y="26"/>
                    <a:pt x="0" y="23"/>
                    <a:pt x="1" y="21"/>
                  </a:cubicBezTo>
                  <a:cubicBezTo>
                    <a:pt x="1" y="18"/>
                    <a:pt x="3" y="14"/>
                    <a:pt x="5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7" name="ï$1íďé">
              <a:extLst>
                <a:ext uri="{FF2B5EF4-FFF2-40B4-BE49-F238E27FC236}">
                  <a16:creationId xmlns:a16="http://schemas.microsoft.com/office/drawing/2014/main" id="{629D54BB-B12E-4BA0-94EF-15AA373C2236}"/>
                </a:ext>
              </a:extLst>
            </p:cNvPr>
            <p:cNvSpPr/>
            <p:nvPr/>
          </p:nvSpPr>
          <p:spPr bwMode="auto">
            <a:xfrm>
              <a:off x="3918828" y="2726984"/>
              <a:ext cx="65123" cy="119886"/>
            </a:xfrm>
            <a:custGeom>
              <a:avLst/>
              <a:gdLst>
                <a:gd name="T0" fmla="*/ 5 w 21"/>
                <a:gd name="T1" fmla="*/ 28 h 39"/>
                <a:gd name="T2" fmla="*/ 5 w 21"/>
                <a:gd name="T3" fmla="*/ 28 h 39"/>
                <a:gd name="T4" fmla="*/ 0 w 21"/>
                <a:gd name="T5" fmla="*/ 24 h 39"/>
                <a:gd name="T6" fmla="*/ 12 w 21"/>
                <a:gd name="T7" fmla="*/ 0 h 39"/>
                <a:gd name="T8" fmla="*/ 16 w 21"/>
                <a:gd name="T9" fmla="*/ 20 h 39"/>
                <a:gd name="T10" fmla="*/ 20 w 21"/>
                <a:gd name="T11" fmla="*/ 36 h 39"/>
                <a:gd name="T12" fmla="*/ 21 w 21"/>
                <a:gd name="T13" fmla="*/ 39 h 39"/>
                <a:gd name="T14" fmla="*/ 13 w 21"/>
                <a:gd name="T15" fmla="*/ 33 h 39"/>
                <a:gd name="T16" fmla="*/ 5 w 21"/>
                <a:gd name="T17" fmla="*/ 2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39">
                  <a:moveTo>
                    <a:pt x="5" y="28"/>
                  </a:moveTo>
                  <a:cubicBezTo>
                    <a:pt x="5" y="28"/>
                    <a:pt x="5" y="28"/>
                    <a:pt x="5" y="28"/>
                  </a:cubicBezTo>
                  <a:cubicBezTo>
                    <a:pt x="3" y="26"/>
                    <a:pt x="1" y="25"/>
                    <a:pt x="0" y="24"/>
                  </a:cubicBezTo>
                  <a:cubicBezTo>
                    <a:pt x="4" y="16"/>
                    <a:pt x="7" y="7"/>
                    <a:pt x="12" y="0"/>
                  </a:cubicBezTo>
                  <a:cubicBezTo>
                    <a:pt x="13" y="7"/>
                    <a:pt x="14" y="14"/>
                    <a:pt x="16" y="20"/>
                  </a:cubicBezTo>
                  <a:cubicBezTo>
                    <a:pt x="17" y="26"/>
                    <a:pt x="18" y="31"/>
                    <a:pt x="20" y="36"/>
                  </a:cubicBezTo>
                  <a:cubicBezTo>
                    <a:pt x="20" y="37"/>
                    <a:pt x="21" y="38"/>
                    <a:pt x="21" y="39"/>
                  </a:cubicBezTo>
                  <a:cubicBezTo>
                    <a:pt x="18" y="37"/>
                    <a:pt x="16" y="35"/>
                    <a:pt x="13" y="33"/>
                  </a:cubicBezTo>
                  <a:cubicBezTo>
                    <a:pt x="10" y="31"/>
                    <a:pt x="8" y="29"/>
                    <a:pt x="5" y="28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8" name="iṥḷíḋê">
              <a:extLst>
                <a:ext uri="{FF2B5EF4-FFF2-40B4-BE49-F238E27FC236}">
                  <a16:creationId xmlns:a16="http://schemas.microsoft.com/office/drawing/2014/main" id="{6A8B7A41-1D50-4AAA-BB12-CA3C875D66F1}"/>
                </a:ext>
              </a:extLst>
            </p:cNvPr>
            <p:cNvSpPr/>
            <p:nvPr/>
          </p:nvSpPr>
          <p:spPr bwMode="auto">
            <a:xfrm>
              <a:off x="3618376" y="3480336"/>
              <a:ext cx="57723" cy="51803"/>
            </a:xfrm>
            <a:custGeom>
              <a:avLst/>
              <a:gdLst>
                <a:gd name="T0" fmla="*/ 2 w 19"/>
                <a:gd name="T1" fmla="*/ 5 h 17"/>
                <a:gd name="T2" fmla="*/ 2 w 19"/>
                <a:gd name="T3" fmla="*/ 5 h 17"/>
                <a:gd name="T4" fmla="*/ 1 w 19"/>
                <a:gd name="T5" fmla="*/ 7 h 17"/>
                <a:gd name="T6" fmla="*/ 1 w 19"/>
                <a:gd name="T7" fmla="*/ 12 h 17"/>
                <a:gd name="T8" fmla="*/ 15 w 19"/>
                <a:gd name="T9" fmla="*/ 16 h 17"/>
                <a:gd name="T10" fmla="*/ 17 w 19"/>
                <a:gd name="T11" fmla="*/ 14 h 17"/>
                <a:gd name="T12" fmla="*/ 19 w 19"/>
                <a:gd name="T13" fmla="*/ 6 h 17"/>
                <a:gd name="T14" fmla="*/ 19 w 19"/>
                <a:gd name="T15" fmla="*/ 4 h 17"/>
                <a:gd name="T16" fmla="*/ 13 w 19"/>
                <a:gd name="T17" fmla="*/ 1 h 17"/>
                <a:gd name="T18" fmla="*/ 7 w 19"/>
                <a:gd name="T19" fmla="*/ 0 h 17"/>
                <a:gd name="T20" fmla="*/ 6 w 19"/>
                <a:gd name="T21" fmla="*/ 2 h 17"/>
                <a:gd name="T22" fmla="*/ 14 w 19"/>
                <a:gd name="T23" fmla="*/ 7 h 17"/>
                <a:gd name="T24" fmla="*/ 13 w 19"/>
                <a:gd name="T25" fmla="*/ 12 h 17"/>
                <a:gd name="T26" fmla="*/ 6 w 19"/>
                <a:gd name="T27" fmla="*/ 11 h 17"/>
                <a:gd name="T28" fmla="*/ 5 w 19"/>
                <a:gd name="T29" fmla="*/ 11 h 17"/>
                <a:gd name="T30" fmla="*/ 4 w 19"/>
                <a:gd name="T31" fmla="*/ 11 h 17"/>
                <a:gd name="T32" fmla="*/ 4 w 19"/>
                <a:gd name="T33" fmla="*/ 11 h 17"/>
                <a:gd name="T34" fmla="*/ 4 w 19"/>
                <a:gd name="T35" fmla="*/ 11 h 17"/>
                <a:gd name="T36" fmla="*/ 4 w 19"/>
                <a:gd name="T37" fmla="*/ 10 h 17"/>
                <a:gd name="T38" fmla="*/ 4 w 19"/>
                <a:gd name="T39" fmla="*/ 9 h 17"/>
                <a:gd name="T40" fmla="*/ 5 w 19"/>
                <a:gd name="T41" fmla="*/ 7 h 17"/>
                <a:gd name="T42" fmla="*/ 5 w 19"/>
                <a:gd name="T43" fmla="*/ 3 h 17"/>
                <a:gd name="T44" fmla="*/ 2 w 19"/>
                <a:gd name="T45" fmla="*/ 4 h 17"/>
                <a:gd name="T46" fmla="*/ 2 w 19"/>
                <a:gd name="T47" fmla="*/ 5 h 17"/>
                <a:gd name="T48" fmla="*/ 2 w 19"/>
                <a:gd name="T49" fmla="*/ 5 h 17"/>
                <a:gd name="T50" fmla="*/ 2 w 19"/>
                <a:gd name="T5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" h="17"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1" y="7"/>
                    <a:pt x="1" y="7"/>
                  </a:cubicBezTo>
                  <a:cubicBezTo>
                    <a:pt x="1" y="9"/>
                    <a:pt x="0" y="10"/>
                    <a:pt x="1" y="12"/>
                  </a:cubicBezTo>
                  <a:cubicBezTo>
                    <a:pt x="2" y="17"/>
                    <a:pt x="11" y="16"/>
                    <a:pt x="15" y="16"/>
                  </a:cubicBezTo>
                  <a:cubicBezTo>
                    <a:pt x="16" y="16"/>
                    <a:pt x="17" y="15"/>
                    <a:pt x="17" y="14"/>
                  </a:cubicBezTo>
                  <a:cubicBezTo>
                    <a:pt x="17" y="11"/>
                    <a:pt x="18" y="8"/>
                    <a:pt x="19" y="6"/>
                  </a:cubicBezTo>
                  <a:cubicBezTo>
                    <a:pt x="19" y="5"/>
                    <a:pt x="19" y="5"/>
                    <a:pt x="19" y="4"/>
                  </a:cubicBezTo>
                  <a:cubicBezTo>
                    <a:pt x="17" y="3"/>
                    <a:pt x="15" y="2"/>
                    <a:pt x="13" y="1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6" y="6"/>
                    <a:pt x="11" y="5"/>
                    <a:pt x="14" y="7"/>
                  </a:cubicBezTo>
                  <a:cubicBezTo>
                    <a:pt x="14" y="8"/>
                    <a:pt x="13" y="10"/>
                    <a:pt x="13" y="12"/>
                  </a:cubicBezTo>
                  <a:cubicBezTo>
                    <a:pt x="11" y="12"/>
                    <a:pt x="8" y="12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8"/>
                    <a:pt x="5" y="8"/>
                    <a:pt x="5" y="7"/>
                  </a:cubicBezTo>
                  <a:cubicBezTo>
                    <a:pt x="5" y="6"/>
                    <a:pt x="5" y="4"/>
                    <a:pt x="5" y="3"/>
                  </a:cubicBezTo>
                  <a:cubicBezTo>
                    <a:pt x="4" y="1"/>
                    <a:pt x="1" y="2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9" name="ïšḻïḋè">
              <a:extLst>
                <a:ext uri="{FF2B5EF4-FFF2-40B4-BE49-F238E27FC236}">
                  <a16:creationId xmlns:a16="http://schemas.microsoft.com/office/drawing/2014/main" id="{F89CF776-550C-4275-BE6F-27E0600A4532}"/>
                </a:ext>
              </a:extLst>
            </p:cNvPr>
            <p:cNvSpPr/>
            <p:nvPr/>
          </p:nvSpPr>
          <p:spPr bwMode="auto">
            <a:xfrm>
              <a:off x="3374165" y="3465536"/>
              <a:ext cx="130245" cy="131726"/>
            </a:xfrm>
            <a:custGeom>
              <a:avLst/>
              <a:gdLst>
                <a:gd name="T0" fmla="*/ 42 w 42"/>
                <a:gd name="T1" fmla="*/ 27 h 43"/>
                <a:gd name="T2" fmla="*/ 42 w 42"/>
                <a:gd name="T3" fmla="*/ 27 h 43"/>
                <a:gd name="T4" fmla="*/ 42 w 42"/>
                <a:gd name="T5" fmla="*/ 28 h 43"/>
                <a:gd name="T6" fmla="*/ 41 w 42"/>
                <a:gd name="T7" fmla="*/ 29 h 43"/>
                <a:gd name="T8" fmla="*/ 41 w 42"/>
                <a:gd name="T9" fmla="*/ 30 h 43"/>
                <a:gd name="T10" fmla="*/ 40 w 42"/>
                <a:gd name="T11" fmla="*/ 32 h 43"/>
                <a:gd name="T12" fmla="*/ 37 w 42"/>
                <a:gd name="T13" fmla="*/ 36 h 43"/>
                <a:gd name="T14" fmla="*/ 25 w 42"/>
                <a:gd name="T15" fmla="*/ 42 h 43"/>
                <a:gd name="T16" fmla="*/ 9 w 42"/>
                <a:gd name="T17" fmla="*/ 41 h 43"/>
                <a:gd name="T18" fmla="*/ 1 w 42"/>
                <a:gd name="T19" fmla="*/ 23 h 43"/>
                <a:gd name="T20" fmla="*/ 20 w 42"/>
                <a:gd name="T21" fmla="*/ 8 h 43"/>
                <a:gd name="T22" fmla="*/ 20 w 42"/>
                <a:gd name="T23" fmla="*/ 5 h 43"/>
                <a:gd name="T24" fmla="*/ 11 w 42"/>
                <a:gd name="T25" fmla="*/ 7 h 43"/>
                <a:gd name="T26" fmla="*/ 13 w 42"/>
                <a:gd name="T27" fmla="*/ 6 h 43"/>
                <a:gd name="T28" fmla="*/ 18 w 42"/>
                <a:gd name="T29" fmla="*/ 2 h 43"/>
                <a:gd name="T30" fmla="*/ 20 w 42"/>
                <a:gd name="T31" fmla="*/ 1 h 43"/>
                <a:gd name="T32" fmla="*/ 21 w 42"/>
                <a:gd name="T33" fmla="*/ 0 h 43"/>
                <a:gd name="T34" fmla="*/ 22 w 42"/>
                <a:gd name="T35" fmla="*/ 0 h 43"/>
                <a:gd name="T36" fmla="*/ 22 w 42"/>
                <a:gd name="T37" fmla="*/ 0 h 43"/>
                <a:gd name="T38" fmla="*/ 25 w 42"/>
                <a:gd name="T39" fmla="*/ 0 h 43"/>
                <a:gd name="T40" fmla="*/ 25 w 42"/>
                <a:gd name="T41" fmla="*/ 0 h 43"/>
                <a:gd name="T42" fmla="*/ 26 w 42"/>
                <a:gd name="T43" fmla="*/ 0 h 43"/>
                <a:gd name="T44" fmla="*/ 27 w 42"/>
                <a:gd name="T45" fmla="*/ 1 h 43"/>
                <a:gd name="T46" fmla="*/ 28 w 42"/>
                <a:gd name="T47" fmla="*/ 1 h 43"/>
                <a:gd name="T48" fmla="*/ 29 w 42"/>
                <a:gd name="T49" fmla="*/ 1 h 43"/>
                <a:gd name="T50" fmla="*/ 29 w 42"/>
                <a:gd name="T51" fmla="*/ 1 h 43"/>
                <a:gd name="T52" fmla="*/ 31 w 42"/>
                <a:gd name="T53" fmla="*/ 3 h 43"/>
                <a:gd name="T54" fmla="*/ 35 w 42"/>
                <a:gd name="T55" fmla="*/ 7 h 43"/>
                <a:gd name="T56" fmla="*/ 38 w 42"/>
                <a:gd name="T57" fmla="*/ 11 h 43"/>
                <a:gd name="T58" fmla="*/ 39 w 42"/>
                <a:gd name="T59" fmla="*/ 14 h 43"/>
                <a:gd name="T60" fmla="*/ 40 w 42"/>
                <a:gd name="T61" fmla="*/ 16 h 43"/>
                <a:gd name="T62" fmla="*/ 42 w 42"/>
                <a:gd name="T63" fmla="*/ 2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" h="43">
                  <a:moveTo>
                    <a:pt x="42" y="27"/>
                  </a:moveTo>
                  <a:cubicBezTo>
                    <a:pt x="42" y="27"/>
                    <a:pt x="42" y="27"/>
                    <a:pt x="42" y="27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1" y="29"/>
                    <a:pt x="41" y="29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1"/>
                    <a:pt x="41" y="31"/>
                    <a:pt x="40" y="32"/>
                  </a:cubicBezTo>
                  <a:cubicBezTo>
                    <a:pt x="40" y="34"/>
                    <a:pt x="39" y="35"/>
                    <a:pt x="37" y="36"/>
                  </a:cubicBezTo>
                  <a:cubicBezTo>
                    <a:pt x="34" y="40"/>
                    <a:pt x="30" y="41"/>
                    <a:pt x="25" y="42"/>
                  </a:cubicBezTo>
                  <a:cubicBezTo>
                    <a:pt x="20" y="43"/>
                    <a:pt x="14" y="43"/>
                    <a:pt x="9" y="41"/>
                  </a:cubicBezTo>
                  <a:cubicBezTo>
                    <a:pt x="2" y="37"/>
                    <a:pt x="0" y="30"/>
                    <a:pt x="1" y="23"/>
                  </a:cubicBezTo>
                  <a:cubicBezTo>
                    <a:pt x="4" y="14"/>
                    <a:pt x="12" y="9"/>
                    <a:pt x="20" y="8"/>
                  </a:cubicBezTo>
                  <a:cubicBezTo>
                    <a:pt x="22" y="8"/>
                    <a:pt x="21" y="5"/>
                    <a:pt x="20" y="5"/>
                  </a:cubicBezTo>
                  <a:cubicBezTo>
                    <a:pt x="17" y="6"/>
                    <a:pt x="14" y="6"/>
                    <a:pt x="11" y="7"/>
                  </a:cubicBezTo>
                  <a:cubicBezTo>
                    <a:pt x="12" y="7"/>
                    <a:pt x="12" y="6"/>
                    <a:pt x="13" y="6"/>
                  </a:cubicBezTo>
                  <a:cubicBezTo>
                    <a:pt x="15" y="4"/>
                    <a:pt x="16" y="3"/>
                    <a:pt x="18" y="2"/>
                  </a:cubicBezTo>
                  <a:cubicBezTo>
                    <a:pt x="19" y="1"/>
                    <a:pt x="19" y="1"/>
                    <a:pt x="20" y="1"/>
                  </a:cubicBezTo>
                  <a:cubicBezTo>
                    <a:pt x="20" y="1"/>
                    <a:pt x="21" y="1"/>
                    <a:pt x="21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6" y="0"/>
                  </a:cubicBezTo>
                  <a:cubicBezTo>
                    <a:pt x="26" y="1"/>
                    <a:pt x="27" y="1"/>
                    <a:pt x="27" y="1"/>
                  </a:cubicBezTo>
                  <a:cubicBezTo>
                    <a:pt x="27" y="1"/>
                    <a:pt x="28" y="1"/>
                    <a:pt x="28" y="1"/>
                  </a:cubicBezTo>
                  <a:cubicBezTo>
                    <a:pt x="28" y="1"/>
                    <a:pt x="28" y="1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2"/>
                    <a:pt x="30" y="3"/>
                    <a:pt x="31" y="3"/>
                  </a:cubicBezTo>
                  <a:cubicBezTo>
                    <a:pt x="32" y="4"/>
                    <a:pt x="33" y="5"/>
                    <a:pt x="35" y="7"/>
                  </a:cubicBezTo>
                  <a:cubicBezTo>
                    <a:pt x="36" y="8"/>
                    <a:pt x="37" y="9"/>
                    <a:pt x="38" y="11"/>
                  </a:cubicBezTo>
                  <a:cubicBezTo>
                    <a:pt x="39" y="12"/>
                    <a:pt x="39" y="13"/>
                    <a:pt x="39" y="14"/>
                  </a:cubicBezTo>
                  <a:cubicBezTo>
                    <a:pt x="40" y="15"/>
                    <a:pt x="40" y="15"/>
                    <a:pt x="40" y="16"/>
                  </a:cubicBezTo>
                  <a:cubicBezTo>
                    <a:pt x="42" y="20"/>
                    <a:pt x="42" y="23"/>
                    <a:pt x="42" y="27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0" name="ïşlïdè">
              <a:extLst>
                <a:ext uri="{FF2B5EF4-FFF2-40B4-BE49-F238E27FC236}">
                  <a16:creationId xmlns:a16="http://schemas.microsoft.com/office/drawing/2014/main" id="{6D339B65-2C28-4CDD-980B-B61DA80E7DED}"/>
                </a:ext>
              </a:extLst>
            </p:cNvPr>
            <p:cNvSpPr/>
            <p:nvPr/>
          </p:nvSpPr>
          <p:spPr bwMode="auto">
            <a:xfrm>
              <a:off x="3362325" y="3443334"/>
              <a:ext cx="159847" cy="168727"/>
            </a:xfrm>
            <a:custGeom>
              <a:avLst/>
              <a:gdLst>
                <a:gd name="T0" fmla="*/ 36 w 52"/>
                <a:gd name="T1" fmla="*/ 4 h 55"/>
                <a:gd name="T2" fmla="*/ 14 w 52"/>
                <a:gd name="T3" fmla="*/ 8 h 55"/>
                <a:gd name="T4" fmla="*/ 11 w 52"/>
                <a:gd name="T5" fmla="*/ 12 h 55"/>
                <a:gd name="T6" fmla="*/ 9 w 52"/>
                <a:gd name="T7" fmla="*/ 17 h 55"/>
                <a:gd name="T8" fmla="*/ 9 w 52"/>
                <a:gd name="T9" fmla="*/ 18 h 55"/>
                <a:gd name="T10" fmla="*/ 1 w 52"/>
                <a:gd name="T11" fmla="*/ 30 h 55"/>
                <a:gd name="T12" fmla="*/ 2 w 52"/>
                <a:gd name="T13" fmla="*/ 44 h 55"/>
                <a:gd name="T14" fmla="*/ 12 w 52"/>
                <a:gd name="T15" fmla="*/ 53 h 55"/>
                <a:gd name="T16" fmla="*/ 31 w 52"/>
                <a:gd name="T17" fmla="*/ 54 h 55"/>
                <a:gd name="T18" fmla="*/ 44 w 52"/>
                <a:gd name="T19" fmla="*/ 47 h 55"/>
                <a:gd name="T20" fmla="*/ 50 w 52"/>
                <a:gd name="T21" fmla="*/ 24 h 55"/>
                <a:gd name="T22" fmla="*/ 36 w 52"/>
                <a:gd name="T23" fmla="*/ 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55">
                  <a:moveTo>
                    <a:pt x="36" y="4"/>
                  </a:moveTo>
                  <a:cubicBezTo>
                    <a:pt x="29" y="0"/>
                    <a:pt x="20" y="2"/>
                    <a:pt x="14" y="8"/>
                  </a:cubicBezTo>
                  <a:cubicBezTo>
                    <a:pt x="13" y="10"/>
                    <a:pt x="12" y="11"/>
                    <a:pt x="11" y="12"/>
                  </a:cubicBezTo>
                  <a:cubicBezTo>
                    <a:pt x="10" y="14"/>
                    <a:pt x="9" y="15"/>
                    <a:pt x="9" y="17"/>
                  </a:cubicBezTo>
                  <a:cubicBezTo>
                    <a:pt x="9" y="17"/>
                    <a:pt x="9" y="18"/>
                    <a:pt x="9" y="18"/>
                  </a:cubicBezTo>
                  <a:cubicBezTo>
                    <a:pt x="5" y="21"/>
                    <a:pt x="2" y="25"/>
                    <a:pt x="1" y="30"/>
                  </a:cubicBezTo>
                  <a:cubicBezTo>
                    <a:pt x="0" y="34"/>
                    <a:pt x="0" y="39"/>
                    <a:pt x="2" y="44"/>
                  </a:cubicBezTo>
                  <a:cubicBezTo>
                    <a:pt x="4" y="48"/>
                    <a:pt x="8" y="51"/>
                    <a:pt x="12" y="53"/>
                  </a:cubicBezTo>
                  <a:cubicBezTo>
                    <a:pt x="18" y="55"/>
                    <a:pt x="25" y="55"/>
                    <a:pt x="31" y="54"/>
                  </a:cubicBezTo>
                  <a:cubicBezTo>
                    <a:pt x="36" y="53"/>
                    <a:pt x="40" y="51"/>
                    <a:pt x="44" y="47"/>
                  </a:cubicBezTo>
                  <a:cubicBezTo>
                    <a:pt x="51" y="42"/>
                    <a:pt x="52" y="32"/>
                    <a:pt x="50" y="24"/>
                  </a:cubicBezTo>
                  <a:cubicBezTo>
                    <a:pt x="48" y="16"/>
                    <a:pt x="43" y="8"/>
                    <a:pt x="36" y="4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1" name="îś1íḋè">
              <a:extLst>
                <a:ext uri="{FF2B5EF4-FFF2-40B4-BE49-F238E27FC236}">
                  <a16:creationId xmlns:a16="http://schemas.microsoft.com/office/drawing/2014/main" id="{DFE13212-EFE6-42F2-BBF7-3F78CD409F98}"/>
                </a:ext>
              </a:extLst>
            </p:cNvPr>
            <p:cNvSpPr/>
            <p:nvPr/>
          </p:nvSpPr>
          <p:spPr bwMode="auto">
            <a:xfrm>
              <a:off x="3918828" y="4645145"/>
              <a:ext cx="39962" cy="42922"/>
            </a:xfrm>
            <a:custGeom>
              <a:avLst/>
              <a:gdLst>
                <a:gd name="T0" fmla="*/ 13 w 13"/>
                <a:gd name="T1" fmla="*/ 6 h 14"/>
                <a:gd name="T2" fmla="*/ 13 w 13"/>
                <a:gd name="T3" fmla="*/ 6 h 14"/>
                <a:gd name="T4" fmla="*/ 13 w 13"/>
                <a:gd name="T5" fmla="*/ 7 h 14"/>
                <a:gd name="T6" fmla="*/ 12 w 13"/>
                <a:gd name="T7" fmla="*/ 8 h 14"/>
                <a:gd name="T8" fmla="*/ 12 w 13"/>
                <a:gd name="T9" fmla="*/ 9 h 14"/>
                <a:gd name="T10" fmla="*/ 11 w 13"/>
                <a:gd name="T11" fmla="*/ 11 h 14"/>
                <a:gd name="T12" fmla="*/ 11 w 13"/>
                <a:gd name="T13" fmla="*/ 11 h 14"/>
                <a:gd name="T14" fmla="*/ 11 w 13"/>
                <a:gd name="T15" fmla="*/ 11 h 14"/>
                <a:gd name="T16" fmla="*/ 11 w 13"/>
                <a:gd name="T17" fmla="*/ 11 h 14"/>
                <a:gd name="T18" fmla="*/ 10 w 13"/>
                <a:gd name="T19" fmla="*/ 12 h 14"/>
                <a:gd name="T20" fmla="*/ 9 w 13"/>
                <a:gd name="T21" fmla="*/ 13 h 14"/>
                <a:gd name="T22" fmla="*/ 9 w 13"/>
                <a:gd name="T23" fmla="*/ 13 h 14"/>
                <a:gd name="T24" fmla="*/ 9 w 13"/>
                <a:gd name="T25" fmla="*/ 13 h 14"/>
                <a:gd name="T26" fmla="*/ 8 w 13"/>
                <a:gd name="T27" fmla="*/ 14 h 14"/>
                <a:gd name="T28" fmla="*/ 7 w 13"/>
                <a:gd name="T29" fmla="*/ 14 h 14"/>
                <a:gd name="T30" fmla="*/ 7 w 13"/>
                <a:gd name="T31" fmla="*/ 14 h 14"/>
                <a:gd name="T32" fmla="*/ 6 w 13"/>
                <a:gd name="T33" fmla="*/ 14 h 14"/>
                <a:gd name="T34" fmla="*/ 5 w 13"/>
                <a:gd name="T35" fmla="*/ 14 h 14"/>
                <a:gd name="T36" fmla="*/ 4 w 13"/>
                <a:gd name="T37" fmla="*/ 14 h 14"/>
                <a:gd name="T38" fmla="*/ 3 w 13"/>
                <a:gd name="T39" fmla="*/ 13 h 14"/>
                <a:gd name="T40" fmla="*/ 3 w 13"/>
                <a:gd name="T41" fmla="*/ 13 h 14"/>
                <a:gd name="T42" fmla="*/ 3 w 13"/>
                <a:gd name="T43" fmla="*/ 13 h 14"/>
                <a:gd name="T44" fmla="*/ 3 w 13"/>
                <a:gd name="T45" fmla="*/ 13 h 14"/>
                <a:gd name="T46" fmla="*/ 1 w 13"/>
                <a:gd name="T47" fmla="*/ 10 h 14"/>
                <a:gd name="T48" fmla="*/ 2 w 13"/>
                <a:gd name="T49" fmla="*/ 2 h 14"/>
                <a:gd name="T50" fmla="*/ 7 w 13"/>
                <a:gd name="T51" fmla="*/ 0 h 14"/>
                <a:gd name="T52" fmla="*/ 7 w 13"/>
                <a:gd name="T53" fmla="*/ 2 h 14"/>
                <a:gd name="T54" fmla="*/ 11 w 13"/>
                <a:gd name="T55" fmla="*/ 3 h 14"/>
                <a:gd name="T56" fmla="*/ 12 w 13"/>
                <a:gd name="T57" fmla="*/ 4 h 14"/>
                <a:gd name="T58" fmla="*/ 13 w 13"/>
                <a:gd name="T59" fmla="*/ 4 h 14"/>
                <a:gd name="T60" fmla="*/ 13 w 13"/>
                <a:gd name="T61" fmla="*/ 4 h 14"/>
                <a:gd name="T62" fmla="*/ 13 w 13"/>
                <a:gd name="T63" fmla="*/ 4 h 14"/>
                <a:gd name="T64" fmla="*/ 13 w 13"/>
                <a:gd name="T65" fmla="*/ 5 h 14"/>
                <a:gd name="T66" fmla="*/ 13 w 13"/>
                <a:gd name="T67" fmla="*/ 5 h 14"/>
                <a:gd name="T68" fmla="*/ 13 w 13"/>
                <a:gd name="T69" fmla="*/ 5 h 14"/>
                <a:gd name="T70" fmla="*/ 13 w 13"/>
                <a:gd name="T7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" h="14">
                  <a:moveTo>
                    <a:pt x="13" y="6"/>
                  </a:moveTo>
                  <a:cubicBezTo>
                    <a:pt x="13" y="6"/>
                    <a:pt x="13" y="6"/>
                    <a:pt x="13" y="6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3" y="8"/>
                    <a:pt x="12" y="8"/>
                  </a:cubicBezTo>
                  <a:cubicBezTo>
                    <a:pt x="13" y="8"/>
                    <a:pt x="12" y="9"/>
                    <a:pt x="12" y="9"/>
                  </a:cubicBezTo>
                  <a:cubicBezTo>
                    <a:pt x="12" y="10"/>
                    <a:pt x="11" y="1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2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8" y="13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5" y="14"/>
                    <a:pt x="4" y="14"/>
                  </a:cubicBezTo>
                  <a:cubicBezTo>
                    <a:pt x="4" y="14"/>
                    <a:pt x="4" y="14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2"/>
                    <a:pt x="1" y="11"/>
                    <a:pt x="1" y="10"/>
                  </a:cubicBezTo>
                  <a:cubicBezTo>
                    <a:pt x="0" y="7"/>
                    <a:pt x="1" y="4"/>
                    <a:pt x="2" y="2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8" y="3"/>
                    <a:pt x="10" y="3"/>
                    <a:pt x="11" y="3"/>
                  </a:cubicBezTo>
                  <a:cubicBezTo>
                    <a:pt x="11" y="3"/>
                    <a:pt x="12" y="4"/>
                    <a:pt x="12" y="4"/>
                  </a:cubicBezTo>
                  <a:cubicBezTo>
                    <a:pt x="11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6"/>
                    <a:pt x="13" y="6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2" name="iṥľîḓê">
              <a:extLst>
                <a:ext uri="{FF2B5EF4-FFF2-40B4-BE49-F238E27FC236}">
                  <a16:creationId xmlns:a16="http://schemas.microsoft.com/office/drawing/2014/main" id="{2072AFE6-9E58-40A5-A636-295AA03D9234}"/>
                </a:ext>
              </a:extLst>
            </p:cNvPr>
            <p:cNvSpPr/>
            <p:nvPr/>
          </p:nvSpPr>
          <p:spPr bwMode="auto">
            <a:xfrm>
              <a:off x="3958791" y="4656985"/>
              <a:ext cx="0" cy="2960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3" name="îş1ïḋe">
              <a:extLst>
                <a:ext uri="{FF2B5EF4-FFF2-40B4-BE49-F238E27FC236}">
                  <a16:creationId xmlns:a16="http://schemas.microsoft.com/office/drawing/2014/main" id="{898FBD2D-9DD7-4658-AE6D-DD3DE04FC8A9}"/>
                </a:ext>
              </a:extLst>
            </p:cNvPr>
            <p:cNvSpPr/>
            <p:nvPr/>
          </p:nvSpPr>
          <p:spPr bwMode="auto">
            <a:xfrm>
              <a:off x="3898108" y="4625905"/>
              <a:ext cx="79923" cy="82883"/>
            </a:xfrm>
            <a:custGeom>
              <a:avLst/>
              <a:gdLst>
                <a:gd name="T0" fmla="*/ 22 w 26"/>
                <a:gd name="T1" fmla="*/ 5 h 27"/>
                <a:gd name="T2" fmla="*/ 20 w 26"/>
                <a:gd name="T3" fmla="*/ 4 h 27"/>
                <a:gd name="T4" fmla="*/ 19 w 26"/>
                <a:gd name="T5" fmla="*/ 2 h 27"/>
                <a:gd name="T6" fmla="*/ 2 w 26"/>
                <a:gd name="T7" fmla="*/ 9 h 27"/>
                <a:gd name="T8" fmla="*/ 10 w 26"/>
                <a:gd name="T9" fmla="*/ 25 h 27"/>
                <a:gd name="T10" fmla="*/ 21 w 26"/>
                <a:gd name="T11" fmla="*/ 22 h 27"/>
                <a:gd name="T12" fmla="*/ 26 w 26"/>
                <a:gd name="T13" fmla="*/ 10 h 27"/>
                <a:gd name="T14" fmla="*/ 22 w 26"/>
                <a:gd name="T1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7">
                  <a:moveTo>
                    <a:pt x="22" y="5"/>
                  </a:moveTo>
                  <a:cubicBezTo>
                    <a:pt x="22" y="4"/>
                    <a:pt x="21" y="4"/>
                    <a:pt x="20" y="4"/>
                  </a:cubicBezTo>
                  <a:cubicBezTo>
                    <a:pt x="20" y="3"/>
                    <a:pt x="19" y="3"/>
                    <a:pt x="19" y="2"/>
                  </a:cubicBezTo>
                  <a:cubicBezTo>
                    <a:pt x="12" y="0"/>
                    <a:pt x="5" y="2"/>
                    <a:pt x="2" y="9"/>
                  </a:cubicBezTo>
                  <a:cubicBezTo>
                    <a:pt x="0" y="15"/>
                    <a:pt x="4" y="23"/>
                    <a:pt x="10" y="25"/>
                  </a:cubicBezTo>
                  <a:cubicBezTo>
                    <a:pt x="14" y="27"/>
                    <a:pt x="19" y="25"/>
                    <a:pt x="21" y="22"/>
                  </a:cubicBezTo>
                  <a:cubicBezTo>
                    <a:pt x="25" y="19"/>
                    <a:pt x="26" y="14"/>
                    <a:pt x="26" y="10"/>
                  </a:cubicBezTo>
                  <a:cubicBezTo>
                    <a:pt x="26" y="8"/>
                    <a:pt x="24" y="6"/>
                    <a:pt x="22" y="5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4" name="îś1íḑê">
              <a:extLst>
                <a:ext uri="{FF2B5EF4-FFF2-40B4-BE49-F238E27FC236}">
                  <a16:creationId xmlns:a16="http://schemas.microsoft.com/office/drawing/2014/main" id="{03663837-6410-4B7B-9661-0E5C7C987A07}"/>
                </a:ext>
              </a:extLst>
            </p:cNvPr>
            <p:cNvSpPr/>
            <p:nvPr/>
          </p:nvSpPr>
          <p:spPr bwMode="auto">
            <a:xfrm>
              <a:off x="4054994" y="4306211"/>
              <a:ext cx="60683" cy="74003"/>
            </a:xfrm>
            <a:custGeom>
              <a:avLst/>
              <a:gdLst>
                <a:gd name="T0" fmla="*/ 16 w 20"/>
                <a:gd name="T1" fmla="*/ 20 h 24"/>
                <a:gd name="T2" fmla="*/ 16 w 20"/>
                <a:gd name="T3" fmla="*/ 20 h 24"/>
                <a:gd name="T4" fmla="*/ 11 w 20"/>
                <a:gd name="T5" fmla="*/ 23 h 24"/>
                <a:gd name="T6" fmla="*/ 7 w 20"/>
                <a:gd name="T7" fmla="*/ 24 h 24"/>
                <a:gd name="T8" fmla="*/ 6 w 20"/>
                <a:gd name="T9" fmla="*/ 24 h 24"/>
                <a:gd name="T10" fmla="*/ 5 w 20"/>
                <a:gd name="T11" fmla="*/ 24 h 24"/>
                <a:gd name="T12" fmla="*/ 4 w 20"/>
                <a:gd name="T13" fmla="*/ 23 h 24"/>
                <a:gd name="T14" fmla="*/ 4 w 20"/>
                <a:gd name="T15" fmla="*/ 23 h 24"/>
                <a:gd name="T16" fmla="*/ 4 w 20"/>
                <a:gd name="T17" fmla="*/ 23 h 24"/>
                <a:gd name="T18" fmla="*/ 3 w 20"/>
                <a:gd name="T19" fmla="*/ 23 h 24"/>
                <a:gd name="T20" fmla="*/ 2 w 20"/>
                <a:gd name="T21" fmla="*/ 22 h 24"/>
                <a:gd name="T22" fmla="*/ 2 w 20"/>
                <a:gd name="T23" fmla="*/ 22 h 24"/>
                <a:gd name="T24" fmla="*/ 2 w 20"/>
                <a:gd name="T25" fmla="*/ 22 h 24"/>
                <a:gd name="T26" fmla="*/ 2 w 20"/>
                <a:gd name="T27" fmla="*/ 22 h 24"/>
                <a:gd name="T28" fmla="*/ 1 w 20"/>
                <a:gd name="T29" fmla="*/ 21 h 24"/>
                <a:gd name="T30" fmla="*/ 1 w 20"/>
                <a:gd name="T31" fmla="*/ 20 h 24"/>
                <a:gd name="T32" fmla="*/ 1 w 20"/>
                <a:gd name="T33" fmla="*/ 20 h 24"/>
                <a:gd name="T34" fmla="*/ 1 w 20"/>
                <a:gd name="T35" fmla="*/ 20 h 24"/>
                <a:gd name="T36" fmla="*/ 0 w 20"/>
                <a:gd name="T37" fmla="*/ 18 h 24"/>
                <a:gd name="T38" fmla="*/ 0 w 20"/>
                <a:gd name="T39" fmla="*/ 18 h 24"/>
                <a:gd name="T40" fmla="*/ 0 w 20"/>
                <a:gd name="T41" fmla="*/ 18 h 24"/>
                <a:gd name="T42" fmla="*/ 0 w 20"/>
                <a:gd name="T43" fmla="*/ 17 h 24"/>
                <a:gd name="T44" fmla="*/ 0 w 20"/>
                <a:gd name="T45" fmla="*/ 15 h 24"/>
                <a:gd name="T46" fmla="*/ 0 w 20"/>
                <a:gd name="T47" fmla="*/ 14 h 24"/>
                <a:gd name="T48" fmla="*/ 0 w 20"/>
                <a:gd name="T49" fmla="*/ 14 h 24"/>
                <a:gd name="T50" fmla="*/ 0 w 20"/>
                <a:gd name="T51" fmla="*/ 13 h 24"/>
                <a:gd name="T52" fmla="*/ 7 w 20"/>
                <a:gd name="T53" fmla="*/ 1 h 24"/>
                <a:gd name="T54" fmla="*/ 9 w 20"/>
                <a:gd name="T55" fmla="*/ 0 h 24"/>
                <a:gd name="T56" fmla="*/ 10 w 20"/>
                <a:gd name="T57" fmla="*/ 0 h 24"/>
                <a:gd name="T58" fmla="*/ 11 w 20"/>
                <a:gd name="T59" fmla="*/ 0 h 24"/>
                <a:gd name="T60" fmla="*/ 12 w 20"/>
                <a:gd name="T61" fmla="*/ 0 h 24"/>
                <a:gd name="T62" fmla="*/ 12 w 20"/>
                <a:gd name="T63" fmla="*/ 0 h 24"/>
                <a:gd name="T64" fmla="*/ 14 w 20"/>
                <a:gd name="T65" fmla="*/ 0 h 24"/>
                <a:gd name="T66" fmla="*/ 14 w 20"/>
                <a:gd name="T67" fmla="*/ 0 h 24"/>
                <a:gd name="T68" fmla="*/ 15 w 20"/>
                <a:gd name="T69" fmla="*/ 0 h 24"/>
                <a:gd name="T70" fmla="*/ 16 w 20"/>
                <a:gd name="T71" fmla="*/ 0 h 24"/>
                <a:gd name="T72" fmla="*/ 16 w 20"/>
                <a:gd name="T73" fmla="*/ 0 h 24"/>
                <a:gd name="T74" fmla="*/ 16 w 20"/>
                <a:gd name="T75" fmla="*/ 0 h 24"/>
                <a:gd name="T76" fmla="*/ 17 w 20"/>
                <a:gd name="T77" fmla="*/ 1 h 24"/>
                <a:gd name="T78" fmla="*/ 17 w 20"/>
                <a:gd name="T79" fmla="*/ 1 h 24"/>
                <a:gd name="T80" fmla="*/ 17 w 20"/>
                <a:gd name="T81" fmla="*/ 1 h 24"/>
                <a:gd name="T82" fmla="*/ 18 w 20"/>
                <a:gd name="T83" fmla="*/ 2 h 24"/>
                <a:gd name="T84" fmla="*/ 18 w 20"/>
                <a:gd name="T85" fmla="*/ 2 h 24"/>
                <a:gd name="T86" fmla="*/ 18 w 20"/>
                <a:gd name="T87" fmla="*/ 2 h 24"/>
                <a:gd name="T88" fmla="*/ 19 w 20"/>
                <a:gd name="T89" fmla="*/ 3 h 24"/>
                <a:gd name="T90" fmla="*/ 19 w 20"/>
                <a:gd name="T91" fmla="*/ 4 h 24"/>
                <a:gd name="T92" fmla="*/ 19 w 20"/>
                <a:gd name="T93" fmla="*/ 5 h 24"/>
                <a:gd name="T94" fmla="*/ 20 w 20"/>
                <a:gd name="T95" fmla="*/ 6 h 24"/>
                <a:gd name="T96" fmla="*/ 20 w 20"/>
                <a:gd name="T97" fmla="*/ 7 h 24"/>
                <a:gd name="T98" fmla="*/ 20 w 20"/>
                <a:gd name="T99" fmla="*/ 7 h 24"/>
                <a:gd name="T100" fmla="*/ 20 w 20"/>
                <a:gd name="T101" fmla="*/ 9 h 24"/>
                <a:gd name="T102" fmla="*/ 16 w 20"/>
                <a:gd name="T103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" h="24">
                  <a:moveTo>
                    <a:pt x="16" y="20"/>
                  </a:moveTo>
                  <a:cubicBezTo>
                    <a:pt x="16" y="20"/>
                    <a:pt x="16" y="20"/>
                    <a:pt x="16" y="20"/>
                  </a:cubicBezTo>
                  <a:cubicBezTo>
                    <a:pt x="15" y="21"/>
                    <a:pt x="13" y="22"/>
                    <a:pt x="11" y="23"/>
                  </a:cubicBezTo>
                  <a:cubicBezTo>
                    <a:pt x="10" y="23"/>
                    <a:pt x="8" y="24"/>
                    <a:pt x="7" y="24"/>
                  </a:cubicBezTo>
                  <a:cubicBezTo>
                    <a:pt x="7" y="24"/>
                    <a:pt x="6" y="24"/>
                    <a:pt x="6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3" y="23"/>
                    <a:pt x="3" y="23"/>
                  </a:cubicBezTo>
                  <a:cubicBezTo>
                    <a:pt x="3" y="23"/>
                    <a:pt x="3" y="23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19"/>
                    <a:pt x="0" y="19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6"/>
                    <a:pt x="0" y="15"/>
                    <a:pt x="0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8"/>
                    <a:pt x="4" y="3"/>
                    <a:pt x="7" y="1"/>
                  </a:cubicBezTo>
                  <a:cubicBezTo>
                    <a:pt x="8" y="1"/>
                    <a:pt x="8" y="1"/>
                    <a:pt x="9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15" y="0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9" y="3"/>
                  </a:cubicBezTo>
                  <a:cubicBezTo>
                    <a:pt x="19" y="3"/>
                    <a:pt x="19" y="3"/>
                    <a:pt x="19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0" y="5"/>
                    <a:pt x="20" y="6"/>
                    <a:pt x="20" y="6"/>
                  </a:cubicBezTo>
                  <a:cubicBezTo>
                    <a:pt x="20" y="6"/>
                    <a:pt x="20" y="6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0" y="8"/>
                    <a:pt x="20" y="9"/>
                  </a:cubicBezTo>
                  <a:cubicBezTo>
                    <a:pt x="20" y="13"/>
                    <a:pt x="19" y="17"/>
                    <a:pt x="16" y="20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5" name="îṣļiḑè">
              <a:extLst>
                <a:ext uri="{FF2B5EF4-FFF2-40B4-BE49-F238E27FC236}">
                  <a16:creationId xmlns:a16="http://schemas.microsoft.com/office/drawing/2014/main" id="{5F0013F9-820D-4B5A-8530-C142D6AAE903}"/>
                </a:ext>
              </a:extLst>
            </p:cNvPr>
            <p:cNvSpPr/>
            <p:nvPr/>
          </p:nvSpPr>
          <p:spPr bwMode="auto">
            <a:xfrm>
              <a:off x="4032794" y="4285490"/>
              <a:ext cx="108045" cy="122846"/>
            </a:xfrm>
            <a:custGeom>
              <a:avLst/>
              <a:gdLst>
                <a:gd name="T0" fmla="*/ 32 w 35"/>
                <a:gd name="T1" fmla="*/ 8 h 40"/>
                <a:gd name="T2" fmla="*/ 23 w 35"/>
                <a:gd name="T3" fmla="*/ 1 h 40"/>
                <a:gd name="T4" fmla="*/ 16 w 35"/>
                <a:gd name="T5" fmla="*/ 1 h 40"/>
                <a:gd name="T6" fmla="*/ 15 w 35"/>
                <a:gd name="T7" fmla="*/ 1 h 40"/>
                <a:gd name="T8" fmla="*/ 2 w 35"/>
                <a:gd name="T9" fmla="*/ 27 h 40"/>
                <a:gd name="T10" fmla="*/ 27 w 35"/>
                <a:gd name="T11" fmla="*/ 31 h 40"/>
                <a:gd name="T12" fmla="*/ 32 w 35"/>
                <a:gd name="T1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0">
                  <a:moveTo>
                    <a:pt x="32" y="8"/>
                  </a:moveTo>
                  <a:cubicBezTo>
                    <a:pt x="30" y="4"/>
                    <a:pt x="27" y="2"/>
                    <a:pt x="23" y="1"/>
                  </a:cubicBezTo>
                  <a:cubicBezTo>
                    <a:pt x="21" y="0"/>
                    <a:pt x="19" y="1"/>
                    <a:pt x="16" y="1"/>
                  </a:cubicBezTo>
                  <a:cubicBezTo>
                    <a:pt x="16" y="1"/>
                    <a:pt x="16" y="1"/>
                    <a:pt x="15" y="1"/>
                  </a:cubicBezTo>
                  <a:cubicBezTo>
                    <a:pt x="6" y="5"/>
                    <a:pt x="0" y="17"/>
                    <a:pt x="2" y="27"/>
                  </a:cubicBezTo>
                  <a:cubicBezTo>
                    <a:pt x="4" y="40"/>
                    <a:pt x="20" y="38"/>
                    <a:pt x="27" y="31"/>
                  </a:cubicBezTo>
                  <a:cubicBezTo>
                    <a:pt x="33" y="26"/>
                    <a:pt x="35" y="15"/>
                    <a:pt x="32" y="8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6" name="îs1îḓé">
              <a:extLst>
                <a:ext uri="{FF2B5EF4-FFF2-40B4-BE49-F238E27FC236}">
                  <a16:creationId xmlns:a16="http://schemas.microsoft.com/office/drawing/2014/main" id="{9E0C2C3A-89F1-4339-9C33-E0C4D596B5AF}"/>
                </a:ext>
              </a:extLst>
            </p:cNvPr>
            <p:cNvSpPr/>
            <p:nvPr/>
          </p:nvSpPr>
          <p:spPr bwMode="auto">
            <a:xfrm>
              <a:off x="3642057" y="3283488"/>
              <a:ext cx="65123" cy="68083"/>
            </a:xfrm>
            <a:custGeom>
              <a:avLst/>
              <a:gdLst>
                <a:gd name="T0" fmla="*/ 11 w 21"/>
                <a:gd name="T1" fmla="*/ 22 h 22"/>
                <a:gd name="T2" fmla="*/ 11 w 21"/>
                <a:gd name="T3" fmla="*/ 22 h 22"/>
                <a:gd name="T4" fmla="*/ 0 w 21"/>
                <a:gd name="T5" fmla="*/ 10 h 22"/>
                <a:gd name="T6" fmla="*/ 14 w 21"/>
                <a:gd name="T7" fmla="*/ 4 h 22"/>
                <a:gd name="T8" fmla="*/ 21 w 21"/>
                <a:gd name="T9" fmla="*/ 0 h 22"/>
                <a:gd name="T10" fmla="*/ 18 w 21"/>
                <a:gd name="T11" fmla="*/ 7 h 22"/>
                <a:gd name="T12" fmla="*/ 11 w 21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2">
                  <a:moveTo>
                    <a:pt x="11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8" y="18"/>
                    <a:pt x="5" y="13"/>
                    <a:pt x="0" y="10"/>
                  </a:cubicBezTo>
                  <a:cubicBezTo>
                    <a:pt x="4" y="8"/>
                    <a:pt x="9" y="6"/>
                    <a:pt x="14" y="4"/>
                  </a:cubicBezTo>
                  <a:cubicBezTo>
                    <a:pt x="16" y="3"/>
                    <a:pt x="18" y="2"/>
                    <a:pt x="21" y="0"/>
                  </a:cubicBezTo>
                  <a:cubicBezTo>
                    <a:pt x="20" y="2"/>
                    <a:pt x="19" y="5"/>
                    <a:pt x="18" y="7"/>
                  </a:cubicBezTo>
                  <a:cubicBezTo>
                    <a:pt x="16" y="12"/>
                    <a:pt x="14" y="17"/>
                    <a:pt x="11" y="22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7" name="îṧľîḋé">
              <a:extLst>
                <a:ext uri="{FF2B5EF4-FFF2-40B4-BE49-F238E27FC236}">
                  <a16:creationId xmlns:a16="http://schemas.microsoft.com/office/drawing/2014/main" id="{0760E99D-2AAE-43DB-BC92-5C3EC72EAE08}"/>
                </a:ext>
              </a:extLst>
            </p:cNvPr>
            <p:cNvSpPr/>
            <p:nvPr/>
          </p:nvSpPr>
          <p:spPr bwMode="auto">
            <a:xfrm>
              <a:off x="3612456" y="3243526"/>
              <a:ext cx="137646" cy="137646"/>
            </a:xfrm>
            <a:custGeom>
              <a:avLst/>
              <a:gdLst>
                <a:gd name="T0" fmla="*/ 21 w 45"/>
                <a:gd name="T1" fmla="*/ 12 h 45"/>
                <a:gd name="T2" fmla="*/ 2 w 45"/>
                <a:gd name="T3" fmla="*/ 21 h 45"/>
                <a:gd name="T4" fmla="*/ 2 w 45"/>
                <a:gd name="T5" fmla="*/ 27 h 45"/>
                <a:gd name="T6" fmla="*/ 19 w 45"/>
                <a:gd name="T7" fmla="*/ 42 h 45"/>
                <a:gd name="T8" fmla="*/ 24 w 45"/>
                <a:gd name="T9" fmla="*/ 42 h 45"/>
                <a:gd name="T10" fmla="*/ 33 w 45"/>
                <a:gd name="T11" fmla="*/ 23 h 45"/>
                <a:gd name="T12" fmla="*/ 37 w 45"/>
                <a:gd name="T13" fmla="*/ 14 h 45"/>
                <a:gd name="T14" fmla="*/ 40 w 45"/>
                <a:gd name="T15" fmla="*/ 9 h 45"/>
                <a:gd name="T16" fmla="*/ 44 w 45"/>
                <a:gd name="T17" fmla="*/ 4 h 45"/>
                <a:gd name="T18" fmla="*/ 42 w 45"/>
                <a:gd name="T19" fmla="*/ 1 h 45"/>
                <a:gd name="T20" fmla="*/ 38 w 45"/>
                <a:gd name="T21" fmla="*/ 3 h 45"/>
                <a:gd name="T22" fmla="*/ 21 w 45"/>
                <a:gd name="T23" fmla="*/ 1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45">
                  <a:moveTo>
                    <a:pt x="21" y="12"/>
                  </a:moveTo>
                  <a:cubicBezTo>
                    <a:pt x="15" y="15"/>
                    <a:pt x="8" y="17"/>
                    <a:pt x="2" y="21"/>
                  </a:cubicBezTo>
                  <a:cubicBezTo>
                    <a:pt x="0" y="22"/>
                    <a:pt x="0" y="26"/>
                    <a:pt x="2" y="27"/>
                  </a:cubicBezTo>
                  <a:cubicBezTo>
                    <a:pt x="10" y="29"/>
                    <a:pt x="14" y="36"/>
                    <a:pt x="19" y="42"/>
                  </a:cubicBezTo>
                  <a:cubicBezTo>
                    <a:pt x="20" y="45"/>
                    <a:pt x="23" y="45"/>
                    <a:pt x="24" y="42"/>
                  </a:cubicBezTo>
                  <a:cubicBezTo>
                    <a:pt x="28" y="37"/>
                    <a:pt x="30" y="30"/>
                    <a:pt x="33" y="23"/>
                  </a:cubicBezTo>
                  <a:cubicBezTo>
                    <a:pt x="34" y="20"/>
                    <a:pt x="35" y="17"/>
                    <a:pt x="37" y="14"/>
                  </a:cubicBezTo>
                  <a:cubicBezTo>
                    <a:pt x="38" y="13"/>
                    <a:pt x="39" y="11"/>
                    <a:pt x="40" y="9"/>
                  </a:cubicBezTo>
                  <a:cubicBezTo>
                    <a:pt x="42" y="8"/>
                    <a:pt x="43" y="6"/>
                    <a:pt x="44" y="4"/>
                  </a:cubicBezTo>
                  <a:cubicBezTo>
                    <a:pt x="45" y="3"/>
                    <a:pt x="44" y="0"/>
                    <a:pt x="42" y="1"/>
                  </a:cubicBezTo>
                  <a:cubicBezTo>
                    <a:pt x="40" y="1"/>
                    <a:pt x="39" y="2"/>
                    <a:pt x="38" y="3"/>
                  </a:cubicBezTo>
                  <a:cubicBezTo>
                    <a:pt x="33" y="6"/>
                    <a:pt x="27" y="9"/>
                    <a:pt x="21" y="12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8" name="ís1iḋe">
              <a:extLst>
                <a:ext uri="{FF2B5EF4-FFF2-40B4-BE49-F238E27FC236}">
                  <a16:creationId xmlns:a16="http://schemas.microsoft.com/office/drawing/2014/main" id="{BD9204F7-C247-4089-83A9-E36240DD8922}"/>
                </a:ext>
              </a:extLst>
            </p:cNvPr>
            <p:cNvSpPr/>
            <p:nvPr/>
          </p:nvSpPr>
          <p:spPr bwMode="auto">
            <a:xfrm>
              <a:off x="3538453" y="3015597"/>
              <a:ext cx="162807" cy="93244"/>
            </a:xfrm>
            <a:custGeom>
              <a:avLst/>
              <a:gdLst>
                <a:gd name="T0" fmla="*/ 53 w 53"/>
                <a:gd name="T1" fmla="*/ 6 h 30"/>
                <a:gd name="T2" fmla="*/ 53 w 53"/>
                <a:gd name="T3" fmla="*/ 6 h 30"/>
                <a:gd name="T4" fmla="*/ 33 w 53"/>
                <a:gd name="T5" fmla="*/ 17 h 30"/>
                <a:gd name="T6" fmla="*/ 22 w 53"/>
                <a:gd name="T7" fmla="*/ 24 h 30"/>
                <a:gd name="T8" fmla="*/ 12 w 53"/>
                <a:gd name="T9" fmla="*/ 29 h 30"/>
                <a:gd name="T10" fmla="*/ 10 w 53"/>
                <a:gd name="T11" fmla="*/ 30 h 30"/>
                <a:gd name="T12" fmla="*/ 10 w 53"/>
                <a:gd name="T13" fmla="*/ 30 h 30"/>
                <a:gd name="T14" fmla="*/ 9 w 53"/>
                <a:gd name="T15" fmla="*/ 30 h 30"/>
                <a:gd name="T16" fmla="*/ 8 w 53"/>
                <a:gd name="T17" fmla="*/ 30 h 30"/>
                <a:gd name="T18" fmla="*/ 8 w 53"/>
                <a:gd name="T19" fmla="*/ 30 h 30"/>
                <a:gd name="T20" fmla="*/ 7 w 53"/>
                <a:gd name="T21" fmla="*/ 30 h 30"/>
                <a:gd name="T22" fmla="*/ 6 w 53"/>
                <a:gd name="T23" fmla="*/ 29 h 30"/>
                <a:gd name="T24" fmla="*/ 6 w 53"/>
                <a:gd name="T25" fmla="*/ 29 h 30"/>
                <a:gd name="T26" fmla="*/ 6 w 53"/>
                <a:gd name="T27" fmla="*/ 29 h 30"/>
                <a:gd name="T28" fmla="*/ 5 w 53"/>
                <a:gd name="T29" fmla="*/ 27 h 30"/>
                <a:gd name="T30" fmla="*/ 5 w 53"/>
                <a:gd name="T31" fmla="*/ 26 h 30"/>
                <a:gd name="T32" fmla="*/ 5 w 53"/>
                <a:gd name="T33" fmla="*/ 25 h 30"/>
                <a:gd name="T34" fmla="*/ 4 w 53"/>
                <a:gd name="T35" fmla="*/ 21 h 30"/>
                <a:gd name="T36" fmla="*/ 3 w 53"/>
                <a:gd name="T37" fmla="*/ 13 h 30"/>
                <a:gd name="T38" fmla="*/ 0 w 53"/>
                <a:gd name="T39" fmla="*/ 0 h 30"/>
                <a:gd name="T40" fmla="*/ 26 w 53"/>
                <a:gd name="T41" fmla="*/ 4 h 30"/>
                <a:gd name="T42" fmla="*/ 53 w 53"/>
                <a:gd name="T43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30">
                  <a:moveTo>
                    <a:pt x="53" y="6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46" y="9"/>
                    <a:pt x="40" y="13"/>
                    <a:pt x="33" y="17"/>
                  </a:cubicBezTo>
                  <a:cubicBezTo>
                    <a:pt x="29" y="19"/>
                    <a:pt x="26" y="22"/>
                    <a:pt x="22" y="24"/>
                  </a:cubicBezTo>
                  <a:cubicBezTo>
                    <a:pt x="19" y="26"/>
                    <a:pt x="15" y="28"/>
                    <a:pt x="12" y="29"/>
                  </a:cubicBezTo>
                  <a:cubicBezTo>
                    <a:pt x="12" y="30"/>
                    <a:pt x="11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9" y="30"/>
                    <a:pt x="9" y="30"/>
                  </a:cubicBezTo>
                  <a:cubicBezTo>
                    <a:pt x="9" y="30"/>
                    <a:pt x="9" y="30"/>
                    <a:pt x="8" y="30"/>
                  </a:cubicBezTo>
                  <a:cubicBezTo>
                    <a:pt x="9" y="30"/>
                    <a:pt x="8" y="30"/>
                    <a:pt x="8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8"/>
                    <a:pt x="6" y="28"/>
                    <a:pt x="5" y="27"/>
                  </a:cubicBezTo>
                  <a:cubicBezTo>
                    <a:pt x="6" y="28"/>
                    <a:pt x="5" y="27"/>
                    <a:pt x="5" y="26"/>
                  </a:cubicBezTo>
                  <a:cubicBezTo>
                    <a:pt x="5" y="26"/>
                    <a:pt x="5" y="25"/>
                    <a:pt x="5" y="25"/>
                  </a:cubicBezTo>
                  <a:cubicBezTo>
                    <a:pt x="4" y="24"/>
                    <a:pt x="4" y="22"/>
                    <a:pt x="4" y="21"/>
                  </a:cubicBezTo>
                  <a:cubicBezTo>
                    <a:pt x="4" y="18"/>
                    <a:pt x="3" y="16"/>
                    <a:pt x="3" y="13"/>
                  </a:cubicBezTo>
                  <a:cubicBezTo>
                    <a:pt x="2" y="9"/>
                    <a:pt x="1" y="4"/>
                    <a:pt x="0" y="0"/>
                  </a:cubicBezTo>
                  <a:cubicBezTo>
                    <a:pt x="8" y="1"/>
                    <a:pt x="17" y="3"/>
                    <a:pt x="26" y="4"/>
                  </a:cubicBezTo>
                  <a:cubicBezTo>
                    <a:pt x="35" y="6"/>
                    <a:pt x="44" y="7"/>
                    <a:pt x="53" y="6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9" name="íşḷidê">
              <a:extLst>
                <a:ext uri="{FF2B5EF4-FFF2-40B4-BE49-F238E27FC236}">
                  <a16:creationId xmlns:a16="http://schemas.microsoft.com/office/drawing/2014/main" id="{DDE590D4-3E2E-4316-BFCB-8CEC799011E6}"/>
                </a:ext>
              </a:extLst>
            </p:cNvPr>
            <p:cNvSpPr/>
            <p:nvPr/>
          </p:nvSpPr>
          <p:spPr bwMode="auto">
            <a:xfrm>
              <a:off x="3556214" y="3105880"/>
              <a:ext cx="1481" cy="1481"/>
            </a:xfrm>
            <a:prstGeom prst="rect">
              <a:avLst/>
            </a:pr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0" name="iṡļíḓé">
              <a:extLst>
                <a:ext uri="{FF2B5EF4-FFF2-40B4-BE49-F238E27FC236}">
                  <a16:creationId xmlns:a16="http://schemas.microsoft.com/office/drawing/2014/main" id="{A530F6B9-1E3A-4B1D-A6B6-4BFC5729AB13}"/>
                </a:ext>
              </a:extLst>
            </p:cNvPr>
            <p:cNvSpPr/>
            <p:nvPr/>
          </p:nvSpPr>
          <p:spPr bwMode="auto">
            <a:xfrm>
              <a:off x="3510331" y="2994876"/>
              <a:ext cx="222009" cy="131726"/>
            </a:xfrm>
            <a:custGeom>
              <a:avLst/>
              <a:gdLst>
                <a:gd name="T0" fmla="*/ 18 w 72"/>
                <a:gd name="T1" fmla="*/ 43 h 43"/>
                <a:gd name="T2" fmla="*/ 26 w 72"/>
                <a:gd name="T3" fmla="*/ 41 h 43"/>
                <a:gd name="T4" fmla="*/ 36 w 72"/>
                <a:gd name="T5" fmla="*/ 35 h 43"/>
                <a:gd name="T6" fmla="*/ 69 w 72"/>
                <a:gd name="T7" fmla="*/ 18 h 43"/>
                <a:gd name="T8" fmla="*/ 69 w 72"/>
                <a:gd name="T9" fmla="*/ 12 h 43"/>
                <a:gd name="T10" fmla="*/ 67 w 72"/>
                <a:gd name="T11" fmla="*/ 9 h 43"/>
                <a:gd name="T12" fmla="*/ 36 w 72"/>
                <a:gd name="T13" fmla="*/ 6 h 43"/>
                <a:gd name="T14" fmla="*/ 4 w 72"/>
                <a:gd name="T15" fmla="*/ 0 h 43"/>
                <a:gd name="T16" fmla="*/ 1 w 72"/>
                <a:gd name="T17" fmla="*/ 4 h 43"/>
                <a:gd name="T18" fmla="*/ 6 w 72"/>
                <a:gd name="T19" fmla="*/ 20 h 43"/>
                <a:gd name="T20" fmla="*/ 9 w 72"/>
                <a:gd name="T21" fmla="*/ 35 h 43"/>
                <a:gd name="T22" fmla="*/ 18 w 72"/>
                <a:gd name="T2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43">
                  <a:moveTo>
                    <a:pt x="18" y="43"/>
                  </a:moveTo>
                  <a:cubicBezTo>
                    <a:pt x="20" y="43"/>
                    <a:pt x="23" y="42"/>
                    <a:pt x="26" y="41"/>
                  </a:cubicBezTo>
                  <a:cubicBezTo>
                    <a:pt x="30" y="39"/>
                    <a:pt x="33" y="37"/>
                    <a:pt x="36" y="35"/>
                  </a:cubicBezTo>
                  <a:cubicBezTo>
                    <a:pt x="47" y="28"/>
                    <a:pt x="57" y="21"/>
                    <a:pt x="69" y="18"/>
                  </a:cubicBezTo>
                  <a:cubicBezTo>
                    <a:pt x="72" y="17"/>
                    <a:pt x="71" y="13"/>
                    <a:pt x="69" y="12"/>
                  </a:cubicBezTo>
                  <a:cubicBezTo>
                    <a:pt x="70" y="11"/>
                    <a:pt x="69" y="9"/>
                    <a:pt x="67" y="9"/>
                  </a:cubicBezTo>
                  <a:cubicBezTo>
                    <a:pt x="57" y="8"/>
                    <a:pt x="46" y="7"/>
                    <a:pt x="36" y="6"/>
                  </a:cubicBezTo>
                  <a:cubicBezTo>
                    <a:pt x="25" y="4"/>
                    <a:pt x="15" y="2"/>
                    <a:pt x="4" y="0"/>
                  </a:cubicBezTo>
                  <a:cubicBezTo>
                    <a:pt x="2" y="0"/>
                    <a:pt x="0" y="2"/>
                    <a:pt x="1" y="4"/>
                  </a:cubicBezTo>
                  <a:cubicBezTo>
                    <a:pt x="4" y="9"/>
                    <a:pt x="5" y="14"/>
                    <a:pt x="6" y="20"/>
                  </a:cubicBezTo>
                  <a:cubicBezTo>
                    <a:pt x="7" y="25"/>
                    <a:pt x="7" y="30"/>
                    <a:pt x="9" y="35"/>
                  </a:cubicBezTo>
                  <a:cubicBezTo>
                    <a:pt x="10" y="40"/>
                    <a:pt x="13" y="43"/>
                    <a:pt x="18" y="43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1" name="îsḻidé">
              <a:extLst>
                <a:ext uri="{FF2B5EF4-FFF2-40B4-BE49-F238E27FC236}">
                  <a16:creationId xmlns:a16="http://schemas.microsoft.com/office/drawing/2014/main" id="{FB725011-A2A9-4CAD-8E83-88F60F5AB4A5}"/>
                </a:ext>
              </a:extLst>
            </p:cNvPr>
            <p:cNvSpPr/>
            <p:nvPr/>
          </p:nvSpPr>
          <p:spPr bwMode="auto">
            <a:xfrm>
              <a:off x="3756022" y="4073841"/>
              <a:ext cx="179088" cy="251611"/>
            </a:xfrm>
            <a:custGeom>
              <a:avLst/>
              <a:gdLst>
                <a:gd name="T0" fmla="*/ 57 w 58"/>
                <a:gd name="T1" fmla="*/ 4 h 82"/>
                <a:gd name="T2" fmla="*/ 53 w 58"/>
                <a:gd name="T3" fmla="*/ 2 h 82"/>
                <a:gd name="T4" fmla="*/ 46 w 58"/>
                <a:gd name="T5" fmla="*/ 20 h 82"/>
                <a:gd name="T6" fmla="*/ 39 w 58"/>
                <a:gd name="T7" fmla="*/ 40 h 82"/>
                <a:gd name="T8" fmla="*/ 30 w 58"/>
                <a:gd name="T9" fmla="*/ 72 h 82"/>
                <a:gd name="T10" fmla="*/ 9 w 58"/>
                <a:gd name="T11" fmla="*/ 63 h 82"/>
                <a:gd name="T12" fmla="*/ 28 w 58"/>
                <a:gd name="T13" fmla="*/ 39 h 82"/>
                <a:gd name="T14" fmla="*/ 50 w 58"/>
                <a:gd name="T15" fmla="*/ 8 h 82"/>
                <a:gd name="T16" fmla="*/ 46 w 58"/>
                <a:gd name="T17" fmla="*/ 6 h 82"/>
                <a:gd name="T18" fmla="*/ 24 w 58"/>
                <a:gd name="T19" fmla="*/ 35 h 82"/>
                <a:gd name="T20" fmla="*/ 1 w 58"/>
                <a:gd name="T21" fmla="*/ 64 h 82"/>
                <a:gd name="T22" fmla="*/ 4 w 58"/>
                <a:gd name="T23" fmla="*/ 69 h 82"/>
                <a:gd name="T24" fmla="*/ 29 w 58"/>
                <a:gd name="T25" fmla="*/ 81 h 82"/>
                <a:gd name="T26" fmla="*/ 34 w 58"/>
                <a:gd name="T27" fmla="*/ 79 h 82"/>
                <a:gd name="T28" fmla="*/ 45 w 58"/>
                <a:gd name="T29" fmla="*/ 42 h 82"/>
                <a:gd name="T30" fmla="*/ 52 w 58"/>
                <a:gd name="T31" fmla="*/ 24 h 82"/>
                <a:gd name="T32" fmla="*/ 57 w 58"/>
                <a:gd name="T33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82">
                  <a:moveTo>
                    <a:pt x="57" y="4"/>
                  </a:moveTo>
                  <a:cubicBezTo>
                    <a:pt x="58" y="2"/>
                    <a:pt x="54" y="0"/>
                    <a:pt x="53" y="2"/>
                  </a:cubicBezTo>
                  <a:cubicBezTo>
                    <a:pt x="50" y="8"/>
                    <a:pt x="48" y="14"/>
                    <a:pt x="46" y="20"/>
                  </a:cubicBezTo>
                  <a:cubicBezTo>
                    <a:pt x="44" y="27"/>
                    <a:pt x="41" y="33"/>
                    <a:pt x="39" y="40"/>
                  </a:cubicBezTo>
                  <a:cubicBezTo>
                    <a:pt x="36" y="50"/>
                    <a:pt x="32" y="61"/>
                    <a:pt x="30" y="72"/>
                  </a:cubicBezTo>
                  <a:cubicBezTo>
                    <a:pt x="24" y="67"/>
                    <a:pt x="17" y="64"/>
                    <a:pt x="9" y="63"/>
                  </a:cubicBezTo>
                  <a:cubicBezTo>
                    <a:pt x="14" y="54"/>
                    <a:pt x="21" y="46"/>
                    <a:pt x="28" y="39"/>
                  </a:cubicBezTo>
                  <a:cubicBezTo>
                    <a:pt x="36" y="29"/>
                    <a:pt x="44" y="19"/>
                    <a:pt x="50" y="8"/>
                  </a:cubicBezTo>
                  <a:cubicBezTo>
                    <a:pt x="51" y="6"/>
                    <a:pt x="48" y="4"/>
                    <a:pt x="46" y="6"/>
                  </a:cubicBezTo>
                  <a:cubicBezTo>
                    <a:pt x="40" y="17"/>
                    <a:pt x="32" y="26"/>
                    <a:pt x="24" y="35"/>
                  </a:cubicBezTo>
                  <a:cubicBezTo>
                    <a:pt x="16" y="44"/>
                    <a:pt x="7" y="54"/>
                    <a:pt x="1" y="64"/>
                  </a:cubicBezTo>
                  <a:cubicBezTo>
                    <a:pt x="0" y="66"/>
                    <a:pt x="1" y="69"/>
                    <a:pt x="4" y="69"/>
                  </a:cubicBezTo>
                  <a:cubicBezTo>
                    <a:pt x="13" y="68"/>
                    <a:pt x="23" y="73"/>
                    <a:pt x="29" y="81"/>
                  </a:cubicBezTo>
                  <a:cubicBezTo>
                    <a:pt x="31" y="82"/>
                    <a:pt x="34" y="81"/>
                    <a:pt x="34" y="79"/>
                  </a:cubicBezTo>
                  <a:cubicBezTo>
                    <a:pt x="37" y="67"/>
                    <a:pt x="41" y="55"/>
                    <a:pt x="45" y="42"/>
                  </a:cubicBezTo>
                  <a:cubicBezTo>
                    <a:pt x="47" y="36"/>
                    <a:pt x="49" y="30"/>
                    <a:pt x="52" y="24"/>
                  </a:cubicBezTo>
                  <a:cubicBezTo>
                    <a:pt x="54" y="17"/>
                    <a:pt x="56" y="11"/>
                    <a:pt x="57" y="4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2" name="îšlíḍè">
              <a:extLst>
                <a:ext uri="{FF2B5EF4-FFF2-40B4-BE49-F238E27FC236}">
                  <a16:creationId xmlns:a16="http://schemas.microsoft.com/office/drawing/2014/main" id="{E85924E6-97AB-4398-BCD1-6E5274ADFDD2}"/>
                </a:ext>
              </a:extLst>
            </p:cNvPr>
            <p:cNvSpPr/>
            <p:nvPr/>
          </p:nvSpPr>
          <p:spPr bwMode="auto">
            <a:xfrm>
              <a:off x="3732341" y="3996878"/>
              <a:ext cx="113965" cy="79923"/>
            </a:xfrm>
            <a:custGeom>
              <a:avLst/>
              <a:gdLst>
                <a:gd name="T0" fmla="*/ 5 w 37"/>
                <a:gd name="T1" fmla="*/ 25 h 26"/>
                <a:gd name="T2" fmla="*/ 5 w 37"/>
                <a:gd name="T3" fmla="*/ 25 h 26"/>
                <a:gd name="T4" fmla="*/ 0 w 37"/>
                <a:gd name="T5" fmla="*/ 7 h 26"/>
                <a:gd name="T6" fmla="*/ 22 w 37"/>
                <a:gd name="T7" fmla="*/ 3 h 26"/>
                <a:gd name="T8" fmla="*/ 37 w 37"/>
                <a:gd name="T9" fmla="*/ 0 h 26"/>
                <a:gd name="T10" fmla="*/ 35 w 37"/>
                <a:gd name="T11" fmla="*/ 2 h 26"/>
                <a:gd name="T12" fmla="*/ 26 w 37"/>
                <a:gd name="T13" fmla="*/ 14 h 26"/>
                <a:gd name="T14" fmla="*/ 16 w 37"/>
                <a:gd name="T15" fmla="*/ 23 h 26"/>
                <a:gd name="T16" fmla="*/ 5 w 37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6">
                  <a:moveTo>
                    <a:pt x="5" y="25"/>
                  </a:moveTo>
                  <a:cubicBezTo>
                    <a:pt x="5" y="25"/>
                    <a:pt x="5" y="25"/>
                    <a:pt x="5" y="25"/>
                  </a:cubicBezTo>
                  <a:cubicBezTo>
                    <a:pt x="4" y="19"/>
                    <a:pt x="2" y="13"/>
                    <a:pt x="0" y="7"/>
                  </a:cubicBezTo>
                  <a:cubicBezTo>
                    <a:pt x="8" y="5"/>
                    <a:pt x="15" y="4"/>
                    <a:pt x="22" y="3"/>
                  </a:cubicBezTo>
                  <a:cubicBezTo>
                    <a:pt x="27" y="2"/>
                    <a:pt x="32" y="1"/>
                    <a:pt x="37" y="0"/>
                  </a:cubicBezTo>
                  <a:cubicBezTo>
                    <a:pt x="37" y="1"/>
                    <a:pt x="36" y="1"/>
                    <a:pt x="35" y="2"/>
                  </a:cubicBezTo>
                  <a:cubicBezTo>
                    <a:pt x="32" y="6"/>
                    <a:pt x="29" y="10"/>
                    <a:pt x="26" y="14"/>
                  </a:cubicBezTo>
                  <a:cubicBezTo>
                    <a:pt x="23" y="18"/>
                    <a:pt x="20" y="21"/>
                    <a:pt x="16" y="23"/>
                  </a:cubicBezTo>
                  <a:cubicBezTo>
                    <a:pt x="13" y="25"/>
                    <a:pt x="9" y="26"/>
                    <a:pt x="5" y="25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3" name="ïsḻíďè">
              <a:extLst>
                <a:ext uri="{FF2B5EF4-FFF2-40B4-BE49-F238E27FC236}">
                  <a16:creationId xmlns:a16="http://schemas.microsoft.com/office/drawing/2014/main" id="{FCCD72A8-38CB-4A19-879F-D99A7CBA61DF}"/>
                </a:ext>
              </a:extLst>
            </p:cNvPr>
            <p:cNvSpPr/>
            <p:nvPr/>
          </p:nvSpPr>
          <p:spPr bwMode="auto">
            <a:xfrm>
              <a:off x="3710140" y="3971717"/>
              <a:ext cx="176128" cy="122846"/>
            </a:xfrm>
            <a:custGeom>
              <a:avLst/>
              <a:gdLst>
                <a:gd name="T0" fmla="*/ 36 w 57"/>
                <a:gd name="T1" fmla="*/ 29 h 40"/>
                <a:gd name="T2" fmla="*/ 45 w 57"/>
                <a:gd name="T3" fmla="*/ 16 h 40"/>
                <a:gd name="T4" fmla="*/ 56 w 57"/>
                <a:gd name="T5" fmla="*/ 6 h 40"/>
                <a:gd name="T6" fmla="*/ 57 w 57"/>
                <a:gd name="T7" fmla="*/ 3 h 40"/>
                <a:gd name="T8" fmla="*/ 53 w 57"/>
                <a:gd name="T9" fmla="*/ 1 h 40"/>
                <a:gd name="T10" fmla="*/ 51 w 57"/>
                <a:gd name="T11" fmla="*/ 2 h 40"/>
                <a:gd name="T12" fmla="*/ 3 w 57"/>
                <a:gd name="T13" fmla="*/ 9 h 40"/>
                <a:gd name="T14" fmla="*/ 1 w 57"/>
                <a:gd name="T15" fmla="*/ 13 h 40"/>
                <a:gd name="T16" fmla="*/ 6 w 57"/>
                <a:gd name="T17" fmla="*/ 36 h 40"/>
                <a:gd name="T18" fmla="*/ 8 w 57"/>
                <a:gd name="T19" fmla="*/ 39 h 40"/>
                <a:gd name="T20" fmla="*/ 24 w 57"/>
                <a:gd name="T21" fmla="*/ 38 h 40"/>
                <a:gd name="T22" fmla="*/ 36 w 57"/>
                <a:gd name="T23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40">
                  <a:moveTo>
                    <a:pt x="36" y="29"/>
                  </a:moveTo>
                  <a:cubicBezTo>
                    <a:pt x="39" y="25"/>
                    <a:pt x="42" y="20"/>
                    <a:pt x="45" y="16"/>
                  </a:cubicBezTo>
                  <a:cubicBezTo>
                    <a:pt x="48" y="12"/>
                    <a:pt x="52" y="9"/>
                    <a:pt x="56" y="6"/>
                  </a:cubicBezTo>
                  <a:cubicBezTo>
                    <a:pt x="57" y="5"/>
                    <a:pt x="57" y="4"/>
                    <a:pt x="57" y="3"/>
                  </a:cubicBezTo>
                  <a:cubicBezTo>
                    <a:pt x="57" y="2"/>
                    <a:pt x="55" y="0"/>
                    <a:pt x="53" y="1"/>
                  </a:cubicBezTo>
                  <a:cubicBezTo>
                    <a:pt x="53" y="1"/>
                    <a:pt x="52" y="2"/>
                    <a:pt x="51" y="2"/>
                  </a:cubicBezTo>
                  <a:cubicBezTo>
                    <a:pt x="35" y="4"/>
                    <a:pt x="19" y="6"/>
                    <a:pt x="3" y="9"/>
                  </a:cubicBezTo>
                  <a:cubicBezTo>
                    <a:pt x="1" y="10"/>
                    <a:pt x="0" y="12"/>
                    <a:pt x="1" y="13"/>
                  </a:cubicBezTo>
                  <a:cubicBezTo>
                    <a:pt x="3" y="20"/>
                    <a:pt x="5" y="28"/>
                    <a:pt x="6" y="36"/>
                  </a:cubicBezTo>
                  <a:cubicBezTo>
                    <a:pt x="6" y="37"/>
                    <a:pt x="7" y="39"/>
                    <a:pt x="8" y="39"/>
                  </a:cubicBezTo>
                  <a:cubicBezTo>
                    <a:pt x="14" y="40"/>
                    <a:pt x="19" y="40"/>
                    <a:pt x="24" y="38"/>
                  </a:cubicBezTo>
                  <a:cubicBezTo>
                    <a:pt x="29" y="36"/>
                    <a:pt x="33" y="32"/>
                    <a:pt x="36" y="29"/>
                  </a:cubicBezTo>
                  <a:close/>
                </a:path>
              </a:pathLst>
            </a:custGeom>
            <a:solidFill>
              <a:srgbClr val="508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4" name="îṣľíḓé">
              <a:extLst>
                <a:ext uri="{FF2B5EF4-FFF2-40B4-BE49-F238E27FC236}">
                  <a16:creationId xmlns:a16="http://schemas.microsoft.com/office/drawing/2014/main" id="{7A33931E-AA99-49C9-A406-777ACF8D7D2C}"/>
                </a:ext>
              </a:extLst>
            </p:cNvPr>
            <p:cNvSpPr/>
            <p:nvPr/>
          </p:nvSpPr>
          <p:spPr bwMode="auto">
            <a:xfrm>
              <a:off x="3559174" y="3891794"/>
              <a:ext cx="153926" cy="119886"/>
            </a:xfrm>
            <a:custGeom>
              <a:avLst/>
              <a:gdLst>
                <a:gd name="T0" fmla="*/ 35 w 50"/>
                <a:gd name="T1" fmla="*/ 17 h 39"/>
                <a:gd name="T2" fmla="*/ 35 w 50"/>
                <a:gd name="T3" fmla="*/ 17 h 39"/>
                <a:gd name="T4" fmla="*/ 10 w 50"/>
                <a:gd name="T5" fmla="*/ 39 h 39"/>
                <a:gd name="T6" fmla="*/ 0 w 50"/>
                <a:gd name="T7" fmla="*/ 12 h 39"/>
                <a:gd name="T8" fmla="*/ 26 w 50"/>
                <a:gd name="T9" fmla="*/ 5 h 39"/>
                <a:gd name="T10" fmla="*/ 42 w 50"/>
                <a:gd name="T11" fmla="*/ 2 h 39"/>
                <a:gd name="T12" fmla="*/ 50 w 50"/>
                <a:gd name="T13" fmla="*/ 0 h 39"/>
                <a:gd name="T14" fmla="*/ 46 w 50"/>
                <a:gd name="T15" fmla="*/ 4 h 39"/>
                <a:gd name="T16" fmla="*/ 35 w 50"/>
                <a:gd name="T17" fmla="*/ 1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39">
                  <a:moveTo>
                    <a:pt x="35" y="17"/>
                  </a:moveTo>
                  <a:cubicBezTo>
                    <a:pt x="35" y="17"/>
                    <a:pt x="35" y="17"/>
                    <a:pt x="35" y="17"/>
                  </a:cubicBezTo>
                  <a:cubicBezTo>
                    <a:pt x="27" y="26"/>
                    <a:pt x="19" y="33"/>
                    <a:pt x="10" y="39"/>
                  </a:cubicBezTo>
                  <a:cubicBezTo>
                    <a:pt x="8" y="30"/>
                    <a:pt x="5" y="21"/>
                    <a:pt x="0" y="12"/>
                  </a:cubicBezTo>
                  <a:cubicBezTo>
                    <a:pt x="8" y="9"/>
                    <a:pt x="18" y="7"/>
                    <a:pt x="26" y="5"/>
                  </a:cubicBezTo>
                  <a:cubicBezTo>
                    <a:pt x="32" y="4"/>
                    <a:pt x="37" y="3"/>
                    <a:pt x="42" y="2"/>
                  </a:cubicBezTo>
                  <a:cubicBezTo>
                    <a:pt x="44" y="1"/>
                    <a:pt x="47" y="1"/>
                    <a:pt x="50" y="0"/>
                  </a:cubicBezTo>
                  <a:cubicBezTo>
                    <a:pt x="49" y="1"/>
                    <a:pt x="48" y="3"/>
                    <a:pt x="46" y="4"/>
                  </a:cubicBezTo>
                  <a:cubicBezTo>
                    <a:pt x="43" y="8"/>
                    <a:pt x="39" y="13"/>
                    <a:pt x="35" y="17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5" name="îṣ1íḑè">
              <a:extLst>
                <a:ext uri="{FF2B5EF4-FFF2-40B4-BE49-F238E27FC236}">
                  <a16:creationId xmlns:a16="http://schemas.microsoft.com/office/drawing/2014/main" id="{080F177A-0BD0-401B-BF4D-563D724F462A}"/>
                </a:ext>
              </a:extLst>
            </p:cNvPr>
            <p:cNvSpPr/>
            <p:nvPr/>
          </p:nvSpPr>
          <p:spPr bwMode="auto">
            <a:xfrm>
              <a:off x="3535493" y="3860712"/>
              <a:ext cx="223490" cy="173168"/>
            </a:xfrm>
            <a:custGeom>
              <a:avLst/>
              <a:gdLst>
                <a:gd name="T0" fmla="*/ 65 w 73"/>
                <a:gd name="T1" fmla="*/ 12 h 56"/>
                <a:gd name="T2" fmla="*/ 71 w 73"/>
                <a:gd name="T3" fmla="*/ 5 h 56"/>
                <a:gd name="T4" fmla="*/ 68 w 73"/>
                <a:gd name="T5" fmla="*/ 1 h 56"/>
                <a:gd name="T6" fmla="*/ 64 w 73"/>
                <a:gd name="T7" fmla="*/ 4 h 56"/>
                <a:gd name="T8" fmla="*/ 49 w 73"/>
                <a:gd name="T9" fmla="*/ 7 h 56"/>
                <a:gd name="T10" fmla="*/ 33 w 73"/>
                <a:gd name="T11" fmla="*/ 10 h 56"/>
                <a:gd name="T12" fmla="*/ 2 w 73"/>
                <a:gd name="T13" fmla="*/ 18 h 56"/>
                <a:gd name="T14" fmla="*/ 1 w 73"/>
                <a:gd name="T15" fmla="*/ 22 h 56"/>
                <a:gd name="T16" fmla="*/ 14 w 73"/>
                <a:gd name="T17" fmla="*/ 54 h 56"/>
                <a:gd name="T18" fmla="*/ 18 w 73"/>
                <a:gd name="T19" fmla="*/ 55 h 56"/>
                <a:gd name="T20" fmla="*/ 46 w 73"/>
                <a:gd name="T21" fmla="*/ 33 h 56"/>
                <a:gd name="T22" fmla="*/ 58 w 73"/>
                <a:gd name="T23" fmla="*/ 19 h 56"/>
                <a:gd name="T24" fmla="*/ 65 w 73"/>
                <a:gd name="T25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56">
                  <a:moveTo>
                    <a:pt x="65" y="12"/>
                  </a:moveTo>
                  <a:cubicBezTo>
                    <a:pt x="67" y="9"/>
                    <a:pt x="69" y="7"/>
                    <a:pt x="71" y="5"/>
                  </a:cubicBezTo>
                  <a:cubicBezTo>
                    <a:pt x="73" y="2"/>
                    <a:pt x="70" y="0"/>
                    <a:pt x="68" y="1"/>
                  </a:cubicBezTo>
                  <a:cubicBezTo>
                    <a:pt x="66" y="2"/>
                    <a:pt x="65" y="3"/>
                    <a:pt x="64" y="4"/>
                  </a:cubicBezTo>
                  <a:cubicBezTo>
                    <a:pt x="59" y="5"/>
                    <a:pt x="54" y="6"/>
                    <a:pt x="49" y="7"/>
                  </a:cubicBezTo>
                  <a:cubicBezTo>
                    <a:pt x="44" y="8"/>
                    <a:pt x="39" y="9"/>
                    <a:pt x="33" y="10"/>
                  </a:cubicBezTo>
                  <a:cubicBezTo>
                    <a:pt x="23" y="12"/>
                    <a:pt x="13" y="15"/>
                    <a:pt x="2" y="18"/>
                  </a:cubicBezTo>
                  <a:cubicBezTo>
                    <a:pt x="1" y="18"/>
                    <a:pt x="0" y="21"/>
                    <a:pt x="1" y="22"/>
                  </a:cubicBezTo>
                  <a:cubicBezTo>
                    <a:pt x="8" y="32"/>
                    <a:pt x="10" y="43"/>
                    <a:pt x="14" y="54"/>
                  </a:cubicBezTo>
                  <a:cubicBezTo>
                    <a:pt x="14" y="56"/>
                    <a:pt x="16" y="56"/>
                    <a:pt x="18" y="55"/>
                  </a:cubicBezTo>
                  <a:cubicBezTo>
                    <a:pt x="28" y="50"/>
                    <a:pt x="38" y="42"/>
                    <a:pt x="46" y="33"/>
                  </a:cubicBezTo>
                  <a:cubicBezTo>
                    <a:pt x="50" y="28"/>
                    <a:pt x="54" y="23"/>
                    <a:pt x="58" y="19"/>
                  </a:cubicBezTo>
                  <a:cubicBezTo>
                    <a:pt x="60" y="16"/>
                    <a:pt x="63" y="14"/>
                    <a:pt x="65" y="12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6" name="iś1ïḓe">
              <a:extLst>
                <a:ext uri="{FF2B5EF4-FFF2-40B4-BE49-F238E27FC236}">
                  <a16:creationId xmlns:a16="http://schemas.microsoft.com/office/drawing/2014/main" id="{16BB9E2A-355B-41B3-ACB7-D1A8C32DC688}"/>
                </a:ext>
              </a:extLst>
            </p:cNvPr>
            <p:cNvSpPr/>
            <p:nvPr/>
          </p:nvSpPr>
          <p:spPr bwMode="auto">
            <a:xfrm>
              <a:off x="3658337" y="3691985"/>
              <a:ext cx="131726" cy="68083"/>
            </a:xfrm>
            <a:custGeom>
              <a:avLst/>
              <a:gdLst>
                <a:gd name="T0" fmla="*/ 25 w 43"/>
                <a:gd name="T1" fmla="*/ 22 h 22"/>
                <a:gd name="T2" fmla="*/ 25 w 43"/>
                <a:gd name="T3" fmla="*/ 22 h 22"/>
                <a:gd name="T4" fmla="*/ 6 w 43"/>
                <a:gd name="T5" fmla="*/ 22 h 22"/>
                <a:gd name="T6" fmla="*/ 0 w 43"/>
                <a:gd name="T7" fmla="*/ 0 h 22"/>
                <a:gd name="T8" fmla="*/ 18 w 43"/>
                <a:gd name="T9" fmla="*/ 8 h 22"/>
                <a:gd name="T10" fmla="*/ 42 w 43"/>
                <a:gd name="T11" fmla="*/ 13 h 22"/>
                <a:gd name="T12" fmla="*/ 42 w 43"/>
                <a:gd name="T13" fmla="*/ 13 h 22"/>
                <a:gd name="T14" fmla="*/ 43 w 43"/>
                <a:gd name="T15" fmla="*/ 14 h 22"/>
                <a:gd name="T16" fmla="*/ 36 w 43"/>
                <a:gd name="T17" fmla="*/ 19 h 22"/>
                <a:gd name="T18" fmla="*/ 25 w 43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2">
                  <a:moveTo>
                    <a:pt x="25" y="22"/>
                  </a:moveTo>
                  <a:cubicBezTo>
                    <a:pt x="25" y="22"/>
                    <a:pt x="25" y="22"/>
                    <a:pt x="25" y="22"/>
                  </a:cubicBezTo>
                  <a:cubicBezTo>
                    <a:pt x="19" y="22"/>
                    <a:pt x="12" y="22"/>
                    <a:pt x="6" y="22"/>
                  </a:cubicBezTo>
                  <a:cubicBezTo>
                    <a:pt x="6" y="14"/>
                    <a:pt x="3" y="7"/>
                    <a:pt x="0" y="0"/>
                  </a:cubicBezTo>
                  <a:cubicBezTo>
                    <a:pt x="6" y="3"/>
                    <a:pt x="12" y="6"/>
                    <a:pt x="18" y="8"/>
                  </a:cubicBezTo>
                  <a:cubicBezTo>
                    <a:pt x="26" y="11"/>
                    <a:pt x="34" y="14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4"/>
                    <a:pt x="43" y="14"/>
                    <a:pt x="43" y="14"/>
                  </a:cubicBezTo>
                  <a:cubicBezTo>
                    <a:pt x="41" y="16"/>
                    <a:pt x="38" y="18"/>
                    <a:pt x="36" y="19"/>
                  </a:cubicBezTo>
                  <a:cubicBezTo>
                    <a:pt x="32" y="20"/>
                    <a:pt x="29" y="21"/>
                    <a:pt x="25" y="22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7" name="ï$1îḍè">
              <a:extLst>
                <a:ext uri="{FF2B5EF4-FFF2-40B4-BE49-F238E27FC236}">
                  <a16:creationId xmlns:a16="http://schemas.microsoft.com/office/drawing/2014/main" id="{B2D913B7-87D4-415E-B62B-323C62A18301}"/>
                </a:ext>
              </a:extLst>
            </p:cNvPr>
            <p:cNvSpPr/>
            <p:nvPr/>
          </p:nvSpPr>
          <p:spPr bwMode="auto">
            <a:xfrm>
              <a:off x="3627257" y="3660904"/>
              <a:ext cx="182048" cy="122846"/>
            </a:xfrm>
            <a:custGeom>
              <a:avLst/>
              <a:gdLst>
                <a:gd name="T0" fmla="*/ 54 w 59"/>
                <a:gd name="T1" fmla="*/ 18 h 40"/>
                <a:gd name="T2" fmla="*/ 5 w 59"/>
                <a:gd name="T3" fmla="*/ 1 h 40"/>
                <a:gd name="T4" fmla="*/ 1 w 59"/>
                <a:gd name="T5" fmla="*/ 6 h 40"/>
                <a:gd name="T6" fmla="*/ 10 w 59"/>
                <a:gd name="T7" fmla="*/ 36 h 40"/>
                <a:gd name="T8" fmla="*/ 13 w 59"/>
                <a:gd name="T9" fmla="*/ 39 h 40"/>
                <a:gd name="T10" fmla="*/ 36 w 59"/>
                <a:gd name="T11" fmla="*/ 38 h 40"/>
                <a:gd name="T12" fmla="*/ 59 w 59"/>
                <a:gd name="T13" fmla="*/ 28 h 40"/>
                <a:gd name="T14" fmla="*/ 59 w 59"/>
                <a:gd name="T15" fmla="*/ 26 h 40"/>
                <a:gd name="T16" fmla="*/ 58 w 59"/>
                <a:gd name="T17" fmla="*/ 23 h 40"/>
                <a:gd name="T18" fmla="*/ 57 w 59"/>
                <a:gd name="T19" fmla="*/ 22 h 40"/>
                <a:gd name="T20" fmla="*/ 56 w 59"/>
                <a:gd name="T21" fmla="*/ 21 h 40"/>
                <a:gd name="T22" fmla="*/ 54 w 59"/>
                <a:gd name="T23" fmla="*/ 1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40">
                  <a:moveTo>
                    <a:pt x="54" y="18"/>
                  </a:moveTo>
                  <a:cubicBezTo>
                    <a:pt x="36" y="18"/>
                    <a:pt x="21" y="7"/>
                    <a:pt x="5" y="1"/>
                  </a:cubicBezTo>
                  <a:cubicBezTo>
                    <a:pt x="2" y="0"/>
                    <a:pt x="0" y="4"/>
                    <a:pt x="1" y="6"/>
                  </a:cubicBezTo>
                  <a:cubicBezTo>
                    <a:pt x="6" y="15"/>
                    <a:pt x="10" y="25"/>
                    <a:pt x="10" y="36"/>
                  </a:cubicBezTo>
                  <a:cubicBezTo>
                    <a:pt x="10" y="38"/>
                    <a:pt x="11" y="40"/>
                    <a:pt x="13" y="39"/>
                  </a:cubicBezTo>
                  <a:cubicBezTo>
                    <a:pt x="21" y="39"/>
                    <a:pt x="29" y="39"/>
                    <a:pt x="36" y="38"/>
                  </a:cubicBezTo>
                  <a:cubicBezTo>
                    <a:pt x="45" y="38"/>
                    <a:pt x="54" y="35"/>
                    <a:pt x="59" y="28"/>
                  </a:cubicBezTo>
                  <a:cubicBezTo>
                    <a:pt x="59" y="27"/>
                    <a:pt x="59" y="26"/>
                    <a:pt x="59" y="26"/>
                  </a:cubicBezTo>
                  <a:cubicBezTo>
                    <a:pt x="59" y="25"/>
                    <a:pt x="59" y="24"/>
                    <a:pt x="58" y="23"/>
                  </a:cubicBezTo>
                  <a:cubicBezTo>
                    <a:pt x="58" y="23"/>
                    <a:pt x="57" y="22"/>
                    <a:pt x="57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0"/>
                    <a:pt x="56" y="18"/>
                    <a:pt x="54" y="18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8" name="išļiḋê">
              <a:extLst>
                <a:ext uri="{FF2B5EF4-FFF2-40B4-BE49-F238E27FC236}">
                  <a16:creationId xmlns:a16="http://schemas.microsoft.com/office/drawing/2014/main" id="{15CAB3BE-F593-4425-98FE-ED1A98A6DDCA}"/>
                </a:ext>
              </a:extLst>
            </p:cNvPr>
            <p:cNvSpPr/>
            <p:nvPr/>
          </p:nvSpPr>
          <p:spPr bwMode="auto">
            <a:xfrm>
              <a:off x="3921789" y="3814830"/>
              <a:ext cx="216089" cy="353735"/>
            </a:xfrm>
            <a:custGeom>
              <a:avLst/>
              <a:gdLst>
                <a:gd name="T0" fmla="*/ 58 w 70"/>
                <a:gd name="T1" fmla="*/ 115 h 115"/>
                <a:gd name="T2" fmla="*/ 58 w 70"/>
                <a:gd name="T3" fmla="*/ 115 h 115"/>
                <a:gd name="T4" fmla="*/ 57 w 70"/>
                <a:gd name="T5" fmla="*/ 115 h 115"/>
                <a:gd name="T6" fmla="*/ 57 w 70"/>
                <a:gd name="T7" fmla="*/ 115 h 115"/>
                <a:gd name="T8" fmla="*/ 55 w 70"/>
                <a:gd name="T9" fmla="*/ 114 h 115"/>
                <a:gd name="T10" fmla="*/ 54 w 70"/>
                <a:gd name="T11" fmla="*/ 114 h 115"/>
                <a:gd name="T12" fmla="*/ 54 w 70"/>
                <a:gd name="T13" fmla="*/ 114 h 115"/>
                <a:gd name="T14" fmla="*/ 50 w 70"/>
                <a:gd name="T15" fmla="*/ 112 h 115"/>
                <a:gd name="T16" fmla="*/ 50 w 70"/>
                <a:gd name="T17" fmla="*/ 111 h 115"/>
                <a:gd name="T18" fmla="*/ 49 w 70"/>
                <a:gd name="T19" fmla="*/ 111 h 115"/>
                <a:gd name="T20" fmla="*/ 48 w 70"/>
                <a:gd name="T21" fmla="*/ 109 h 115"/>
                <a:gd name="T22" fmla="*/ 44 w 70"/>
                <a:gd name="T23" fmla="*/ 105 h 115"/>
                <a:gd name="T24" fmla="*/ 42 w 70"/>
                <a:gd name="T25" fmla="*/ 102 h 115"/>
                <a:gd name="T26" fmla="*/ 42 w 70"/>
                <a:gd name="T27" fmla="*/ 102 h 115"/>
                <a:gd name="T28" fmla="*/ 42 w 70"/>
                <a:gd name="T29" fmla="*/ 102 h 115"/>
                <a:gd name="T30" fmla="*/ 41 w 70"/>
                <a:gd name="T31" fmla="*/ 100 h 115"/>
                <a:gd name="T32" fmla="*/ 33 w 70"/>
                <a:gd name="T33" fmla="*/ 89 h 115"/>
                <a:gd name="T34" fmla="*/ 26 w 70"/>
                <a:gd name="T35" fmla="*/ 75 h 115"/>
                <a:gd name="T36" fmla="*/ 23 w 70"/>
                <a:gd name="T37" fmla="*/ 68 h 115"/>
                <a:gd name="T38" fmla="*/ 22 w 70"/>
                <a:gd name="T39" fmla="*/ 64 h 115"/>
                <a:gd name="T40" fmla="*/ 21 w 70"/>
                <a:gd name="T41" fmla="*/ 62 h 115"/>
                <a:gd name="T42" fmla="*/ 21 w 70"/>
                <a:gd name="T43" fmla="*/ 62 h 115"/>
                <a:gd name="T44" fmla="*/ 20 w 70"/>
                <a:gd name="T45" fmla="*/ 61 h 115"/>
                <a:gd name="T46" fmla="*/ 0 w 70"/>
                <a:gd name="T47" fmla="*/ 0 h 115"/>
                <a:gd name="T48" fmla="*/ 0 w 70"/>
                <a:gd name="T49" fmla="*/ 0 h 115"/>
                <a:gd name="T50" fmla="*/ 4 w 70"/>
                <a:gd name="T51" fmla="*/ 5 h 115"/>
                <a:gd name="T52" fmla="*/ 6 w 70"/>
                <a:gd name="T53" fmla="*/ 10 h 115"/>
                <a:gd name="T54" fmla="*/ 30 w 70"/>
                <a:gd name="T55" fmla="*/ 63 h 115"/>
                <a:gd name="T56" fmla="*/ 49 w 70"/>
                <a:gd name="T57" fmla="*/ 92 h 115"/>
                <a:gd name="T58" fmla="*/ 70 w 70"/>
                <a:gd name="T59" fmla="*/ 106 h 115"/>
                <a:gd name="T60" fmla="*/ 68 w 70"/>
                <a:gd name="T61" fmla="*/ 109 h 115"/>
                <a:gd name="T62" fmla="*/ 67 w 70"/>
                <a:gd name="T63" fmla="*/ 110 h 115"/>
                <a:gd name="T64" fmla="*/ 66 w 70"/>
                <a:gd name="T65" fmla="*/ 111 h 115"/>
                <a:gd name="T66" fmla="*/ 64 w 70"/>
                <a:gd name="T67" fmla="*/ 113 h 115"/>
                <a:gd name="T68" fmla="*/ 64 w 70"/>
                <a:gd name="T69" fmla="*/ 113 h 115"/>
                <a:gd name="T70" fmla="*/ 64 w 70"/>
                <a:gd name="T71" fmla="*/ 113 h 115"/>
                <a:gd name="T72" fmla="*/ 63 w 70"/>
                <a:gd name="T73" fmla="*/ 113 h 115"/>
                <a:gd name="T74" fmla="*/ 61 w 70"/>
                <a:gd name="T75" fmla="*/ 114 h 115"/>
                <a:gd name="T76" fmla="*/ 61 w 70"/>
                <a:gd name="T77" fmla="*/ 114 h 115"/>
                <a:gd name="T78" fmla="*/ 61 w 70"/>
                <a:gd name="T79" fmla="*/ 115 h 115"/>
                <a:gd name="T80" fmla="*/ 60 w 70"/>
                <a:gd name="T81" fmla="*/ 115 h 115"/>
                <a:gd name="T82" fmla="*/ 59 w 70"/>
                <a:gd name="T83" fmla="*/ 115 h 115"/>
                <a:gd name="T84" fmla="*/ 58 w 70"/>
                <a:gd name="T85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0" h="115">
                  <a:moveTo>
                    <a:pt x="58" y="115"/>
                  </a:moveTo>
                  <a:cubicBezTo>
                    <a:pt x="58" y="115"/>
                    <a:pt x="58" y="115"/>
                    <a:pt x="58" y="115"/>
                  </a:cubicBezTo>
                  <a:cubicBezTo>
                    <a:pt x="57" y="115"/>
                    <a:pt x="57" y="115"/>
                    <a:pt x="57" y="115"/>
                  </a:cubicBezTo>
                  <a:cubicBezTo>
                    <a:pt x="57" y="115"/>
                    <a:pt x="57" y="115"/>
                    <a:pt x="57" y="115"/>
                  </a:cubicBezTo>
                  <a:cubicBezTo>
                    <a:pt x="56" y="115"/>
                    <a:pt x="56" y="115"/>
                    <a:pt x="55" y="114"/>
                  </a:cubicBezTo>
                  <a:cubicBezTo>
                    <a:pt x="55" y="114"/>
                    <a:pt x="55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3" y="113"/>
                    <a:pt x="51" y="113"/>
                    <a:pt x="50" y="112"/>
                  </a:cubicBezTo>
                  <a:cubicBezTo>
                    <a:pt x="50" y="111"/>
                    <a:pt x="50" y="111"/>
                    <a:pt x="50" y="111"/>
                  </a:cubicBezTo>
                  <a:cubicBezTo>
                    <a:pt x="50" y="111"/>
                    <a:pt x="49" y="111"/>
                    <a:pt x="49" y="111"/>
                  </a:cubicBezTo>
                  <a:cubicBezTo>
                    <a:pt x="49" y="110"/>
                    <a:pt x="48" y="110"/>
                    <a:pt x="48" y="109"/>
                  </a:cubicBezTo>
                  <a:cubicBezTo>
                    <a:pt x="46" y="108"/>
                    <a:pt x="45" y="106"/>
                    <a:pt x="44" y="105"/>
                  </a:cubicBezTo>
                  <a:cubicBezTo>
                    <a:pt x="43" y="104"/>
                    <a:pt x="43" y="103"/>
                    <a:pt x="42" y="102"/>
                  </a:cubicBezTo>
                  <a:cubicBezTo>
                    <a:pt x="42" y="102"/>
                    <a:pt x="42" y="102"/>
                    <a:pt x="42" y="102"/>
                  </a:cubicBezTo>
                  <a:cubicBezTo>
                    <a:pt x="42" y="102"/>
                    <a:pt x="42" y="102"/>
                    <a:pt x="42" y="102"/>
                  </a:cubicBezTo>
                  <a:cubicBezTo>
                    <a:pt x="41" y="101"/>
                    <a:pt x="41" y="101"/>
                    <a:pt x="41" y="100"/>
                  </a:cubicBezTo>
                  <a:cubicBezTo>
                    <a:pt x="38" y="97"/>
                    <a:pt x="35" y="93"/>
                    <a:pt x="33" y="89"/>
                  </a:cubicBezTo>
                  <a:cubicBezTo>
                    <a:pt x="31" y="84"/>
                    <a:pt x="28" y="80"/>
                    <a:pt x="26" y="75"/>
                  </a:cubicBezTo>
                  <a:cubicBezTo>
                    <a:pt x="25" y="72"/>
                    <a:pt x="24" y="70"/>
                    <a:pt x="23" y="68"/>
                  </a:cubicBezTo>
                  <a:cubicBezTo>
                    <a:pt x="23" y="66"/>
                    <a:pt x="22" y="65"/>
                    <a:pt x="22" y="64"/>
                  </a:cubicBezTo>
                  <a:cubicBezTo>
                    <a:pt x="21" y="63"/>
                    <a:pt x="21" y="63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1"/>
                    <a:pt x="20" y="61"/>
                    <a:pt x="20" y="61"/>
                  </a:cubicBezTo>
                  <a:cubicBezTo>
                    <a:pt x="12" y="41"/>
                    <a:pt x="6" y="2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3" y="4"/>
                    <a:pt x="4" y="5"/>
                  </a:cubicBezTo>
                  <a:cubicBezTo>
                    <a:pt x="5" y="7"/>
                    <a:pt x="5" y="8"/>
                    <a:pt x="6" y="10"/>
                  </a:cubicBezTo>
                  <a:cubicBezTo>
                    <a:pt x="13" y="28"/>
                    <a:pt x="21" y="47"/>
                    <a:pt x="30" y="63"/>
                  </a:cubicBezTo>
                  <a:cubicBezTo>
                    <a:pt x="36" y="73"/>
                    <a:pt x="42" y="83"/>
                    <a:pt x="49" y="92"/>
                  </a:cubicBezTo>
                  <a:cubicBezTo>
                    <a:pt x="54" y="99"/>
                    <a:pt x="61" y="105"/>
                    <a:pt x="70" y="106"/>
                  </a:cubicBezTo>
                  <a:cubicBezTo>
                    <a:pt x="69" y="107"/>
                    <a:pt x="69" y="108"/>
                    <a:pt x="68" y="109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10"/>
                    <a:pt x="67" y="110"/>
                    <a:pt x="66" y="111"/>
                  </a:cubicBezTo>
                  <a:cubicBezTo>
                    <a:pt x="66" y="111"/>
                    <a:pt x="65" y="112"/>
                    <a:pt x="64" y="113"/>
                  </a:cubicBezTo>
                  <a:cubicBezTo>
                    <a:pt x="64" y="113"/>
                    <a:pt x="64" y="113"/>
                    <a:pt x="64" y="113"/>
                  </a:cubicBezTo>
                  <a:cubicBezTo>
                    <a:pt x="64" y="113"/>
                    <a:pt x="64" y="113"/>
                    <a:pt x="64" y="113"/>
                  </a:cubicBezTo>
                  <a:cubicBezTo>
                    <a:pt x="64" y="113"/>
                    <a:pt x="64" y="113"/>
                    <a:pt x="63" y="113"/>
                  </a:cubicBezTo>
                  <a:cubicBezTo>
                    <a:pt x="63" y="114"/>
                    <a:pt x="62" y="114"/>
                    <a:pt x="61" y="114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61" y="115"/>
                    <a:pt x="61" y="115"/>
                    <a:pt x="61" y="115"/>
                  </a:cubicBezTo>
                  <a:cubicBezTo>
                    <a:pt x="60" y="115"/>
                    <a:pt x="60" y="115"/>
                    <a:pt x="60" y="115"/>
                  </a:cubicBezTo>
                  <a:cubicBezTo>
                    <a:pt x="59" y="115"/>
                    <a:pt x="59" y="115"/>
                    <a:pt x="59" y="115"/>
                  </a:cubicBezTo>
                  <a:cubicBezTo>
                    <a:pt x="59" y="115"/>
                    <a:pt x="58" y="115"/>
                    <a:pt x="58" y="115"/>
                  </a:cubicBezTo>
                  <a:close/>
                </a:path>
              </a:pathLst>
            </a:custGeom>
            <a:solidFill>
              <a:srgbClr val="3767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9" name="ïšľiḑe">
              <a:extLst>
                <a:ext uri="{FF2B5EF4-FFF2-40B4-BE49-F238E27FC236}">
                  <a16:creationId xmlns:a16="http://schemas.microsoft.com/office/drawing/2014/main" id="{72E937B3-C2A3-4144-8692-27036A16955E}"/>
                </a:ext>
              </a:extLst>
            </p:cNvPr>
            <p:cNvSpPr/>
            <p:nvPr/>
          </p:nvSpPr>
          <p:spPr bwMode="auto">
            <a:xfrm>
              <a:off x="4089036" y="4165605"/>
              <a:ext cx="2960" cy="0"/>
            </a:xfrm>
            <a:custGeom>
              <a:avLst/>
              <a:gdLst>
                <a:gd name="T0" fmla="*/ 0 w 1"/>
                <a:gd name="T1" fmla="*/ 0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0" name="iṡľiḍè">
              <a:extLst>
                <a:ext uri="{FF2B5EF4-FFF2-40B4-BE49-F238E27FC236}">
                  <a16:creationId xmlns:a16="http://schemas.microsoft.com/office/drawing/2014/main" id="{5FF79867-0B8C-4B77-A774-B7F8EB7CFCA7}"/>
                </a:ext>
              </a:extLst>
            </p:cNvPr>
            <p:cNvSpPr/>
            <p:nvPr/>
          </p:nvSpPr>
          <p:spPr bwMode="auto">
            <a:xfrm>
              <a:off x="4285884" y="1593256"/>
              <a:ext cx="113965" cy="94724"/>
            </a:xfrm>
            <a:custGeom>
              <a:avLst/>
              <a:gdLst>
                <a:gd name="T0" fmla="*/ 10 w 37"/>
                <a:gd name="T1" fmla="*/ 21 h 31"/>
                <a:gd name="T2" fmla="*/ 11 w 37"/>
                <a:gd name="T3" fmla="*/ 17 h 31"/>
                <a:gd name="T4" fmla="*/ 17 w 37"/>
                <a:gd name="T5" fmla="*/ 10 h 31"/>
                <a:gd name="T6" fmla="*/ 16 w 37"/>
                <a:gd name="T7" fmla="*/ 7 h 31"/>
                <a:gd name="T8" fmla="*/ 8 w 37"/>
                <a:gd name="T9" fmla="*/ 29 h 31"/>
                <a:gd name="T10" fmla="*/ 16 w 37"/>
                <a:gd name="T11" fmla="*/ 31 h 31"/>
                <a:gd name="T12" fmla="*/ 27 w 37"/>
                <a:gd name="T13" fmla="*/ 29 h 31"/>
                <a:gd name="T14" fmla="*/ 36 w 37"/>
                <a:gd name="T15" fmla="*/ 18 h 31"/>
                <a:gd name="T16" fmla="*/ 30 w 37"/>
                <a:gd name="T17" fmla="*/ 4 h 31"/>
                <a:gd name="T18" fmla="*/ 12 w 37"/>
                <a:gd name="T19" fmla="*/ 4 h 31"/>
                <a:gd name="T20" fmla="*/ 12 w 37"/>
                <a:gd name="T21" fmla="*/ 6 h 31"/>
                <a:gd name="T22" fmla="*/ 22 w 37"/>
                <a:gd name="T23" fmla="*/ 6 h 31"/>
                <a:gd name="T24" fmla="*/ 29 w 37"/>
                <a:gd name="T25" fmla="*/ 8 h 31"/>
                <a:gd name="T26" fmla="*/ 32 w 37"/>
                <a:gd name="T27" fmla="*/ 18 h 31"/>
                <a:gd name="T28" fmla="*/ 22 w 37"/>
                <a:gd name="T29" fmla="*/ 27 h 31"/>
                <a:gd name="T30" fmla="*/ 12 w 37"/>
                <a:gd name="T31" fmla="*/ 27 h 31"/>
                <a:gd name="T32" fmla="*/ 9 w 37"/>
                <a:gd name="T33" fmla="*/ 24 h 31"/>
                <a:gd name="T34" fmla="*/ 9 w 37"/>
                <a:gd name="T35" fmla="*/ 23 h 31"/>
                <a:gd name="T36" fmla="*/ 9 w 37"/>
                <a:gd name="T37" fmla="*/ 23 h 31"/>
                <a:gd name="T38" fmla="*/ 10 w 37"/>
                <a:gd name="T39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" h="31">
                  <a:moveTo>
                    <a:pt x="10" y="21"/>
                  </a:moveTo>
                  <a:cubicBezTo>
                    <a:pt x="10" y="20"/>
                    <a:pt x="11" y="18"/>
                    <a:pt x="11" y="17"/>
                  </a:cubicBezTo>
                  <a:cubicBezTo>
                    <a:pt x="13" y="14"/>
                    <a:pt x="15" y="12"/>
                    <a:pt x="17" y="10"/>
                  </a:cubicBezTo>
                  <a:cubicBezTo>
                    <a:pt x="19" y="9"/>
                    <a:pt x="17" y="6"/>
                    <a:pt x="16" y="7"/>
                  </a:cubicBezTo>
                  <a:cubicBezTo>
                    <a:pt x="10" y="11"/>
                    <a:pt x="0" y="23"/>
                    <a:pt x="8" y="29"/>
                  </a:cubicBezTo>
                  <a:cubicBezTo>
                    <a:pt x="11" y="31"/>
                    <a:pt x="14" y="31"/>
                    <a:pt x="16" y="31"/>
                  </a:cubicBezTo>
                  <a:cubicBezTo>
                    <a:pt x="20" y="31"/>
                    <a:pt x="24" y="31"/>
                    <a:pt x="27" y="29"/>
                  </a:cubicBezTo>
                  <a:cubicBezTo>
                    <a:pt x="31" y="27"/>
                    <a:pt x="35" y="23"/>
                    <a:pt x="36" y="18"/>
                  </a:cubicBezTo>
                  <a:cubicBezTo>
                    <a:pt x="37" y="13"/>
                    <a:pt x="35" y="8"/>
                    <a:pt x="30" y="4"/>
                  </a:cubicBezTo>
                  <a:cubicBezTo>
                    <a:pt x="26" y="1"/>
                    <a:pt x="17" y="0"/>
                    <a:pt x="12" y="4"/>
                  </a:cubicBezTo>
                  <a:cubicBezTo>
                    <a:pt x="11" y="4"/>
                    <a:pt x="11" y="6"/>
                    <a:pt x="12" y="6"/>
                  </a:cubicBezTo>
                  <a:cubicBezTo>
                    <a:pt x="16" y="6"/>
                    <a:pt x="19" y="5"/>
                    <a:pt x="22" y="6"/>
                  </a:cubicBezTo>
                  <a:cubicBezTo>
                    <a:pt x="24" y="6"/>
                    <a:pt x="27" y="7"/>
                    <a:pt x="29" y="8"/>
                  </a:cubicBezTo>
                  <a:cubicBezTo>
                    <a:pt x="31" y="10"/>
                    <a:pt x="33" y="14"/>
                    <a:pt x="32" y="18"/>
                  </a:cubicBezTo>
                  <a:cubicBezTo>
                    <a:pt x="31" y="23"/>
                    <a:pt x="26" y="26"/>
                    <a:pt x="22" y="27"/>
                  </a:cubicBezTo>
                  <a:cubicBezTo>
                    <a:pt x="19" y="28"/>
                    <a:pt x="15" y="28"/>
                    <a:pt x="12" y="27"/>
                  </a:cubicBezTo>
                  <a:cubicBezTo>
                    <a:pt x="10" y="26"/>
                    <a:pt x="9" y="25"/>
                    <a:pt x="9" y="24"/>
                  </a:cubicBezTo>
                  <a:cubicBezTo>
                    <a:pt x="9" y="24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2"/>
                    <a:pt x="9" y="21"/>
                    <a:pt x="10" y="21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1" name="îśľïḍe">
              <a:extLst>
                <a:ext uri="{FF2B5EF4-FFF2-40B4-BE49-F238E27FC236}">
                  <a16:creationId xmlns:a16="http://schemas.microsoft.com/office/drawing/2014/main" id="{B3B5516F-3B86-40F1-90DA-DCE3032418FF}"/>
                </a:ext>
              </a:extLst>
            </p:cNvPr>
            <p:cNvSpPr/>
            <p:nvPr/>
          </p:nvSpPr>
          <p:spPr bwMode="auto">
            <a:xfrm>
              <a:off x="4006153" y="2121639"/>
              <a:ext cx="69563" cy="85844"/>
            </a:xfrm>
            <a:custGeom>
              <a:avLst/>
              <a:gdLst>
                <a:gd name="T0" fmla="*/ 4 w 23"/>
                <a:gd name="T1" fmla="*/ 6 h 28"/>
                <a:gd name="T2" fmla="*/ 4 w 23"/>
                <a:gd name="T3" fmla="*/ 6 h 28"/>
                <a:gd name="T4" fmla="*/ 5 w 23"/>
                <a:gd name="T5" fmla="*/ 5 h 28"/>
                <a:gd name="T6" fmla="*/ 6 w 23"/>
                <a:gd name="T7" fmla="*/ 5 h 28"/>
                <a:gd name="T8" fmla="*/ 8 w 23"/>
                <a:gd name="T9" fmla="*/ 4 h 28"/>
                <a:gd name="T10" fmla="*/ 9 w 23"/>
                <a:gd name="T11" fmla="*/ 3 h 28"/>
                <a:gd name="T12" fmla="*/ 11 w 23"/>
                <a:gd name="T13" fmla="*/ 3 h 28"/>
                <a:gd name="T14" fmla="*/ 11 w 23"/>
                <a:gd name="T15" fmla="*/ 3 h 28"/>
                <a:gd name="T16" fmla="*/ 11 w 23"/>
                <a:gd name="T17" fmla="*/ 2 h 28"/>
                <a:gd name="T18" fmla="*/ 12 w 23"/>
                <a:gd name="T19" fmla="*/ 1 h 28"/>
                <a:gd name="T20" fmla="*/ 13 w 23"/>
                <a:gd name="T21" fmla="*/ 1 h 28"/>
                <a:gd name="T22" fmla="*/ 14 w 23"/>
                <a:gd name="T23" fmla="*/ 1 h 28"/>
                <a:gd name="T24" fmla="*/ 15 w 23"/>
                <a:gd name="T25" fmla="*/ 0 h 28"/>
                <a:gd name="T26" fmla="*/ 16 w 23"/>
                <a:gd name="T27" fmla="*/ 0 h 28"/>
                <a:gd name="T28" fmla="*/ 16 w 23"/>
                <a:gd name="T29" fmla="*/ 0 h 28"/>
                <a:gd name="T30" fmla="*/ 17 w 23"/>
                <a:gd name="T31" fmla="*/ 0 h 28"/>
                <a:gd name="T32" fmla="*/ 17 w 23"/>
                <a:gd name="T33" fmla="*/ 0 h 28"/>
                <a:gd name="T34" fmla="*/ 18 w 23"/>
                <a:gd name="T35" fmla="*/ 0 h 28"/>
                <a:gd name="T36" fmla="*/ 18 w 23"/>
                <a:gd name="T37" fmla="*/ 1 h 28"/>
                <a:gd name="T38" fmla="*/ 19 w 23"/>
                <a:gd name="T39" fmla="*/ 1 h 28"/>
                <a:gd name="T40" fmla="*/ 19 w 23"/>
                <a:gd name="T41" fmla="*/ 1 h 28"/>
                <a:gd name="T42" fmla="*/ 20 w 23"/>
                <a:gd name="T43" fmla="*/ 3 h 28"/>
                <a:gd name="T44" fmla="*/ 21 w 23"/>
                <a:gd name="T45" fmla="*/ 3 h 28"/>
                <a:gd name="T46" fmla="*/ 21 w 23"/>
                <a:gd name="T47" fmla="*/ 4 h 28"/>
                <a:gd name="T48" fmla="*/ 22 w 23"/>
                <a:gd name="T49" fmla="*/ 5 h 28"/>
                <a:gd name="T50" fmla="*/ 22 w 23"/>
                <a:gd name="T51" fmla="*/ 5 h 28"/>
                <a:gd name="T52" fmla="*/ 22 w 23"/>
                <a:gd name="T53" fmla="*/ 6 h 28"/>
                <a:gd name="T54" fmla="*/ 23 w 23"/>
                <a:gd name="T55" fmla="*/ 10 h 28"/>
                <a:gd name="T56" fmla="*/ 23 w 23"/>
                <a:gd name="T57" fmla="*/ 10 h 28"/>
                <a:gd name="T58" fmla="*/ 23 w 23"/>
                <a:gd name="T59" fmla="*/ 11 h 28"/>
                <a:gd name="T60" fmla="*/ 23 w 23"/>
                <a:gd name="T61" fmla="*/ 12 h 28"/>
                <a:gd name="T62" fmla="*/ 23 w 23"/>
                <a:gd name="T63" fmla="*/ 15 h 28"/>
                <a:gd name="T64" fmla="*/ 23 w 23"/>
                <a:gd name="T65" fmla="*/ 17 h 28"/>
                <a:gd name="T66" fmla="*/ 22 w 23"/>
                <a:gd name="T67" fmla="*/ 18 h 28"/>
                <a:gd name="T68" fmla="*/ 22 w 23"/>
                <a:gd name="T69" fmla="*/ 19 h 28"/>
                <a:gd name="T70" fmla="*/ 22 w 23"/>
                <a:gd name="T71" fmla="*/ 21 h 28"/>
                <a:gd name="T72" fmla="*/ 22 w 23"/>
                <a:gd name="T73" fmla="*/ 22 h 28"/>
                <a:gd name="T74" fmla="*/ 21 w 23"/>
                <a:gd name="T75" fmla="*/ 23 h 28"/>
                <a:gd name="T76" fmla="*/ 20 w 23"/>
                <a:gd name="T77" fmla="*/ 25 h 28"/>
                <a:gd name="T78" fmla="*/ 20 w 23"/>
                <a:gd name="T79" fmla="*/ 25 h 28"/>
                <a:gd name="T80" fmla="*/ 19 w 23"/>
                <a:gd name="T81" fmla="*/ 26 h 28"/>
                <a:gd name="T82" fmla="*/ 19 w 23"/>
                <a:gd name="T83" fmla="*/ 26 h 28"/>
                <a:gd name="T84" fmla="*/ 18 w 23"/>
                <a:gd name="T85" fmla="*/ 27 h 28"/>
                <a:gd name="T86" fmla="*/ 17 w 23"/>
                <a:gd name="T87" fmla="*/ 27 h 28"/>
                <a:gd name="T88" fmla="*/ 16 w 23"/>
                <a:gd name="T89" fmla="*/ 28 h 28"/>
                <a:gd name="T90" fmla="*/ 15 w 23"/>
                <a:gd name="T91" fmla="*/ 28 h 28"/>
                <a:gd name="T92" fmla="*/ 15 w 23"/>
                <a:gd name="T93" fmla="*/ 28 h 28"/>
                <a:gd name="T94" fmla="*/ 15 w 23"/>
                <a:gd name="T95" fmla="*/ 28 h 28"/>
                <a:gd name="T96" fmla="*/ 12 w 23"/>
                <a:gd name="T97" fmla="*/ 28 h 28"/>
                <a:gd name="T98" fmla="*/ 11 w 23"/>
                <a:gd name="T99" fmla="*/ 28 h 28"/>
                <a:gd name="T100" fmla="*/ 9 w 23"/>
                <a:gd name="T101" fmla="*/ 27 h 28"/>
                <a:gd name="T102" fmla="*/ 8 w 23"/>
                <a:gd name="T103" fmla="*/ 27 h 28"/>
                <a:gd name="T104" fmla="*/ 7 w 23"/>
                <a:gd name="T105" fmla="*/ 27 h 28"/>
                <a:gd name="T106" fmla="*/ 7 w 23"/>
                <a:gd name="T107" fmla="*/ 26 h 28"/>
                <a:gd name="T108" fmla="*/ 4 w 23"/>
                <a:gd name="T109" fmla="*/ 24 h 28"/>
                <a:gd name="T110" fmla="*/ 2 w 23"/>
                <a:gd name="T111" fmla="*/ 21 h 28"/>
                <a:gd name="T112" fmla="*/ 4 w 23"/>
                <a:gd name="T113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" h="28"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8" y="4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9" y="3"/>
                    <a:pt x="10" y="3"/>
                    <a:pt x="11" y="3"/>
                  </a:cubicBezTo>
                  <a:cubicBezTo>
                    <a:pt x="11" y="3"/>
                    <a:pt x="11" y="2"/>
                    <a:pt x="11" y="3"/>
                  </a:cubicBezTo>
                  <a:cubicBezTo>
                    <a:pt x="12" y="2"/>
                    <a:pt x="12" y="2"/>
                    <a:pt x="11" y="2"/>
                  </a:cubicBezTo>
                  <a:cubicBezTo>
                    <a:pt x="12" y="2"/>
                    <a:pt x="12" y="2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4" y="1"/>
                    <a:pt x="14" y="1"/>
                  </a:cubicBezTo>
                  <a:cubicBezTo>
                    <a:pt x="14" y="1"/>
                    <a:pt x="15" y="0"/>
                    <a:pt x="15" y="0"/>
                  </a:cubicBezTo>
                  <a:cubicBezTo>
                    <a:pt x="15" y="0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8" y="0"/>
                  </a:cubicBezTo>
                  <a:cubicBezTo>
                    <a:pt x="18" y="0"/>
                    <a:pt x="18" y="1"/>
                    <a:pt x="18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2"/>
                    <a:pt x="20" y="2"/>
                    <a:pt x="20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7"/>
                    <a:pt x="22" y="9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2"/>
                    <a:pt x="23" y="12"/>
                  </a:cubicBezTo>
                  <a:cubicBezTo>
                    <a:pt x="23" y="13"/>
                    <a:pt x="23" y="14"/>
                    <a:pt x="23" y="15"/>
                  </a:cubicBezTo>
                  <a:cubicBezTo>
                    <a:pt x="23" y="15"/>
                    <a:pt x="23" y="16"/>
                    <a:pt x="23" y="17"/>
                  </a:cubicBezTo>
                  <a:cubicBezTo>
                    <a:pt x="23" y="17"/>
                    <a:pt x="23" y="18"/>
                    <a:pt x="22" y="18"/>
                  </a:cubicBezTo>
                  <a:cubicBezTo>
                    <a:pt x="22" y="18"/>
                    <a:pt x="22" y="19"/>
                    <a:pt x="22" y="19"/>
                  </a:cubicBezTo>
                  <a:cubicBezTo>
                    <a:pt x="22" y="20"/>
                    <a:pt x="22" y="21"/>
                    <a:pt x="22" y="21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2"/>
                    <a:pt x="21" y="23"/>
                    <a:pt x="21" y="23"/>
                  </a:cubicBezTo>
                  <a:cubicBezTo>
                    <a:pt x="21" y="24"/>
                    <a:pt x="21" y="24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4" y="28"/>
                    <a:pt x="13" y="28"/>
                    <a:pt x="12" y="28"/>
                  </a:cubicBezTo>
                  <a:cubicBezTo>
                    <a:pt x="12" y="28"/>
                    <a:pt x="11" y="28"/>
                    <a:pt x="11" y="28"/>
                  </a:cubicBezTo>
                  <a:cubicBezTo>
                    <a:pt x="10" y="28"/>
                    <a:pt x="10" y="27"/>
                    <a:pt x="9" y="27"/>
                  </a:cubicBezTo>
                  <a:cubicBezTo>
                    <a:pt x="9" y="27"/>
                    <a:pt x="8" y="27"/>
                    <a:pt x="8" y="27"/>
                  </a:cubicBezTo>
                  <a:cubicBezTo>
                    <a:pt x="8" y="27"/>
                    <a:pt x="8" y="27"/>
                    <a:pt x="7" y="27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5" y="26"/>
                    <a:pt x="5" y="25"/>
                    <a:pt x="4" y="24"/>
                  </a:cubicBezTo>
                  <a:cubicBezTo>
                    <a:pt x="3" y="23"/>
                    <a:pt x="2" y="22"/>
                    <a:pt x="2" y="21"/>
                  </a:cubicBezTo>
                  <a:cubicBezTo>
                    <a:pt x="0" y="16"/>
                    <a:pt x="2" y="10"/>
                    <a:pt x="4" y="6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2" name="íSlïḑé">
              <a:extLst>
                <a:ext uri="{FF2B5EF4-FFF2-40B4-BE49-F238E27FC236}">
                  <a16:creationId xmlns:a16="http://schemas.microsoft.com/office/drawing/2014/main" id="{202A7307-17F5-4077-AE74-B2933159E496}"/>
                </a:ext>
              </a:extLst>
            </p:cNvPr>
            <p:cNvSpPr/>
            <p:nvPr/>
          </p:nvSpPr>
          <p:spPr bwMode="auto">
            <a:xfrm>
              <a:off x="4075715" y="2155680"/>
              <a:ext cx="1481" cy="1481"/>
            </a:xfrm>
            <a:prstGeom prst="rect">
              <a:avLst/>
            </a:pr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3" name="ís1iḋê">
              <a:extLst>
                <a:ext uri="{FF2B5EF4-FFF2-40B4-BE49-F238E27FC236}">
                  <a16:creationId xmlns:a16="http://schemas.microsoft.com/office/drawing/2014/main" id="{AEA08BD5-D014-4B08-A464-202A7E8C3B46}"/>
                </a:ext>
              </a:extLst>
            </p:cNvPr>
            <p:cNvSpPr/>
            <p:nvPr/>
          </p:nvSpPr>
          <p:spPr bwMode="auto">
            <a:xfrm>
              <a:off x="3983951" y="2100918"/>
              <a:ext cx="113965" cy="137646"/>
            </a:xfrm>
            <a:custGeom>
              <a:avLst/>
              <a:gdLst>
                <a:gd name="T0" fmla="*/ 27 w 37"/>
                <a:gd name="T1" fmla="*/ 41 h 45"/>
                <a:gd name="T2" fmla="*/ 36 w 37"/>
                <a:gd name="T3" fmla="*/ 22 h 45"/>
                <a:gd name="T4" fmla="*/ 29 w 37"/>
                <a:gd name="T5" fmla="*/ 3 h 45"/>
                <a:gd name="T6" fmla="*/ 20 w 37"/>
                <a:gd name="T7" fmla="*/ 1 h 45"/>
                <a:gd name="T8" fmla="*/ 20 w 37"/>
                <a:gd name="T9" fmla="*/ 1 h 45"/>
                <a:gd name="T10" fmla="*/ 3 w 37"/>
                <a:gd name="T11" fmla="*/ 29 h 45"/>
                <a:gd name="T12" fmla="*/ 27 w 37"/>
                <a:gd name="T1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45">
                  <a:moveTo>
                    <a:pt x="27" y="41"/>
                  </a:moveTo>
                  <a:cubicBezTo>
                    <a:pt x="33" y="37"/>
                    <a:pt x="36" y="29"/>
                    <a:pt x="36" y="22"/>
                  </a:cubicBezTo>
                  <a:cubicBezTo>
                    <a:pt x="37" y="15"/>
                    <a:pt x="35" y="7"/>
                    <a:pt x="29" y="3"/>
                  </a:cubicBezTo>
                  <a:cubicBezTo>
                    <a:pt x="27" y="1"/>
                    <a:pt x="23" y="0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7" y="1"/>
                    <a:pt x="0" y="18"/>
                    <a:pt x="3" y="29"/>
                  </a:cubicBezTo>
                  <a:cubicBezTo>
                    <a:pt x="5" y="39"/>
                    <a:pt x="18" y="45"/>
                    <a:pt x="27" y="41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4" name="iṩľiḑé">
              <a:extLst>
                <a:ext uri="{FF2B5EF4-FFF2-40B4-BE49-F238E27FC236}">
                  <a16:creationId xmlns:a16="http://schemas.microsoft.com/office/drawing/2014/main" id="{1E68B29D-5799-4AC8-83D7-C2AC74A58B5F}"/>
                </a:ext>
              </a:extLst>
            </p:cNvPr>
            <p:cNvSpPr/>
            <p:nvPr/>
          </p:nvSpPr>
          <p:spPr bwMode="auto">
            <a:xfrm>
              <a:off x="3832985" y="2297766"/>
              <a:ext cx="39962" cy="48843"/>
            </a:xfrm>
            <a:custGeom>
              <a:avLst/>
              <a:gdLst>
                <a:gd name="T0" fmla="*/ 1 w 13"/>
                <a:gd name="T1" fmla="*/ 6 h 16"/>
                <a:gd name="T2" fmla="*/ 1 w 13"/>
                <a:gd name="T3" fmla="*/ 6 h 16"/>
                <a:gd name="T4" fmla="*/ 2 w 13"/>
                <a:gd name="T5" fmla="*/ 4 h 16"/>
                <a:gd name="T6" fmla="*/ 3 w 13"/>
                <a:gd name="T7" fmla="*/ 4 h 16"/>
                <a:gd name="T8" fmla="*/ 4 w 13"/>
                <a:gd name="T9" fmla="*/ 4 h 16"/>
                <a:gd name="T10" fmla="*/ 5 w 13"/>
                <a:gd name="T11" fmla="*/ 3 h 16"/>
                <a:gd name="T12" fmla="*/ 7 w 13"/>
                <a:gd name="T13" fmla="*/ 2 h 16"/>
                <a:gd name="T14" fmla="*/ 7 w 13"/>
                <a:gd name="T15" fmla="*/ 1 h 16"/>
                <a:gd name="T16" fmla="*/ 7 w 13"/>
                <a:gd name="T17" fmla="*/ 1 h 16"/>
                <a:gd name="T18" fmla="*/ 8 w 13"/>
                <a:gd name="T19" fmla="*/ 1 h 16"/>
                <a:gd name="T20" fmla="*/ 8 w 13"/>
                <a:gd name="T21" fmla="*/ 1 h 16"/>
                <a:gd name="T22" fmla="*/ 9 w 13"/>
                <a:gd name="T23" fmla="*/ 1 h 16"/>
                <a:gd name="T24" fmla="*/ 9 w 13"/>
                <a:gd name="T25" fmla="*/ 0 h 16"/>
                <a:gd name="T26" fmla="*/ 9 w 13"/>
                <a:gd name="T27" fmla="*/ 0 h 16"/>
                <a:gd name="T28" fmla="*/ 9 w 13"/>
                <a:gd name="T29" fmla="*/ 0 h 16"/>
                <a:gd name="T30" fmla="*/ 10 w 13"/>
                <a:gd name="T31" fmla="*/ 0 h 16"/>
                <a:gd name="T32" fmla="*/ 10 w 13"/>
                <a:gd name="T33" fmla="*/ 0 h 16"/>
                <a:gd name="T34" fmla="*/ 10 w 13"/>
                <a:gd name="T35" fmla="*/ 0 h 16"/>
                <a:gd name="T36" fmla="*/ 11 w 13"/>
                <a:gd name="T37" fmla="*/ 1 h 16"/>
                <a:gd name="T38" fmla="*/ 11 w 13"/>
                <a:gd name="T39" fmla="*/ 1 h 16"/>
                <a:gd name="T40" fmla="*/ 11 w 13"/>
                <a:gd name="T41" fmla="*/ 1 h 16"/>
                <a:gd name="T42" fmla="*/ 12 w 13"/>
                <a:gd name="T43" fmla="*/ 2 h 16"/>
                <a:gd name="T44" fmla="*/ 12 w 13"/>
                <a:gd name="T45" fmla="*/ 2 h 16"/>
                <a:gd name="T46" fmla="*/ 13 w 13"/>
                <a:gd name="T47" fmla="*/ 3 h 16"/>
                <a:gd name="T48" fmla="*/ 13 w 13"/>
                <a:gd name="T49" fmla="*/ 3 h 16"/>
                <a:gd name="T50" fmla="*/ 13 w 13"/>
                <a:gd name="T51" fmla="*/ 3 h 16"/>
                <a:gd name="T52" fmla="*/ 13 w 13"/>
                <a:gd name="T53" fmla="*/ 5 h 16"/>
                <a:gd name="T54" fmla="*/ 13 w 13"/>
                <a:gd name="T55" fmla="*/ 10 h 16"/>
                <a:gd name="T56" fmla="*/ 11 w 13"/>
                <a:gd name="T57" fmla="*/ 14 h 16"/>
                <a:gd name="T58" fmla="*/ 5 w 13"/>
                <a:gd name="T59" fmla="*/ 15 h 16"/>
                <a:gd name="T60" fmla="*/ 1 w 13"/>
                <a:gd name="T6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" h="16">
                  <a:moveTo>
                    <a:pt x="1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5"/>
                    <a:pt x="1" y="5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5" y="3"/>
                    <a:pt x="5" y="3"/>
                  </a:cubicBezTo>
                  <a:cubicBezTo>
                    <a:pt x="6" y="3"/>
                    <a:pt x="6" y="2"/>
                    <a:pt x="7" y="2"/>
                  </a:cubicBezTo>
                  <a:cubicBezTo>
                    <a:pt x="6" y="2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2" y="1"/>
                    <a:pt x="12" y="2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3"/>
                    <a:pt x="12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4"/>
                    <a:pt x="13" y="4"/>
                    <a:pt x="13" y="5"/>
                  </a:cubicBezTo>
                  <a:cubicBezTo>
                    <a:pt x="13" y="6"/>
                    <a:pt x="13" y="8"/>
                    <a:pt x="13" y="10"/>
                  </a:cubicBezTo>
                  <a:cubicBezTo>
                    <a:pt x="13" y="12"/>
                    <a:pt x="12" y="13"/>
                    <a:pt x="11" y="14"/>
                  </a:cubicBezTo>
                  <a:cubicBezTo>
                    <a:pt x="9" y="15"/>
                    <a:pt x="7" y="16"/>
                    <a:pt x="5" y="15"/>
                  </a:cubicBezTo>
                  <a:cubicBezTo>
                    <a:pt x="2" y="15"/>
                    <a:pt x="0" y="10"/>
                    <a:pt x="1" y="6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5" name="išļiḓè">
              <a:extLst>
                <a:ext uri="{FF2B5EF4-FFF2-40B4-BE49-F238E27FC236}">
                  <a16:creationId xmlns:a16="http://schemas.microsoft.com/office/drawing/2014/main" id="{D560A706-9B9F-4EB6-8D91-5BD81209F3D9}"/>
                </a:ext>
              </a:extLst>
            </p:cNvPr>
            <p:cNvSpPr/>
            <p:nvPr/>
          </p:nvSpPr>
          <p:spPr bwMode="auto">
            <a:xfrm>
              <a:off x="3818184" y="2278526"/>
              <a:ext cx="74003" cy="85844"/>
            </a:xfrm>
            <a:custGeom>
              <a:avLst/>
              <a:gdLst>
                <a:gd name="T0" fmla="*/ 6 w 24"/>
                <a:gd name="T1" fmla="*/ 25 h 28"/>
                <a:gd name="T2" fmla="*/ 20 w 24"/>
                <a:gd name="T3" fmla="*/ 23 h 28"/>
                <a:gd name="T4" fmla="*/ 24 w 24"/>
                <a:gd name="T5" fmla="*/ 9 h 28"/>
                <a:gd name="T6" fmla="*/ 17 w 24"/>
                <a:gd name="T7" fmla="*/ 1 h 28"/>
                <a:gd name="T8" fmla="*/ 10 w 24"/>
                <a:gd name="T9" fmla="*/ 2 h 28"/>
                <a:gd name="T10" fmla="*/ 8 w 24"/>
                <a:gd name="T11" fmla="*/ 4 h 28"/>
                <a:gd name="T12" fmla="*/ 7 w 24"/>
                <a:gd name="T13" fmla="*/ 4 h 28"/>
                <a:gd name="T14" fmla="*/ 1 w 24"/>
                <a:gd name="T15" fmla="*/ 12 h 28"/>
                <a:gd name="T16" fmla="*/ 6 w 24"/>
                <a:gd name="T17" fmla="*/ 2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8">
                  <a:moveTo>
                    <a:pt x="6" y="25"/>
                  </a:moveTo>
                  <a:cubicBezTo>
                    <a:pt x="10" y="28"/>
                    <a:pt x="17" y="27"/>
                    <a:pt x="20" y="23"/>
                  </a:cubicBezTo>
                  <a:cubicBezTo>
                    <a:pt x="24" y="19"/>
                    <a:pt x="24" y="14"/>
                    <a:pt x="24" y="9"/>
                  </a:cubicBezTo>
                  <a:cubicBezTo>
                    <a:pt x="23" y="6"/>
                    <a:pt x="20" y="2"/>
                    <a:pt x="17" y="1"/>
                  </a:cubicBezTo>
                  <a:cubicBezTo>
                    <a:pt x="14" y="0"/>
                    <a:pt x="12" y="1"/>
                    <a:pt x="10" y="2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4" y="5"/>
                    <a:pt x="1" y="8"/>
                    <a:pt x="1" y="12"/>
                  </a:cubicBezTo>
                  <a:cubicBezTo>
                    <a:pt x="0" y="17"/>
                    <a:pt x="1" y="23"/>
                    <a:pt x="6" y="25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6" name="ïṣḻîďe">
              <a:extLst>
                <a:ext uri="{FF2B5EF4-FFF2-40B4-BE49-F238E27FC236}">
                  <a16:creationId xmlns:a16="http://schemas.microsoft.com/office/drawing/2014/main" id="{94A4BBD2-1C42-4044-A170-0DDACF69CB25}"/>
                </a:ext>
              </a:extLst>
            </p:cNvPr>
            <p:cNvSpPr/>
            <p:nvPr/>
          </p:nvSpPr>
          <p:spPr bwMode="auto">
            <a:xfrm>
              <a:off x="4876429" y="1584376"/>
              <a:ext cx="65123" cy="85844"/>
            </a:xfrm>
            <a:custGeom>
              <a:avLst/>
              <a:gdLst>
                <a:gd name="T0" fmla="*/ 10 w 21"/>
                <a:gd name="T1" fmla="*/ 27 h 28"/>
                <a:gd name="T2" fmla="*/ 18 w 21"/>
                <a:gd name="T3" fmla="*/ 24 h 28"/>
                <a:gd name="T4" fmla="*/ 21 w 21"/>
                <a:gd name="T5" fmla="*/ 15 h 28"/>
                <a:gd name="T6" fmla="*/ 18 w 21"/>
                <a:gd name="T7" fmla="*/ 7 h 28"/>
                <a:gd name="T8" fmla="*/ 11 w 21"/>
                <a:gd name="T9" fmla="*/ 3 h 28"/>
                <a:gd name="T10" fmla="*/ 10 w 21"/>
                <a:gd name="T11" fmla="*/ 3 h 28"/>
                <a:gd name="T12" fmla="*/ 10 w 21"/>
                <a:gd name="T13" fmla="*/ 5 h 28"/>
                <a:gd name="T14" fmla="*/ 17 w 21"/>
                <a:gd name="T15" fmla="*/ 14 h 28"/>
                <a:gd name="T16" fmla="*/ 10 w 21"/>
                <a:gd name="T17" fmla="*/ 23 h 28"/>
                <a:gd name="T18" fmla="*/ 5 w 21"/>
                <a:gd name="T19" fmla="*/ 16 h 28"/>
                <a:gd name="T20" fmla="*/ 9 w 21"/>
                <a:gd name="T21" fmla="*/ 5 h 28"/>
                <a:gd name="T22" fmla="*/ 7 w 21"/>
                <a:gd name="T23" fmla="*/ 2 h 28"/>
                <a:gd name="T24" fmla="*/ 1 w 21"/>
                <a:gd name="T25" fmla="*/ 16 h 28"/>
                <a:gd name="T26" fmla="*/ 10 w 21"/>
                <a:gd name="T2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28">
                  <a:moveTo>
                    <a:pt x="10" y="27"/>
                  </a:moveTo>
                  <a:cubicBezTo>
                    <a:pt x="12" y="28"/>
                    <a:pt x="15" y="26"/>
                    <a:pt x="18" y="24"/>
                  </a:cubicBezTo>
                  <a:cubicBezTo>
                    <a:pt x="20" y="22"/>
                    <a:pt x="21" y="18"/>
                    <a:pt x="21" y="15"/>
                  </a:cubicBezTo>
                  <a:cubicBezTo>
                    <a:pt x="21" y="12"/>
                    <a:pt x="20" y="9"/>
                    <a:pt x="18" y="7"/>
                  </a:cubicBezTo>
                  <a:cubicBezTo>
                    <a:pt x="17" y="5"/>
                    <a:pt x="13" y="2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5"/>
                    <a:pt x="10" y="5"/>
                  </a:cubicBezTo>
                  <a:cubicBezTo>
                    <a:pt x="13" y="7"/>
                    <a:pt x="16" y="10"/>
                    <a:pt x="17" y="14"/>
                  </a:cubicBezTo>
                  <a:cubicBezTo>
                    <a:pt x="18" y="19"/>
                    <a:pt x="14" y="23"/>
                    <a:pt x="10" y="23"/>
                  </a:cubicBezTo>
                  <a:cubicBezTo>
                    <a:pt x="7" y="23"/>
                    <a:pt x="5" y="19"/>
                    <a:pt x="5" y="16"/>
                  </a:cubicBezTo>
                  <a:cubicBezTo>
                    <a:pt x="4" y="12"/>
                    <a:pt x="5" y="7"/>
                    <a:pt x="9" y="5"/>
                  </a:cubicBezTo>
                  <a:cubicBezTo>
                    <a:pt x="10" y="3"/>
                    <a:pt x="9" y="0"/>
                    <a:pt x="7" y="2"/>
                  </a:cubicBezTo>
                  <a:cubicBezTo>
                    <a:pt x="2" y="5"/>
                    <a:pt x="0" y="11"/>
                    <a:pt x="1" y="16"/>
                  </a:cubicBezTo>
                  <a:cubicBezTo>
                    <a:pt x="2" y="22"/>
                    <a:pt x="5" y="27"/>
                    <a:pt x="10" y="27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7" name="ï$ľíďe">
              <a:extLst>
                <a:ext uri="{FF2B5EF4-FFF2-40B4-BE49-F238E27FC236}">
                  <a16:creationId xmlns:a16="http://schemas.microsoft.com/office/drawing/2014/main" id="{0C51FB9F-F164-4088-A6C5-503B701DD9D2}"/>
                </a:ext>
              </a:extLst>
            </p:cNvPr>
            <p:cNvSpPr/>
            <p:nvPr/>
          </p:nvSpPr>
          <p:spPr bwMode="auto">
            <a:xfrm>
              <a:off x="4913430" y="1418609"/>
              <a:ext cx="31082" cy="31082"/>
            </a:xfrm>
            <a:custGeom>
              <a:avLst/>
              <a:gdLst>
                <a:gd name="T0" fmla="*/ 1 w 10"/>
                <a:gd name="T1" fmla="*/ 4 h 10"/>
                <a:gd name="T2" fmla="*/ 1 w 10"/>
                <a:gd name="T3" fmla="*/ 4 h 10"/>
                <a:gd name="T4" fmla="*/ 3 w 10"/>
                <a:gd name="T5" fmla="*/ 0 h 10"/>
                <a:gd name="T6" fmla="*/ 3 w 10"/>
                <a:gd name="T7" fmla="*/ 0 h 10"/>
                <a:gd name="T8" fmla="*/ 4 w 10"/>
                <a:gd name="T9" fmla="*/ 1 h 10"/>
                <a:gd name="T10" fmla="*/ 7 w 10"/>
                <a:gd name="T11" fmla="*/ 0 h 10"/>
                <a:gd name="T12" fmla="*/ 10 w 10"/>
                <a:gd name="T13" fmla="*/ 0 h 10"/>
                <a:gd name="T14" fmla="*/ 8 w 10"/>
                <a:gd name="T15" fmla="*/ 8 h 10"/>
                <a:gd name="T16" fmla="*/ 4 w 10"/>
                <a:gd name="T17" fmla="*/ 10 h 10"/>
                <a:gd name="T18" fmla="*/ 1 w 10"/>
                <a:gd name="T19" fmla="*/ 7 h 10"/>
                <a:gd name="T20" fmla="*/ 1 w 10"/>
                <a:gd name="T21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2" y="2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5" y="1"/>
                    <a:pt x="6" y="1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3"/>
                    <a:pt x="10" y="6"/>
                    <a:pt x="8" y="8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1" y="8"/>
                    <a:pt x="1" y="7"/>
                  </a:cubicBezTo>
                  <a:cubicBezTo>
                    <a:pt x="0" y="6"/>
                    <a:pt x="0" y="5"/>
                    <a:pt x="1" y="4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8" name="îSľîḓé">
              <a:extLst>
                <a:ext uri="{FF2B5EF4-FFF2-40B4-BE49-F238E27FC236}">
                  <a16:creationId xmlns:a16="http://schemas.microsoft.com/office/drawing/2014/main" id="{BA06C3B2-4E50-4625-B0AA-5F773292E102}"/>
                </a:ext>
              </a:extLst>
            </p:cNvPr>
            <p:cNvSpPr/>
            <p:nvPr/>
          </p:nvSpPr>
          <p:spPr bwMode="auto">
            <a:xfrm>
              <a:off x="4904550" y="1402329"/>
              <a:ext cx="51803" cy="62163"/>
            </a:xfrm>
            <a:custGeom>
              <a:avLst/>
              <a:gdLst>
                <a:gd name="T0" fmla="*/ 6 w 17"/>
                <a:gd name="T1" fmla="*/ 19 h 20"/>
                <a:gd name="T2" fmla="*/ 14 w 17"/>
                <a:gd name="T3" fmla="*/ 17 h 20"/>
                <a:gd name="T4" fmla="*/ 17 w 17"/>
                <a:gd name="T5" fmla="*/ 4 h 20"/>
                <a:gd name="T6" fmla="*/ 16 w 17"/>
                <a:gd name="T7" fmla="*/ 2 h 20"/>
                <a:gd name="T8" fmla="*/ 10 w 17"/>
                <a:gd name="T9" fmla="*/ 1 h 20"/>
                <a:gd name="T10" fmla="*/ 6 w 17"/>
                <a:gd name="T11" fmla="*/ 4 h 20"/>
                <a:gd name="T12" fmla="*/ 6 w 17"/>
                <a:gd name="T13" fmla="*/ 4 h 20"/>
                <a:gd name="T14" fmla="*/ 4 w 17"/>
                <a:gd name="T15" fmla="*/ 4 h 20"/>
                <a:gd name="T16" fmla="*/ 1 w 17"/>
                <a:gd name="T17" fmla="*/ 8 h 20"/>
                <a:gd name="T18" fmla="*/ 1 w 17"/>
                <a:gd name="T19" fmla="*/ 13 h 20"/>
                <a:gd name="T20" fmla="*/ 6 w 17"/>
                <a:gd name="T21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20">
                  <a:moveTo>
                    <a:pt x="6" y="19"/>
                  </a:moveTo>
                  <a:cubicBezTo>
                    <a:pt x="8" y="20"/>
                    <a:pt x="12" y="19"/>
                    <a:pt x="14" y="17"/>
                  </a:cubicBezTo>
                  <a:cubicBezTo>
                    <a:pt x="17" y="13"/>
                    <a:pt x="17" y="8"/>
                    <a:pt x="17" y="4"/>
                  </a:cubicBezTo>
                  <a:cubicBezTo>
                    <a:pt x="17" y="3"/>
                    <a:pt x="17" y="2"/>
                    <a:pt x="16" y="2"/>
                  </a:cubicBezTo>
                  <a:cubicBezTo>
                    <a:pt x="14" y="1"/>
                    <a:pt x="12" y="0"/>
                    <a:pt x="10" y="1"/>
                  </a:cubicBezTo>
                  <a:cubicBezTo>
                    <a:pt x="9" y="1"/>
                    <a:pt x="7" y="2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5" y="3"/>
                    <a:pt x="4" y="4"/>
                  </a:cubicBezTo>
                  <a:cubicBezTo>
                    <a:pt x="3" y="5"/>
                    <a:pt x="1" y="6"/>
                    <a:pt x="1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5"/>
                    <a:pt x="3" y="18"/>
                    <a:pt x="6" y="19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9" name="ïš1ídê">
              <a:extLst>
                <a:ext uri="{FF2B5EF4-FFF2-40B4-BE49-F238E27FC236}">
                  <a16:creationId xmlns:a16="http://schemas.microsoft.com/office/drawing/2014/main" id="{5F952549-3C66-49DA-A1BD-2B2FE95B5B42}"/>
                </a:ext>
              </a:extLst>
            </p:cNvPr>
            <p:cNvSpPr/>
            <p:nvPr/>
          </p:nvSpPr>
          <p:spPr bwMode="auto">
            <a:xfrm>
              <a:off x="5657902" y="1184759"/>
              <a:ext cx="68083" cy="65123"/>
            </a:xfrm>
            <a:custGeom>
              <a:avLst/>
              <a:gdLst>
                <a:gd name="T0" fmla="*/ 20 w 22"/>
                <a:gd name="T1" fmla="*/ 20 h 21"/>
                <a:gd name="T2" fmla="*/ 22 w 22"/>
                <a:gd name="T3" fmla="*/ 18 h 21"/>
                <a:gd name="T4" fmla="*/ 19 w 22"/>
                <a:gd name="T5" fmla="*/ 6 h 21"/>
                <a:gd name="T6" fmla="*/ 9 w 22"/>
                <a:gd name="T7" fmla="*/ 1 h 21"/>
                <a:gd name="T8" fmla="*/ 9 w 22"/>
                <a:gd name="T9" fmla="*/ 3 h 21"/>
                <a:gd name="T10" fmla="*/ 16 w 22"/>
                <a:gd name="T11" fmla="*/ 8 h 21"/>
                <a:gd name="T12" fmla="*/ 18 w 22"/>
                <a:gd name="T13" fmla="*/ 16 h 21"/>
                <a:gd name="T14" fmla="*/ 7 w 22"/>
                <a:gd name="T15" fmla="*/ 14 h 21"/>
                <a:gd name="T16" fmla="*/ 8 w 22"/>
                <a:gd name="T17" fmla="*/ 5 h 21"/>
                <a:gd name="T18" fmla="*/ 6 w 22"/>
                <a:gd name="T19" fmla="*/ 3 h 21"/>
                <a:gd name="T20" fmla="*/ 4 w 22"/>
                <a:gd name="T21" fmla="*/ 16 h 21"/>
                <a:gd name="T22" fmla="*/ 20 w 22"/>
                <a:gd name="T23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0" y="20"/>
                  </a:moveTo>
                  <a:cubicBezTo>
                    <a:pt x="21" y="20"/>
                    <a:pt x="22" y="19"/>
                    <a:pt x="22" y="18"/>
                  </a:cubicBezTo>
                  <a:cubicBezTo>
                    <a:pt x="22" y="14"/>
                    <a:pt x="22" y="10"/>
                    <a:pt x="19" y="6"/>
                  </a:cubicBezTo>
                  <a:cubicBezTo>
                    <a:pt x="17" y="3"/>
                    <a:pt x="13" y="0"/>
                    <a:pt x="9" y="1"/>
                  </a:cubicBezTo>
                  <a:cubicBezTo>
                    <a:pt x="8" y="1"/>
                    <a:pt x="8" y="2"/>
                    <a:pt x="9" y="3"/>
                  </a:cubicBezTo>
                  <a:cubicBezTo>
                    <a:pt x="11" y="5"/>
                    <a:pt x="14" y="6"/>
                    <a:pt x="16" y="8"/>
                  </a:cubicBezTo>
                  <a:cubicBezTo>
                    <a:pt x="17" y="11"/>
                    <a:pt x="18" y="13"/>
                    <a:pt x="18" y="16"/>
                  </a:cubicBezTo>
                  <a:cubicBezTo>
                    <a:pt x="14" y="16"/>
                    <a:pt x="10" y="16"/>
                    <a:pt x="7" y="14"/>
                  </a:cubicBezTo>
                  <a:cubicBezTo>
                    <a:pt x="3" y="12"/>
                    <a:pt x="6" y="8"/>
                    <a:pt x="8" y="5"/>
                  </a:cubicBezTo>
                  <a:cubicBezTo>
                    <a:pt x="10" y="3"/>
                    <a:pt x="7" y="1"/>
                    <a:pt x="6" y="3"/>
                  </a:cubicBezTo>
                  <a:cubicBezTo>
                    <a:pt x="2" y="6"/>
                    <a:pt x="0" y="12"/>
                    <a:pt x="4" y="16"/>
                  </a:cubicBezTo>
                  <a:cubicBezTo>
                    <a:pt x="8" y="20"/>
                    <a:pt x="15" y="21"/>
                    <a:pt x="20" y="2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0" name="iṣḷïḓé">
              <a:extLst>
                <a:ext uri="{FF2B5EF4-FFF2-40B4-BE49-F238E27FC236}">
                  <a16:creationId xmlns:a16="http://schemas.microsoft.com/office/drawing/2014/main" id="{47A923BF-851D-45CC-B61F-ACC4897ADD3D}"/>
                </a:ext>
              </a:extLst>
            </p:cNvPr>
            <p:cNvSpPr/>
            <p:nvPr/>
          </p:nvSpPr>
          <p:spPr bwMode="auto">
            <a:xfrm>
              <a:off x="6562220" y="1325366"/>
              <a:ext cx="1481" cy="1481"/>
            </a:xfrm>
            <a:prstGeom prst="rect">
              <a:avLst/>
            </a:prstGeom>
            <a:solidFill>
              <a:srgbClr val="FF9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1" name="íślïdê">
              <a:extLst>
                <a:ext uri="{FF2B5EF4-FFF2-40B4-BE49-F238E27FC236}">
                  <a16:creationId xmlns:a16="http://schemas.microsoft.com/office/drawing/2014/main" id="{2A82F9A3-C863-41B8-BCD3-E8822A304973}"/>
                </a:ext>
              </a:extLst>
            </p:cNvPr>
            <p:cNvSpPr/>
            <p:nvPr/>
          </p:nvSpPr>
          <p:spPr bwMode="auto">
            <a:xfrm>
              <a:off x="6553339" y="1335726"/>
              <a:ext cx="20721" cy="20721"/>
            </a:xfrm>
            <a:custGeom>
              <a:avLst/>
              <a:gdLst>
                <a:gd name="T0" fmla="*/ 1 w 7"/>
                <a:gd name="T1" fmla="*/ 1 h 7"/>
                <a:gd name="T2" fmla="*/ 1 w 7"/>
                <a:gd name="T3" fmla="*/ 1 h 7"/>
                <a:gd name="T4" fmla="*/ 2 w 7"/>
                <a:gd name="T5" fmla="*/ 0 h 7"/>
                <a:gd name="T6" fmla="*/ 2 w 7"/>
                <a:gd name="T7" fmla="*/ 0 h 7"/>
                <a:gd name="T8" fmla="*/ 2 w 7"/>
                <a:gd name="T9" fmla="*/ 0 h 7"/>
                <a:gd name="T10" fmla="*/ 2 w 7"/>
                <a:gd name="T11" fmla="*/ 0 h 7"/>
                <a:gd name="T12" fmla="*/ 3 w 7"/>
                <a:gd name="T13" fmla="*/ 1 h 7"/>
                <a:gd name="T14" fmla="*/ 4 w 7"/>
                <a:gd name="T15" fmla="*/ 2 h 7"/>
                <a:gd name="T16" fmla="*/ 4 w 7"/>
                <a:gd name="T17" fmla="*/ 2 h 7"/>
                <a:gd name="T18" fmla="*/ 6 w 7"/>
                <a:gd name="T19" fmla="*/ 3 h 7"/>
                <a:gd name="T20" fmla="*/ 7 w 7"/>
                <a:gd name="T21" fmla="*/ 5 h 7"/>
                <a:gd name="T22" fmla="*/ 7 w 7"/>
                <a:gd name="T23" fmla="*/ 5 h 7"/>
                <a:gd name="T24" fmla="*/ 7 w 7"/>
                <a:gd name="T25" fmla="*/ 5 h 7"/>
                <a:gd name="T26" fmla="*/ 7 w 7"/>
                <a:gd name="T27" fmla="*/ 6 h 7"/>
                <a:gd name="T28" fmla="*/ 7 w 7"/>
                <a:gd name="T29" fmla="*/ 6 h 7"/>
                <a:gd name="T30" fmla="*/ 7 w 7"/>
                <a:gd name="T31" fmla="*/ 6 h 7"/>
                <a:gd name="T32" fmla="*/ 7 w 7"/>
                <a:gd name="T33" fmla="*/ 6 h 7"/>
                <a:gd name="T34" fmla="*/ 6 w 7"/>
                <a:gd name="T35" fmla="*/ 7 h 7"/>
                <a:gd name="T36" fmla="*/ 5 w 7"/>
                <a:gd name="T37" fmla="*/ 7 h 7"/>
                <a:gd name="T38" fmla="*/ 3 w 7"/>
                <a:gd name="T39" fmla="*/ 7 h 7"/>
                <a:gd name="T40" fmla="*/ 2 w 7"/>
                <a:gd name="T41" fmla="*/ 7 h 7"/>
                <a:gd name="T42" fmla="*/ 1 w 7"/>
                <a:gd name="T43" fmla="*/ 7 h 7"/>
                <a:gd name="T44" fmla="*/ 1 w 7"/>
                <a:gd name="T45" fmla="*/ 6 h 7"/>
                <a:gd name="T46" fmla="*/ 0 w 7"/>
                <a:gd name="T47" fmla="*/ 6 h 7"/>
                <a:gd name="T48" fmla="*/ 0 w 7"/>
                <a:gd name="T49" fmla="*/ 5 h 7"/>
                <a:gd name="T50" fmla="*/ 0 w 7"/>
                <a:gd name="T51" fmla="*/ 4 h 7"/>
                <a:gd name="T52" fmla="*/ 1 w 7"/>
                <a:gd name="T5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" h="7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3"/>
                    <a:pt x="6" y="3"/>
                  </a:cubicBezTo>
                  <a:cubicBezTo>
                    <a:pt x="6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3"/>
                    <a:pt x="1" y="2"/>
                    <a:pt x="1" y="1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2" name="ïŝlïḋe">
              <a:extLst>
                <a:ext uri="{FF2B5EF4-FFF2-40B4-BE49-F238E27FC236}">
                  <a16:creationId xmlns:a16="http://schemas.microsoft.com/office/drawing/2014/main" id="{9E55E6D0-AB01-4A64-845C-758CACE81FD9}"/>
                </a:ext>
              </a:extLst>
            </p:cNvPr>
            <p:cNvSpPr/>
            <p:nvPr/>
          </p:nvSpPr>
          <p:spPr bwMode="auto">
            <a:xfrm>
              <a:off x="6359452" y="1273563"/>
              <a:ext cx="71043" cy="68083"/>
            </a:xfrm>
            <a:custGeom>
              <a:avLst/>
              <a:gdLst>
                <a:gd name="T0" fmla="*/ 11 w 23"/>
                <a:gd name="T1" fmla="*/ 1 h 22"/>
                <a:gd name="T2" fmla="*/ 11 w 23"/>
                <a:gd name="T3" fmla="*/ 1 h 22"/>
                <a:gd name="T4" fmla="*/ 11 w 23"/>
                <a:gd name="T5" fmla="*/ 1 h 22"/>
                <a:gd name="T6" fmla="*/ 11 w 23"/>
                <a:gd name="T7" fmla="*/ 1 h 22"/>
                <a:gd name="T8" fmla="*/ 12 w 23"/>
                <a:gd name="T9" fmla="*/ 1 h 22"/>
                <a:gd name="T10" fmla="*/ 14 w 23"/>
                <a:gd name="T11" fmla="*/ 1 h 22"/>
                <a:gd name="T12" fmla="*/ 18 w 23"/>
                <a:gd name="T13" fmla="*/ 4 h 22"/>
                <a:gd name="T14" fmla="*/ 21 w 23"/>
                <a:gd name="T15" fmla="*/ 8 h 22"/>
                <a:gd name="T16" fmla="*/ 21 w 23"/>
                <a:gd name="T17" fmla="*/ 9 h 22"/>
                <a:gd name="T18" fmla="*/ 22 w 23"/>
                <a:gd name="T19" fmla="*/ 10 h 22"/>
                <a:gd name="T20" fmla="*/ 22 w 23"/>
                <a:gd name="T21" fmla="*/ 10 h 22"/>
                <a:gd name="T22" fmla="*/ 23 w 23"/>
                <a:gd name="T23" fmla="*/ 13 h 22"/>
                <a:gd name="T24" fmla="*/ 23 w 23"/>
                <a:gd name="T25" fmla="*/ 13 h 22"/>
                <a:gd name="T26" fmla="*/ 23 w 23"/>
                <a:gd name="T27" fmla="*/ 14 h 22"/>
                <a:gd name="T28" fmla="*/ 23 w 23"/>
                <a:gd name="T29" fmla="*/ 14 h 22"/>
                <a:gd name="T30" fmla="*/ 23 w 23"/>
                <a:gd name="T31" fmla="*/ 15 h 22"/>
                <a:gd name="T32" fmla="*/ 23 w 23"/>
                <a:gd name="T33" fmla="*/ 16 h 22"/>
                <a:gd name="T34" fmla="*/ 23 w 23"/>
                <a:gd name="T35" fmla="*/ 16 h 22"/>
                <a:gd name="T36" fmla="*/ 23 w 23"/>
                <a:gd name="T37" fmla="*/ 17 h 22"/>
                <a:gd name="T38" fmla="*/ 22 w 23"/>
                <a:gd name="T39" fmla="*/ 18 h 22"/>
                <a:gd name="T40" fmla="*/ 22 w 23"/>
                <a:gd name="T41" fmla="*/ 18 h 22"/>
                <a:gd name="T42" fmla="*/ 22 w 23"/>
                <a:gd name="T43" fmla="*/ 19 h 22"/>
                <a:gd name="T44" fmla="*/ 21 w 23"/>
                <a:gd name="T45" fmla="*/ 20 h 22"/>
                <a:gd name="T46" fmla="*/ 21 w 23"/>
                <a:gd name="T47" fmla="*/ 20 h 22"/>
                <a:gd name="T48" fmla="*/ 21 w 23"/>
                <a:gd name="T49" fmla="*/ 20 h 22"/>
                <a:gd name="T50" fmla="*/ 21 w 23"/>
                <a:gd name="T51" fmla="*/ 21 h 22"/>
                <a:gd name="T52" fmla="*/ 21 w 23"/>
                <a:gd name="T53" fmla="*/ 21 h 22"/>
                <a:gd name="T54" fmla="*/ 21 w 23"/>
                <a:gd name="T55" fmla="*/ 21 h 22"/>
                <a:gd name="T56" fmla="*/ 20 w 23"/>
                <a:gd name="T57" fmla="*/ 21 h 22"/>
                <a:gd name="T58" fmla="*/ 19 w 23"/>
                <a:gd name="T59" fmla="*/ 22 h 22"/>
                <a:gd name="T60" fmla="*/ 19 w 23"/>
                <a:gd name="T61" fmla="*/ 22 h 22"/>
                <a:gd name="T62" fmla="*/ 17 w 23"/>
                <a:gd name="T63" fmla="*/ 22 h 22"/>
                <a:gd name="T64" fmla="*/ 13 w 23"/>
                <a:gd name="T65" fmla="*/ 22 h 22"/>
                <a:gd name="T66" fmla="*/ 8 w 23"/>
                <a:gd name="T67" fmla="*/ 21 h 22"/>
                <a:gd name="T68" fmla="*/ 2 w 23"/>
                <a:gd name="T69" fmla="*/ 14 h 22"/>
                <a:gd name="T70" fmla="*/ 1 w 23"/>
                <a:gd name="T71" fmla="*/ 6 h 22"/>
                <a:gd name="T72" fmla="*/ 7 w 23"/>
                <a:gd name="T73" fmla="*/ 3 h 22"/>
                <a:gd name="T74" fmla="*/ 8 w 23"/>
                <a:gd name="T75" fmla="*/ 1 h 22"/>
                <a:gd name="T76" fmla="*/ 11 w 23"/>
                <a:gd name="T77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" h="22"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1"/>
                    <a:pt x="14" y="1"/>
                  </a:cubicBezTo>
                  <a:cubicBezTo>
                    <a:pt x="15" y="2"/>
                    <a:pt x="17" y="3"/>
                    <a:pt x="18" y="4"/>
                  </a:cubicBezTo>
                  <a:cubicBezTo>
                    <a:pt x="19" y="5"/>
                    <a:pt x="20" y="6"/>
                    <a:pt x="21" y="8"/>
                  </a:cubicBezTo>
                  <a:cubicBezTo>
                    <a:pt x="21" y="8"/>
                    <a:pt x="21" y="9"/>
                    <a:pt x="21" y="9"/>
                  </a:cubicBezTo>
                  <a:cubicBezTo>
                    <a:pt x="21" y="9"/>
                    <a:pt x="22" y="9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1"/>
                    <a:pt x="22" y="12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5"/>
                  </a:cubicBezTo>
                  <a:cubicBezTo>
                    <a:pt x="23" y="15"/>
                    <a:pt x="23" y="16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0" y="21"/>
                    <a:pt x="20" y="21"/>
                  </a:cubicBezTo>
                  <a:cubicBezTo>
                    <a:pt x="20" y="22"/>
                    <a:pt x="19" y="22"/>
                    <a:pt x="19" y="22"/>
                  </a:cubicBezTo>
                  <a:cubicBezTo>
                    <a:pt x="20" y="22"/>
                    <a:pt x="19" y="22"/>
                    <a:pt x="19" y="22"/>
                  </a:cubicBezTo>
                  <a:cubicBezTo>
                    <a:pt x="18" y="22"/>
                    <a:pt x="18" y="22"/>
                    <a:pt x="17" y="22"/>
                  </a:cubicBezTo>
                  <a:cubicBezTo>
                    <a:pt x="16" y="22"/>
                    <a:pt x="15" y="22"/>
                    <a:pt x="13" y="22"/>
                  </a:cubicBezTo>
                  <a:cubicBezTo>
                    <a:pt x="12" y="22"/>
                    <a:pt x="10" y="22"/>
                    <a:pt x="8" y="21"/>
                  </a:cubicBezTo>
                  <a:cubicBezTo>
                    <a:pt x="5" y="20"/>
                    <a:pt x="3" y="17"/>
                    <a:pt x="2" y="14"/>
                  </a:cubicBezTo>
                  <a:cubicBezTo>
                    <a:pt x="1" y="12"/>
                    <a:pt x="0" y="9"/>
                    <a:pt x="1" y="6"/>
                  </a:cubicBezTo>
                  <a:cubicBezTo>
                    <a:pt x="2" y="4"/>
                    <a:pt x="4" y="2"/>
                    <a:pt x="7" y="3"/>
                  </a:cubicBezTo>
                  <a:cubicBezTo>
                    <a:pt x="8" y="3"/>
                    <a:pt x="9" y="1"/>
                    <a:pt x="8" y="1"/>
                  </a:cubicBezTo>
                  <a:cubicBezTo>
                    <a:pt x="9" y="0"/>
                    <a:pt x="10" y="0"/>
                    <a:pt x="11" y="1"/>
                  </a:cubicBezTo>
                  <a:close/>
                </a:path>
              </a:pathLst>
            </a:custGeom>
            <a:solidFill>
              <a:srgbClr val="FF9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3" name="îṧļiḍé">
              <a:extLst>
                <a:ext uri="{FF2B5EF4-FFF2-40B4-BE49-F238E27FC236}">
                  <a16:creationId xmlns:a16="http://schemas.microsoft.com/office/drawing/2014/main" id="{1CF38A4A-35A4-4138-8FD5-CDCFA1FABABE}"/>
                </a:ext>
              </a:extLst>
            </p:cNvPr>
            <p:cNvSpPr/>
            <p:nvPr/>
          </p:nvSpPr>
          <p:spPr bwMode="auto">
            <a:xfrm>
              <a:off x="6347611" y="1258762"/>
              <a:ext cx="103604" cy="97684"/>
            </a:xfrm>
            <a:custGeom>
              <a:avLst/>
              <a:gdLst>
                <a:gd name="T0" fmla="*/ 19 w 34"/>
                <a:gd name="T1" fmla="*/ 32 h 32"/>
                <a:gd name="T2" fmla="*/ 30 w 34"/>
                <a:gd name="T3" fmla="*/ 27 h 32"/>
                <a:gd name="T4" fmla="*/ 26 w 34"/>
                <a:gd name="T5" fmla="*/ 7 h 32"/>
                <a:gd name="T6" fmla="*/ 17 w 34"/>
                <a:gd name="T7" fmla="*/ 0 h 32"/>
                <a:gd name="T8" fmla="*/ 11 w 34"/>
                <a:gd name="T9" fmla="*/ 0 h 32"/>
                <a:gd name="T10" fmla="*/ 7 w 34"/>
                <a:gd name="T11" fmla="*/ 1 h 32"/>
                <a:gd name="T12" fmla="*/ 4 w 34"/>
                <a:gd name="T13" fmla="*/ 4 h 32"/>
                <a:gd name="T14" fmla="*/ 4 w 34"/>
                <a:gd name="T15" fmla="*/ 6 h 32"/>
                <a:gd name="T16" fmla="*/ 0 w 34"/>
                <a:gd name="T17" fmla="*/ 11 h 32"/>
                <a:gd name="T18" fmla="*/ 4 w 34"/>
                <a:gd name="T19" fmla="*/ 26 h 32"/>
                <a:gd name="T20" fmla="*/ 19 w 34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2">
                  <a:moveTo>
                    <a:pt x="19" y="32"/>
                  </a:moveTo>
                  <a:cubicBezTo>
                    <a:pt x="24" y="32"/>
                    <a:pt x="27" y="31"/>
                    <a:pt x="30" y="27"/>
                  </a:cubicBezTo>
                  <a:cubicBezTo>
                    <a:pt x="34" y="21"/>
                    <a:pt x="31" y="12"/>
                    <a:pt x="26" y="7"/>
                  </a:cubicBezTo>
                  <a:cubicBezTo>
                    <a:pt x="24" y="4"/>
                    <a:pt x="21" y="1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9" y="0"/>
                    <a:pt x="8" y="1"/>
                    <a:pt x="7" y="1"/>
                  </a:cubicBezTo>
                  <a:cubicBezTo>
                    <a:pt x="6" y="2"/>
                    <a:pt x="5" y="3"/>
                    <a:pt x="4" y="4"/>
                  </a:cubicBezTo>
                  <a:cubicBezTo>
                    <a:pt x="4" y="5"/>
                    <a:pt x="3" y="5"/>
                    <a:pt x="4" y="6"/>
                  </a:cubicBezTo>
                  <a:cubicBezTo>
                    <a:pt x="2" y="7"/>
                    <a:pt x="1" y="9"/>
                    <a:pt x="0" y="11"/>
                  </a:cubicBezTo>
                  <a:cubicBezTo>
                    <a:pt x="0" y="16"/>
                    <a:pt x="1" y="22"/>
                    <a:pt x="4" y="26"/>
                  </a:cubicBezTo>
                  <a:cubicBezTo>
                    <a:pt x="8" y="31"/>
                    <a:pt x="14" y="32"/>
                    <a:pt x="19" y="32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4" name="iś1idê">
              <a:extLst>
                <a:ext uri="{FF2B5EF4-FFF2-40B4-BE49-F238E27FC236}">
                  <a16:creationId xmlns:a16="http://schemas.microsoft.com/office/drawing/2014/main" id="{8E543B77-AC45-400B-975A-74C773AA2CA6}"/>
                </a:ext>
              </a:extLst>
            </p:cNvPr>
            <p:cNvSpPr/>
            <p:nvPr/>
          </p:nvSpPr>
          <p:spPr bwMode="auto">
            <a:xfrm>
              <a:off x="7300771" y="1562176"/>
              <a:ext cx="68083" cy="59202"/>
            </a:xfrm>
            <a:custGeom>
              <a:avLst/>
              <a:gdLst>
                <a:gd name="T0" fmla="*/ 6 w 22"/>
                <a:gd name="T1" fmla="*/ 18 h 19"/>
                <a:gd name="T2" fmla="*/ 14 w 22"/>
                <a:gd name="T3" fmla="*/ 18 h 19"/>
                <a:gd name="T4" fmla="*/ 21 w 22"/>
                <a:gd name="T5" fmla="*/ 14 h 19"/>
                <a:gd name="T6" fmla="*/ 20 w 22"/>
                <a:gd name="T7" fmla="*/ 7 h 19"/>
                <a:gd name="T8" fmla="*/ 17 w 22"/>
                <a:gd name="T9" fmla="*/ 3 h 19"/>
                <a:gd name="T10" fmla="*/ 15 w 22"/>
                <a:gd name="T11" fmla="*/ 1 h 19"/>
                <a:gd name="T12" fmla="*/ 11 w 22"/>
                <a:gd name="T13" fmla="*/ 0 h 19"/>
                <a:gd name="T14" fmla="*/ 10 w 22"/>
                <a:gd name="T15" fmla="*/ 2 h 19"/>
                <a:gd name="T16" fmla="*/ 13 w 22"/>
                <a:gd name="T17" fmla="*/ 5 h 19"/>
                <a:gd name="T18" fmla="*/ 15 w 22"/>
                <a:gd name="T19" fmla="*/ 8 h 19"/>
                <a:gd name="T20" fmla="*/ 16 w 22"/>
                <a:gd name="T21" fmla="*/ 9 h 19"/>
                <a:gd name="T22" fmla="*/ 16 w 22"/>
                <a:gd name="T23" fmla="*/ 9 h 19"/>
                <a:gd name="T24" fmla="*/ 16 w 22"/>
                <a:gd name="T25" fmla="*/ 9 h 19"/>
                <a:gd name="T26" fmla="*/ 17 w 22"/>
                <a:gd name="T27" fmla="*/ 10 h 19"/>
                <a:gd name="T28" fmla="*/ 17 w 22"/>
                <a:gd name="T29" fmla="*/ 10 h 19"/>
                <a:gd name="T30" fmla="*/ 17 w 22"/>
                <a:gd name="T31" fmla="*/ 11 h 19"/>
                <a:gd name="T32" fmla="*/ 17 w 22"/>
                <a:gd name="T33" fmla="*/ 11 h 19"/>
                <a:gd name="T34" fmla="*/ 17 w 22"/>
                <a:gd name="T35" fmla="*/ 11 h 19"/>
                <a:gd name="T36" fmla="*/ 17 w 22"/>
                <a:gd name="T37" fmla="*/ 11 h 19"/>
                <a:gd name="T38" fmla="*/ 17 w 22"/>
                <a:gd name="T39" fmla="*/ 12 h 19"/>
                <a:gd name="T40" fmla="*/ 17 w 22"/>
                <a:gd name="T41" fmla="*/ 12 h 19"/>
                <a:gd name="T42" fmla="*/ 17 w 22"/>
                <a:gd name="T43" fmla="*/ 12 h 19"/>
                <a:gd name="T44" fmla="*/ 16 w 22"/>
                <a:gd name="T45" fmla="*/ 13 h 19"/>
                <a:gd name="T46" fmla="*/ 16 w 22"/>
                <a:gd name="T47" fmla="*/ 13 h 19"/>
                <a:gd name="T48" fmla="*/ 15 w 22"/>
                <a:gd name="T49" fmla="*/ 13 h 19"/>
                <a:gd name="T50" fmla="*/ 15 w 22"/>
                <a:gd name="T51" fmla="*/ 14 h 19"/>
                <a:gd name="T52" fmla="*/ 14 w 22"/>
                <a:gd name="T53" fmla="*/ 14 h 19"/>
                <a:gd name="T54" fmla="*/ 13 w 22"/>
                <a:gd name="T55" fmla="*/ 14 h 19"/>
                <a:gd name="T56" fmla="*/ 12 w 22"/>
                <a:gd name="T57" fmla="*/ 14 h 19"/>
                <a:gd name="T58" fmla="*/ 12 w 22"/>
                <a:gd name="T59" fmla="*/ 14 h 19"/>
                <a:gd name="T60" fmla="*/ 10 w 22"/>
                <a:gd name="T61" fmla="*/ 14 h 19"/>
                <a:gd name="T62" fmla="*/ 10 w 22"/>
                <a:gd name="T63" fmla="*/ 14 h 19"/>
                <a:gd name="T64" fmla="*/ 9 w 22"/>
                <a:gd name="T65" fmla="*/ 14 h 19"/>
                <a:gd name="T66" fmla="*/ 9 w 22"/>
                <a:gd name="T67" fmla="*/ 14 h 19"/>
                <a:gd name="T68" fmla="*/ 7 w 22"/>
                <a:gd name="T69" fmla="*/ 14 h 19"/>
                <a:gd name="T70" fmla="*/ 7 w 22"/>
                <a:gd name="T71" fmla="*/ 14 h 19"/>
                <a:gd name="T72" fmla="*/ 6 w 22"/>
                <a:gd name="T73" fmla="*/ 13 h 19"/>
                <a:gd name="T74" fmla="*/ 6 w 22"/>
                <a:gd name="T75" fmla="*/ 13 h 19"/>
                <a:gd name="T76" fmla="*/ 5 w 22"/>
                <a:gd name="T77" fmla="*/ 13 h 19"/>
                <a:gd name="T78" fmla="*/ 5 w 22"/>
                <a:gd name="T79" fmla="*/ 12 h 19"/>
                <a:gd name="T80" fmla="*/ 5 w 22"/>
                <a:gd name="T81" fmla="*/ 12 h 19"/>
                <a:gd name="T82" fmla="*/ 5 w 22"/>
                <a:gd name="T83" fmla="*/ 12 h 19"/>
                <a:gd name="T84" fmla="*/ 5 w 22"/>
                <a:gd name="T85" fmla="*/ 12 h 19"/>
                <a:gd name="T86" fmla="*/ 5 w 22"/>
                <a:gd name="T87" fmla="*/ 11 h 19"/>
                <a:gd name="T88" fmla="*/ 5 w 22"/>
                <a:gd name="T89" fmla="*/ 11 h 19"/>
                <a:gd name="T90" fmla="*/ 5 w 22"/>
                <a:gd name="T91" fmla="*/ 11 h 19"/>
                <a:gd name="T92" fmla="*/ 5 w 22"/>
                <a:gd name="T93" fmla="*/ 10 h 19"/>
                <a:gd name="T94" fmla="*/ 5 w 22"/>
                <a:gd name="T95" fmla="*/ 10 h 19"/>
                <a:gd name="T96" fmla="*/ 5 w 22"/>
                <a:gd name="T97" fmla="*/ 9 h 19"/>
                <a:gd name="T98" fmla="*/ 6 w 22"/>
                <a:gd name="T99" fmla="*/ 8 h 19"/>
                <a:gd name="T100" fmla="*/ 6 w 22"/>
                <a:gd name="T101" fmla="*/ 8 h 19"/>
                <a:gd name="T102" fmla="*/ 6 w 22"/>
                <a:gd name="T103" fmla="*/ 7 h 19"/>
                <a:gd name="T104" fmla="*/ 9 w 22"/>
                <a:gd name="T105" fmla="*/ 5 h 19"/>
                <a:gd name="T106" fmla="*/ 6 w 22"/>
                <a:gd name="T107" fmla="*/ 2 h 19"/>
                <a:gd name="T108" fmla="*/ 0 w 22"/>
                <a:gd name="T109" fmla="*/ 12 h 19"/>
                <a:gd name="T110" fmla="*/ 6 w 22"/>
                <a:gd name="T11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" h="19">
                  <a:moveTo>
                    <a:pt x="6" y="18"/>
                  </a:moveTo>
                  <a:cubicBezTo>
                    <a:pt x="9" y="19"/>
                    <a:pt x="11" y="19"/>
                    <a:pt x="14" y="18"/>
                  </a:cubicBezTo>
                  <a:cubicBezTo>
                    <a:pt x="17" y="18"/>
                    <a:pt x="20" y="16"/>
                    <a:pt x="21" y="14"/>
                  </a:cubicBezTo>
                  <a:cubicBezTo>
                    <a:pt x="22" y="12"/>
                    <a:pt x="22" y="9"/>
                    <a:pt x="20" y="7"/>
                  </a:cubicBezTo>
                  <a:cubicBezTo>
                    <a:pt x="20" y="5"/>
                    <a:pt x="19" y="4"/>
                    <a:pt x="17" y="3"/>
                  </a:cubicBezTo>
                  <a:cubicBezTo>
                    <a:pt x="17" y="2"/>
                    <a:pt x="16" y="2"/>
                    <a:pt x="15" y="1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0"/>
                    <a:pt x="10" y="1"/>
                    <a:pt x="10" y="2"/>
                  </a:cubicBezTo>
                  <a:cubicBezTo>
                    <a:pt x="10" y="3"/>
                    <a:pt x="11" y="4"/>
                    <a:pt x="13" y="5"/>
                  </a:cubicBezTo>
                  <a:cubicBezTo>
                    <a:pt x="13" y="6"/>
                    <a:pt x="14" y="7"/>
                    <a:pt x="15" y="8"/>
                  </a:cubicBezTo>
                  <a:cubicBezTo>
                    <a:pt x="15" y="8"/>
                    <a:pt x="16" y="8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6" y="12"/>
                    <a:pt x="16" y="12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8" y="5"/>
                    <a:pt x="9" y="5"/>
                  </a:cubicBezTo>
                  <a:cubicBezTo>
                    <a:pt x="10" y="3"/>
                    <a:pt x="8" y="0"/>
                    <a:pt x="6" y="2"/>
                  </a:cubicBezTo>
                  <a:cubicBezTo>
                    <a:pt x="4" y="4"/>
                    <a:pt x="0" y="8"/>
                    <a:pt x="0" y="12"/>
                  </a:cubicBezTo>
                  <a:cubicBezTo>
                    <a:pt x="1" y="15"/>
                    <a:pt x="3" y="17"/>
                    <a:pt x="6" y="1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5" name="íśļïḑè">
              <a:extLst>
                <a:ext uri="{FF2B5EF4-FFF2-40B4-BE49-F238E27FC236}">
                  <a16:creationId xmlns:a16="http://schemas.microsoft.com/office/drawing/2014/main" id="{E691AE82-B009-4534-974A-F5A432807E5B}"/>
                </a:ext>
              </a:extLst>
            </p:cNvPr>
            <p:cNvSpPr/>
            <p:nvPr/>
          </p:nvSpPr>
          <p:spPr bwMode="auto">
            <a:xfrm>
              <a:off x="7189766" y="1679100"/>
              <a:ext cx="130245" cy="133206"/>
            </a:xfrm>
            <a:custGeom>
              <a:avLst/>
              <a:gdLst>
                <a:gd name="T0" fmla="*/ 34 w 42"/>
                <a:gd name="T1" fmla="*/ 37 h 43"/>
                <a:gd name="T2" fmla="*/ 40 w 42"/>
                <a:gd name="T3" fmla="*/ 13 h 43"/>
                <a:gd name="T4" fmla="*/ 33 w 42"/>
                <a:gd name="T5" fmla="*/ 3 h 43"/>
                <a:gd name="T6" fmla="*/ 19 w 42"/>
                <a:gd name="T7" fmla="*/ 1 h 43"/>
                <a:gd name="T8" fmla="*/ 16 w 42"/>
                <a:gd name="T9" fmla="*/ 3 h 43"/>
                <a:gd name="T10" fmla="*/ 17 w 42"/>
                <a:gd name="T11" fmla="*/ 7 h 43"/>
                <a:gd name="T12" fmla="*/ 24 w 42"/>
                <a:gd name="T13" fmla="*/ 7 h 43"/>
                <a:gd name="T14" fmla="*/ 24 w 42"/>
                <a:gd name="T15" fmla="*/ 7 h 43"/>
                <a:gd name="T16" fmla="*/ 25 w 42"/>
                <a:gd name="T17" fmla="*/ 7 h 43"/>
                <a:gd name="T18" fmla="*/ 26 w 42"/>
                <a:gd name="T19" fmla="*/ 7 h 43"/>
                <a:gd name="T20" fmla="*/ 27 w 42"/>
                <a:gd name="T21" fmla="*/ 8 h 43"/>
                <a:gd name="T22" fmla="*/ 29 w 42"/>
                <a:gd name="T23" fmla="*/ 8 h 43"/>
                <a:gd name="T24" fmla="*/ 30 w 42"/>
                <a:gd name="T25" fmla="*/ 9 h 43"/>
                <a:gd name="T26" fmla="*/ 30 w 42"/>
                <a:gd name="T27" fmla="*/ 9 h 43"/>
                <a:gd name="T28" fmla="*/ 30 w 42"/>
                <a:gd name="T29" fmla="*/ 10 h 43"/>
                <a:gd name="T30" fmla="*/ 31 w 42"/>
                <a:gd name="T31" fmla="*/ 11 h 43"/>
                <a:gd name="T32" fmla="*/ 32 w 42"/>
                <a:gd name="T33" fmla="*/ 11 h 43"/>
                <a:gd name="T34" fmla="*/ 32 w 42"/>
                <a:gd name="T35" fmla="*/ 11 h 43"/>
                <a:gd name="T36" fmla="*/ 33 w 42"/>
                <a:gd name="T37" fmla="*/ 13 h 43"/>
                <a:gd name="T38" fmla="*/ 33 w 42"/>
                <a:gd name="T39" fmla="*/ 14 h 43"/>
                <a:gd name="T40" fmla="*/ 33 w 42"/>
                <a:gd name="T41" fmla="*/ 14 h 43"/>
                <a:gd name="T42" fmla="*/ 34 w 42"/>
                <a:gd name="T43" fmla="*/ 16 h 43"/>
                <a:gd name="T44" fmla="*/ 34 w 42"/>
                <a:gd name="T45" fmla="*/ 17 h 43"/>
                <a:gd name="T46" fmla="*/ 34 w 42"/>
                <a:gd name="T47" fmla="*/ 18 h 43"/>
                <a:gd name="T48" fmla="*/ 34 w 42"/>
                <a:gd name="T49" fmla="*/ 18 h 43"/>
                <a:gd name="T50" fmla="*/ 34 w 42"/>
                <a:gd name="T51" fmla="*/ 21 h 43"/>
                <a:gd name="T52" fmla="*/ 34 w 42"/>
                <a:gd name="T53" fmla="*/ 22 h 43"/>
                <a:gd name="T54" fmla="*/ 34 w 42"/>
                <a:gd name="T55" fmla="*/ 23 h 43"/>
                <a:gd name="T56" fmla="*/ 34 w 42"/>
                <a:gd name="T57" fmla="*/ 23 h 43"/>
                <a:gd name="T58" fmla="*/ 33 w 42"/>
                <a:gd name="T59" fmla="*/ 26 h 43"/>
                <a:gd name="T60" fmla="*/ 33 w 42"/>
                <a:gd name="T61" fmla="*/ 27 h 43"/>
                <a:gd name="T62" fmla="*/ 33 w 42"/>
                <a:gd name="T63" fmla="*/ 27 h 43"/>
                <a:gd name="T64" fmla="*/ 33 w 42"/>
                <a:gd name="T65" fmla="*/ 28 h 43"/>
                <a:gd name="T66" fmla="*/ 31 w 42"/>
                <a:gd name="T67" fmla="*/ 30 h 43"/>
                <a:gd name="T68" fmla="*/ 31 w 42"/>
                <a:gd name="T69" fmla="*/ 30 h 43"/>
                <a:gd name="T70" fmla="*/ 31 w 42"/>
                <a:gd name="T71" fmla="*/ 31 h 43"/>
                <a:gd name="T72" fmla="*/ 30 w 42"/>
                <a:gd name="T73" fmla="*/ 32 h 43"/>
                <a:gd name="T74" fmla="*/ 29 w 42"/>
                <a:gd name="T75" fmla="*/ 32 h 43"/>
                <a:gd name="T76" fmla="*/ 28 w 42"/>
                <a:gd name="T77" fmla="*/ 33 h 43"/>
                <a:gd name="T78" fmla="*/ 28 w 42"/>
                <a:gd name="T79" fmla="*/ 33 h 43"/>
                <a:gd name="T80" fmla="*/ 27 w 42"/>
                <a:gd name="T81" fmla="*/ 33 h 43"/>
                <a:gd name="T82" fmla="*/ 26 w 42"/>
                <a:gd name="T83" fmla="*/ 34 h 43"/>
                <a:gd name="T84" fmla="*/ 25 w 42"/>
                <a:gd name="T85" fmla="*/ 34 h 43"/>
                <a:gd name="T86" fmla="*/ 23 w 42"/>
                <a:gd name="T87" fmla="*/ 34 h 43"/>
                <a:gd name="T88" fmla="*/ 22 w 42"/>
                <a:gd name="T89" fmla="*/ 34 h 43"/>
                <a:gd name="T90" fmla="*/ 22 w 42"/>
                <a:gd name="T91" fmla="*/ 34 h 43"/>
                <a:gd name="T92" fmla="*/ 22 w 42"/>
                <a:gd name="T93" fmla="*/ 34 h 43"/>
                <a:gd name="T94" fmla="*/ 21 w 42"/>
                <a:gd name="T95" fmla="*/ 34 h 43"/>
                <a:gd name="T96" fmla="*/ 12 w 42"/>
                <a:gd name="T97" fmla="*/ 27 h 43"/>
                <a:gd name="T98" fmla="*/ 9 w 42"/>
                <a:gd name="T99" fmla="*/ 14 h 43"/>
                <a:gd name="T100" fmla="*/ 14 w 42"/>
                <a:gd name="T101" fmla="*/ 4 h 43"/>
                <a:gd name="T102" fmla="*/ 13 w 42"/>
                <a:gd name="T103" fmla="*/ 1 h 43"/>
                <a:gd name="T104" fmla="*/ 8 w 42"/>
                <a:gd name="T105" fmla="*/ 31 h 43"/>
                <a:gd name="T106" fmla="*/ 34 w 42"/>
                <a:gd name="T107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43">
                  <a:moveTo>
                    <a:pt x="34" y="37"/>
                  </a:moveTo>
                  <a:cubicBezTo>
                    <a:pt x="40" y="31"/>
                    <a:pt x="42" y="22"/>
                    <a:pt x="40" y="13"/>
                  </a:cubicBezTo>
                  <a:cubicBezTo>
                    <a:pt x="39" y="9"/>
                    <a:pt x="36" y="6"/>
                    <a:pt x="33" y="3"/>
                  </a:cubicBezTo>
                  <a:cubicBezTo>
                    <a:pt x="29" y="1"/>
                    <a:pt x="23" y="0"/>
                    <a:pt x="19" y="1"/>
                  </a:cubicBezTo>
                  <a:cubicBezTo>
                    <a:pt x="18" y="2"/>
                    <a:pt x="17" y="2"/>
                    <a:pt x="16" y="3"/>
                  </a:cubicBezTo>
                  <a:cubicBezTo>
                    <a:pt x="14" y="4"/>
                    <a:pt x="15" y="6"/>
                    <a:pt x="17" y="7"/>
                  </a:cubicBezTo>
                  <a:cubicBezTo>
                    <a:pt x="19" y="7"/>
                    <a:pt x="21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6" y="7"/>
                    <a:pt x="26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8" y="8"/>
                    <a:pt x="29" y="8"/>
                  </a:cubicBezTo>
                  <a:cubicBezTo>
                    <a:pt x="29" y="9"/>
                    <a:pt x="29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10"/>
                  </a:cubicBezTo>
                  <a:cubicBezTo>
                    <a:pt x="31" y="10"/>
                    <a:pt x="31" y="10"/>
                    <a:pt x="31" y="11"/>
                  </a:cubicBezTo>
                  <a:cubicBezTo>
                    <a:pt x="31" y="11"/>
                    <a:pt x="31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2"/>
                    <a:pt x="33" y="13"/>
                    <a:pt x="33" y="13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5"/>
                    <a:pt x="34" y="15"/>
                    <a:pt x="34" y="16"/>
                  </a:cubicBezTo>
                  <a:cubicBezTo>
                    <a:pt x="34" y="16"/>
                    <a:pt x="34" y="16"/>
                    <a:pt x="34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9"/>
                    <a:pt x="34" y="20"/>
                    <a:pt x="34" y="21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4"/>
                    <a:pt x="34" y="25"/>
                    <a:pt x="33" y="26"/>
                  </a:cubicBezTo>
                  <a:cubicBezTo>
                    <a:pt x="33" y="26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9"/>
                    <a:pt x="32" y="29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0" y="31"/>
                    <a:pt x="30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2"/>
                    <a:pt x="29" y="33"/>
                    <a:pt x="28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3"/>
                    <a:pt x="27" y="33"/>
                    <a:pt x="27" y="33"/>
                  </a:cubicBezTo>
                  <a:cubicBezTo>
                    <a:pt x="27" y="34"/>
                    <a:pt x="26" y="34"/>
                    <a:pt x="26" y="34"/>
                  </a:cubicBezTo>
                  <a:cubicBezTo>
                    <a:pt x="26" y="34"/>
                    <a:pt x="25" y="34"/>
                    <a:pt x="25" y="34"/>
                  </a:cubicBezTo>
                  <a:cubicBezTo>
                    <a:pt x="24" y="34"/>
                    <a:pt x="24" y="34"/>
                    <a:pt x="23" y="34"/>
                  </a:cubicBezTo>
                  <a:cubicBezTo>
                    <a:pt x="23" y="34"/>
                    <a:pt x="23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1" y="34"/>
                    <a:pt x="21" y="34"/>
                  </a:cubicBezTo>
                  <a:cubicBezTo>
                    <a:pt x="17" y="33"/>
                    <a:pt x="15" y="31"/>
                    <a:pt x="12" y="27"/>
                  </a:cubicBezTo>
                  <a:cubicBezTo>
                    <a:pt x="10" y="23"/>
                    <a:pt x="9" y="18"/>
                    <a:pt x="9" y="14"/>
                  </a:cubicBezTo>
                  <a:cubicBezTo>
                    <a:pt x="9" y="10"/>
                    <a:pt x="10" y="6"/>
                    <a:pt x="14" y="4"/>
                  </a:cubicBezTo>
                  <a:cubicBezTo>
                    <a:pt x="16" y="3"/>
                    <a:pt x="15" y="0"/>
                    <a:pt x="13" y="1"/>
                  </a:cubicBezTo>
                  <a:cubicBezTo>
                    <a:pt x="0" y="5"/>
                    <a:pt x="3" y="23"/>
                    <a:pt x="8" y="31"/>
                  </a:cubicBezTo>
                  <a:cubicBezTo>
                    <a:pt x="14" y="40"/>
                    <a:pt x="26" y="43"/>
                    <a:pt x="34" y="3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6" name="ísľïďé">
              <a:extLst>
                <a:ext uri="{FF2B5EF4-FFF2-40B4-BE49-F238E27FC236}">
                  <a16:creationId xmlns:a16="http://schemas.microsoft.com/office/drawing/2014/main" id="{38D8076C-BF71-4AF1-A5CC-377F545A46EA}"/>
                </a:ext>
              </a:extLst>
            </p:cNvPr>
            <p:cNvSpPr/>
            <p:nvPr/>
          </p:nvSpPr>
          <p:spPr bwMode="auto">
            <a:xfrm>
              <a:off x="7629345" y="2355489"/>
              <a:ext cx="22201" cy="28122"/>
            </a:xfrm>
            <a:custGeom>
              <a:avLst/>
              <a:gdLst>
                <a:gd name="T0" fmla="*/ 0 w 7"/>
                <a:gd name="T1" fmla="*/ 8 h 9"/>
                <a:gd name="T2" fmla="*/ 1 w 7"/>
                <a:gd name="T3" fmla="*/ 9 h 9"/>
                <a:gd name="T4" fmla="*/ 3 w 7"/>
                <a:gd name="T5" fmla="*/ 9 h 9"/>
                <a:gd name="T6" fmla="*/ 3 w 7"/>
                <a:gd name="T7" fmla="*/ 8 h 9"/>
                <a:gd name="T8" fmla="*/ 4 w 7"/>
                <a:gd name="T9" fmla="*/ 8 h 9"/>
                <a:gd name="T10" fmla="*/ 6 w 7"/>
                <a:gd name="T11" fmla="*/ 5 h 9"/>
                <a:gd name="T12" fmla="*/ 5 w 7"/>
                <a:gd name="T13" fmla="*/ 1 h 9"/>
                <a:gd name="T14" fmla="*/ 2 w 7"/>
                <a:gd name="T15" fmla="*/ 2 h 9"/>
                <a:gd name="T16" fmla="*/ 0 w 7"/>
                <a:gd name="T17" fmla="*/ 5 h 9"/>
                <a:gd name="T18" fmla="*/ 0 w 7"/>
                <a:gd name="T1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9">
                  <a:moveTo>
                    <a:pt x="0" y="8"/>
                  </a:moveTo>
                  <a:cubicBezTo>
                    <a:pt x="0" y="8"/>
                    <a:pt x="1" y="9"/>
                    <a:pt x="1" y="9"/>
                  </a:cubicBezTo>
                  <a:cubicBezTo>
                    <a:pt x="1" y="9"/>
                    <a:pt x="2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3"/>
                    <a:pt x="7" y="2"/>
                    <a:pt x="5" y="1"/>
                  </a:cubicBezTo>
                  <a:cubicBezTo>
                    <a:pt x="4" y="0"/>
                    <a:pt x="2" y="1"/>
                    <a:pt x="2" y="2"/>
                  </a:cubicBezTo>
                  <a:cubicBezTo>
                    <a:pt x="1" y="3"/>
                    <a:pt x="1" y="4"/>
                    <a:pt x="0" y="5"/>
                  </a:cubicBezTo>
                  <a:cubicBezTo>
                    <a:pt x="0" y="6"/>
                    <a:pt x="0" y="7"/>
                    <a:pt x="0" y="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7" name="ïṧḻíḓe">
              <a:extLst>
                <a:ext uri="{FF2B5EF4-FFF2-40B4-BE49-F238E27FC236}">
                  <a16:creationId xmlns:a16="http://schemas.microsoft.com/office/drawing/2014/main" id="{74FA5696-C39C-4838-AEA2-2887AF8F8C3D}"/>
                </a:ext>
              </a:extLst>
            </p:cNvPr>
            <p:cNvSpPr/>
            <p:nvPr/>
          </p:nvSpPr>
          <p:spPr bwMode="auto">
            <a:xfrm>
              <a:off x="7713708" y="2478334"/>
              <a:ext cx="39962" cy="34042"/>
            </a:xfrm>
            <a:custGeom>
              <a:avLst/>
              <a:gdLst>
                <a:gd name="T0" fmla="*/ 10 w 13"/>
                <a:gd name="T1" fmla="*/ 0 h 11"/>
                <a:gd name="T2" fmla="*/ 10 w 13"/>
                <a:gd name="T3" fmla="*/ 0 h 11"/>
                <a:gd name="T4" fmla="*/ 10 w 13"/>
                <a:gd name="T5" fmla="*/ 0 h 11"/>
                <a:gd name="T6" fmla="*/ 10 w 13"/>
                <a:gd name="T7" fmla="*/ 0 h 11"/>
                <a:gd name="T8" fmla="*/ 11 w 13"/>
                <a:gd name="T9" fmla="*/ 0 h 11"/>
                <a:gd name="T10" fmla="*/ 11 w 13"/>
                <a:gd name="T11" fmla="*/ 1 h 11"/>
                <a:gd name="T12" fmla="*/ 12 w 13"/>
                <a:gd name="T13" fmla="*/ 1 h 11"/>
                <a:gd name="T14" fmla="*/ 12 w 13"/>
                <a:gd name="T15" fmla="*/ 2 h 11"/>
                <a:gd name="T16" fmla="*/ 12 w 13"/>
                <a:gd name="T17" fmla="*/ 2 h 11"/>
                <a:gd name="T18" fmla="*/ 13 w 13"/>
                <a:gd name="T19" fmla="*/ 2 h 11"/>
                <a:gd name="T20" fmla="*/ 13 w 13"/>
                <a:gd name="T21" fmla="*/ 3 h 11"/>
                <a:gd name="T22" fmla="*/ 13 w 13"/>
                <a:gd name="T23" fmla="*/ 4 h 11"/>
                <a:gd name="T24" fmla="*/ 13 w 13"/>
                <a:gd name="T25" fmla="*/ 5 h 11"/>
                <a:gd name="T26" fmla="*/ 13 w 13"/>
                <a:gd name="T27" fmla="*/ 6 h 11"/>
                <a:gd name="T28" fmla="*/ 12 w 13"/>
                <a:gd name="T29" fmla="*/ 7 h 11"/>
                <a:gd name="T30" fmla="*/ 12 w 13"/>
                <a:gd name="T31" fmla="*/ 7 h 11"/>
                <a:gd name="T32" fmla="*/ 12 w 13"/>
                <a:gd name="T33" fmla="*/ 7 h 11"/>
                <a:gd name="T34" fmla="*/ 12 w 13"/>
                <a:gd name="T35" fmla="*/ 8 h 11"/>
                <a:gd name="T36" fmla="*/ 12 w 13"/>
                <a:gd name="T37" fmla="*/ 8 h 11"/>
                <a:gd name="T38" fmla="*/ 11 w 13"/>
                <a:gd name="T39" fmla="*/ 9 h 11"/>
                <a:gd name="T40" fmla="*/ 11 w 13"/>
                <a:gd name="T41" fmla="*/ 9 h 11"/>
                <a:gd name="T42" fmla="*/ 11 w 13"/>
                <a:gd name="T43" fmla="*/ 9 h 11"/>
                <a:gd name="T44" fmla="*/ 11 w 13"/>
                <a:gd name="T45" fmla="*/ 9 h 11"/>
                <a:gd name="T46" fmla="*/ 10 w 13"/>
                <a:gd name="T47" fmla="*/ 10 h 11"/>
                <a:gd name="T48" fmla="*/ 8 w 13"/>
                <a:gd name="T49" fmla="*/ 10 h 11"/>
                <a:gd name="T50" fmla="*/ 4 w 13"/>
                <a:gd name="T51" fmla="*/ 9 h 11"/>
                <a:gd name="T52" fmla="*/ 1 w 13"/>
                <a:gd name="T53" fmla="*/ 7 h 11"/>
                <a:gd name="T54" fmla="*/ 0 w 13"/>
                <a:gd name="T55" fmla="*/ 4 h 11"/>
                <a:gd name="T56" fmla="*/ 0 w 13"/>
                <a:gd name="T57" fmla="*/ 2 h 11"/>
                <a:gd name="T58" fmla="*/ 5 w 13"/>
                <a:gd name="T59" fmla="*/ 1 h 11"/>
                <a:gd name="T60" fmla="*/ 8 w 13"/>
                <a:gd name="T61" fmla="*/ 0 h 11"/>
                <a:gd name="T62" fmla="*/ 8 w 13"/>
                <a:gd name="T63" fmla="*/ 0 h 11"/>
                <a:gd name="T64" fmla="*/ 9 w 13"/>
                <a:gd name="T65" fmla="*/ 0 h 11"/>
                <a:gd name="T66" fmla="*/ 9 w 13"/>
                <a:gd name="T67" fmla="*/ 0 h 11"/>
                <a:gd name="T68" fmla="*/ 10 w 13"/>
                <a:gd name="T6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1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1" y="0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6"/>
                    <a:pt x="13" y="6"/>
                  </a:cubicBezTo>
                  <a:cubicBezTo>
                    <a:pt x="13" y="6"/>
                    <a:pt x="13" y="6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8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9" y="10"/>
                    <a:pt x="10" y="10"/>
                  </a:cubicBezTo>
                  <a:cubicBezTo>
                    <a:pt x="9" y="11"/>
                    <a:pt x="9" y="10"/>
                    <a:pt x="8" y="10"/>
                  </a:cubicBezTo>
                  <a:cubicBezTo>
                    <a:pt x="6" y="11"/>
                    <a:pt x="5" y="10"/>
                    <a:pt x="4" y="9"/>
                  </a:cubicBezTo>
                  <a:cubicBezTo>
                    <a:pt x="3" y="9"/>
                    <a:pt x="2" y="8"/>
                    <a:pt x="1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2" y="2"/>
                    <a:pt x="3" y="2"/>
                    <a:pt x="5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8" name="íSļiďe">
              <a:extLst>
                <a:ext uri="{FF2B5EF4-FFF2-40B4-BE49-F238E27FC236}">
                  <a16:creationId xmlns:a16="http://schemas.microsoft.com/office/drawing/2014/main" id="{B7645FBC-CF2A-4D8D-B42B-B127A87344EF}"/>
                </a:ext>
              </a:extLst>
            </p:cNvPr>
            <p:cNvSpPr/>
            <p:nvPr/>
          </p:nvSpPr>
          <p:spPr bwMode="auto">
            <a:xfrm>
              <a:off x="7697428" y="2457613"/>
              <a:ext cx="79923" cy="72524"/>
            </a:xfrm>
            <a:custGeom>
              <a:avLst/>
              <a:gdLst>
                <a:gd name="T0" fmla="*/ 10 w 26"/>
                <a:gd name="T1" fmla="*/ 2 h 24"/>
                <a:gd name="T2" fmla="*/ 8 w 26"/>
                <a:gd name="T3" fmla="*/ 1 h 24"/>
                <a:gd name="T4" fmla="*/ 1 w 26"/>
                <a:gd name="T5" fmla="*/ 14 h 24"/>
                <a:gd name="T6" fmla="*/ 15 w 26"/>
                <a:gd name="T7" fmla="*/ 23 h 24"/>
                <a:gd name="T8" fmla="*/ 19 w 26"/>
                <a:gd name="T9" fmla="*/ 3 h 24"/>
                <a:gd name="T10" fmla="*/ 12 w 26"/>
                <a:gd name="T11" fmla="*/ 2 h 24"/>
                <a:gd name="T12" fmla="*/ 10 w 26"/>
                <a:gd name="T1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4">
                  <a:moveTo>
                    <a:pt x="10" y="2"/>
                  </a:moveTo>
                  <a:cubicBezTo>
                    <a:pt x="10" y="1"/>
                    <a:pt x="9" y="0"/>
                    <a:pt x="8" y="1"/>
                  </a:cubicBezTo>
                  <a:cubicBezTo>
                    <a:pt x="4" y="3"/>
                    <a:pt x="0" y="8"/>
                    <a:pt x="1" y="14"/>
                  </a:cubicBezTo>
                  <a:cubicBezTo>
                    <a:pt x="2" y="21"/>
                    <a:pt x="9" y="24"/>
                    <a:pt x="15" y="23"/>
                  </a:cubicBezTo>
                  <a:cubicBezTo>
                    <a:pt x="24" y="21"/>
                    <a:pt x="26" y="8"/>
                    <a:pt x="19" y="3"/>
                  </a:cubicBezTo>
                  <a:cubicBezTo>
                    <a:pt x="17" y="1"/>
                    <a:pt x="15" y="1"/>
                    <a:pt x="12" y="2"/>
                  </a:cubicBezTo>
                  <a:cubicBezTo>
                    <a:pt x="11" y="2"/>
                    <a:pt x="11" y="2"/>
                    <a:pt x="10" y="2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9" name="íšliḑè">
              <a:extLst>
                <a:ext uri="{FF2B5EF4-FFF2-40B4-BE49-F238E27FC236}">
                  <a16:creationId xmlns:a16="http://schemas.microsoft.com/office/drawing/2014/main" id="{2946426A-A3AA-4E5E-818C-F96AFB0BC781}"/>
                </a:ext>
              </a:extLst>
            </p:cNvPr>
            <p:cNvSpPr/>
            <p:nvPr/>
          </p:nvSpPr>
          <p:spPr bwMode="auto">
            <a:xfrm>
              <a:off x="8184368" y="3400413"/>
              <a:ext cx="103604" cy="82883"/>
            </a:xfrm>
            <a:custGeom>
              <a:avLst/>
              <a:gdLst>
                <a:gd name="T0" fmla="*/ 21 w 34"/>
                <a:gd name="T1" fmla="*/ 0 h 27"/>
                <a:gd name="T2" fmla="*/ 23 w 34"/>
                <a:gd name="T3" fmla="*/ 0 h 27"/>
                <a:gd name="T4" fmla="*/ 27 w 34"/>
                <a:gd name="T5" fmla="*/ 1 h 27"/>
                <a:gd name="T6" fmla="*/ 29 w 34"/>
                <a:gd name="T7" fmla="*/ 2 h 27"/>
                <a:gd name="T8" fmla="*/ 30 w 34"/>
                <a:gd name="T9" fmla="*/ 2 h 27"/>
                <a:gd name="T10" fmla="*/ 32 w 34"/>
                <a:gd name="T11" fmla="*/ 3 h 27"/>
                <a:gd name="T12" fmla="*/ 33 w 34"/>
                <a:gd name="T13" fmla="*/ 4 h 27"/>
                <a:gd name="T14" fmla="*/ 33 w 34"/>
                <a:gd name="T15" fmla="*/ 5 h 27"/>
                <a:gd name="T16" fmla="*/ 34 w 34"/>
                <a:gd name="T17" fmla="*/ 6 h 27"/>
                <a:gd name="T18" fmla="*/ 34 w 34"/>
                <a:gd name="T19" fmla="*/ 7 h 27"/>
                <a:gd name="T20" fmla="*/ 34 w 34"/>
                <a:gd name="T21" fmla="*/ 8 h 27"/>
                <a:gd name="T22" fmla="*/ 33 w 34"/>
                <a:gd name="T23" fmla="*/ 11 h 27"/>
                <a:gd name="T24" fmla="*/ 33 w 34"/>
                <a:gd name="T25" fmla="*/ 11 h 27"/>
                <a:gd name="T26" fmla="*/ 32 w 34"/>
                <a:gd name="T27" fmla="*/ 13 h 27"/>
                <a:gd name="T28" fmla="*/ 30 w 34"/>
                <a:gd name="T29" fmla="*/ 15 h 27"/>
                <a:gd name="T30" fmla="*/ 26 w 34"/>
                <a:gd name="T31" fmla="*/ 19 h 27"/>
                <a:gd name="T32" fmla="*/ 25 w 34"/>
                <a:gd name="T33" fmla="*/ 20 h 27"/>
                <a:gd name="T34" fmla="*/ 23 w 34"/>
                <a:gd name="T35" fmla="*/ 21 h 27"/>
                <a:gd name="T36" fmla="*/ 18 w 34"/>
                <a:gd name="T37" fmla="*/ 25 h 27"/>
                <a:gd name="T38" fmla="*/ 17 w 34"/>
                <a:gd name="T39" fmla="*/ 26 h 27"/>
                <a:gd name="T40" fmla="*/ 12 w 34"/>
                <a:gd name="T41" fmla="*/ 27 h 27"/>
                <a:gd name="T42" fmla="*/ 12 w 34"/>
                <a:gd name="T43" fmla="*/ 27 h 27"/>
                <a:gd name="T44" fmla="*/ 8 w 34"/>
                <a:gd name="T45" fmla="*/ 27 h 27"/>
                <a:gd name="T46" fmla="*/ 8 w 34"/>
                <a:gd name="T47" fmla="*/ 27 h 27"/>
                <a:gd name="T48" fmla="*/ 6 w 34"/>
                <a:gd name="T49" fmla="*/ 26 h 27"/>
                <a:gd name="T50" fmla="*/ 5 w 34"/>
                <a:gd name="T51" fmla="*/ 26 h 27"/>
                <a:gd name="T52" fmla="*/ 4 w 34"/>
                <a:gd name="T53" fmla="*/ 25 h 27"/>
                <a:gd name="T54" fmla="*/ 3 w 34"/>
                <a:gd name="T55" fmla="*/ 24 h 27"/>
                <a:gd name="T56" fmla="*/ 2 w 34"/>
                <a:gd name="T57" fmla="*/ 22 h 27"/>
                <a:gd name="T58" fmla="*/ 2 w 34"/>
                <a:gd name="T59" fmla="*/ 21 h 27"/>
                <a:gd name="T60" fmla="*/ 1 w 34"/>
                <a:gd name="T61" fmla="*/ 18 h 27"/>
                <a:gd name="T62" fmla="*/ 1 w 34"/>
                <a:gd name="T63" fmla="*/ 17 h 27"/>
                <a:gd name="T64" fmla="*/ 1 w 34"/>
                <a:gd name="T65" fmla="*/ 4 h 27"/>
                <a:gd name="T66" fmla="*/ 10 w 34"/>
                <a:gd name="T6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27"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3" y="0"/>
                  </a:cubicBezTo>
                  <a:cubicBezTo>
                    <a:pt x="23" y="0"/>
                    <a:pt x="23" y="0"/>
                    <a:pt x="24" y="0"/>
                  </a:cubicBezTo>
                  <a:cubicBezTo>
                    <a:pt x="25" y="0"/>
                    <a:pt x="26" y="1"/>
                    <a:pt x="27" y="1"/>
                  </a:cubicBezTo>
                  <a:cubicBezTo>
                    <a:pt x="27" y="1"/>
                    <a:pt x="28" y="1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2" y="3"/>
                  </a:cubicBezTo>
                  <a:cubicBezTo>
                    <a:pt x="32" y="3"/>
                    <a:pt x="32" y="4"/>
                    <a:pt x="3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6"/>
                    <a:pt x="34" y="6"/>
                    <a:pt x="34" y="6"/>
                  </a:cubicBezTo>
                  <a:cubicBezTo>
                    <a:pt x="34" y="6"/>
                    <a:pt x="34" y="6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10"/>
                    <a:pt x="33" y="10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1"/>
                    <a:pt x="33" y="12"/>
                  </a:cubicBezTo>
                  <a:cubicBezTo>
                    <a:pt x="32" y="12"/>
                    <a:pt x="32" y="13"/>
                    <a:pt x="32" y="13"/>
                  </a:cubicBezTo>
                  <a:cubicBezTo>
                    <a:pt x="31" y="14"/>
                    <a:pt x="31" y="14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6"/>
                    <a:pt x="29" y="16"/>
                  </a:cubicBezTo>
                  <a:cubicBezTo>
                    <a:pt x="29" y="17"/>
                    <a:pt x="28" y="18"/>
                    <a:pt x="26" y="19"/>
                  </a:cubicBezTo>
                  <a:cubicBezTo>
                    <a:pt x="26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4" y="21"/>
                    <a:pt x="24" y="21"/>
                    <a:pt x="23" y="21"/>
                  </a:cubicBezTo>
                  <a:cubicBezTo>
                    <a:pt x="22" y="22"/>
                    <a:pt x="21" y="24"/>
                    <a:pt x="20" y="24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7" y="26"/>
                    <a:pt x="17" y="26"/>
                  </a:cubicBezTo>
                  <a:cubicBezTo>
                    <a:pt x="16" y="26"/>
                    <a:pt x="14" y="27"/>
                    <a:pt x="13" y="27"/>
                  </a:cubicBezTo>
                  <a:cubicBezTo>
                    <a:pt x="13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7"/>
                    <a:pt x="11" y="27"/>
                    <a:pt x="10" y="27"/>
                  </a:cubicBezTo>
                  <a:cubicBezTo>
                    <a:pt x="9" y="27"/>
                    <a:pt x="9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7"/>
                    <a:pt x="7" y="27"/>
                    <a:pt x="6" y="2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3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19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6"/>
                    <a:pt x="1" y="15"/>
                    <a:pt x="1" y="14"/>
                  </a:cubicBezTo>
                  <a:cubicBezTo>
                    <a:pt x="0" y="11"/>
                    <a:pt x="1" y="7"/>
                    <a:pt x="1" y="4"/>
                  </a:cubicBezTo>
                  <a:cubicBezTo>
                    <a:pt x="4" y="3"/>
                    <a:pt x="7" y="3"/>
                    <a:pt x="9" y="3"/>
                  </a:cubicBezTo>
                  <a:cubicBezTo>
                    <a:pt x="11" y="3"/>
                    <a:pt x="12" y="1"/>
                    <a:pt x="10" y="0"/>
                  </a:cubicBezTo>
                  <a:cubicBezTo>
                    <a:pt x="14" y="0"/>
                    <a:pt x="18" y="0"/>
                    <a:pt x="21" y="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0" name="íṩlíḑé">
              <a:extLst>
                <a:ext uri="{FF2B5EF4-FFF2-40B4-BE49-F238E27FC236}">
                  <a16:creationId xmlns:a16="http://schemas.microsoft.com/office/drawing/2014/main" id="{58704783-0B17-4DF7-96FF-0A1E3FA77174}"/>
                </a:ext>
              </a:extLst>
            </p:cNvPr>
            <p:cNvSpPr/>
            <p:nvPr/>
          </p:nvSpPr>
          <p:spPr bwMode="auto">
            <a:xfrm>
              <a:off x="8168088" y="3381172"/>
              <a:ext cx="142086" cy="124325"/>
            </a:xfrm>
            <a:custGeom>
              <a:avLst/>
              <a:gdLst>
                <a:gd name="T0" fmla="*/ 10 w 46"/>
                <a:gd name="T1" fmla="*/ 5 h 40"/>
                <a:gd name="T2" fmla="*/ 10 w 46"/>
                <a:gd name="T3" fmla="*/ 5 h 40"/>
                <a:gd name="T4" fmla="*/ 4 w 46"/>
                <a:gd name="T5" fmla="*/ 5 h 40"/>
                <a:gd name="T6" fmla="*/ 2 w 46"/>
                <a:gd name="T7" fmla="*/ 7 h 40"/>
                <a:gd name="T8" fmla="*/ 0 w 46"/>
                <a:gd name="T9" fmla="*/ 22 h 40"/>
                <a:gd name="T10" fmla="*/ 3 w 46"/>
                <a:gd name="T11" fmla="*/ 32 h 40"/>
                <a:gd name="T12" fmla="*/ 17 w 46"/>
                <a:gd name="T13" fmla="*/ 39 h 40"/>
                <a:gd name="T14" fmla="*/ 33 w 46"/>
                <a:gd name="T15" fmla="*/ 32 h 40"/>
                <a:gd name="T16" fmla="*/ 44 w 46"/>
                <a:gd name="T17" fmla="*/ 18 h 40"/>
                <a:gd name="T18" fmla="*/ 39 w 46"/>
                <a:gd name="T19" fmla="*/ 4 h 40"/>
                <a:gd name="T20" fmla="*/ 29 w 46"/>
                <a:gd name="T21" fmla="*/ 0 h 40"/>
                <a:gd name="T22" fmla="*/ 13 w 46"/>
                <a:gd name="T23" fmla="*/ 1 h 40"/>
                <a:gd name="T24" fmla="*/ 10 w 46"/>
                <a:gd name="T25" fmla="*/ 2 h 40"/>
                <a:gd name="T26" fmla="*/ 10 w 46"/>
                <a:gd name="T27" fmla="*/ 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40"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8" y="5"/>
                    <a:pt x="6" y="5"/>
                    <a:pt x="4" y="5"/>
                  </a:cubicBezTo>
                  <a:cubicBezTo>
                    <a:pt x="3" y="5"/>
                    <a:pt x="2" y="6"/>
                    <a:pt x="2" y="7"/>
                  </a:cubicBezTo>
                  <a:cubicBezTo>
                    <a:pt x="0" y="11"/>
                    <a:pt x="0" y="17"/>
                    <a:pt x="0" y="22"/>
                  </a:cubicBezTo>
                  <a:cubicBezTo>
                    <a:pt x="0" y="25"/>
                    <a:pt x="1" y="29"/>
                    <a:pt x="3" y="32"/>
                  </a:cubicBezTo>
                  <a:cubicBezTo>
                    <a:pt x="6" y="37"/>
                    <a:pt x="11" y="40"/>
                    <a:pt x="17" y="39"/>
                  </a:cubicBezTo>
                  <a:cubicBezTo>
                    <a:pt x="23" y="38"/>
                    <a:pt x="28" y="35"/>
                    <a:pt x="33" y="32"/>
                  </a:cubicBezTo>
                  <a:cubicBezTo>
                    <a:pt x="38" y="28"/>
                    <a:pt x="42" y="23"/>
                    <a:pt x="44" y="18"/>
                  </a:cubicBezTo>
                  <a:cubicBezTo>
                    <a:pt x="46" y="12"/>
                    <a:pt x="44" y="7"/>
                    <a:pt x="39" y="4"/>
                  </a:cubicBezTo>
                  <a:cubicBezTo>
                    <a:pt x="36" y="2"/>
                    <a:pt x="33" y="1"/>
                    <a:pt x="29" y="0"/>
                  </a:cubicBezTo>
                  <a:cubicBezTo>
                    <a:pt x="24" y="0"/>
                    <a:pt x="19" y="0"/>
                    <a:pt x="13" y="1"/>
                  </a:cubicBezTo>
                  <a:cubicBezTo>
                    <a:pt x="12" y="1"/>
                    <a:pt x="11" y="1"/>
                    <a:pt x="10" y="2"/>
                  </a:cubicBezTo>
                  <a:cubicBezTo>
                    <a:pt x="8" y="2"/>
                    <a:pt x="8" y="5"/>
                    <a:pt x="10" y="5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1" name="íš1ïḍe">
              <a:extLst>
                <a:ext uri="{FF2B5EF4-FFF2-40B4-BE49-F238E27FC236}">
                  <a16:creationId xmlns:a16="http://schemas.microsoft.com/office/drawing/2014/main" id="{0BA9E1E3-CB55-4C7C-BB86-3BED90E8259B}"/>
                </a:ext>
              </a:extLst>
            </p:cNvPr>
            <p:cNvSpPr/>
            <p:nvPr/>
          </p:nvSpPr>
          <p:spPr bwMode="auto">
            <a:xfrm>
              <a:off x="7805472" y="3686065"/>
              <a:ext cx="48843" cy="45882"/>
            </a:xfrm>
            <a:custGeom>
              <a:avLst/>
              <a:gdLst>
                <a:gd name="T0" fmla="*/ 10 w 16"/>
                <a:gd name="T1" fmla="*/ 0 h 15"/>
                <a:gd name="T2" fmla="*/ 10 w 16"/>
                <a:gd name="T3" fmla="*/ 0 h 15"/>
                <a:gd name="T4" fmla="*/ 11 w 16"/>
                <a:gd name="T5" fmla="*/ 0 h 15"/>
                <a:gd name="T6" fmla="*/ 13 w 16"/>
                <a:gd name="T7" fmla="*/ 1 h 15"/>
                <a:gd name="T8" fmla="*/ 15 w 16"/>
                <a:gd name="T9" fmla="*/ 2 h 15"/>
                <a:gd name="T10" fmla="*/ 15 w 16"/>
                <a:gd name="T11" fmla="*/ 3 h 15"/>
                <a:gd name="T12" fmla="*/ 15 w 16"/>
                <a:gd name="T13" fmla="*/ 4 h 15"/>
                <a:gd name="T14" fmla="*/ 11 w 16"/>
                <a:gd name="T15" fmla="*/ 12 h 15"/>
                <a:gd name="T16" fmla="*/ 2 w 16"/>
                <a:gd name="T17" fmla="*/ 12 h 15"/>
                <a:gd name="T18" fmla="*/ 2 w 16"/>
                <a:gd name="T19" fmla="*/ 4 h 15"/>
                <a:gd name="T20" fmla="*/ 10 w 16"/>
                <a:gd name="T2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15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3" y="1"/>
                  </a:cubicBezTo>
                  <a:cubicBezTo>
                    <a:pt x="14" y="1"/>
                    <a:pt x="14" y="2"/>
                    <a:pt x="15" y="2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4"/>
                    <a:pt x="15" y="4"/>
                  </a:cubicBezTo>
                  <a:cubicBezTo>
                    <a:pt x="16" y="7"/>
                    <a:pt x="13" y="10"/>
                    <a:pt x="11" y="12"/>
                  </a:cubicBezTo>
                  <a:cubicBezTo>
                    <a:pt x="8" y="15"/>
                    <a:pt x="5" y="15"/>
                    <a:pt x="2" y="12"/>
                  </a:cubicBezTo>
                  <a:cubicBezTo>
                    <a:pt x="0" y="10"/>
                    <a:pt x="0" y="7"/>
                    <a:pt x="2" y="4"/>
                  </a:cubicBezTo>
                  <a:cubicBezTo>
                    <a:pt x="4" y="1"/>
                    <a:pt x="7" y="0"/>
                    <a:pt x="10" y="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2" name="îṣḻïḋé">
              <a:extLst>
                <a:ext uri="{FF2B5EF4-FFF2-40B4-BE49-F238E27FC236}">
                  <a16:creationId xmlns:a16="http://schemas.microsoft.com/office/drawing/2014/main" id="{523054AD-0E80-4CFB-A933-E1FD09D38342}"/>
                </a:ext>
              </a:extLst>
            </p:cNvPr>
            <p:cNvSpPr/>
            <p:nvPr/>
          </p:nvSpPr>
          <p:spPr bwMode="auto">
            <a:xfrm>
              <a:off x="7793631" y="3663864"/>
              <a:ext cx="79923" cy="76963"/>
            </a:xfrm>
            <a:custGeom>
              <a:avLst/>
              <a:gdLst>
                <a:gd name="T0" fmla="*/ 0 w 26"/>
                <a:gd name="T1" fmla="*/ 15 h 25"/>
                <a:gd name="T2" fmla="*/ 10 w 26"/>
                <a:gd name="T3" fmla="*/ 25 h 25"/>
                <a:gd name="T4" fmla="*/ 22 w 26"/>
                <a:gd name="T5" fmla="*/ 7 h 25"/>
                <a:gd name="T6" fmla="*/ 19 w 26"/>
                <a:gd name="T7" fmla="*/ 3 h 25"/>
                <a:gd name="T8" fmla="*/ 10 w 26"/>
                <a:gd name="T9" fmla="*/ 3 h 25"/>
                <a:gd name="T10" fmla="*/ 10 w 26"/>
                <a:gd name="T11" fmla="*/ 5 h 25"/>
                <a:gd name="T12" fmla="*/ 5 w 26"/>
                <a:gd name="T13" fmla="*/ 6 h 25"/>
                <a:gd name="T14" fmla="*/ 0 w 26"/>
                <a:gd name="T15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0" y="15"/>
                  </a:moveTo>
                  <a:cubicBezTo>
                    <a:pt x="0" y="20"/>
                    <a:pt x="5" y="25"/>
                    <a:pt x="10" y="25"/>
                  </a:cubicBezTo>
                  <a:cubicBezTo>
                    <a:pt x="19" y="25"/>
                    <a:pt x="26" y="15"/>
                    <a:pt x="22" y="7"/>
                  </a:cubicBezTo>
                  <a:cubicBezTo>
                    <a:pt x="22" y="5"/>
                    <a:pt x="20" y="4"/>
                    <a:pt x="19" y="3"/>
                  </a:cubicBezTo>
                  <a:cubicBezTo>
                    <a:pt x="17" y="2"/>
                    <a:pt x="12" y="0"/>
                    <a:pt x="10" y="3"/>
                  </a:cubicBezTo>
                  <a:cubicBezTo>
                    <a:pt x="10" y="3"/>
                    <a:pt x="9" y="4"/>
                    <a:pt x="10" y="5"/>
                  </a:cubicBezTo>
                  <a:cubicBezTo>
                    <a:pt x="8" y="5"/>
                    <a:pt x="6" y="6"/>
                    <a:pt x="5" y="6"/>
                  </a:cubicBezTo>
                  <a:cubicBezTo>
                    <a:pt x="2" y="8"/>
                    <a:pt x="0" y="11"/>
                    <a:pt x="0" y="15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3" name="îṧľiḓe">
              <a:extLst>
                <a:ext uri="{FF2B5EF4-FFF2-40B4-BE49-F238E27FC236}">
                  <a16:creationId xmlns:a16="http://schemas.microsoft.com/office/drawing/2014/main" id="{794060EE-6E36-453A-BA73-C65ACA31F320}"/>
                </a:ext>
              </a:extLst>
            </p:cNvPr>
            <p:cNvSpPr/>
            <p:nvPr/>
          </p:nvSpPr>
          <p:spPr bwMode="auto">
            <a:xfrm>
              <a:off x="7977159" y="3894754"/>
              <a:ext cx="28122" cy="31082"/>
            </a:xfrm>
            <a:custGeom>
              <a:avLst/>
              <a:gdLst>
                <a:gd name="T0" fmla="*/ 3 w 9"/>
                <a:gd name="T1" fmla="*/ 0 h 10"/>
                <a:gd name="T2" fmla="*/ 3 w 9"/>
                <a:gd name="T3" fmla="*/ 0 h 10"/>
                <a:gd name="T4" fmla="*/ 5 w 9"/>
                <a:gd name="T5" fmla="*/ 0 h 10"/>
                <a:gd name="T6" fmla="*/ 6 w 9"/>
                <a:gd name="T7" fmla="*/ 0 h 10"/>
                <a:gd name="T8" fmla="*/ 8 w 9"/>
                <a:gd name="T9" fmla="*/ 2 h 10"/>
                <a:gd name="T10" fmla="*/ 9 w 9"/>
                <a:gd name="T11" fmla="*/ 5 h 10"/>
                <a:gd name="T12" fmla="*/ 9 w 9"/>
                <a:gd name="T13" fmla="*/ 6 h 10"/>
                <a:gd name="T14" fmla="*/ 9 w 9"/>
                <a:gd name="T15" fmla="*/ 6 h 10"/>
                <a:gd name="T16" fmla="*/ 9 w 9"/>
                <a:gd name="T17" fmla="*/ 7 h 10"/>
                <a:gd name="T18" fmla="*/ 9 w 9"/>
                <a:gd name="T19" fmla="*/ 8 h 10"/>
                <a:gd name="T20" fmla="*/ 9 w 9"/>
                <a:gd name="T21" fmla="*/ 8 h 10"/>
                <a:gd name="T22" fmla="*/ 9 w 9"/>
                <a:gd name="T23" fmla="*/ 8 h 10"/>
                <a:gd name="T24" fmla="*/ 8 w 9"/>
                <a:gd name="T25" fmla="*/ 10 h 10"/>
                <a:gd name="T26" fmla="*/ 8 w 9"/>
                <a:gd name="T27" fmla="*/ 10 h 10"/>
                <a:gd name="T28" fmla="*/ 7 w 9"/>
                <a:gd name="T29" fmla="*/ 10 h 10"/>
                <a:gd name="T30" fmla="*/ 7 w 9"/>
                <a:gd name="T31" fmla="*/ 10 h 10"/>
                <a:gd name="T32" fmla="*/ 7 w 9"/>
                <a:gd name="T33" fmla="*/ 10 h 10"/>
                <a:gd name="T34" fmla="*/ 5 w 9"/>
                <a:gd name="T35" fmla="*/ 10 h 10"/>
                <a:gd name="T36" fmla="*/ 2 w 9"/>
                <a:gd name="T37" fmla="*/ 9 h 10"/>
                <a:gd name="T38" fmla="*/ 1 w 9"/>
                <a:gd name="T39" fmla="*/ 6 h 10"/>
                <a:gd name="T40" fmla="*/ 3 w 9"/>
                <a:gd name="T41" fmla="*/ 1 h 10"/>
                <a:gd name="T42" fmla="*/ 3 w 9"/>
                <a:gd name="T43" fmla="*/ 0 h 10"/>
                <a:gd name="T44" fmla="*/ 3 w 9"/>
                <a:gd name="T4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" h="10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1"/>
                    <a:pt x="8" y="1"/>
                    <a:pt x="8" y="2"/>
                  </a:cubicBezTo>
                  <a:cubicBezTo>
                    <a:pt x="9" y="3"/>
                    <a:pt x="9" y="4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9"/>
                    <a:pt x="8" y="9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6" y="10"/>
                    <a:pt x="5" y="10"/>
                  </a:cubicBezTo>
                  <a:cubicBezTo>
                    <a:pt x="4" y="10"/>
                    <a:pt x="3" y="10"/>
                    <a:pt x="2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1" y="4"/>
                    <a:pt x="2" y="2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4" name="iṡľíḑé">
              <a:extLst>
                <a:ext uri="{FF2B5EF4-FFF2-40B4-BE49-F238E27FC236}">
                  <a16:creationId xmlns:a16="http://schemas.microsoft.com/office/drawing/2014/main" id="{2ACB9C25-ED29-4CC0-AD26-5F6445B1E86D}"/>
                </a:ext>
              </a:extLst>
            </p:cNvPr>
            <p:cNvSpPr/>
            <p:nvPr/>
          </p:nvSpPr>
          <p:spPr bwMode="auto">
            <a:xfrm>
              <a:off x="7962359" y="3879953"/>
              <a:ext cx="62163" cy="63643"/>
            </a:xfrm>
            <a:custGeom>
              <a:avLst/>
              <a:gdLst>
                <a:gd name="T0" fmla="*/ 3 w 20"/>
                <a:gd name="T1" fmla="*/ 18 h 21"/>
                <a:gd name="T2" fmla="*/ 17 w 20"/>
                <a:gd name="T3" fmla="*/ 17 h 21"/>
                <a:gd name="T4" fmla="*/ 17 w 20"/>
                <a:gd name="T5" fmla="*/ 5 h 21"/>
                <a:gd name="T6" fmla="*/ 13 w 20"/>
                <a:gd name="T7" fmla="*/ 1 h 21"/>
                <a:gd name="T8" fmla="*/ 5 w 20"/>
                <a:gd name="T9" fmla="*/ 3 h 21"/>
                <a:gd name="T10" fmla="*/ 5 w 20"/>
                <a:gd name="T11" fmla="*/ 3 h 21"/>
                <a:gd name="T12" fmla="*/ 1 w 20"/>
                <a:gd name="T13" fmla="*/ 10 h 21"/>
                <a:gd name="T14" fmla="*/ 3 w 20"/>
                <a:gd name="T15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1">
                  <a:moveTo>
                    <a:pt x="3" y="18"/>
                  </a:moveTo>
                  <a:cubicBezTo>
                    <a:pt x="8" y="21"/>
                    <a:pt x="14" y="21"/>
                    <a:pt x="17" y="17"/>
                  </a:cubicBezTo>
                  <a:cubicBezTo>
                    <a:pt x="20" y="13"/>
                    <a:pt x="19" y="8"/>
                    <a:pt x="17" y="5"/>
                  </a:cubicBezTo>
                  <a:cubicBezTo>
                    <a:pt x="17" y="3"/>
                    <a:pt x="15" y="1"/>
                    <a:pt x="13" y="1"/>
                  </a:cubicBezTo>
                  <a:cubicBezTo>
                    <a:pt x="10" y="0"/>
                    <a:pt x="6" y="0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5"/>
                    <a:pt x="1" y="7"/>
                    <a:pt x="1" y="10"/>
                  </a:cubicBezTo>
                  <a:cubicBezTo>
                    <a:pt x="0" y="13"/>
                    <a:pt x="1" y="16"/>
                    <a:pt x="3" y="18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5" name="iśļïḑè">
              <a:extLst>
                <a:ext uri="{FF2B5EF4-FFF2-40B4-BE49-F238E27FC236}">
                  <a16:creationId xmlns:a16="http://schemas.microsoft.com/office/drawing/2014/main" id="{B236E0D4-769D-42A1-AF7C-0DFB8C9DEF82}"/>
                </a:ext>
              </a:extLst>
            </p:cNvPr>
            <p:cNvSpPr/>
            <p:nvPr/>
          </p:nvSpPr>
          <p:spPr bwMode="auto">
            <a:xfrm>
              <a:off x="7947558" y="3520298"/>
              <a:ext cx="48843" cy="60683"/>
            </a:xfrm>
            <a:custGeom>
              <a:avLst/>
              <a:gdLst>
                <a:gd name="T0" fmla="*/ 8 w 16"/>
                <a:gd name="T1" fmla="*/ 18 h 20"/>
                <a:gd name="T2" fmla="*/ 8 w 16"/>
                <a:gd name="T3" fmla="*/ 18 h 20"/>
                <a:gd name="T4" fmla="*/ 7 w 16"/>
                <a:gd name="T5" fmla="*/ 19 h 20"/>
                <a:gd name="T6" fmla="*/ 7 w 16"/>
                <a:gd name="T7" fmla="*/ 19 h 20"/>
                <a:gd name="T8" fmla="*/ 6 w 16"/>
                <a:gd name="T9" fmla="*/ 19 h 20"/>
                <a:gd name="T10" fmla="*/ 5 w 16"/>
                <a:gd name="T11" fmla="*/ 20 h 20"/>
                <a:gd name="T12" fmla="*/ 5 w 16"/>
                <a:gd name="T13" fmla="*/ 20 h 20"/>
                <a:gd name="T14" fmla="*/ 4 w 16"/>
                <a:gd name="T15" fmla="*/ 20 h 20"/>
                <a:gd name="T16" fmla="*/ 4 w 16"/>
                <a:gd name="T17" fmla="*/ 20 h 20"/>
                <a:gd name="T18" fmla="*/ 4 w 16"/>
                <a:gd name="T19" fmla="*/ 20 h 20"/>
                <a:gd name="T20" fmla="*/ 3 w 16"/>
                <a:gd name="T21" fmla="*/ 20 h 20"/>
                <a:gd name="T22" fmla="*/ 2 w 16"/>
                <a:gd name="T23" fmla="*/ 19 h 20"/>
                <a:gd name="T24" fmla="*/ 1 w 16"/>
                <a:gd name="T25" fmla="*/ 17 h 20"/>
                <a:gd name="T26" fmla="*/ 1 w 16"/>
                <a:gd name="T27" fmla="*/ 10 h 20"/>
                <a:gd name="T28" fmla="*/ 5 w 16"/>
                <a:gd name="T29" fmla="*/ 3 h 20"/>
                <a:gd name="T30" fmla="*/ 7 w 16"/>
                <a:gd name="T31" fmla="*/ 0 h 20"/>
                <a:gd name="T32" fmla="*/ 8 w 16"/>
                <a:gd name="T33" fmla="*/ 2 h 20"/>
                <a:gd name="T34" fmla="*/ 12 w 16"/>
                <a:gd name="T35" fmla="*/ 2 h 20"/>
                <a:gd name="T36" fmla="*/ 14 w 16"/>
                <a:gd name="T37" fmla="*/ 2 h 20"/>
                <a:gd name="T38" fmla="*/ 14 w 16"/>
                <a:gd name="T39" fmla="*/ 2 h 20"/>
                <a:gd name="T40" fmla="*/ 14 w 16"/>
                <a:gd name="T41" fmla="*/ 2 h 20"/>
                <a:gd name="T42" fmla="*/ 15 w 16"/>
                <a:gd name="T43" fmla="*/ 3 h 20"/>
                <a:gd name="T44" fmla="*/ 15 w 16"/>
                <a:gd name="T45" fmla="*/ 3 h 20"/>
                <a:gd name="T46" fmla="*/ 15 w 16"/>
                <a:gd name="T47" fmla="*/ 3 h 20"/>
                <a:gd name="T48" fmla="*/ 15 w 16"/>
                <a:gd name="T49" fmla="*/ 3 h 20"/>
                <a:gd name="T50" fmla="*/ 15 w 16"/>
                <a:gd name="T51" fmla="*/ 3 h 20"/>
                <a:gd name="T52" fmla="*/ 16 w 16"/>
                <a:gd name="T53" fmla="*/ 3 h 20"/>
                <a:gd name="T54" fmla="*/ 16 w 16"/>
                <a:gd name="T55" fmla="*/ 4 h 20"/>
                <a:gd name="T56" fmla="*/ 16 w 16"/>
                <a:gd name="T57" fmla="*/ 4 h 20"/>
                <a:gd name="T58" fmla="*/ 16 w 16"/>
                <a:gd name="T59" fmla="*/ 4 h 20"/>
                <a:gd name="T60" fmla="*/ 16 w 16"/>
                <a:gd name="T61" fmla="*/ 5 h 20"/>
                <a:gd name="T62" fmla="*/ 16 w 16"/>
                <a:gd name="T63" fmla="*/ 6 h 20"/>
                <a:gd name="T64" fmla="*/ 16 w 16"/>
                <a:gd name="T65" fmla="*/ 6 h 20"/>
                <a:gd name="T66" fmla="*/ 16 w 16"/>
                <a:gd name="T67" fmla="*/ 6 h 20"/>
                <a:gd name="T68" fmla="*/ 16 w 16"/>
                <a:gd name="T69" fmla="*/ 7 h 20"/>
                <a:gd name="T70" fmla="*/ 15 w 16"/>
                <a:gd name="T71" fmla="*/ 9 h 20"/>
                <a:gd name="T72" fmla="*/ 12 w 16"/>
                <a:gd name="T73" fmla="*/ 14 h 20"/>
                <a:gd name="T74" fmla="*/ 8 w 16"/>
                <a:gd name="T75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" h="20">
                  <a:moveTo>
                    <a:pt x="8" y="18"/>
                  </a:moveTo>
                  <a:cubicBezTo>
                    <a:pt x="8" y="18"/>
                    <a:pt x="8" y="18"/>
                    <a:pt x="8" y="18"/>
                  </a:cubicBezTo>
                  <a:cubicBezTo>
                    <a:pt x="8" y="19"/>
                    <a:pt x="8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6" y="19"/>
                  </a:cubicBezTo>
                  <a:cubicBezTo>
                    <a:pt x="6" y="20"/>
                    <a:pt x="6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19"/>
                    <a:pt x="3" y="19"/>
                    <a:pt x="2" y="19"/>
                  </a:cubicBezTo>
                  <a:cubicBezTo>
                    <a:pt x="2" y="19"/>
                    <a:pt x="1" y="18"/>
                    <a:pt x="1" y="17"/>
                  </a:cubicBezTo>
                  <a:cubicBezTo>
                    <a:pt x="0" y="15"/>
                    <a:pt x="1" y="12"/>
                    <a:pt x="1" y="10"/>
                  </a:cubicBezTo>
                  <a:cubicBezTo>
                    <a:pt x="2" y="7"/>
                    <a:pt x="3" y="5"/>
                    <a:pt x="5" y="3"/>
                  </a:cubicBezTo>
                  <a:cubicBezTo>
                    <a:pt x="5" y="2"/>
                    <a:pt x="6" y="1"/>
                    <a:pt x="7" y="0"/>
                  </a:cubicBezTo>
                  <a:cubicBezTo>
                    <a:pt x="7" y="1"/>
                    <a:pt x="7" y="2"/>
                    <a:pt x="8" y="2"/>
                  </a:cubicBezTo>
                  <a:cubicBezTo>
                    <a:pt x="9" y="2"/>
                    <a:pt x="11" y="2"/>
                    <a:pt x="12" y="2"/>
                  </a:cubicBezTo>
                  <a:cubicBezTo>
                    <a:pt x="13" y="2"/>
                    <a:pt x="13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6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8"/>
                    <a:pt x="15" y="8"/>
                    <a:pt x="15" y="9"/>
                  </a:cubicBezTo>
                  <a:cubicBezTo>
                    <a:pt x="15" y="10"/>
                    <a:pt x="14" y="12"/>
                    <a:pt x="12" y="14"/>
                  </a:cubicBezTo>
                  <a:cubicBezTo>
                    <a:pt x="12" y="16"/>
                    <a:pt x="10" y="18"/>
                    <a:pt x="8" y="18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6" name="íṩlidê">
              <a:extLst>
                <a:ext uri="{FF2B5EF4-FFF2-40B4-BE49-F238E27FC236}">
                  <a16:creationId xmlns:a16="http://schemas.microsoft.com/office/drawing/2014/main" id="{D1DC6FFD-D323-4236-BED3-B125F26A2C7F}"/>
                </a:ext>
              </a:extLst>
            </p:cNvPr>
            <p:cNvSpPr/>
            <p:nvPr/>
          </p:nvSpPr>
          <p:spPr bwMode="auto">
            <a:xfrm>
              <a:off x="7928318" y="3505497"/>
              <a:ext cx="85844" cy="94724"/>
            </a:xfrm>
            <a:custGeom>
              <a:avLst/>
              <a:gdLst>
                <a:gd name="T0" fmla="*/ 26 w 28"/>
                <a:gd name="T1" fmla="*/ 16 h 31"/>
                <a:gd name="T2" fmla="*/ 26 w 28"/>
                <a:gd name="T3" fmla="*/ 5 h 31"/>
                <a:gd name="T4" fmla="*/ 17 w 28"/>
                <a:gd name="T5" fmla="*/ 2 h 31"/>
                <a:gd name="T6" fmla="*/ 14 w 28"/>
                <a:gd name="T7" fmla="*/ 0 h 31"/>
                <a:gd name="T8" fmla="*/ 3 w 28"/>
                <a:gd name="T9" fmla="*/ 11 h 31"/>
                <a:gd name="T10" fmla="*/ 4 w 28"/>
                <a:gd name="T11" fmla="*/ 28 h 31"/>
                <a:gd name="T12" fmla="*/ 17 w 28"/>
                <a:gd name="T13" fmla="*/ 28 h 31"/>
                <a:gd name="T14" fmla="*/ 26 w 28"/>
                <a:gd name="T15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31">
                  <a:moveTo>
                    <a:pt x="26" y="16"/>
                  </a:moveTo>
                  <a:cubicBezTo>
                    <a:pt x="27" y="13"/>
                    <a:pt x="28" y="8"/>
                    <a:pt x="26" y="5"/>
                  </a:cubicBezTo>
                  <a:cubicBezTo>
                    <a:pt x="24" y="2"/>
                    <a:pt x="20" y="1"/>
                    <a:pt x="17" y="2"/>
                  </a:cubicBezTo>
                  <a:cubicBezTo>
                    <a:pt x="17" y="1"/>
                    <a:pt x="16" y="0"/>
                    <a:pt x="14" y="0"/>
                  </a:cubicBezTo>
                  <a:cubicBezTo>
                    <a:pt x="8" y="1"/>
                    <a:pt x="5" y="7"/>
                    <a:pt x="3" y="11"/>
                  </a:cubicBezTo>
                  <a:cubicBezTo>
                    <a:pt x="1" y="16"/>
                    <a:pt x="0" y="24"/>
                    <a:pt x="4" y="28"/>
                  </a:cubicBezTo>
                  <a:cubicBezTo>
                    <a:pt x="8" y="31"/>
                    <a:pt x="14" y="31"/>
                    <a:pt x="17" y="28"/>
                  </a:cubicBezTo>
                  <a:cubicBezTo>
                    <a:pt x="21" y="25"/>
                    <a:pt x="24" y="21"/>
                    <a:pt x="26" y="16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7" name="iṩļîḍè">
              <a:extLst>
                <a:ext uri="{FF2B5EF4-FFF2-40B4-BE49-F238E27FC236}">
                  <a16:creationId xmlns:a16="http://schemas.microsoft.com/office/drawing/2014/main" id="{9D78230A-2E34-4642-84E7-22EDC54C263B}"/>
                </a:ext>
              </a:extLst>
            </p:cNvPr>
            <p:cNvSpPr/>
            <p:nvPr/>
          </p:nvSpPr>
          <p:spPr bwMode="auto">
            <a:xfrm>
              <a:off x="8213969" y="4596303"/>
              <a:ext cx="105085" cy="75484"/>
            </a:xfrm>
            <a:custGeom>
              <a:avLst/>
              <a:gdLst>
                <a:gd name="T0" fmla="*/ 0 w 34"/>
                <a:gd name="T1" fmla="*/ 6 h 25"/>
                <a:gd name="T2" fmla="*/ 0 w 34"/>
                <a:gd name="T3" fmla="*/ 5 h 25"/>
                <a:gd name="T4" fmla="*/ 8 w 34"/>
                <a:gd name="T5" fmla="*/ 1 h 25"/>
                <a:gd name="T6" fmla="*/ 11 w 34"/>
                <a:gd name="T7" fmla="*/ 1 h 25"/>
                <a:gd name="T8" fmla="*/ 13 w 34"/>
                <a:gd name="T9" fmla="*/ 1 h 25"/>
                <a:gd name="T10" fmla="*/ 23 w 34"/>
                <a:gd name="T11" fmla="*/ 2 h 25"/>
                <a:gd name="T12" fmla="*/ 24 w 34"/>
                <a:gd name="T13" fmla="*/ 2 h 25"/>
                <a:gd name="T14" fmla="*/ 26 w 34"/>
                <a:gd name="T15" fmla="*/ 3 h 25"/>
                <a:gd name="T16" fmla="*/ 29 w 34"/>
                <a:gd name="T17" fmla="*/ 5 h 25"/>
                <a:gd name="T18" fmla="*/ 30 w 34"/>
                <a:gd name="T19" fmla="*/ 5 h 25"/>
                <a:gd name="T20" fmla="*/ 32 w 34"/>
                <a:gd name="T21" fmla="*/ 6 h 25"/>
                <a:gd name="T22" fmla="*/ 33 w 34"/>
                <a:gd name="T23" fmla="*/ 8 h 25"/>
                <a:gd name="T24" fmla="*/ 33 w 34"/>
                <a:gd name="T25" fmla="*/ 10 h 25"/>
                <a:gd name="T26" fmla="*/ 33 w 34"/>
                <a:gd name="T27" fmla="*/ 10 h 25"/>
                <a:gd name="T28" fmla="*/ 34 w 34"/>
                <a:gd name="T29" fmla="*/ 12 h 25"/>
                <a:gd name="T30" fmla="*/ 34 w 34"/>
                <a:gd name="T31" fmla="*/ 15 h 25"/>
                <a:gd name="T32" fmla="*/ 33 w 34"/>
                <a:gd name="T33" fmla="*/ 18 h 25"/>
                <a:gd name="T34" fmla="*/ 33 w 34"/>
                <a:gd name="T35" fmla="*/ 18 h 25"/>
                <a:gd name="T36" fmla="*/ 33 w 34"/>
                <a:gd name="T37" fmla="*/ 20 h 25"/>
                <a:gd name="T38" fmla="*/ 31 w 34"/>
                <a:gd name="T39" fmla="*/ 21 h 25"/>
                <a:gd name="T40" fmla="*/ 29 w 34"/>
                <a:gd name="T41" fmla="*/ 23 h 25"/>
                <a:gd name="T42" fmla="*/ 28 w 34"/>
                <a:gd name="T43" fmla="*/ 23 h 25"/>
                <a:gd name="T44" fmla="*/ 25 w 34"/>
                <a:gd name="T45" fmla="*/ 24 h 25"/>
                <a:gd name="T46" fmla="*/ 23 w 34"/>
                <a:gd name="T47" fmla="*/ 25 h 25"/>
                <a:gd name="T48" fmla="*/ 20 w 34"/>
                <a:gd name="T49" fmla="*/ 25 h 25"/>
                <a:gd name="T50" fmla="*/ 17 w 34"/>
                <a:gd name="T51" fmla="*/ 25 h 25"/>
                <a:gd name="T52" fmla="*/ 15 w 34"/>
                <a:gd name="T53" fmla="*/ 24 h 25"/>
                <a:gd name="T54" fmla="*/ 10 w 34"/>
                <a:gd name="T55" fmla="*/ 23 h 25"/>
                <a:gd name="T56" fmla="*/ 10 w 34"/>
                <a:gd name="T57" fmla="*/ 23 h 25"/>
                <a:gd name="T58" fmla="*/ 7 w 34"/>
                <a:gd name="T59" fmla="*/ 20 h 25"/>
                <a:gd name="T60" fmla="*/ 6 w 34"/>
                <a:gd name="T61" fmla="*/ 20 h 25"/>
                <a:gd name="T62" fmla="*/ 4 w 34"/>
                <a:gd name="T63" fmla="*/ 18 h 25"/>
                <a:gd name="T64" fmla="*/ 3 w 34"/>
                <a:gd name="T65" fmla="*/ 16 h 25"/>
                <a:gd name="T66" fmla="*/ 2 w 34"/>
                <a:gd name="T67" fmla="*/ 15 h 25"/>
                <a:gd name="T68" fmla="*/ 1 w 34"/>
                <a:gd name="T69" fmla="*/ 11 h 25"/>
                <a:gd name="T70" fmla="*/ 0 w 34"/>
                <a:gd name="T71" fmla="*/ 8 h 25"/>
                <a:gd name="T72" fmla="*/ 0 w 34"/>
                <a:gd name="T73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" h="25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4" y="3"/>
                    <a:pt x="6" y="2"/>
                    <a:pt x="8" y="1"/>
                  </a:cubicBezTo>
                  <a:cubicBezTo>
                    <a:pt x="9" y="1"/>
                    <a:pt x="10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8" y="0"/>
                    <a:pt x="19" y="1"/>
                    <a:pt x="23" y="2"/>
                  </a:cubicBezTo>
                  <a:cubicBezTo>
                    <a:pt x="23" y="2"/>
                    <a:pt x="24" y="2"/>
                    <a:pt x="24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3"/>
                    <a:pt x="25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7" y="3"/>
                    <a:pt x="28" y="4"/>
                    <a:pt x="29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6"/>
                    <a:pt x="31" y="6"/>
                    <a:pt x="32" y="6"/>
                  </a:cubicBezTo>
                  <a:cubicBezTo>
                    <a:pt x="32" y="7"/>
                    <a:pt x="32" y="7"/>
                    <a:pt x="33" y="7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8"/>
                    <a:pt x="33" y="9"/>
                    <a:pt x="33" y="9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4" y="11"/>
                    <a:pt x="34" y="11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4"/>
                    <a:pt x="34" y="15"/>
                  </a:cubicBezTo>
                  <a:cubicBezTo>
                    <a:pt x="34" y="14"/>
                    <a:pt x="34" y="16"/>
                    <a:pt x="34" y="16"/>
                  </a:cubicBezTo>
                  <a:cubicBezTo>
                    <a:pt x="34" y="17"/>
                    <a:pt x="33" y="17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9"/>
                    <a:pt x="33" y="19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1"/>
                    <a:pt x="32" y="21"/>
                    <a:pt x="31" y="21"/>
                  </a:cubicBezTo>
                  <a:cubicBezTo>
                    <a:pt x="31" y="21"/>
                    <a:pt x="31" y="22"/>
                    <a:pt x="31" y="22"/>
                  </a:cubicBezTo>
                  <a:cubicBezTo>
                    <a:pt x="30" y="22"/>
                    <a:pt x="30" y="22"/>
                    <a:pt x="29" y="23"/>
                  </a:cubicBezTo>
                  <a:cubicBezTo>
                    <a:pt x="29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7" y="24"/>
                    <a:pt x="26" y="24"/>
                    <a:pt x="25" y="24"/>
                  </a:cubicBezTo>
                  <a:cubicBezTo>
                    <a:pt x="25" y="24"/>
                    <a:pt x="24" y="24"/>
                    <a:pt x="24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5"/>
                  </a:cubicBezTo>
                  <a:cubicBezTo>
                    <a:pt x="19" y="25"/>
                    <a:pt x="18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6" y="25"/>
                  </a:cubicBezTo>
                  <a:cubicBezTo>
                    <a:pt x="16" y="24"/>
                    <a:pt x="15" y="24"/>
                    <a:pt x="15" y="24"/>
                  </a:cubicBezTo>
                  <a:cubicBezTo>
                    <a:pt x="14" y="24"/>
                    <a:pt x="13" y="24"/>
                    <a:pt x="12" y="23"/>
                  </a:cubicBezTo>
                  <a:cubicBezTo>
                    <a:pt x="11" y="23"/>
                    <a:pt x="11" y="23"/>
                    <a:pt x="10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9" y="22"/>
                    <a:pt x="9" y="22"/>
                    <a:pt x="8" y="21"/>
                  </a:cubicBezTo>
                  <a:cubicBezTo>
                    <a:pt x="7" y="21"/>
                    <a:pt x="7" y="21"/>
                    <a:pt x="7" y="20"/>
                  </a:cubicBezTo>
                  <a:cubicBezTo>
                    <a:pt x="7" y="20"/>
                    <a:pt x="7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19"/>
                    <a:pt x="5" y="19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3" y="16"/>
                    <a:pt x="3" y="16"/>
                  </a:cubicBezTo>
                  <a:cubicBezTo>
                    <a:pt x="2" y="16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3"/>
                    <a:pt x="1" y="12"/>
                    <a:pt x="1" y="11"/>
                  </a:cubicBezTo>
                  <a:cubicBezTo>
                    <a:pt x="1" y="11"/>
                    <a:pt x="1" y="9"/>
                    <a:pt x="1" y="11"/>
                  </a:cubicBezTo>
                  <a:cubicBezTo>
                    <a:pt x="1" y="10"/>
                    <a:pt x="1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8" name="íṡļîḑê">
              <a:extLst>
                <a:ext uri="{FF2B5EF4-FFF2-40B4-BE49-F238E27FC236}">
                  <a16:creationId xmlns:a16="http://schemas.microsoft.com/office/drawing/2014/main" id="{E64E4CE4-A261-45BF-A826-4470B1A7D8FF}"/>
                </a:ext>
              </a:extLst>
            </p:cNvPr>
            <p:cNvSpPr/>
            <p:nvPr/>
          </p:nvSpPr>
          <p:spPr bwMode="auto">
            <a:xfrm>
              <a:off x="8507021" y="4543021"/>
              <a:ext cx="0" cy="2960"/>
            </a:xfrm>
            <a:custGeom>
              <a:avLst/>
              <a:gdLst>
                <a:gd name="T0" fmla="*/ 0 h 1"/>
                <a:gd name="T1" fmla="*/ 0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9" name="ïśḷiḋe">
              <a:extLst>
                <a:ext uri="{FF2B5EF4-FFF2-40B4-BE49-F238E27FC236}">
                  <a16:creationId xmlns:a16="http://schemas.microsoft.com/office/drawing/2014/main" id="{0F1A7044-366A-4443-9ABB-49AD1DBF80A8}"/>
                </a:ext>
              </a:extLst>
            </p:cNvPr>
            <p:cNvSpPr/>
            <p:nvPr/>
          </p:nvSpPr>
          <p:spPr bwMode="auto">
            <a:xfrm>
              <a:off x="8393057" y="4476418"/>
              <a:ext cx="113965" cy="106564"/>
            </a:xfrm>
            <a:custGeom>
              <a:avLst/>
              <a:gdLst>
                <a:gd name="T0" fmla="*/ 35 w 37"/>
                <a:gd name="T1" fmla="*/ 24 h 35"/>
                <a:gd name="T2" fmla="*/ 35 w 37"/>
                <a:gd name="T3" fmla="*/ 24 h 35"/>
                <a:gd name="T4" fmla="*/ 34 w 37"/>
                <a:gd name="T5" fmla="*/ 25 h 35"/>
                <a:gd name="T6" fmla="*/ 33 w 37"/>
                <a:gd name="T7" fmla="*/ 26 h 35"/>
                <a:gd name="T8" fmla="*/ 33 w 37"/>
                <a:gd name="T9" fmla="*/ 26 h 35"/>
                <a:gd name="T10" fmla="*/ 29 w 37"/>
                <a:gd name="T11" fmla="*/ 29 h 35"/>
                <a:gd name="T12" fmla="*/ 19 w 37"/>
                <a:gd name="T13" fmla="*/ 35 h 35"/>
                <a:gd name="T14" fmla="*/ 10 w 37"/>
                <a:gd name="T15" fmla="*/ 21 h 35"/>
                <a:gd name="T16" fmla="*/ 0 w 37"/>
                <a:gd name="T17" fmla="*/ 11 h 35"/>
                <a:gd name="T18" fmla="*/ 1 w 37"/>
                <a:gd name="T19" fmla="*/ 10 h 35"/>
                <a:gd name="T20" fmla="*/ 20 w 37"/>
                <a:gd name="T21" fmla="*/ 0 h 35"/>
                <a:gd name="T22" fmla="*/ 29 w 37"/>
                <a:gd name="T23" fmla="*/ 11 h 35"/>
                <a:gd name="T24" fmla="*/ 32 w 37"/>
                <a:gd name="T25" fmla="*/ 14 h 35"/>
                <a:gd name="T26" fmla="*/ 34 w 37"/>
                <a:gd name="T27" fmla="*/ 17 h 35"/>
                <a:gd name="T28" fmla="*/ 34 w 37"/>
                <a:gd name="T29" fmla="*/ 17 h 35"/>
                <a:gd name="T30" fmla="*/ 35 w 37"/>
                <a:gd name="T31" fmla="*/ 18 h 35"/>
                <a:gd name="T32" fmla="*/ 37 w 37"/>
                <a:gd name="T33" fmla="*/ 21 h 35"/>
                <a:gd name="T34" fmla="*/ 37 w 37"/>
                <a:gd name="T35" fmla="*/ 21 h 35"/>
                <a:gd name="T36" fmla="*/ 37 w 37"/>
                <a:gd name="T37" fmla="*/ 22 h 35"/>
                <a:gd name="T38" fmla="*/ 37 w 37"/>
                <a:gd name="T39" fmla="*/ 22 h 35"/>
                <a:gd name="T40" fmla="*/ 37 w 37"/>
                <a:gd name="T41" fmla="*/ 22 h 35"/>
                <a:gd name="T42" fmla="*/ 37 w 37"/>
                <a:gd name="T43" fmla="*/ 22 h 35"/>
                <a:gd name="T44" fmla="*/ 37 w 37"/>
                <a:gd name="T45" fmla="*/ 22 h 35"/>
                <a:gd name="T46" fmla="*/ 35 w 37"/>
                <a:gd name="T47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" h="35">
                  <a:moveTo>
                    <a:pt x="35" y="24"/>
                  </a:move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4" y="25"/>
                    <a:pt x="34" y="25"/>
                  </a:cubicBezTo>
                  <a:cubicBezTo>
                    <a:pt x="34" y="25"/>
                    <a:pt x="33" y="25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7"/>
                    <a:pt x="30" y="28"/>
                    <a:pt x="29" y="29"/>
                  </a:cubicBezTo>
                  <a:cubicBezTo>
                    <a:pt x="25" y="31"/>
                    <a:pt x="23" y="33"/>
                    <a:pt x="19" y="35"/>
                  </a:cubicBezTo>
                  <a:cubicBezTo>
                    <a:pt x="17" y="30"/>
                    <a:pt x="14" y="26"/>
                    <a:pt x="10" y="21"/>
                  </a:cubicBezTo>
                  <a:cubicBezTo>
                    <a:pt x="7" y="17"/>
                    <a:pt x="4" y="13"/>
                    <a:pt x="0" y="11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7" y="7"/>
                    <a:pt x="13" y="4"/>
                    <a:pt x="20" y="0"/>
                  </a:cubicBezTo>
                  <a:cubicBezTo>
                    <a:pt x="22" y="4"/>
                    <a:pt x="26" y="7"/>
                    <a:pt x="29" y="11"/>
                  </a:cubicBezTo>
                  <a:cubicBezTo>
                    <a:pt x="30" y="12"/>
                    <a:pt x="31" y="13"/>
                    <a:pt x="32" y="14"/>
                  </a:cubicBezTo>
                  <a:cubicBezTo>
                    <a:pt x="33" y="15"/>
                    <a:pt x="33" y="15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8"/>
                    <a:pt x="35" y="18"/>
                    <a:pt x="35" y="18"/>
                  </a:cubicBezTo>
                  <a:cubicBezTo>
                    <a:pt x="35" y="19"/>
                    <a:pt x="36" y="20"/>
                    <a:pt x="37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7" y="21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6" y="23"/>
                    <a:pt x="36" y="23"/>
                    <a:pt x="35" y="24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0" name="íşlíďe">
              <a:extLst>
                <a:ext uri="{FF2B5EF4-FFF2-40B4-BE49-F238E27FC236}">
                  <a16:creationId xmlns:a16="http://schemas.microsoft.com/office/drawing/2014/main" id="{1556A931-02CA-4949-AA2E-A6FD69608150}"/>
                </a:ext>
              </a:extLst>
            </p:cNvPr>
            <p:cNvSpPr/>
            <p:nvPr/>
          </p:nvSpPr>
          <p:spPr bwMode="auto">
            <a:xfrm>
              <a:off x="8507021" y="454006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1" name="íŝ1íḑê">
              <a:extLst>
                <a:ext uri="{FF2B5EF4-FFF2-40B4-BE49-F238E27FC236}">
                  <a16:creationId xmlns:a16="http://schemas.microsoft.com/office/drawing/2014/main" id="{AB305140-3339-478F-A60B-CD649495A5DF}"/>
                </a:ext>
              </a:extLst>
            </p:cNvPr>
            <p:cNvSpPr/>
            <p:nvPr/>
          </p:nvSpPr>
          <p:spPr bwMode="auto">
            <a:xfrm>
              <a:off x="8319054" y="4631825"/>
              <a:ext cx="1481" cy="1481"/>
            </a:xfrm>
            <a:prstGeom prst="rect">
              <a:avLst/>
            </a:pr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2" name="íśļîdè">
              <a:extLst>
                <a:ext uri="{FF2B5EF4-FFF2-40B4-BE49-F238E27FC236}">
                  <a16:creationId xmlns:a16="http://schemas.microsoft.com/office/drawing/2014/main" id="{33283899-924C-410F-9CE1-BC8A18A4C6F3}"/>
                </a:ext>
              </a:extLst>
            </p:cNvPr>
            <p:cNvSpPr/>
            <p:nvPr/>
          </p:nvSpPr>
          <p:spPr bwMode="auto">
            <a:xfrm>
              <a:off x="8193248" y="4442377"/>
              <a:ext cx="347815" cy="260491"/>
            </a:xfrm>
            <a:custGeom>
              <a:avLst/>
              <a:gdLst>
                <a:gd name="T0" fmla="*/ 105 w 113"/>
                <a:gd name="T1" fmla="*/ 19 h 85"/>
                <a:gd name="T2" fmla="*/ 91 w 113"/>
                <a:gd name="T3" fmla="*/ 5 h 85"/>
                <a:gd name="T4" fmla="*/ 91 w 113"/>
                <a:gd name="T5" fmla="*/ 4 h 85"/>
                <a:gd name="T6" fmla="*/ 91 w 113"/>
                <a:gd name="T7" fmla="*/ 4 h 85"/>
                <a:gd name="T8" fmla="*/ 90 w 113"/>
                <a:gd name="T9" fmla="*/ 3 h 85"/>
                <a:gd name="T10" fmla="*/ 84 w 113"/>
                <a:gd name="T11" fmla="*/ 1 h 85"/>
                <a:gd name="T12" fmla="*/ 61 w 113"/>
                <a:gd name="T13" fmla="*/ 13 h 85"/>
                <a:gd name="T14" fmla="*/ 40 w 113"/>
                <a:gd name="T15" fmla="*/ 26 h 85"/>
                <a:gd name="T16" fmla="*/ 16 w 113"/>
                <a:gd name="T17" fmla="*/ 41 h 85"/>
                <a:gd name="T18" fmla="*/ 1 w 113"/>
                <a:gd name="T19" fmla="*/ 55 h 85"/>
                <a:gd name="T20" fmla="*/ 1 w 113"/>
                <a:gd name="T21" fmla="*/ 55 h 85"/>
                <a:gd name="T22" fmla="*/ 0 w 113"/>
                <a:gd name="T23" fmla="*/ 58 h 85"/>
                <a:gd name="T24" fmla="*/ 0 w 113"/>
                <a:gd name="T25" fmla="*/ 63 h 85"/>
                <a:gd name="T26" fmla="*/ 3 w 113"/>
                <a:gd name="T27" fmla="*/ 71 h 85"/>
                <a:gd name="T28" fmla="*/ 14 w 113"/>
                <a:gd name="T29" fmla="*/ 80 h 85"/>
                <a:gd name="T30" fmla="*/ 43 w 113"/>
                <a:gd name="T31" fmla="*/ 78 h 85"/>
                <a:gd name="T32" fmla="*/ 47 w 113"/>
                <a:gd name="T33" fmla="*/ 72 h 85"/>
                <a:gd name="T34" fmla="*/ 49 w 113"/>
                <a:gd name="T35" fmla="*/ 69 h 85"/>
                <a:gd name="T36" fmla="*/ 49 w 113"/>
                <a:gd name="T37" fmla="*/ 67 h 85"/>
                <a:gd name="T38" fmla="*/ 49 w 113"/>
                <a:gd name="T39" fmla="*/ 65 h 85"/>
                <a:gd name="T40" fmla="*/ 49 w 113"/>
                <a:gd name="T41" fmla="*/ 64 h 85"/>
                <a:gd name="T42" fmla="*/ 41 w 113"/>
                <a:gd name="T43" fmla="*/ 49 h 85"/>
                <a:gd name="T44" fmla="*/ 27 w 113"/>
                <a:gd name="T45" fmla="*/ 43 h 85"/>
                <a:gd name="T46" fmla="*/ 45 w 113"/>
                <a:gd name="T47" fmla="*/ 34 h 85"/>
                <a:gd name="T48" fmla="*/ 57 w 113"/>
                <a:gd name="T49" fmla="*/ 26 h 85"/>
                <a:gd name="T50" fmla="*/ 62 w 113"/>
                <a:gd name="T51" fmla="*/ 31 h 85"/>
                <a:gd name="T52" fmla="*/ 68 w 113"/>
                <a:gd name="T53" fmla="*/ 38 h 85"/>
                <a:gd name="T54" fmla="*/ 73 w 113"/>
                <a:gd name="T55" fmla="*/ 46 h 85"/>
                <a:gd name="T56" fmla="*/ 76 w 113"/>
                <a:gd name="T57" fmla="*/ 50 h 85"/>
                <a:gd name="T58" fmla="*/ 77 w 113"/>
                <a:gd name="T59" fmla="*/ 53 h 85"/>
                <a:gd name="T60" fmla="*/ 77 w 113"/>
                <a:gd name="T61" fmla="*/ 54 h 85"/>
                <a:gd name="T62" fmla="*/ 78 w 113"/>
                <a:gd name="T63" fmla="*/ 54 h 85"/>
                <a:gd name="T64" fmla="*/ 85 w 113"/>
                <a:gd name="T65" fmla="*/ 57 h 85"/>
                <a:gd name="T66" fmla="*/ 98 w 113"/>
                <a:gd name="T67" fmla="*/ 49 h 85"/>
                <a:gd name="T68" fmla="*/ 112 w 113"/>
                <a:gd name="T69" fmla="*/ 36 h 85"/>
                <a:gd name="T70" fmla="*/ 110 w 113"/>
                <a:gd name="T71" fmla="*/ 27 h 85"/>
                <a:gd name="T72" fmla="*/ 105 w 113"/>
                <a:gd name="T73" fmla="*/ 1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3" h="85">
                  <a:moveTo>
                    <a:pt x="105" y="19"/>
                  </a:moveTo>
                  <a:cubicBezTo>
                    <a:pt x="101" y="14"/>
                    <a:pt x="96" y="10"/>
                    <a:pt x="91" y="5"/>
                  </a:cubicBezTo>
                  <a:cubicBezTo>
                    <a:pt x="91" y="5"/>
                    <a:pt x="91" y="5"/>
                    <a:pt x="91" y="4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0" y="4"/>
                    <a:pt x="90" y="3"/>
                    <a:pt x="90" y="3"/>
                  </a:cubicBezTo>
                  <a:cubicBezTo>
                    <a:pt x="89" y="0"/>
                    <a:pt x="86" y="0"/>
                    <a:pt x="84" y="1"/>
                  </a:cubicBezTo>
                  <a:cubicBezTo>
                    <a:pt x="76" y="5"/>
                    <a:pt x="68" y="9"/>
                    <a:pt x="61" y="13"/>
                  </a:cubicBezTo>
                  <a:cubicBezTo>
                    <a:pt x="54" y="17"/>
                    <a:pt x="47" y="22"/>
                    <a:pt x="40" y="26"/>
                  </a:cubicBezTo>
                  <a:cubicBezTo>
                    <a:pt x="32" y="32"/>
                    <a:pt x="24" y="36"/>
                    <a:pt x="16" y="41"/>
                  </a:cubicBezTo>
                  <a:cubicBezTo>
                    <a:pt x="11" y="44"/>
                    <a:pt x="3" y="48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6"/>
                    <a:pt x="0" y="57"/>
                    <a:pt x="0" y="58"/>
                  </a:cubicBezTo>
                  <a:cubicBezTo>
                    <a:pt x="0" y="60"/>
                    <a:pt x="0" y="61"/>
                    <a:pt x="0" y="63"/>
                  </a:cubicBezTo>
                  <a:cubicBezTo>
                    <a:pt x="0" y="66"/>
                    <a:pt x="1" y="68"/>
                    <a:pt x="3" y="71"/>
                  </a:cubicBezTo>
                  <a:cubicBezTo>
                    <a:pt x="5" y="75"/>
                    <a:pt x="9" y="79"/>
                    <a:pt x="14" y="80"/>
                  </a:cubicBezTo>
                  <a:cubicBezTo>
                    <a:pt x="23" y="85"/>
                    <a:pt x="35" y="85"/>
                    <a:pt x="43" y="78"/>
                  </a:cubicBezTo>
                  <a:cubicBezTo>
                    <a:pt x="45" y="76"/>
                    <a:pt x="46" y="74"/>
                    <a:pt x="47" y="72"/>
                  </a:cubicBezTo>
                  <a:cubicBezTo>
                    <a:pt x="48" y="71"/>
                    <a:pt x="48" y="70"/>
                    <a:pt x="49" y="69"/>
                  </a:cubicBezTo>
                  <a:cubicBezTo>
                    <a:pt x="49" y="68"/>
                    <a:pt x="49" y="67"/>
                    <a:pt x="49" y="67"/>
                  </a:cubicBezTo>
                  <a:cubicBezTo>
                    <a:pt x="49" y="67"/>
                    <a:pt x="49" y="66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ubicBezTo>
                    <a:pt x="49" y="57"/>
                    <a:pt x="46" y="52"/>
                    <a:pt x="41" y="49"/>
                  </a:cubicBezTo>
                  <a:cubicBezTo>
                    <a:pt x="37" y="46"/>
                    <a:pt x="32" y="44"/>
                    <a:pt x="27" y="43"/>
                  </a:cubicBezTo>
                  <a:cubicBezTo>
                    <a:pt x="33" y="40"/>
                    <a:pt x="40" y="37"/>
                    <a:pt x="45" y="34"/>
                  </a:cubicBezTo>
                  <a:cubicBezTo>
                    <a:pt x="49" y="31"/>
                    <a:pt x="53" y="29"/>
                    <a:pt x="57" y="26"/>
                  </a:cubicBezTo>
                  <a:cubicBezTo>
                    <a:pt x="59" y="28"/>
                    <a:pt x="61" y="30"/>
                    <a:pt x="62" y="31"/>
                  </a:cubicBezTo>
                  <a:cubicBezTo>
                    <a:pt x="65" y="33"/>
                    <a:pt x="66" y="36"/>
                    <a:pt x="68" y="38"/>
                  </a:cubicBezTo>
                  <a:cubicBezTo>
                    <a:pt x="70" y="40"/>
                    <a:pt x="72" y="44"/>
                    <a:pt x="73" y="46"/>
                  </a:cubicBezTo>
                  <a:cubicBezTo>
                    <a:pt x="74" y="47"/>
                    <a:pt x="75" y="49"/>
                    <a:pt x="76" y="50"/>
                  </a:cubicBezTo>
                  <a:cubicBezTo>
                    <a:pt x="76" y="51"/>
                    <a:pt x="76" y="52"/>
                    <a:pt x="77" y="53"/>
                  </a:cubicBezTo>
                  <a:cubicBezTo>
                    <a:pt x="77" y="53"/>
                    <a:pt x="77" y="53"/>
                    <a:pt x="77" y="54"/>
                  </a:cubicBezTo>
                  <a:cubicBezTo>
                    <a:pt x="77" y="54"/>
                    <a:pt x="78" y="55"/>
                    <a:pt x="78" y="54"/>
                  </a:cubicBezTo>
                  <a:cubicBezTo>
                    <a:pt x="79" y="57"/>
                    <a:pt x="82" y="60"/>
                    <a:pt x="85" y="57"/>
                  </a:cubicBezTo>
                  <a:cubicBezTo>
                    <a:pt x="89" y="54"/>
                    <a:pt x="94" y="52"/>
                    <a:pt x="98" y="49"/>
                  </a:cubicBezTo>
                  <a:cubicBezTo>
                    <a:pt x="103" y="45"/>
                    <a:pt x="109" y="42"/>
                    <a:pt x="112" y="36"/>
                  </a:cubicBezTo>
                  <a:cubicBezTo>
                    <a:pt x="113" y="33"/>
                    <a:pt x="112" y="30"/>
                    <a:pt x="110" y="27"/>
                  </a:cubicBezTo>
                  <a:cubicBezTo>
                    <a:pt x="109" y="24"/>
                    <a:pt x="107" y="22"/>
                    <a:pt x="105" y="19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3" name="íŝḻidè">
              <a:extLst>
                <a:ext uri="{FF2B5EF4-FFF2-40B4-BE49-F238E27FC236}">
                  <a16:creationId xmlns:a16="http://schemas.microsoft.com/office/drawing/2014/main" id="{7F59C1D8-992E-49F4-ADC4-D69766A55CB0}"/>
                </a:ext>
              </a:extLst>
            </p:cNvPr>
            <p:cNvSpPr/>
            <p:nvPr/>
          </p:nvSpPr>
          <p:spPr bwMode="auto">
            <a:xfrm>
              <a:off x="8700910" y="4122683"/>
              <a:ext cx="102125" cy="68083"/>
            </a:xfrm>
            <a:custGeom>
              <a:avLst/>
              <a:gdLst>
                <a:gd name="T0" fmla="*/ 32 w 33"/>
                <a:gd name="T1" fmla="*/ 10 h 22"/>
                <a:gd name="T2" fmla="*/ 32 w 33"/>
                <a:gd name="T3" fmla="*/ 10 h 22"/>
                <a:gd name="T4" fmla="*/ 31 w 33"/>
                <a:gd name="T5" fmla="*/ 11 h 22"/>
                <a:gd name="T6" fmla="*/ 30 w 33"/>
                <a:gd name="T7" fmla="*/ 12 h 22"/>
                <a:gd name="T8" fmla="*/ 29 w 33"/>
                <a:gd name="T9" fmla="*/ 13 h 22"/>
                <a:gd name="T10" fmla="*/ 25 w 33"/>
                <a:gd name="T11" fmla="*/ 15 h 22"/>
                <a:gd name="T12" fmla="*/ 23 w 33"/>
                <a:gd name="T13" fmla="*/ 16 h 22"/>
                <a:gd name="T14" fmla="*/ 23 w 33"/>
                <a:gd name="T15" fmla="*/ 16 h 22"/>
                <a:gd name="T16" fmla="*/ 23 w 33"/>
                <a:gd name="T17" fmla="*/ 16 h 22"/>
                <a:gd name="T18" fmla="*/ 14 w 33"/>
                <a:gd name="T19" fmla="*/ 19 h 22"/>
                <a:gd name="T20" fmla="*/ 7 w 33"/>
                <a:gd name="T21" fmla="*/ 21 h 22"/>
                <a:gd name="T22" fmla="*/ 5 w 33"/>
                <a:gd name="T23" fmla="*/ 21 h 22"/>
                <a:gd name="T24" fmla="*/ 4 w 33"/>
                <a:gd name="T25" fmla="*/ 22 h 22"/>
                <a:gd name="T26" fmla="*/ 4 w 33"/>
                <a:gd name="T27" fmla="*/ 22 h 22"/>
                <a:gd name="T28" fmla="*/ 4 w 33"/>
                <a:gd name="T29" fmla="*/ 22 h 22"/>
                <a:gd name="T30" fmla="*/ 4 w 33"/>
                <a:gd name="T31" fmla="*/ 22 h 22"/>
                <a:gd name="T32" fmla="*/ 3 w 33"/>
                <a:gd name="T33" fmla="*/ 20 h 22"/>
                <a:gd name="T34" fmla="*/ 0 w 33"/>
                <a:gd name="T35" fmla="*/ 12 h 22"/>
                <a:gd name="T36" fmla="*/ 0 w 33"/>
                <a:gd name="T37" fmla="*/ 11 h 22"/>
                <a:gd name="T38" fmla="*/ 7 w 33"/>
                <a:gd name="T39" fmla="*/ 5 h 22"/>
                <a:gd name="T40" fmla="*/ 15 w 33"/>
                <a:gd name="T41" fmla="*/ 1 h 22"/>
                <a:gd name="T42" fmla="*/ 17 w 33"/>
                <a:gd name="T43" fmla="*/ 1 h 22"/>
                <a:gd name="T44" fmla="*/ 18 w 33"/>
                <a:gd name="T45" fmla="*/ 0 h 22"/>
                <a:gd name="T46" fmla="*/ 19 w 33"/>
                <a:gd name="T47" fmla="*/ 0 h 22"/>
                <a:gd name="T48" fmla="*/ 23 w 33"/>
                <a:gd name="T49" fmla="*/ 0 h 22"/>
                <a:gd name="T50" fmla="*/ 24 w 33"/>
                <a:gd name="T51" fmla="*/ 0 h 22"/>
                <a:gd name="T52" fmla="*/ 24 w 33"/>
                <a:gd name="T53" fmla="*/ 0 h 22"/>
                <a:gd name="T54" fmla="*/ 24 w 33"/>
                <a:gd name="T55" fmla="*/ 0 h 22"/>
                <a:gd name="T56" fmla="*/ 26 w 33"/>
                <a:gd name="T57" fmla="*/ 1 h 22"/>
                <a:gd name="T58" fmla="*/ 27 w 33"/>
                <a:gd name="T59" fmla="*/ 1 h 22"/>
                <a:gd name="T60" fmla="*/ 29 w 33"/>
                <a:gd name="T61" fmla="*/ 2 h 22"/>
                <a:gd name="T62" fmla="*/ 30 w 33"/>
                <a:gd name="T63" fmla="*/ 3 h 22"/>
                <a:gd name="T64" fmla="*/ 30 w 33"/>
                <a:gd name="T65" fmla="*/ 3 h 22"/>
                <a:gd name="T66" fmla="*/ 31 w 33"/>
                <a:gd name="T67" fmla="*/ 4 h 22"/>
                <a:gd name="T68" fmla="*/ 32 w 33"/>
                <a:gd name="T69" fmla="*/ 6 h 22"/>
                <a:gd name="T70" fmla="*/ 32 w 33"/>
                <a:gd name="T71" fmla="*/ 7 h 22"/>
                <a:gd name="T72" fmla="*/ 32 w 33"/>
                <a:gd name="T73" fmla="*/ 7 h 22"/>
                <a:gd name="T74" fmla="*/ 33 w 33"/>
                <a:gd name="T75" fmla="*/ 8 h 22"/>
                <a:gd name="T76" fmla="*/ 33 w 33"/>
                <a:gd name="T77" fmla="*/ 8 h 22"/>
                <a:gd name="T78" fmla="*/ 32 w 33"/>
                <a:gd name="T79" fmla="*/ 9 h 22"/>
                <a:gd name="T80" fmla="*/ 32 w 33"/>
                <a:gd name="T81" fmla="*/ 10 h 22"/>
                <a:gd name="T82" fmla="*/ 32 w 33"/>
                <a:gd name="T83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" h="22">
                  <a:moveTo>
                    <a:pt x="32" y="10"/>
                  </a:moveTo>
                  <a:cubicBezTo>
                    <a:pt x="32" y="10"/>
                    <a:pt x="32" y="10"/>
                    <a:pt x="32" y="1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29" y="13"/>
                    <a:pt x="29" y="13"/>
                  </a:cubicBezTo>
                  <a:cubicBezTo>
                    <a:pt x="27" y="14"/>
                    <a:pt x="26" y="14"/>
                    <a:pt x="25" y="15"/>
                  </a:cubicBezTo>
                  <a:cubicBezTo>
                    <a:pt x="25" y="15"/>
                    <a:pt x="24" y="15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0" y="17"/>
                    <a:pt x="17" y="18"/>
                    <a:pt x="14" y="19"/>
                  </a:cubicBezTo>
                  <a:cubicBezTo>
                    <a:pt x="12" y="20"/>
                    <a:pt x="9" y="20"/>
                    <a:pt x="7" y="21"/>
                  </a:cubicBezTo>
                  <a:cubicBezTo>
                    <a:pt x="6" y="21"/>
                    <a:pt x="6" y="21"/>
                    <a:pt x="5" y="21"/>
                  </a:cubicBezTo>
                  <a:cubicBezTo>
                    <a:pt x="5" y="21"/>
                    <a:pt x="4" y="21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1"/>
                    <a:pt x="3" y="21"/>
                    <a:pt x="3" y="20"/>
                  </a:cubicBezTo>
                  <a:cubicBezTo>
                    <a:pt x="2" y="18"/>
                    <a:pt x="1" y="15"/>
                    <a:pt x="0" y="12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2" y="9"/>
                    <a:pt x="4" y="7"/>
                    <a:pt x="7" y="5"/>
                  </a:cubicBezTo>
                  <a:cubicBezTo>
                    <a:pt x="10" y="3"/>
                    <a:pt x="12" y="2"/>
                    <a:pt x="15" y="1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17" y="1"/>
                    <a:pt x="18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2" y="0"/>
                    <a:pt x="23" y="0"/>
                  </a:cubicBezTo>
                  <a:cubicBezTo>
                    <a:pt x="23" y="0"/>
                    <a:pt x="23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1"/>
                    <a:pt x="26" y="1"/>
                  </a:cubicBezTo>
                  <a:cubicBezTo>
                    <a:pt x="26" y="1"/>
                    <a:pt x="27" y="1"/>
                    <a:pt x="27" y="1"/>
                  </a:cubicBezTo>
                  <a:cubicBezTo>
                    <a:pt x="28" y="2"/>
                    <a:pt x="29" y="2"/>
                    <a:pt x="29" y="2"/>
                  </a:cubicBezTo>
                  <a:cubicBezTo>
                    <a:pt x="29" y="2"/>
                    <a:pt x="29" y="2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1" y="3"/>
                    <a:pt x="31" y="4"/>
                    <a:pt x="31" y="4"/>
                  </a:cubicBezTo>
                  <a:cubicBezTo>
                    <a:pt x="31" y="4"/>
                    <a:pt x="32" y="6"/>
                    <a:pt x="32" y="6"/>
                  </a:cubicBezTo>
                  <a:cubicBezTo>
                    <a:pt x="32" y="6"/>
                    <a:pt x="32" y="6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3" y="7"/>
                    <a:pt x="33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8"/>
                    <a:pt x="32" y="9"/>
                    <a:pt x="32" y="9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0"/>
                    <a:pt x="32" y="10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4" name="iṡḷïďe">
              <a:extLst>
                <a:ext uri="{FF2B5EF4-FFF2-40B4-BE49-F238E27FC236}">
                  <a16:creationId xmlns:a16="http://schemas.microsoft.com/office/drawing/2014/main" id="{06143DE2-41BD-41CD-9E01-D62ED5B75226}"/>
                </a:ext>
              </a:extLst>
            </p:cNvPr>
            <p:cNvSpPr/>
            <p:nvPr/>
          </p:nvSpPr>
          <p:spPr bwMode="auto">
            <a:xfrm>
              <a:off x="8467060" y="3993918"/>
              <a:ext cx="159847" cy="116925"/>
            </a:xfrm>
            <a:custGeom>
              <a:avLst/>
              <a:gdLst>
                <a:gd name="T0" fmla="*/ 46 w 52"/>
                <a:gd name="T1" fmla="*/ 17 h 38"/>
                <a:gd name="T2" fmla="*/ 46 w 52"/>
                <a:gd name="T3" fmla="*/ 17 h 38"/>
                <a:gd name="T4" fmla="*/ 40 w 52"/>
                <a:gd name="T5" fmla="*/ 19 h 38"/>
                <a:gd name="T6" fmla="*/ 26 w 52"/>
                <a:gd name="T7" fmla="*/ 25 h 38"/>
                <a:gd name="T8" fmla="*/ 9 w 52"/>
                <a:gd name="T9" fmla="*/ 38 h 38"/>
                <a:gd name="T10" fmla="*/ 8 w 52"/>
                <a:gd name="T11" fmla="*/ 37 h 38"/>
                <a:gd name="T12" fmla="*/ 1 w 52"/>
                <a:gd name="T13" fmla="*/ 24 h 38"/>
                <a:gd name="T14" fmla="*/ 0 w 52"/>
                <a:gd name="T15" fmla="*/ 21 h 38"/>
                <a:gd name="T16" fmla="*/ 19 w 52"/>
                <a:gd name="T17" fmla="*/ 10 h 38"/>
                <a:gd name="T18" fmla="*/ 40 w 52"/>
                <a:gd name="T19" fmla="*/ 0 h 38"/>
                <a:gd name="T20" fmla="*/ 41 w 52"/>
                <a:gd name="T21" fmla="*/ 0 h 38"/>
                <a:gd name="T22" fmla="*/ 42 w 52"/>
                <a:gd name="T23" fmla="*/ 0 h 38"/>
                <a:gd name="T24" fmla="*/ 44 w 52"/>
                <a:gd name="T25" fmla="*/ 0 h 38"/>
                <a:gd name="T26" fmla="*/ 44 w 52"/>
                <a:gd name="T27" fmla="*/ 0 h 38"/>
                <a:gd name="T28" fmla="*/ 45 w 52"/>
                <a:gd name="T29" fmla="*/ 0 h 38"/>
                <a:gd name="T30" fmla="*/ 46 w 52"/>
                <a:gd name="T31" fmla="*/ 0 h 38"/>
                <a:gd name="T32" fmla="*/ 46 w 52"/>
                <a:gd name="T33" fmla="*/ 0 h 38"/>
                <a:gd name="T34" fmla="*/ 46 w 52"/>
                <a:gd name="T35" fmla="*/ 0 h 38"/>
                <a:gd name="T36" fmla="*/ 47 w 52"/>
                <a:gd name="T37" fmla="*/ 1 h 38"/>
                <a:gd name="T38" fmla="*/ 47 w 52"/>
                <a:gd name="T39" fmla="*/ 2 h 38"/>
                <a:gd name="T40" fmla="*/ 48 w 52"/>
                <a:gd name="T41" fmla="*/ 2 h 38"/>
                <a:gd name="T42" fmla="*/ 48 w 52"/>
                <a:gd name="T43" fmla="*/ 3 h 38"/>
                <a:gd name="T44" fmla="*/ 49 w 52"/>
                <a:gd name="T45" fmla="*/ 4 h 38"/>
                <a:gd name="T46" fmla="*/ 49 w 52"/>
                <a:gd name="T47" fmla="*/ 5 h 38"/>
                <a:gd name="T48" fmla="*/ 50 w 52"/>
                <a:gd name="T49" fmla="*/ 7 h 38"/>
                <a:gd name="T50" fmla="*/ 52 w 52"/>
                <a:gd name="T51" fmla="*/ 16 h 38"/>
                <a:gd name="T52" fmla="*/ 46 w 52"/>
                <a:gd name="T53" fmla="*/ 1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2" h="38">
                  <a:moveTo>
                    <a:pt x="46" y="17"/>
                  </a:moveTo>
                  <a:cubicBezTo>
                    <a:pt x="46" y="17"/>
                    <a:pt x="46" y="17"/>
                    <a:pt x="46" y="17"/>
                  </a:cubicBezTo>
                  <a:cubicBezTo>
                    <a:pt x="44" y="18"/>
                    <a:pt x="42" y="19"/>
                    <a:pt x="40" y="19"/>
                  </a:cubicBezTo>
                  <a:cubicBezTo>
                    <a:pt x="35" y="21"/>
                    <a:pt x="30" y="23"/>
                    <a:pt x="26" y="25"/>
                  </a:cubicBezTo>
                  <a:cubicBezTo>
                    <a:pt x="20" y="28"/>
                    <a:pt x="13" y="32"/>
                    <a:pt x="9" y="38"/>
                  </a:cubicBezTo>
                  <a:cubicBezTo>
                    <a:pt x="9" y="38"/>
                    <a:pt x="9" y="38"/>
                    <a:pt x="8" y="37"/>
                  </a:cubicBezTo>
                  <a:cubicBezTo>
                    <a:pt x="6" y="33"/>
                    <a:pt x="4" y="28"/>
                    <a:pt x="1" y="24"/>
                  </a:cubicBezTo>
                  <a:cubicBezTo>
                    <a:pt x="1" y="23"/>
                    <a:pt x="0" y="22"/>
                    <a:pt x="0" y="21"/>
                  </a:cubicBezTo>
                  <a:cubicBezTo>
                    <a:pt x="7" y="19"/>
                    <a:pt x="13" y="14"/>
                    <a:pt x="19" y="10"/>
                  </a:cubicBezTo>
                  <a:cubicBezTo>
                    <a:pt x="26" y="6"/>
                    <a:pt x="32" y="2"/>
                    <a:pt x="40" y="0"/>
                  </a:cubicBezTo>
                  <a:cubicBezTo>
                    <a:pt x="40" y="0"/>
                    <a:pt x="40" y="0"/>
                    <a:pt x="41" y="0"/>
                  </a:cubicBezTo>
                  <a:cubicBezTo>
                    <a:pt x="41" y="0"/>
                    <a:pt x="41" y="0"/>
                    <a:pt x="42" y="0"/>
                  </a:cubicBezTo>
                  <a:cubicBezTo>
                    <a:pt x="42" y="0"/>
                    <a:pt x="43" y="0"/>
                    <a:pt x="4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4" y="0"/>
                    <a:pt x="45" y="0"/>
                  </a:cubicBezTo>
                  <a:cubicBezTo>
                    <a:pt x="45" y="0"/>
                    <a:pt x="4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1"/>
                    <a:pt x="47" y="1"/>
                    <a:pt x="47" y="2"/>
                  </a:cubicBezTo>
                  <a:cubicBezTo>
                    <a:pt x="47" y="2"/>
                    <a:pt x="48" y="2"/>
                    <a:pt x="48" y="2"/>
                  </a:cubicBezTo>
                  <a:cubicBezTo>
                    <a:pt x="48" y="2"/>
                    <a:pt x="48" y="3"/>
                    <a:pt x="48" y="3"/>
                  </a:cubicBezTo>
                  <a:cubicBezTo>
                    <a:pt x="48" y="3"/>
                    <a:pt x="49" y="4"/>
                    <a:pt x="49" y="4"/>
                  </a:cubicBezTo>
                  <a:cubicBezTo>
                    <a:pt x="49" y="4"/>
                    <a:pt x="49" y="4"/>
                    <a:pt x="49" y="5"/>
                  </a:cubicBezTo>
                  <a:cubicBezTo>
                    <a:pt x="49" y="5"/>
                    <a:pt x="50" y="6"/>
                    <a:pt x="50" y="7"/>
                  </a:cubicBezTo>
                  <a:cubicBezTo>
                    <a:pt x="50" y="10"/>
                    <a:pt x="51" y="13"/>
                    <a:pt x="52" y="16"/>
                  </a:cubicBezTo>
                  <a:cubicBezTo>
                    <a:pt x="50" y="16"/>
                    <a:pt x="48" y="16"/>
                    <a:pt x="46" y="17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5" name="î$liďe">
              <a:extLst>
                <a:ext uri="{FF2B5EF4-FFF2-40B4-BE49-F238E27FC236}">
                  <a16:creationId xmlns:a16="http://schemas.microsoft.com/office/drawing/2014/main" id="{0E2C6C09-8537-4ABC-A095-436843F80279}"/>
                </a:ext>
              </a:extLst>
            </p:cNvPr>
            <p:cNvSpPr/>
            <p:nvPr/>
          </p:nvSpPr>
          <p:spPr bwMode="auto">
            <a:xfrm>
              <a:off x="8544023" y="4190766"/>
              <a:ext cx="97684" cy="69563"/>
            </a:xfrm>
            <a:custGeom>
              <a:avLst/>
              <a:gdLst>
                <a:gd name="T0" fmla="*/ 7 w 32"/>
                <a:gd name="T1" fmla="*/ 3 h 23"/>
                <a:gd name="T2" fmla="*/ 7 w 32"/>
                <a:gd name="T3" fmla="*/ 3 h 23"/>
                <a:gd name="T4" fmla="*/ 15 w 32"/>
                <a:gd name="T5" fmla="*/ 0 h 23"/>
                <a:gd name="T6" fmla="*/ 17 w 32"/>
                <a:gd name="T7" fmla="*/ 0 h 23"/>
                <a:gd name="T8" fmla="*/ 17 w 32"/>
                <a:gd name="T9" fmla="*/ 0 h 23"/>
                <a:gd name="T10" fmla="*/ 18 w 32"/>
                <a:gd name="T11" fmla="*/ 0 h 23"/>
                <a:gd name="T12" fmla="*/ 19 w 32"/>
                <a:gd name="T13" fmla="*/ 0 h 23"/>
                <a:gd name="T14" fmla="*/ 21 w 32"/>
                <a:gd name="T15" fmla="*/ 0 h 23"/>
                <a:gd name="T16" fmla="*/ 22 w 32"/>
                <a:gd name="T17" fmla="*/ 0 h 23"/>
                <a:gd name="T18" fmla="*/ 23 w 32"/>
                <a:gd name="T19" fmla="*/ 0 h 23"/>
                <a:gd name="T20" fmla="*/ 26 w 32"/>
                <a:gd name="T21" fmla="*/ 1 h 23"/>
                <a:gd name="T22" fmla="*/ 26 w 32"/>
                <a:gd name="T23" fmla="*/ 1 h 23"/>
                <a:gd name="T24" fmla="*/ 27 w 32"/>
                <a:gd name="T25" fmla="*/ 1 h 23"/>
                <a:gd name="T26" fmla="*/ 28 w 32"/>
                <a:gd name="T27" fmla="*/ 2 h 23"/>
                <a:gd name="T28" fmla="*/ 28 w 32"/>
                <a:gd name="T29" fmla="*/ 2 h 23"/>
                <a:gd name="T30" fmla="*/ 28 w 32"/>
                <a:gd name="T31" fmla="*/ 2 h 23"/>
                <a:gd name="T32" fmla="*/ 30 w 32"/>
                <a:gd name="T33" fmla="*/ 4 h 23"/>
                <a:gd name="T34" fmla="*/ 31 w 32"/>
                <a:gd name="T35" fmla="*/ 4 h 23"/>
                <a:gd name="T36" fmla="*/ 31 w 32"/>
                <a:gd name="T37" fmla="*/ 5 h 23"/>
                <a:gd name="T38" fmla="*/ 32 w 32"/>
                <a:gd name="T39" fmla="*/ 6 h 23"/>
                <a:gd name="T40" fmla="*/ 32 w 32"/>
                <a:gd name="T41" fmla="*/ 7 h 23"/>
                <a:gd name="T42" fmla="*/ 32 w 32"/>
                <a:gd name="T43" fmla="*/ 7 h 23"/>
                <a:gd name="T44" fmla="*/ 32 w 32"/>
                <a:gd name="T45" fmla="*/ 8 h 23"/>
                <a:gd name="T46" fmla="*/ 32 w 32"/>
                <a:gd name="T47" fmla="*/ 8 h 23"/>
                <a:gd name="T48" fmla="*/ 32 w 32"/>
                <a:gd name="T49" fmla="*/ 9 h 23"/>
                <a:gd name="T50" fmla="*/ 32 w 32"/>
                <a:gd name="T51" fmla="*/ 10 h 23"/>
                <a:gd name="T52" fmla="*/ 32 w 32"/>
                <a:gd name="T53" fmla="*/ 10 h 23"/>
                <a:gd name="T54" fmla="*/ 32 w 32"/>
                <a:gd name="T55" fmla="*/ 11 h 23"/>
                <a:gd name="T56" fmla="*/ 31 w 32"/>
                <a:gd name="T57" fmla="*/ 12 h 23"/>
                <a:gd name="T58" fmla="*/ 30 w 32"/>
                <a:gd name="T59" fmla="*/ 13 h 23"/>
                <a:gd name="T60" fmla="*/ 29 w 32"/>
                <a:gd name="T61" fmla="*/ 14 h 23"/>
                <a:gd name="T62" fmla="*/ 28 w 32"/>
                <a:gd name="T63" fmla="*/ 15 h 23"/>
                <a:gd name="T64" fmla="*/ 28 w 32"/>
                <a:gd name="T65" fmla="*/ 16 h 23"/>
                <a:gd name="T66" fmla="*/ 22 w 32"/>
                <a:gd name="T67" fmla="*/ 19 h 23"/>
                <a:gd name="T68" fmla="*/ 21 w 32"/>
                <a:gd name="T69" fmla="*/ 20 h 23"/>
                <a:gd name="T70" fmla="*/ 19 w 32"/>
                <a:gd name="T71" fmla="*/ 20 h 23"/>
                <a:gd name="T72" fmla="*/ 15 w 32"/>
                <a:gd name="T73" fmla="*/ 21 h 23"/>
                <a:gd name="T74" fmla="*/ 11 w 32"/>
                <a:gd name="T75" fmla="*/ 22 h 23"/>
                <a:gd name="T76" fmla="*/ 11 w 32"/>
                <a:gd name="T77" fmla="*/ 22 h 23"/>
                <a:gd name="T78" fmla="*/ 10 w 32"/>
                <a:gd name="T79" fmla="*/ 22 h 23"/>
                <a:gd name="T80" fmla="*/ 8 w 32"/>
                <a:gd name="T81" fmla="*/ 22 h 23"/>
                <a:gd name="T82" fmla="*/ 7 w 32"/>
                <a:gd name="T83" fmla="*/ 23 h 23"/>
                <a:gd name="T84" fmla="*/ 6 w 32"/>
                <a:gd name="T85" fmla="*/ 23 h 23"/>
                <a:gd name="T86" fmla="*/ 6 w 32"/>
                <a:gd name="T87" fmla="*/ 23 h 23"/>
                <a:gd name="T88" fmla="*/ 5 w 32"/>
                <a:gd name="T89" fmla="*/ 23 h 23"/>
                <a:gd name="T90" fmla="*/ 3 w 32"/>
                <a:gd name="T91" fmla="*/ 23 h 23"/>
                <a:gd name="T92" fmla="*/ 2 w 32"/>
                <a:gd name="T93" fmla="*/ 19 h 23"/>
                <a:gd name="T94" fmla="*/ 0 w 32"/>
                <a:gd name="T95" fmla="*/ 11 h 23"/>
                <a:gd name="T96" fmla="*/ 0 w 32"/>
                <a:gd name="T97" fmla="*/ 8 h 23"/>
                <a:gd name="T98" fmla="*/ 7 w 32"/>
                <a:gd name="T9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23">
                  <a:moveTo>
                    <a:pt x="7" y="3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10" y="2"/>
                    <a:pt x="12" y="1"/>
                    <a:pt x="15" y="0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9" y="0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22" y="0"/>
                    <a:pt x="23" y="0"/>
                    <a:pt x="23" y="0"/>
                  </a:cubicBezTo>
                  <a:cubicBezTo>
                    <a:pt x="24" y="0"/>
                    <a:pt x="25" y="0"/>
                    <a:pt x="26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8" y="1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2"/>
                    <a:pt x="29" y="3"/>
                    <a:pt x="30" y="4"/>
                  </a:cubicBezTo>
                  <a:cubicBezTo>
                    <a:pt x="30" y="4"/>
                    <a:pt x="30" y="4"/>
                    <a:pt x="31" y="4"/>
                  </a:cubicBezTo>
                  <a:cubicBezTo>
                    <a:pt x="31" y="4"/>
                    <a:pt x="31" y="5"/>
                    <a:pt x="31" y="5"/>
                  </a:cubicBezTo>
                  <a:cubicBezTo>
                    <a:pt x="31" y="5"/>
                    <a:pt x="32" y="6"/>
                    <a:pt x="32" y="6"/>
                  </a:cubicBezTo>
                  <a:cubicBezTo>
                    <a:pt x="32" y="6"/>
                    <a:pt x="32" y="6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9"/>
                    <a:pt x="32" y="9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1" y="11"/>
                    <a:pt x="31" y="12"/>
                    <a:pt x="31" y="12"/>
                  </a:cubicBezTo>
                  <a:cubicBezTo>
                    <a:pt x="31" y="12"/>
                    <a:pt x="30" y="13"/>
                    <a:pt x="30" y="13"/>
                  </a:cubicBezTo>
                  <a:cubicBezTo>
                    <a:pt x="30" y="14"/>
                    <a:pt x="29" y="14"/>
                    <a:pt x="29" y="14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6" y="17"/>
                    <a:pt x="24" y="18"/>
                    <a:pt x="22" y="19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0"/>
                    <a:pt x="19" y="20"/>
                    <a:pt x="19" y="20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2"/>
                    <a:pt x="12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9" y="22"/>
                    <a:pt x="8" y="22"/>
                  </a:cubicBezTo>
                  <a:cubicBezTo>
                    <a:pt x="8" y="22"/>
                    <a:pt x="7" y="22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5" y="23"/>
                    <a:pt x="5" y="23"/>
                  </a:cubicBezTo>
                  <a:cubicBezTo>
                    <a:pt x="4" y="23"/>
                    <a:pt x="4" y="23"/>
                    <a:pt x="3" y="23"/>
                  </a:cubicBezTo>
                  <a:cubicBezTo>
                    <a:pt x="3" y="22"/>
                    <a:pt x="2" y="20"/>
                    <a:pt x="2" y="19"/>
                  </a:cubicBezTo>
                  <a:cubicBezTo>
                    <a:pt x="1" y="16"/>
                    <a:pt x="0" y="13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3" y="6"/>
                    <a:pt x="4" y="5"/>
                    <a:pt x="7" y="3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6" name="îṧļîdé">
              <a:extLst>
                <a:ext uri="{FF2B5EF4-FFF2-40B4-BE49-F238E27FC236}">
                  <a16:creationId xmlns:a16="http://schemas.microsoft.com/office/drawing/2014/main" id="{01DE59D1-D57F-4387-AD4A-0EB0962C677D}"/>
                </a:ext>
              </a:extLst>
            </p:cNvPr>
            <p:cNvSpPr/>
            <p:nvPr/>
          </p:nvSpPr>
          <p:spPr bwMode="auto">
            <a:xfrm>
              <a:off x="8641708" y="4220368"/>
              <a:ext cx="0" cy="2960"/>
            </a:xfrm>
            <a:custGeom>
              <a:avLst/>
              <a:gdLst>
                <a:gd name="T0" fmla="*/ 0 h 1"/>
                <a:gd name="T1" fmla="*/ 0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FDB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7" name="íšḷïḋè">
              <a:extLst>
                <a:ext uri="{FF2B5EF4-FFF2-40B4-BE49-F238E27FC236}">
                  <a16:creationId xmlns:a16="http://schemas.microsoft.com/office/drawing/2014/main" id="{D847A7BC-1F03-4B26-8E65-66FBF9208C75}"/>
                </a:ext>
              </a:extLst>
            </p:cNvPr>
            <p:cNvSpPr/>
            <p:nvPr/>
          </p:nvSpPr>
          <p:spPr bwMode="auto">
            <a:xfrm>
              <a:off x="8441899" y="3956916"/>
              <a:ext cx="387776" cy="334494"/>
            </a:xfrm>
            <a:custGeom>
              <a:avLst/>
              <a:gdLst>
                <a:gd name="T0" fmla="*/ 117 w 126"/>
                <a:gd name="T1" fmla="*/ 49 h 109"/>
                <a:gd name="T2" fmla="*/ 92 w 126"/>
                <a:gd name="T3" fmla="*/ 50 h 109"/>
                <a:gd name="T4" fmla="*/ 81 w 126"/>
                <a:gd name="T5" fmla="*/ 57 h 109"/>
                <a:gd name="T6" fmla="*/ 79 w 126"/>
                <a:gd name="T7" fmla="*/ 51 h 109"/>
                <a:gd name="T8" fmla="*/ 68 w 126"/>
                <a:gd name="T9" fmla="*/ 22 h 109"/>
                <a:gd name="T10" fmla="*/ 58 w 126"/>
                <a:gd name="T11" fmla="*/ 4 h 109"/>
                <a:gd name="T12" fmla="*/ 34 w 126"/>
                <a:gd name="T13" fmla="*/ 7 h 109"/>
                <a:gd name="T14" fmla="*/ 4 w 126"/>
                <a:gd name="T15" fmla="*/ 26 h 109"/>
                <a:gd name="T16" fmla="*/ 1 w 126"/>
                <a:gd name="T17" fmla="*/ 30 h 109"/>
                <a:gd name="T18" fmla="*/ 8 w 126"/>
                <a:gd name="T19" fmla="*/ 50 h 109"/>
                <a:gd name="T20" fmla="*/ 11 w 126"/>
                <a:gd name="T21" fmla="*/ 59 h 109"/>
                <a:gd name="T22" fmla="*/ 13 w 126"/>
                <a:gd name="T23" fmla="*/ 63 h 109"/>
                <a:gd name="T24" fmla="*/ 13 w 126"/>
                <a:gd name="T25" fmla="*/ 63 h 109"/>
                <a:gd name="T26" fmla="*/ 13 w 126"/>
                <a:gd name="T27" fmla="*/ 64 h 109"/>
                <a:gd name="T28" fmla="*/ 14 w 126"/>
                <a:gd name="T29" fmla="*/ 66 h 109"/>
                <a:gd name="T30" fmla="*/ 17 w 126"/>
                <a:gd name="T31" fmla="*/ 74 h 109"/>
                <a:gd name="T32" fmla="*/ 18 w 126"/>
                <a:gd name="T33" fmla="*/ 75 h 109"/>
                <a:gd name="T34" fmla="*/ 18 w 126"/>
                <a:gd name="T35" fmla="*/ 75 h 109"/>
                <a:gd name="T36" fmla="*/ 18 w 126"/>
                <a:gd name="T37" fmla="*/ 76 h 109"/>
                <a:gd name="T38" fmla="*/ 19 w 126"/>
                <a:gd name="T39" fmla="*/ 78 h 109"/>
                <a:gd name="T40" fmla="*/ 21 w 126"/>
                <a:gd name="T41" fmla="*/ 82 h 109"/>
                <a:gd name="T42" fmla="*/ 26 w 126"/>
                <a:gd name="T43" fmla="*/ 97 h 109"/>
                <a:gd name="T44" fmla="*/ 27 w 126"/>
                <a:gd name="T45" fmla="*/ 102 h 109"/>
                <a:gd name="T46" fmla="*/ 28 w 126"/>
                <a:gd name="T47" fmla="*/ 104 h 109"/>
                <a:gd name="T48" fmla="*/ 28 w 126"/>
                <a:gd name="T49" fmla="*/ 104 h 109"/>
                <a:gd name="T50" fmla="*/ 31 w 126"/>
                <a:gd name="T51" fmla="*/ 109 h 109"/>
                <a:gd name="T52" fmla="*/ 33 w 126"/>
                <a:gd name="T53" fmla="*/ 109 h 109"/>
                <a:gd name="T54" fmla="*/ 37 w 126"/>
                <a:gd name="T55" fmla="*/ 106 h 109"/>
                <a:gd name="T56" fmla="*/ 41 w 126"/>
                <a:gd name="T57" fmla="*/ 107 h 109"/>
                <a:gd name="T58" fmla="*/ 50 w 126"/>
                <a:gd name="T59" fmla="*/ 106 h 109"/>
                <a:gd name="T60" fmla="*/ 67 w 126"/>
                <a:gd name="T61" fmla="*/ 98 h 109"/>
                <a:gd name="T62" fmla="*/ 74 w 126"/>
                <a:gd name="T63" fmla="*/ 82 h 109"/>
                <a:gd name="T64" fmla="*/ 61 w 126"/>
                <a:gd name="T65" fmla="*/ 69 h 109"/>
                <a:gd name="T66" fmla="*/ 38 w 126"/>
                <a:gd name="T67" fmla="*/ 72 h 109"/>
                <a:gd name="T68" fmla="*/ 30 w 126"/>
                <a:gd name="T69" fmla="*/ 79 h 109"/>
                <a:gd name="T70" fmla="*/ 20 w 126"/>
                <a:gd name="T71" fmla="*/ 56 h 109"/>
                <a:gd name="T72" fmla="*/ 38 w 126"/>
                <a:gd name="T73" fmla="*/ 44 h 109"/>
                <a:gd name="T74" fmla="*/ 50 w 126"/>
                <a:gd name="T75" fmla="*/ 39 h 109"/>
                <a:gd name="T76" fmla="*/ 56 w 126"/>
                <a:gd name="T77" fmla="*/ 37 h 109"/>
                <a:gd name="T78" fmla="*/ 62 w 126"/>
                <a:gd name="T79" fmla="*/ 34 h 109"/>
                <a:gd name="T80" fmla="*/ 66 w 126"/>
                <a:gd name="T81" fmla="*/ 46 h 109"/>
                <a:gd name="T82" fmla="*/ 74 w 126"/>
                <a:gd name="T83" fmla="*/ 65 h 109"/>
                <a:gd name="T84" fmla="*/ 78 w 126"/>
                <a:gd name="T85" fmla="*/ 75 h 109"/>
                <a:gd name="T86" fmla="*/ 83 w 126"/>
                <a:gd name="T87" fmla="*/ 84 h 109"/>
                <a:gd name="T88" fmla="*/ 88 w 126"/>
                <a:gd name="T89" fmla="*/ 83 h 109"/>
                <a:gd name="T90" fmla="*/ 89 w 126"/>
                <a:gd name="T91" fmla="*/ 83 h 109"/>
                <a:gd name="T92" fmla="*/ 89 w 126"/>
                <a:gd name="T93" fmla="*/ 83 h 109"/>
                <a:gd name="T94" fmla="*/ 91 w 126"/>
                <a:gd name="T95" fmla="*/ 83 h 109"/>
                <a:gd name="T96" fmla="*/ 99 w 126"/>
                <a:gd name="T97" fmla="*/ 82 h 109"/>
                <a:gd name="T98" fmla="*/ 114 w 126"/>
                <a:gd name="T99" fmla="*/ 76 h 109"/>
                <a:gd name="T100" fmla="*/ 125 w 126"/>
                <a:gd name="T101" fmla="*/ 65 h 109"/>
                <a:gd name="T102" fmla="*/ 117 w 126"/>
                <a:gd name="T103" fmla="*/ 4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6" h="109">
                  <a:moveTo>
                    <a:pt x="117" y="49"/>
                  </a:moveTo>
                  <a:cubicBezTo>
                    <a:pt x="110" y="44"/>
                    <a:pt x="99" y="46"/>
                    <a:pt x="92" y="50"/>
                  </a:cubicBezTo>
                  <a:cubicBezTo>
                    <a:pt x="88" y="51"/>
                    <a:pt x="84" y="54"/>
                    <a:pt x="81" y="57"/>
                  </a:cubicBezTo>
                  <a:cubicBezTo>
                    <a:pt x="81" y="55"/>
                    <a:pt x="80" y="53"/>
                    <a:pt x="79" y="51"/>
                  </a:cubicBezTo>
                  <a:cubicBezTo>
                    <a:pt x="75" y="42"/>
                    <a:pt x="71" y="32"/>
                    <a:pt x="68" y="22"/>
                  </a:cubicBezTo>
                  <a:cubicBezTo>
                    <a:pt x="66" y="15"/>
                    <a:pt x="64" y="7"/>
                    <a:pt x="58" y="4"/>
                  </a:cubicBezTo>
                  <a:cubicBezTo>
                    <a:pt x="50" y="0"/>
                    <a:pt x="41" y="4"/>
                    <a:pt x="34" y="7"/>
                  </a:cubicBezTo>
                  <a:cubicBezTo>
                    <a:pt x="23" y="13"/>
                    <a:pt x="14" y="21"/>
                    <a:pt x="4" y="26"/>
                  </a:cubicBezTo>
                  <a:cubicBezTo>
                    <a:pt x="2" y="26"/>
                    <a:pt x="0" y="28"/>
                    <a:pt x="1" y="30"/>
                  </a:cubicBezTo>
                  <a:cubicBezTo>
                    <a:pt x="2" y="37"/>
                    <a:pt x="5" y="44"/>
                    <a:pt x="8" y="50"/>
                  </a:cubicBezTo>
                  <a:cubicBezTo>
                    <a:pt x="9" y="53"/>
                    <a:pt x="10" y="56"/>
                    <a:pt x="11" y="59"/>
                  </a:cubicBezTo>
                  <a:cubicBezTo>
                    <a:pt x="12" y="60"/>
                    <a:pt x="12" y="61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14" y="65"/>
                    <a:pt x="14" y="65"/>
                    <a:pt x="14" y="66"/>
                  </a:cubicBezTo>
                  <a:cubicBezTo>
                    <a:pt x="15" y="69"/>
                    <a:pt x="16" y="72"/>
                    <a:pt x="17" y="74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76"/>
                    <a:pt x="18" y="76"/>
                    <a:pt x="18" y="76"/>
                  </a:cubicBezTo>
                  <a:cubicBezTo>
                    <a:pt x="18" y="77"/>
                    <a:pt x="19" y="77"/>
                    <a:pt x="19" y="78"/>
                  </a:cubicBezTo>
                  <a:cubicBezTo>
                    <a:pt x="20" y="79"/>
                    <a:pt x="20" y="81"/>
                    <a:pt x="21" y="82"/>
                  </a:cubicBezTo>
                  <a:cubicBezTo>
                    <a:pt x="23" y="87"/>
                    <a:pt x="24" y="92"/>
                    <a:pt x="26" y="97"/>
                  </a:cubicBezTo>
                  <a:cubicBezTo>
                    <a:pt x="27" y="98"/>
                    <a:pt x="27" y="100"/>
                    <a:pt x="27" y="102"/>
                  </a:cubicBezTo>
                  <a:cubicBezTo>
                    <a:pt x="28" y="102"/>
                    <a:pt x="28" y="103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6"/>
                    <a:pt x="29" y="108"/>
                    <a:pt x="31" y="109"/>
                  </a:cubicBezTo>
                  <a:cubicBezTo>
                    <a:pt x="32" y="109"/>
                    <a:pt x="33" y="109"/>
                    <a:pt x="33" y="109"/>
                  </a:cubicBezTo>
                  <a:cubicBezTo>
                    <a:pt x="35" y="108"/>
                    <a:pt x="36" y="107"/>
                    <a:pt x="37" y="106"/>
                  </a:cubicBezTo>
                  <a:cubicBezTo>
                    <a:pt x="38" y="106"/>
                    <a:pt x="40" y="107"/>
                    <a:pt x="41" y="107"/>
                  </a:cubicBezTo>
                  <a:cubicBezTo>
                    <a:pt x="44" y="107"/>
                    <a:pt x="47" y="107"/>
                    <a:pt x="50" y="106"/>
                  </a:cubicBezTo>
                  <a:cubicBezTo>
                    <a:pt x="57" y="104"/>
                    <a:pt x="62" y="102"/>
                    <a:pt x="67" y="98"/>
                  </a:cubicBezTo>
                  <a:cubicBezTo>
                    <a:pt x="72" y="94"/>
                    <a:pt x="75" y="88"/>
                    <a:pt x="74" y="82"/>
                  </a:cubicBezTo>
                  <a:cubicBezTo>
                    <a:pt x="73" y="76"/>
                    <a:pt x="67" y="71"/>
                    <a:pt x="61" y="69"/>
                  </a:cubicBezTo>
                  <a:cubicBezTo>
                    <a:pt x="54" y="66"/>
                    <a:pt x="45" y="68"/>
                    <a:pt x="38" y="72"/>
                  </a:cubicBezTo>
                  <a:cubicBezTo>
                    <a:pt x="35" y="73"/>
                    <a:pt x="32" y="76"/>
                    <a:pt x="30" y="79"/>
                  </a:cubicBezTo>
                  <a:cubicBezTo>
                    <a:pt x="26" y="72"/>
                    <a:pt x="23" y="64"/>
                    <a:pt x="20" y="56"/>
                  </a:cubicBezTo>
                  <a:cubicBezTo>
                    <a:pt x="25" y="51"/>
                    <a:pt x="32" y="47"/>
                    <a:pt x="38" y="44"/>
                  </a:cubicBezTo>
                  <a:cubicBezTo>
                    <a:pt x="42" y="42"/>
                    <a:pt x="46" y="41"/>
                    <a:pt x="50" y="39"/>
                  </a:cubicBezTo>
                  <a:cubicBezTo>
                    <a:pt x="52" y="38"/>
                    <a:pt x="54" y="38"/>
                    <a:pt x="56" y="37"/>
                  </a:cubicBezTo>
                  <a:cubicBezTo>
                    <a:pt x="58" y="36"/>
                    <a:pt x="60" y="36"/>
                    <a:pt x="62" y="34"/>
                  </a:cubicBezTo>
                  <a:cubicBezTo>
                    <a:pt x="63" y="38"/>
                    <a:pt x="65" y="42"/>
                    <a:pt x="66" y="46"/>
                  </a:cubicBezTo>
                  <a:cubicBezTo>
                    <a:pt x="69" y="52"/>
                    <a:pt x="71" y="58"/>
                    <a:pt x="74" y="65"/>
                  </a:cubicBezTo>
                  <a:cubicBezTo>
                    <a:pt x="75" y="69"/>
                    <a:pt x="77" y="72"/>
                    <a:pt x="78" y="75"/>
                  </a:cubicBezTo>
                  <a:cubicBezTo>
                    <a:pt x="80" y="79"/>
                    <a:pt x="81" y="82"/>
                    <a:pt x="83" y="84"/>
                  </a:cubicBezTo>
                  <a:cubicBezTo>
                    <a:pt x="85" y="86"/>
                    <a:pt x="88" y="85"/>
                    <a:pt x="88" y="83"/>
                  </a:cubicBezTo>
                  <a:cubicBezTo>
                    <a:pt x="88" y="83"/>
                    <a:pt x="88" y="83"/>
                    <a:pt x="89" y="83"/>
                  </a:cubicBezTo>
                  <a:cubicBezTo>
                    <a:pt x="89" y="83"/>
                    <a:pt x="89" y="83"/>
                    <a:pt x="89" y="83"/>
                  </a:cubicBezTo>
                  <a:cubicBezTo>
                    <a:pt x="89" y="83"/>
                    <a:pt x="90" y="83"/>
                    <a:pt x="91" y="83"/>
                  </a:cubicBezTo>
                  <a:cubicBezTo>
                    <a:pt x="94" y="83"/>
                    <a:pt x="96" y="82"/>
                    <a:pt x="99" y="82"/>
                  </a:cubicBezTo>
                  <a:cubicBezTo>
                    <a:pt x="105" y="81"/>
                    <a:pt x="109" y="79"/>
                    <a:pt x="114" y="76"/>
                  </a:cubicBezTo>
                  <a:cubicBezTo>
                    <a:pt x="119" y="74"/>
                    <a:pt x="123" y="70"/>
                    <a:pt x="125" y="65"/>
                  </a:cubicBezTo>
                  <a:cubicBezTo>
                    <a:pt x="126" y="58"/>
                    <a:pt x="122" y="53"/>
                    <a:pt x="117" y="49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8" name="iṩlíḓè">
              <a:extLst>
                <a:ext uri="{FF2B5EF4-FFF2-40B4-BE49-F238E27FC236}">
                  <a16:creationId xmlns:a16="http://schemas.microsoft.com/office/drawing/2014/main" id="{0AD6B0C0-EAC6-427C-8759-45413D18138E}"/>
                </a:ext>
              </a:extLst>
            </p:cNvPr>
            <p:cNvSpPr/>
            <p:nvPr/>
          </p:nvSpPr>
          <p:spPr bwMode="auto">
            <a:xfrm>
              <a:off x="7833594" y="4457177"/>
              <a:ext cx="106564" cy="105085"/>
            </a:xfrm>
            <a:custGeom>
              <a:avLst/>
              <a:gdLst>
                <a:gd name="T0" fmla="*/ 34 w 35"/>
                <a:gd name="T1" fmla="*/ 17 h 34"/>
                <a:gd name="T2" fmla="*/ 34 w 35"/>
                <a:gd name="T3" fmla="*/ 17 h 34"/>
                <a:gd name="T4" fmla="*/ 34 w 35"/>
                <a:gd name="T5" fmla="*/ 18 h 34"/>
                <a:gd name="T6" fmla="*/ 34 w 35"/>
                <a:gd name="T7" fmla="*/ 21 h 34"/>
                <a:gd name="T8" fmla="*/ 34 w 35"/>
                <a:gd name="T9" fmla="*/ 23 h 34"/>
                <a:gd name="T10" fmla="*/ 34 w 35"/>
                <a:gd name="T11" fmla="*/ 24 h 34"/>
                <a:gd name="T12" fmla="*/ 33 w 35"/>
                <a:gd name="T13" fmla="*/ 24 h 34"/>
                <a:gd name="T14" fmla="*/ 32 w 35"/>
                <a:gd name="T15" fmla="*/ 27 h 34"/>
                <a:gd name="T16" fmla="*/ 31 w 35"/>
                <a:gd name="T17" fmla="*/ 27 h 34"/>
                <a:gd name="T18" fmla="*/ 31 w 35"/>
                <a:gd name="T19" fmla="*/ 28 h 34"/>
                <a:gd name="T20" fmla="*/ 30 w 35"/>
                <a:gd name="T21" fmla="*/ 29 h 34"/>
                <a:gd name="T22" fmla="*/ 29 w 35"/>
                <a:gd name="T23" fmla="*/ 30 h 34"/>
                <a:gd name="T24" fmla="*/ 28 w 35"/>
                <a:gd name="T25" fmla="*/ 30 h 34"/>
                <a:gd name="T26" fmla="*/ 28 w 35"/>
                <a:gd name="T27" fmla="*/ 31 h 34"/>
                <a:gd name="T28" fmla="*/ 21 w 35"/>
                <a:gd name="T29" fmla="*/ 33 h 34"/>
                <a:gd name="T30" fmla="*/ 13 w 35"/>
                <a:gd name="T31" fmla="*/ 34 h 34"/>
                <a:gd name="T32" fmla="*/ 9 w 35"/>
                <a:gd name="T33" fmla="*/ 33 h 34"/>
                <a:gd name="T34" fmla="*/ 7 w 35"/>
                <a:gd name="T35" fmla="*/ 33 h 34"/>
                <a:gd name="T36" fmla="*/ 6 w 35"/>
                <a:gd name="T37" fmla="*/ 32 h 34"/>
                <a:gd name="T38" fmla="*/ 6 w 35"/>
                <a:gd name="T39" fmla="*/ 32 h 34"/>
                <a:gd name="T40" fmla="*/ 6 w 35"/>
                <a:gd name="T41" fmla="*/ 32 h 34"/>
                <a:gd name="T42" fmla="*/ 4 w 35"/>
                <a:gd name="T43" fmla="*/ 31 h 34"/>
                <a:gd name="T44" fmla="*/ 3 w 35"/>
                <a:gd name="T45" fmla="*/ 31 h 34"/>
                <a:gd name="T46" fmla="*/ 2 w 35"/>
                <a:gd name="T47" fmla="*/ 30 h 34"/>
                <a:gd name="T48" fmla="*/ 2 w 35"/>
                <a:gd name="T49" fmla="*/ 29 h 34"/>
                <a:gd name="T50" fmla="*/ 2 w 35"/>
                <a:gd name="T51" fmla="*/ 29 h 34"/>
                <a:gd name="T52" fmla="*/ 1 w 35"/>
                <a:gd name="T53" fmla="*/ 29 h 34"/>
                <a:gd name="T54" fmla="*/ 1 w 35"/>
                <a:gd name="T55" fmla="*/ 28 h 34"/>
                <a:gd name="T56" fmla="*/ 1 w 35"/>
                <a:gd name="T57" fmla="*/ 27 h 34"/>
                <a:gd name="T58" fmla="*/ 0 w 35"/>
                <a:gd name="T59" fmla="*/ 27 h 34"/>
                <a:gd name="T60" fmla="*/ 0 w 35"/>
                <a:gd name="T61" fmla="*/ 26 h 34"/>
                <a:gd name="T62" fmla="*/ 0 w 35"/>
                <a:gd name="T63" fmla="*/ 25 h 34"/>
                <a:gd name="T64" fmla="*/ 0 w 35"/>
                <a:gd name="T65" fmla="*/ 24 h 34"/>
                <a:gd name="T66" fmla="*/ 0 w 35"/>
                <a:gd name="T67" fmla="*/ 23 h 34"/>
                <a:gd name="T68" fmla="*/ 0 w 35"/>
                <a:gd name="T69" fmla="*/ 22 h 34"/>
                <a:gd name="T70" fmla="*/ 0 w 35"/>
                <a:gd name="T71" fmla="*/ 22 h 34"/>
                <a:gd name="T72" fmla="*/ 0 w 35"/>
                <a:gd name="T73" fmla="*/ 21 h 34"/>
                <a:gd name="T74" fmla="*/ 1 w 35"/>
                <a:gd name="T75" fmla="*/ 18 h 34"/>
                <a:gd name="T76" fmla="*/ 4 w 35"/>
                <a:gd name="T77" fmla="*/ 12 h 34"/>
                <a:gd name="T78" fmla="*/ 9 w 35"/>
                <a:gd name="T79" fmla="*/ 6 h 34"/>
                <a:gd name="T80" fmla="*/ 19 w 35"/>
                <a:gd name="T81" fmla="*/ 0 h 34"/>
                <a:gd name="T82" fmla="*/ 20 w 35"/>
                <a:gd name="T83" fmla="*/ 0 h 34"/>
                <a:gd name="T84" fmla="*/ 21 w 35"/>
                <a:gd name="T85" fmla="*/ 0 h 34"/>
                <a:gd name="T86" fmla="*/ 22 w 35"/>
                <a:gd name="T87" fmla="*/ 0 h 34"/>
                <a:gd name="T88" fmla="*/ 25 w 35"/>
                <a:gd name="T89" fmla="*/ 1 h 34"/>
                <a:gd name="T90" fmla="*/ 28 w 35"/>
                <a:gd name="T91" fmla="*/ 2 h 34"/>
                <a:gd name="T92" fmla="*/ 29 w 35"/>
                <a:gd name="T93" fmla="*/ 3 h 34"/>
                <a:gd name="T94" fmla="*/ 29 w 35"/>
                <a:gd name="T95" fmla="*/ 3 h 34"/>
                <a:gd name="T96" fmla="*/ 30 w 35"/>
                <a:gd name="T97" fmla="*/ 3 h 34"/>
                <a:gd name="T98" fmla="*/ 32 w 35"/>
                <a:gd name="T99" fmla="*/ 5 h 34"/>
                <a:gd name="T100" fmla="*/ 32 w 35"/>
                <a:gd name="T101" fmla="*/ 6 h 34"/>
                <a:gd name="T102" fmla="*/ 33 w 35"/>
                <a:gd name="T103" fmla="*/ 8 h 34"/>
                <a:gd name="T104" fmla="*/ 34 w 35"/>
                <a:gd name="T105" fmla="*/ 9 h 34"/>
                <a:gd name="T106" fmla="*/ 34 w 35"/>
                <a:gd name="T107" fmla="*/ 9 h 34"/>
                <a:gd name="T108" fmla="*/ 34 w 35"/>
                <a:gd name="T109" fmla="*/ 10 h 34"/>
                <a:gd name="T110" fmla="*/ 34 w 35"/>
                <a:gd name="T111" fmla="*/ 13 h 34"/>
                <a:gd name="T112" fmla="*/ 34 w 35"/>
                <a:gd name="T113" fmla="*/ 13 h 34"/>
                <a:gd name="T114" fmla="*/ 34 w 35"/>
                <a:gd name="T115" fmla="*/ 14 h 34"/>
                <a:gd name="T116" fmla="*/ 35 w 35"/>
                <a:gd name="T117" fmla="*/ 16 h 34"/>
                <a:gd name="T118" fmla="*/ 34 w 35"/>
                <a:gd name="T11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" h="34">
                  <a:moveTo>
                    <a:pt x="34" y="17"/>
                  </a:moveTo>
                  <a:cubicBezTo>
                    <a:pt x="34" y="17"/>
                    <a:pt x="34" y="17"/>
                    <a:pt x="34" y="17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9"/>
                    <a:pt x="34" y="20"/>
                    <a:pt x="34" y="21"/>
                  </a:cubicBezTo>
                  <a:cubicBezTo>
                    <a:pt x="34" y="22"/>
                    <a:pt x="34" y="23"/>
                    <a:pt x="34" y="23"/>
                  </a:cubicBezTo>
                  <a:cubicBezTo>
                    <a:pt x="34" y="23"/>
                    <a:pt x="34" y="23"/>
                    <a:pt x="34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25"/>
                    <a:pt x="32" y="26"/>
                    <a:pt x="32" y="27"/>
                  </a:cubicBezTo>
                  <a:cubicBezTo>
                    <a:pt x="32" y="27"/>
                    <a:pt x="31" y="27"/>
                    <a:pt x="31" y="27"/>
                  </a:cubicBezTo>
                  <a:cubicBezTo>
                    <a:pt x="31" y="27"/>
                    <a:pt x="31" y="28"/>
                    <a:pt x="31" y="28"/>
                  </a:cubicBezTo>
                  <a:cubicBezTo>
                    <a:pt x="31" y="28"/>
                    <a:pt x="30" y="29"/>
                    <a:pt x="30" y="29"/>
                  </a:cubicBezTo>
                  <a:cubicBezTo>
                    <a:pt x="30" y="29"/>
                    <a:pt x="29" y="30"/>
                    <a:pt x="29" y="30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5" y="32"/>
                    <a:pt x="24" y="33"/>
                    <a:pt x="21" y="33"/>
                  </a:cubicBezTo>
                  <a:cubicBezTo>
                    <a:pt x="19" y="34"/>
                    <a:pt x="16" y="34"/>
                    <a:pt x="13" y="34"/>
                  </a:cubicBezTo>
                  <a:cubicBezTo>
                    <a:pt x="11" y="34"/>
                    <a:pt x="10" y="34"/>
                    <a:pt x="9" y="33"/>
                  </a:cubicBezTo>
                  <a:cubicBezTo>
                    <a:pt x="9" y="33"/>
                    <a:pt x="8" y="33"/>
                    <a:pt x="7" y="33"/>
                  </a:cubicBezTo>
                  <a:cubicBezTo>
                    <a:pt x="7" y="33"/>
                    <a:pt x="7" y="33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2"/>
                    <a:pt x="5" y="32"/>
                    <a:pt x="4" y="31"/>
                  </a:cubicBezTo>
                  <a:cubicBezTo>
                    <a:pt x="4" y="31"/>
                    <a:pt x="3" y="31"/>
                    <a:pt x="3" y="31"/>
                  </a:cubicBezTo>
                  <a:cubicBezTo>
                    <a:pt x="3" y="30"/>
                    <a:pt x="2" y="30"/>
                    <a:pt x="2" y="30"/>
                  </a:cubicBezTo>
                  <a:cubicBezTo>
                    <a:pt x="2" y="30"/>
                    <a:pt x="2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8"/>
                    <a:pt x="1" y="28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4"/>
                  </a:cubicBezTo>
                  <a:cubicBezTo>
                    <a:pt x="0" y="24"/>
                    <a:pt x="0" y="23"/>
                    <a:pt x="0" y="2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1"/>
                  </a:cubicBezTo>
                  <a:cubicBezTo>
                    <a:pt x="0" y="20"/>
                    <a:pt x="0" y="19"/>
                    <a:pt x="1" y="18"/>
                  </a:cubicBezTo>
                  <a:cubicBezTo>
                    <a:pt x="1" y="16"/>
                    <a:pt x="3" y="14"/>
                    <a:pt x="4" y="12"/>
                  </a:cubicBezTo>
                  <a:cubicBezTo>
                    <a:pt x="5" y="10"/>
                    <a:pt x="7" y="8"/>
                    <a:pt x="9" y="6"/>
                  </a:cubicBezTo>
                  <a:cubicBezTo>
                    <a:pt x="11" y="3"/>
                    <a:pt x="15" y="1"/>
                    <a:pt x="19" y="0"/>
                  </a:cubicBezTo>
                  <a:cubicBezTo>
                    <a:pt x="19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0"/>
                    <a:pt x="25" y="1"/>
                  </a:cubicBezTo>
                  <a:cubicBezTo>
                    <a:pt x="26" y="1"/>
                    <a:pt x="26" y="1"/>
                    <a:pt x="28" y="2"/>
                  </a:cubicBezTo>
                  <a:cubicBezTo>
                    <a:pt x="28" y="2"/>
                    <a:pt x="29" y="2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4"/>
                    <a:pt x="31" y="5"/>
                    <a:pt x="32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3" y="7"/>
                    <a:pt x="33" y="7"/>
                    <a:pt x="33" y="8"/>
                  </a:cubicBezTo>
                  <a:cubicBezTo>
                    <a:pt x="33" y="8"/>
                    <a:pt x="33" y="8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10"/>
                    <a:pt x="34" y="10"/>
                  </a:cubicBezTo>
                  <a:cubicBezTo>
                    <a:pt x="34" y="11"/>
                    <a:pt x="34" y="12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14"/>
                    <a:pt x="35" y="15"/>
                    <a:pt x="35" y="16"/>
                  </a:cubicBezTo>
                  <a:cubicBezTo>
                    <a:pt x="35" y="16"/>
                    <a:pt x="35" y="17"/>
                    <a:pt x="34" y="17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9" name="iṡḻiḋè">
              <a:extLst>
                <a:ext uri="{FF2B5EF4-FFF2-40B4-BE49-F238E27FC236}">
                  <a16:creationId xmlns:a16="http://schemas.microsoft.com/office/drawing/2014/main" id="{456339E6-ADE5-419E-84E3-4003BE0B0FF8}"/>
                </a:ext>
              </a:extLst>
            </p:cNvPr>
            <p:cNvSpPr/>
            <p:nvPr/>
          </p:nvSpPr>
          <p:spPr bwMode="auto">
            <a:xfrm>
              <a:off x="7811392" y="4436457"/>
              <a:ext cx="150966" cy="149487"/>
            </a:xfrm>
            <a:custGeom>
              <a:avLst/>
              <a:gdLst>
                <a:gd name="T0" fmla="*/ 35 w 49"/>
                <a:gd name="T1" fmla="*/ 2 h 49"/>
                <a:gd name="T2" fmla="*/ 20 w 49"/>
                <a:gd name="T3" fmla="*/ 3 h 49"/>
                <a:gd name="T4" fmla="*/ 19 w 49"/>
                <a:gd name="T5" fmla="*/ 6 h 49"/>
                <a:gd name="T6" fmla="*/ 3 w 49"/>
                <a:gd name="T7" fmla="*/ 23 h 49"/>
                <a:gd name="T8" fmla="*/ 2 w 49"/>
                <a:gd name="T9" fmla="*/ 37 h 49"/>
                <a:gd name="T10" fmla="*/ 14 w 49"/>
                <a:gd name="T11" fmla="*/ 46 h 49"/>
                <a:gd name="T12" fmla="*/ 44 w 49"/>
                <a:gd name="T13" fmla="*/ 37 h 49"/>
                <a:gd name="T14" fmla="*/ 45 w 49"/>
                <a:gd name="T15" fmla="*/ 10 h 49"/>
                <a:gd name="T16" fmla="*/ 35 w 49"/>
                <a:gd name="T17" fmla="*/ 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49">
                  <a:moveTo>
                    <a:pt x="35" y="2"/>
                  </a:moveTo>
                  <a:cubicBezTo>
                    <a:pt x="30" y="0"/>
                    <a:pt x="24" y="0"/>
                    <a:pt x="20" y="3"/>
                  </a:cubicBezTo>
                  <a:cubicBezTo>
                    <a:pt x="18" y="4"/>
                    <a:pt x="18" y="5"/>
                    <a:pt x="19" y="6"/>
                  </a:cubicBezTo>
                  <a:cubicBezTo>
                    <a:pt x="12" y="9"/>
                    <a:pt x="6" y="15"/>
                    <a:pt x="3" y="23"/>
                  </a:cubicBezTo>
                  <a:cubicBezTo>
                    <a:pt x="1" y="27"/>
                    <a:pt x="0" y="32"/>
                    <a:pt x="2" y="37"/>
                  </a:cubicBezTo>
                  <a:cubicBezTo>
                    <a:pt x="4" y="42"/>
                    <a:pt x="9" y="45"/>
                    <a:pt x="14" y="46"/>
                  </a:cubicBezTo>
                  <a:cubicBezTo>
                    <a:pt x="25" y="49"/>
                    <a:pt x="37" y="47"/>
                    <a:pt x="44" y="37"/>
                  </a:cubicBezTo>
                  <a:cubicBezTo>
                    <a:pt x="49" y="29"/>
                    <a:pt x="49" y="18"/>
                    <a:pt x="45" y="10"/>
                  </a:cubicBezTo>
                  <a:cubicBezTo>
                    <a:pt x="42" y="7"/>
                    <a:pt x="39" y="4"/>
                    <a:pt x="35" y="2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0" name="íṣḷïḓè">
              <a:extLst>
                <a:ext uri="{FF2B5EF4-FFF2-40B4-BE49-F238E27FC236}">
                  <a16:creationId xmlns:a16="http://schemas.microsoft.com/office/drawing/2014/main" id="{30F6E861-FBBA-442B-9EA4-6220C463FE1F}"/>
                </a:ext>
              </a:extLst>
            </p:cNvPr>
            <p:cNvSpPr/>
            <p:nvPr/>
          </p:nvSpPr>
          <p:spPr bwMode="auto">
            <a:xfrm>
              <a:off x="7710748" y="5059562"/>
              <a:ext cx="20721" cy="42922"/>
            </a:xfrm>
            <a:custGeom>
              <a:avLst/>
              <a:gdLst>
                <a:gd name="T0" fmla="*/ 7 w 7"/>
                <a:gd name="T1" fmla="*/ 8 h 14"/>
                <a:gd name="T2" fmla="*/ 7 w 7"/>
                <a:gd name="T3" fmla="*/ 8 h 14"/>
                <a:gd name="T4" fmla="*/ 7 w 7"/>
                <a:gd name="T5" fmla="*/ 8 h 14"/>
                <a:gd name="T6" fmla="*/ 6 w 7"/>
                <a:gd name="T7" fmla="*/ 8 h 14"/>
                <a:gd name="T8" fmla="*/ 6 w 7"/>
                <a:gd name="T9" fmla="*/ 9 h 14"/>
                <a:gd name="T10" fmla="*/ 6 w 7"/>
                <a:gd name="T11" fmla="*/ 10 h 14"/>
                <a:gd name="T12" fmla="*/ 6 w 7"/>
                <a:gd name="T13" fmla="*/ 11 h 14"/>
                <a:gd name="T14" fmla="*/ 6 w 7"/>
                <a:gd name="T15" fmla="*/ 11 h 14"/>
                <a:gd name="T16" fmla="*/ 5 w 7"/>
                <a:gd name="T17" fmla="*/ 12 h 14"/>
                <a:gd name="T18" fmla="*/ 5 w 7"/>
                <a:gd name="T19" fmla="*/ 13 h 14"/>
                <a:gd name="T20" fmla="*/ 5 w 7"/>
                <a:gd name="T21" fmla="*/ 14 h 14"/>
                <a:gd name="T22" fmla="*/ 4 w 7"/>
                <a:gd name="T23" fmla="*/ 14 h 14"/>
                <a:gd name="T24" fmla="*/ 4 w 7"/>
                <a:gd name="T25" fmla="*/ 14 h 14"/>
                <a:gd name="T26" fmla="*/ 4 w 7"/>
                <a:gd name="T27" fmla="*/ 14 h 14"/>
                <a:gd name="T28" fmla="*/ 4 w 7"/>
                <a:gd name="T29" fmla="*/ 14 h 14"/>
                <a:gd name="T30" fmla="*/ 4 w 7"/>
                <a:gd name="T31" fmla="*/ 14 h 14"/>
                <a:gd name="T32" fmla="*/ 4 w 7"/>
                <a:gd name="T33" fmla="*/ 14 h 14"/>
                <a:gd name="T34" fmla="*/ 4 w 7"/>
                <a:gd name="T35" fmla="*/ 14 h 14"/>
                <a:gd name="T36" fmla="*/ 3 w 7"/>
                <a:gd name="T37" fmla="*/ 14 h 14"/>
                <a:gd name="T38" fmla="*/ 3 w 7"/>
                <a:gd name="T39" fmla="*/ 14 h 14"/>
                <a:gd name="T40" fmla="*/ 3 w 7"/>
                <a:gd name="T41" fmla="*/ 14 h 14"/>
                <a:gd name="T42" fmla="*/ 1 w 7"/>
                <a:gd name="T43" fmla="*/ 12 h 14"/>
                <a:gd name="T44" fmla="*/ 0 w 7"/>
                <a:gd name="T45" fmla="*/ 11 h 14"/>
                <a:gd name="T46" fmla="*/ 0 w 7"/>
                <a:gd name="T47" fmla="*/ 7 h 14"/>
                <a:gd name="T48" fmla="*/ 1 w 7"/>
                <a:gd name="T49" fmla="*/ 3 h 14"/>
                <a:gd name="T50" fmla="*/ 0 w 7"/>
                <a:gd name="T51" fmla="*/ 1 h 14"/>
                <a:gd name="T52" fmla="*/ 2 w 7"/>
                <a:gd name="T53" fmla="*/ 0 h 14"/>
                <a:gd name="T54" fmla="*/ 2 w 7"/>
                <a:gd name="T55" fmla="*/ 0 h 14"/>
                <a:gd name="T56" fmla="*/ 2 w 7"/>
                <a:gd name="T57" fmla="*/ 0 h 14"/>
                <a:gd name="T58" fmla="*/ 3 w 7"/>
                <a:gd name="T59" fmla="*/ 0 h 14"/>
                <a:gd name="T60" fmla="*/ 3 w 7"/>
                <a:gd name="T61" fmla="*/ 0 h 14"/>
                <a:gd name="T62" fmla="*/ 4 w 7"/>
                <a:gd name="T63" fmla="*/ 0 h 14"/>
                <a:gd name="T64" fmla="*/ 4 w 7"/>
                <a:gd name="T65" fmla="*/ 0 h 14"/>
                <a:gd name="T66" fmla="*/ 5 w 7"/>
                <a:gd name="T67" fmla="*/ 0 h 14"/>
                <a:gd name="T68" fmla="*/ 5 w 7"/>
                <a:gd name="T69" fmla="*/ 0 h 14"/>
                <a:gd name="T70" fmla="*/ 5 w 7"/>
                <a:gd name="T71" fmla="*/ 1 h 14"/>
                <a:gd name="T72" fmla="*/ 6 w 7"/>
                <a:gd name="T73" fmla="*/ 2 h 14"/>
                <a:gd name="T74" fmla="*/ 6 w 7"/>
                <a:gd name="T75" fmla="*/ 4 h 14"/>
                <a:gd name="T76" fmla="*/ 7 w 7"/>
                <a:gd name="T77" fmla="*/ 4 h 14"/>
                <a:gd name="T78" fmla="*/ 7 w 7"/>
                <a:gd name="T79" fmla="*/ 4 h 14"/>
                <a:gd name="T80" fmla="*/ 7 w 7"/>
                <a:gd name="T81" fmla="*/ 6 h 14"/>
                <a:gd name="T82" fmla="*/ 7 w 7"/>
                <a:gd name="T83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" h="14">
                  <a:moveTo>
                    <a:pt x="7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6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6" y="12"/>
                    <a:pt x="5" y="12"/>
                  </a:cubicBezTo>
                  <a:cubicBezTo>
                    <a:pt x="5" y="12"/>
                    <a:pt x="5" y="12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3"/>
                    <a:pt x="2" y="13"/>
                    <a:pt x="1" y="12"/>
                  </a:cubicBezTo>
                  <a:cubicBezTo>
                    <a:pt x="1" y="12"/>
                    <a:pt x="0" y="12"/>
                    <a:pt x="0" y="11"/>
                  </a:cubicBezTo>
                  <a:cubicBezTo>
                    <a:pt x="0" y="10"/>
                    <a:pt x="0" y="9"/>
                    <a:pt x="0" y="7"/>
                  </a:cubicBezTo>
                  <a:cubicBezTo>
                    <a:pt x="0" y="6"/>
                    <a:pt x="0" y="5"/>
                    <a:pt x="1" y="3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6"/>
                  </a:cubicBezTo>
                  <a:cubicBezTo>
                    <a:pt x="7" y="7"/>
                    <a:pt x="7" y="7"/>
                    <a:pt x="7" y="8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1" name="íṡľíďè">
              <a:extLst>
                <a:ext uri="{FF2B5EF4-FFF2-40B4-BE49-F238E27FC236}">
                  <a16:creationId xmlns:a16="http://schemas.microsoft.com/office/drawing/2014/main" id="{5B0105C2-4BE5-4BE7-819D-B5EA3F0407B6}"/>
                </a:ext>
              </a:extLst>
            </p:cNvPr>
            <p:cNvSpPr/>
            <p:nvPr/>
          </p:nvSpPr>
          <p:spPr bwMode="auto">
            <a:xfrm>
              <a:off x="7719628" y="5102485"/>
              <a:ext cx="2960" cy="0"/>
            </a:xfrm>
            <a:custGeom>
              <a:avLst/>
              <a:gdLst>
                <a:gd name="T0" fmla="*/ 1 w 1"/>
                <a:gd name="T1" fmla="*/ 1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2" name="îšḷíḓe">
              <a:extLst>
                <a:ext uri="{FF2B5EF4-FFF2-40B4-BE49-F238E27FC236}">
                  <a16:creationId xmlns:a16="http://schemas.microsoft.com/office/drawing/2014/main" id="{43EAE1E4-8768-4450-AA93-8A0A298EFABD}"/>
                </a:ext>
              </a:extLst>
            </p:cNvPr>
            <p:cNvSpPr/>
            <p:nvPr/>
          </p:nvSpPr>
          <p:spPr bwMode="auto">
            <a:xfrm>
              <a:off x="7688547" y="5041802"/>
              <a:ext cx="62163" cy="79923"/>
            </a:xfrm>
            <a:custGeom>
              <a:avLst/>
              <a:gdLst>
                <a:gd name="T0" fmla="*/ 13 w 20"/>
                <a:gd name="T1" fmla="*/ 0 h 26"/>
                <a:gd name="T2" fmla="*/ 7 w 20"/>
                <a:gd name="T3" fmla="*/ 1 h 26"/>
                <a:gd name="T4" fmla="*/ 3 w 20"/>
                <a:gd name="T5" fmla="*/ 4 h 26"/>
                <a:gd name="T6" fmla="*/ 0 w 20"/>
                <a:gd name="T7" fmla="*/ 8 h 26"/>
                <a:gd name="T8" fmla="*/ 2 w 20"/>
                <a:gd name="T9" fmla="*/ 10 h 26"/>
                <a:gd name="T10" fmla="*/ 4 w 20"/>
                <a:gd name="T11" fmla="*/ 9 h 26"/>
                <a:gd name="T12" fmla="*/ 2 w 20"/>
                <a:gd name="T13" fmla="*/ 17 h 26"/>
                <a:gd name="T14" fmla="*/ 9 w 20"/>
                <a:gd name="T15" fmla="*/ 25 h 26"/>
                <a:gd name="T16" fmla="*/ 17 w 20"/>
                <a:gd name="T17" fmla="*/ 21 h 26"/>
                <a:gd name="T18" fmla="*/ 13 w 20"/>
                <a:gd name="T1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6">
                  <a:moveTo>
                    <a:pt x="13" y="0"/>
                  </a:moveTo>
                  <a:cubicBezTo>
                    <a:pt x="11" y="0"/>
                    <a:pt x="8" y="0"/>
                    <a:pt x="7" y="1"/>
                  </a:cubicBezTo>
                  <a:cubicBezTo>
                    <a:pt x="5" y="2"/>
                    <a:pt x="4" y="3"/>
                    <a:pt x="3" y="4"/>
                  </a:cubicBezTo>
                  <a:cubicBezTo>
                    <a:pt x="2" y="5"/>
                    <a:pt x="0" y="7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3" y="10"/>
                    <a:pt x="4" y="9"/>
                    <a:pt x="4" y="9"/>
                  </a:cubicBezTo>
                  <a:cubicBezTo>
                    <a:pt x="3" y="12"/>
                    <a:pt x="2" y="14"/>
                    <a:pt x="2" y="17"/>
                  </a:cubicBezTo>
                  <a:cubicBezTo>
                    <a:pt x="3" y="21"/>
                    <a:pt x="6" y="24"/>
                    <a:pt x="9" y="25"/>
                  </a:cubicBezTo>
                  <a:cubicBezTo>
                    <a:pt x="12" y="26"/>
                    <a:pt x="16" y="24"/>
                    <a:pt x="17" y="21"/>
                  </a:cubicBezTo>
                  <a:cubicBezTo>
                    <a:pt x="20" y="14"/>
                    <a:pt x="20" y="3"/>
                    <a:pt x="13" y="0"/>
                  </a:cubicBezTo>
                  <a:close/>
                </a:path>
              </a:pathLst>
            </a:custGeom>
            <a:solidFill>
              <a:srgbClr val="9FAD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3" name="í$1íḓé">
              <a:extLst>
                <a:ext uri="{FF2B5EF4-FFF2-40B4-BE49-F238E27FC236}">
                  <a16:creationId xmlns:a16="http://schemas.microsoft.com/office/drawing/2014/main" id="{28CE1428-8F5A-442D-94CA-63F10CD13AE0}"/>
                </a:ext>
              </a:extLst>
            </p:cNvPr>
            <p:cNvSpPr/>
            <p:nvPr/>
          </p:nvSpPr>
          <p:spPr bwMode="auto">
            <a:xfrm>
              <a:off x="7685587" y="4841994"/>
              <a:ext cx="28122" cy="42922"/>
            </a:xfrm>
            <a:custGeom>
              <a:avLst/>
              <a:gdLst>
                <a:gd name="T0" fmla="*/ 3 w 9"/>
                <a:gd name="T1" fmla="*/ 13 h 14"/>
                <a:gd name="T2" fmla="*/ 3 w 9"/>
                <a:gd name="T3" fmla="*/ 13 h 14"/>
                <a:gd name="T4" fmla="*/ 3 w 9"/>
                <a:gd name="T5" fmla="*/ 13 h 14"/>
                <a:gd name="T6" fmla="*/ 1 w 9"/>
                <a:gd name="T7" fmla="*/ 10 h 14"/>
                <a:gd name="T8" fmla="*/ 1 w 9"/>
                <a:gd name="T9" fmla="*/ 4 h 14"/>
                <a:gd name="T10" fmla="*/ 4 w 9"/>
                <a:gd name="T11" fmla="*/ 0 h 14"/>
                <a:gd name="T12" fmla="*/ 4 w 9"/>
                <a:gd name="T13" fmla="*/ 1 h 14"/>
                <a:gd name="T14" fmla="*/ 8 w 9"/>
                <a:gd name="T15" fmla="*/ 5 h 14"/>
                <a:gd name="T16" fmla="*/ 9 w 9"/>
                <a:gd name="T17" fmla="*/ 7 h 14"/>
                <a:gd name="T18" fmla="*/ 6 w 9"/>
                <a:gd name="T19" fmla="*/ 13 h 14"/>
                <a:gd name="T20" fmla="*/ 5 w 9"/>
                <a:gd name="T21" fmla="*/ 13 h 14"/>
                <a:gd name="T22" fmla="*/ 5 w 9"/>
                <a:gd name="T23" fmla="*/ 14 h 14"/>
                <a:gd name="T24" fmla="*/ 4 w 9"/>
                <a:gd name="T25" fmla="*/ 14 h 14"/>
                <a:gd name="T26" fmla="*/ 4 w 9"/>
                <a:gd name="T27" fmla="*/ 13 h 14"/>
                <a:gd name="T28" fmla="*/ 4 w 9"/>
                <a:gd name="T29" fmla="*/ 13 h 14"/>
                <a:gd name="T30" fmla="*/ 3 w 9"/>
                <a:gd name="T31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" h="14">
                  <a:moveTo>
                    <a:pt x="3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2"/>
                    <a:pt x="2" y="11"/>
                    <a:pt x="1" y="10"/>
                  </a:cubicBezTo>
                  <a:cubicBezTo>
                    <a:pt x="0" y="8"/>
                    <a:pt x="1" y="6"/>
                    <a:pt x="1" y="4"/>
                  </a:cubicBezTo>
                  <a:cubicBezTo>
                    <a:pt x="2" y="2"/>
                    <a:pt x="3" y="1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3"/>
                    <a:pt x="7" y="3"/>
                    <a:pt x="8" y="5"/>
                  </a:cubicBezTo>
                  <a:cubicBezTo>
                    <a:pt x="8" y="5"/>
                    <a:pt x="9" y="6"/>
                    <a:pt x="9" y="7"/>
                  </a:cubicBezTo>
                  <a:cubicBezTo>
                    <a:pt x="9" y="10"/>
                    <a:pt x="8" y="12"/>
                    <a:pt x="6" y="13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3"/>
                    <a:pt x="5" y="14"/>
                    <a:pt x="4" y="14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4" y="13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4" name="ïśľïḓé">
              <a:extLst>
                <a:ext uri="{FF2B5EF4-FFF2-40B4-BE49-F238E27FC236}">
                  <a16:creationId xmlns:a16="http://schemas.microsoft.com/office/drawing/2014/main" id="{4B1F73D6-4679-44D3-934E-BB72711D9E46}"/>
                </a:ext>
              </a:extLst>
            </p:cNvPr>
            <p:cNvSpPr/>
            <p:nvPr/>
          </p:nvSpPr>
          <p:spPr bwMode="auto">
            <a:xfrm>
              <a:off x="7670787" y="4825713"/>
              <a:ext cx="57723" cy="79923"/>
            </a:xfrm>
            <a:custGeom>
              <a:avLst/>
              <a:gdLst>
                <a:gd name="T0" fmla="*/ 13 w 19"/>
                <a:gd name="T1" fmla="*/ 23 h 26"/>
                <a:gd name="T2" fmla="*/ 19 w 19"/>
                <a:gd name="T3" fmla="*/ 13 h 26"/>
                <a:gd name="T4" fmla="*/ 11 w 19"/>
                <a:gd name="T5" fmla="*/ 3 h 26"/>
                <a:gd name="T6" fmla="*/ 11 w 19"/>
                <a:gd name="T7" fmla="*/ 3 h 26"/>
                <a:gd name="T8" fmla="*/ 9 w 19"/>
                <a:gd name="T9" fmla="*/ 0 h 26"/>
                <a:gd name="T10" fmla="*/ 2 w 19"/>
                <a:gd name="T11" fmla="*/ 6 h 26"/>
                <a:gd name="T12" fmla="*/ 1 w 19"/>
                <a:gd name="T13" fmla="*/ 16 h 26"/>
                <a:gd name="T14" fmla="*/ 13 w 19"/>
                <a:gd name="T15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6">
                  <a:moveTo>
                    <a:pt x="13" y="23"/>
                  </a:moveTo>
                  <a:cubicBezTo>
                    <a:pt x="17" y="22"/>
                    <a:pt x="19" y="17"/>
                    <a:pt x="19" y="13"/>
                  </a:cubicBezTo>
                  <a:cubicBezTo>
                    <a:pt x="19" y="8"/>
                    <a:pt x="15" y="2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2"/>
                    <a:pt x="11" y="0"/>
                    <a:pt x="9" y="0"/>
                  </a:cubicBezTo>
                  <a:cubicBezTo>
                    <a:pt x="6" y="0"/>
                    <a:pt x="3" y="3"/>
                    <a:pt x="2" y="6"/>
                  </a:cubicBezTo>
                  <a:cubicBezTo>
                    <a:pt x="0" y="9"/>
                    <a:pt x="0" y="13"/>
                    <a:pt x="1" y="16"/>
                  </a:cubicBezTo>
                  <a:cubicBezTo>
                    <a:pt x="2" y="21"/>
                    <a:pt x="7" y="26"/>
                    <a:pt x="13" y="23"/>
                  </a:cubicBezTo>
                  <a:close/>
                </a:path>
              </a:pathLst>
            </a:custGeom>
            <a:solidFill>
              <a:srgbClr val="FB52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5" name="iṣļidè">
              <a:extLst>
                <a:ext uri="{FF2B5EF4-FFF2-40B4-BE49-F238E27FC236}">
                  <a16:creationId xmlns:a16="http://schemas.microsoft.com/office/drawing/2014/main" id="{8F237CE9-A0BA-4AB8-970D-7169E82D61D7}"/>
                </a:ext>
              </a:extLst>
            </p:cNvPr>
            <p:cNvSpPr/>
            <p:nvPr/>
          </p:nvSpPr>
          <p:spPr bwMode="auto">
            <a:xfrm>
              <a:off x="7762551" y="4340252"/>
              <a:ext cx="68083" cy="68083"/>
            </a:xfrm>
            <a:custGeom>
              <a:avLst/>
              <a:gdLst>
                <a:gd name="T0" fmla="*/ 14 w 22"/>
                <a:gd name="T1" fmla="*/ 1 h 22"/>
                <a:gd name="T2" fmla="*/ 14 w 22"/>
                <a:gd name="T3" fmla="*/ 1 h 22"/>
                <a:gd name="T4" fmla="*/ 16 w 22"/>
                <a:gd name="T5" fmla="*/ 1 h 22"/>
                <a:gd name="T6" fmla="*/ 17 w 22"/>
                <a:gd name="T7" fmla="*/ 0 h 22"/>
                <a:gd name="T8" fmla="*/ 18 w 22"/>
                <a:gd name="T9" fmla="*/ 0 h 22"/>
                <a:gd name="T10" fmla="*/ 18 w 22"/>
                <a:gd name="T11" fmla="*/ 0 h 22"/>
                <a:gd name="T12" fmla="*/ 18 w 22"/>
                <a:gd name="T13" fmla="*/ 0 h 22"/>
                <a:gd name="T14" fmla="*/ 18 w 22"/>
                <a:gd name="T15" fmla="*/ 0 h 22"/>
                <a:gd name="T16" fmla="*/ 19 w 22"/>
                <a:gd name="T17" fmla="*/ 1 h 22"/>
                <a:gd name="T18" fmla="*/ 19 w 22"/>
                <a:gd name="T19" fmla="*/ 1 h 22"/>
                <a:gd name="T20" fmla="*/ 20 w 22"/>
                <a:gd name="T21" fmla="*/ 1 h 22"/>
                <a:gd name="T22" fmla="*/ 20 w 22"/>
                <a:gd name="T23" fmla="*/ 1 h 22"/>
                <a:gd name="T24" fmla="*/ 21 w 22"/>
                <a:gd name="T25" fmla="*/ 2 h 22"/>
                <a:gd name="T26" fmla="*/ 21 w 22"/>
                <a:gd name="T27" fmla="*/ 2 h 22"/>
                <a:gd name="T28" fmla="*/ 21 w 22"/>
                <a:gd name="T29" fmla="*/ 3 h 22"/>
                <a:gd name="T30" fmla="*/ 21 w 22"/>
                <a:gd name="T31" fmla="*/ 4 h 22"/>
                <a:gd name="T32" fmla="*/ 22 w 22"/>
                <a:gd name="T33" fmla="*/ 5 h 22"/>
                <a:gd name="T34" fmla="*/ 22 w 22"/>
                <a:gd name="T35" fmla="*/ 6 h 22"/>
                <a:gd name="T36" fmla="*/ 21 w 22"/>
                <a:gd name="T37" fmla="*/ 9 h 22"/>
                <a:gd name="T38" fmla="*/ 21 w 22"/>
                <a:gd name="T39" fmla="*/ 9 h 22"/>
                <a:gd name="T40" fmla="*/ 21 w 22"/>
                <a:gd name="T41" fmla="*/ 9 h 22"/>
                <a:gd name="T42" fmla="*/ 21 w 22"/>
                <a:gd name="T43" fmla="*/ 10 h 22"/>
                <a:gd name="T44" fmla="*/ 20 w 22"/>
                <a:gd name="T45" fmla="*/ 13 h 22"/>
                <a:gd name="T46" fmla="*/ 20 w 22"/>
                <a:gd name="T47" fmla="*/ 14 h 22"/>
                <a:gd name="T48" fmla="*/ 20 w 22"/>
                <a:gd name="T49" fmla="*/ 15 h 22"/>
                <a:gd name="T50" fmla="*/ 18 w 22"/>
                <a:gd name="T51" fmla="*/ 17 h 22"/>
                <a:gd name="T52" fmla="*/ 18 w 22"/>
                <a:gd name="T53" fmla="*/ 18 h 22"/>
                <a:gd name="T54" fmla="*/ 17 w 22"/>
                <a:gd name="T55" fmla="*/ 19 h 22"/>
                <a:gd name="T56" fmla="*/ 16 w 22"/>
                <a:gd name="T57" fmla="*/ 20 h 22"/>
                <a:gd name="T58" fmla="*/ 16 w 22"/>
                <a:gd name="T59" fmla="*/ 20 h 22"/>
                <a:gd name="T60" fmla="*/ 15 w 22"/>
                <a:gd name="T61" fmla="*/ 20 h 22"/>
                <a:gd name="T62" fmla="*/ 15 w 22"/>
                <a:gd name="T63" fmla="*/ 20 h 22"/>
                <a:gd name="T64" fmla="*/ 14 w 22"/>
                <a:gd name="T65" fmla="*/ 21 h 22"/>
                <a:gd name="T66" fmla="*/ 13 w 22"/>
                <a:gd name="T67" fmla="*/ 22 h 22"/>
                <a:gd name="T68" fmla="*/ 13 w 22"/>
                <a:gd name="T69" fmla="*/ 22 h 22"/>
                <a:gd name="T70" fmla="*/ 11 w 22"/>
                <a:gd name="T71" fmla="*/ 22 h 22"/>
                <a:gd name="T72" fmla="*/ 11 w 22"/>
                <a:gd name="T73" fmla="*/ 22 h 22"/>
                <a:gd name="T74" fmla="*/ 11 w 22"/>
                <a:gd name="T75" fmla="*/ 22 h 22"/>
                <a:gd name="T76" fmla="*/ 10 w 22"/>
                <a:gd name="T77" fmla="*/ 22 h 22"/>
                <a:gd name="T78" fmla="*/ 9 w 22"/>
                <a:gd name="T79" fmla="*/ 22 h 22"/>
                <a:gd name="T80" fmla="*/ 9 w 22"/>
                <a:gd name="T81" fmla="*/ 22 h 22"/>
                <a:gd name="T82" fmla="*/ 9 w 22"/>
                <a:gd name="T83" fmla="*/ 22 h 22"/>
                <a:gd name="T84" fmla="*/ 7 w 22"/>
                <a:gd name="T85" fmla="*/ 22 h 22"/>
                <a:gd name="T86" fmla="*/ 7 w 22"/>
                <a:gd name="T87" fmla="*/ 21 h 22"/>
                <a:gd name="T88" fmla="*/ 6 w 22"/>
                <a:gd name="T89" fmla="*/ 21 h 22"/>
                <a:gd name="T90" fmla="*/ 3 w 22"/>
                <a:gd name="T91" fmla="*/ 19 h 22"/>
                <a:gd name="T92" fmla="*/ 1 w 22"/>
                <a:gd name="T93" fmla="*/ 9 h 22"/>
                <a:gd name="T94" fmla="*/ 4 w 22"/>
                <a:gd name="T95" fmla="*/ 2 h 22"/>
                <a:gd name="T96" fmla="*/ 6 w 22"/>
                <a:gd name="T97" fmla="*/ 0 h 22"/>
                <a:gd name="T98" fmla="*/ 6 w 22"/>
                <a:gd name="T99" fmla="*/ 1 h 22"/>
                <a:gd name="T100" fmla="*/ 7 w 22"/>
                <a:gd name="T101" fmla="*/ 3 h 22"/>
                <a:gd name="T102" fmla="*/ 11 w 22"/>
                <a:gd name="T103" fmla="*/ 2 h 22"/>
                <a:gd name="T104" fmla="*/ 14 w 22"/>
                <a:gd name="T10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" h="22">
                  <a:moveTo>
                    <a:pt x="14" y="1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15" y="1"/>
                    <a:pt x="15" y="1"/>
                    <a:pt x="16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19" y="0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5"/>
                    <a:pt x="21" y="5"/>
                    <a:pt x="22" y="5"/>
                  </a:cubicBezTo>
                  <a:cubicBezTo>
                    <a:pt x="22" y="5"/>
                    <a:pt x="22" y="6"/>
                    <a:pt x="22" y="6"/>
                  </a:cubicBezTo>
                  <a:cubicBezTo>
                    <a:pt x="22" y="7"/>
                    <a:pt x="22" y="8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1"/>
                    <a:pt x="21" y="12"/>
                    <a:pt x="20" y="13"/>
                  </a:cubicBezTo>
                  <a:cubicBezTo>
                    <a:pt x="20" y="13"/>
                    <a:pt x="20" y="14"/>
                    <a:pt x="20" y="14"/>
                  </a:cubicBezTo>
                  <a:cubicBezTo>
                    <a:pt x="20" y="14"/>
                    <a:pt x="20" y="15"/>
                    <a:pt x="20" y="15"/>
                  </a:cubicBezTo>
                  <a:cubicBezTo>
                    <a:pt x="19" y="16"/>
                    <a:pt x="19" y="17"/>
                    <a:pt x="18" y="1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4" y="21"/>
                    <a:pt x="14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2" y="22"/>
                    <a:pt x="12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0" y="22"/>
                    <a:pt x="10" y="22"/>
                  </a:cubicBezTo>
                  <a:cubicBezTo>
                    <a:pt x="10" y="22"/>
                    <a:pt x="10" y="22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0"/>
                    <a:pt x="4" y="20"/>
                    <a:pt x="3" y="19"/>
                  </a:cubicBezTo>
                  <a:cubicBezTo>
                    <a:pt x="1" y="16"/>
                    <a:pt x="0" y="12"/>
                    <a:pt x="1" y="9"/>
                  </a:cubicBezTo>
                  <a:cubicBezTo>
                    <a:pt x="2" y="7"/>
                    <a:pt x="3" y="4"/>
                    <a:pt x="4" y="2"/>
                  </a:cubicBezTo>
                  <a:cubicBezTo>
                    <a:pt x="5" y="2"/>
                    <a:pt x="5" y="1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7" y="3"/>
                    <a:pt x="7" y="3"/>
                  </a:cubicBezTo>
                  <a:cubicBezTo>
                    <a:pt x="8" y="4"/>
                    <a:pt x="10" y="3"/>
                    <a:pt x="11" y="2"/>
                  </a:cubicBezTo>
                  <a:cubicBezTo>
                    <a:pt x="12" y="2"/>
                    <a:pt x="13" y="1"/>
                    <a:pt x="14" y="1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6" name="ïṡlíḍê">
              <a:extLst>
                <a:ext uri="{FF2B5EF4-FFF2-40B4-BE49-F238E27FC236}">
                  <a16:creationId xmlns:a16="http://schemas.microsoft.com/office/drawing/2014/main" id="{582D4F56-EF08-4287-AED7-AC182D028A2C}"/>
                </a:ext>
              </a:extLst>
            </p:cNvPr>
            <p:cNvSpPr/>
            <p:nvPr/>
          </p:nvSpPr>
          <p:spPr bwMode="auto">
            <a:xfrm>
              <a:off x="7186806" y="5539103"/>
              <a:ext cx="82883" cy="74003"/>
            </a:xfrm>
            <a:custGeom>
              <a:avLst/>
              <a:gdLst>
                <a:gd name="T0" fmla="*/ 26 w 27"/>
                <a:gd name="T1" fmla="*/ 13 h 24"/>
                <a:gd name="T2" fmla="*/ 26 w 27"/>
                <a:gd name="T3" fmla="*/ 13 h 24"/>
                <a:gd name="T4" fmla="*/ 22 w 27"/>
                <a:gd name="T5" fmla="*/ 20 h 24"/>
                <a:gd name="T6" fmla="*/ 14 w 27"/>
                <a:gd name="T7" fmla="*/ 23 h 24"/>
                <a:gd name="T8" fmla="*/ 3 w 27"/>
                <a:gd name="T9" fmla="*/ 18 h 24"/>
                <a:gd name="T10" fmla="*/ 1 w 27"/>
                <a:gd name="T11" fmla="*/ 9 h 24"/>
                <a:gd name="T12" fmla="*/ 3 w 27"/>
                <a:gd name="T13" fmla="*/ 5 h 24"/>
                <a:gd name="T14" fmla="*/ 8 w 27"/>
                <a:gd name="T15" fmla="*/ 4 h 24"/>
                <a:gd name="T16" fmla="*/ 10 w 27"/>
                <a:gd name="T17" fmla="*/ 1 h 24"/>
                <a:gd name="T18" fmla="*/ 10 w 27"/>
                <a:gd name="T19" fmla="*/ 0 h 24"/>
                <a:gd name="T20" fmla="*/ 17 w 27"/>
                <a:gd name="T21" fmla="*/ 0 h 24"/>
                <a:gd name="T22" fmla="*/ 22 w 27"/>
                <a:gd name="T23" fmla="*/ 2 h 24"/>
                <a:gd name="T24" fmla="*/ 26 w 27"/>
                <a:gd name="T25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24">
                  <a:moveTo>
                    <a:pt x="26" y="13"/>
                  </a:moveTo>
                  <a:cubicBezTo>
                    <a:pt x="26" y="13"/>
                    <a:pt x="26" y="13"/>
                    <a:pt x="26" y="13"/>
                  </a:cubicBezTo>
                  <a:cubicBezTo>
                    <a:pt x="25" y="16"/>
                    <a:pt x="24" y="18"/>
                    <a:pt x="22" y="20"/>
                  </a:cubicBezTo>
                  <a:cubicBezTo>
                    <a:pt x="20" y="22"/>
                    <a:pt x="17" y="23"/>
                    <a:pt x="14" y="23"/>
                  </a:cubicBezTo>
                  <a:cubicBezTo>
                    <a:pt x="9" y="24"/>
                    <a:pt x="5" y="22"/>
                    <a:pt x="3" y="18"/>
                  </a:cubicBezTo>
                  <a:cubicBezTo>
                    <a:pt x="1" y="15"/>
                    <a:pt x="0" y="12"/>
                    <a:pt x="1" y="9"/>
                  </a:cubicBezTo>
                  <a:cubicBezTo>
                    <a:pt x="1" y="8"/>
                    <a:pt x="2" y="7"/>
                    <a:pt x="3" y="5"/>
                  </a:cubicBezTo>
                  <a:cubicBezTo>
                    <a:pt x="4" y="4"/>
                    <a:pt x="7" y="4"/>
                    <a:pt x="8" y="4"/>
                  </a:cubicBezTo>
                  <a:cubicBezTo>
                    <a:pt x="9" y="3"/>
                    <a:pt x="10" y="3"/>
                    <a:pt x="10" y="1"/>
                  </a:cubicBezTo>
                  <a:cubicBezTo>
                    <a:pt x="10" y="1"/>
                    <a:pt x="10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1"/>
                    <a:pt x="22" y="2"/>
                  </a:cubicBezTo>
                  <a:cubicBezTo>
                    <a:pt x="26" y="5"/>
                    <a:pt x="27" y="9"/>
                    <a:pt x="26" y="13"/>
                  </a:cubicBezTo>
                  <a:close/>
                </a:path>
              </a:pathLst>
            </a:custGeom>
            <a:solidFill>
              <a:srgbClr val="FEEB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7" name="ïṣľiḓê">
              <a:extLst>
                <a:ext uri="{FF2B5EF4-FFF2-40B4-BE49-F238E27FC236}">
                  <a16:creationId xmlns:a16="http://schemas.microsoft.com/office/drawing/2014/main" id="{B4869C88-1C70-4C34-BA4F-71746BDC2DF9}"/>
                </a:ext>
              </a:extLst>
            </p:cNvPr>
            <p:cNvSpPr/>
            <p:nvPr/>
          </p:nvSpPr>
          <p:spPr bwMode="auto">
            <a:xfrm>
              <a:off x="7172005" y="5516902"/>
              <a:ext cx="116925" cy="111005"/>
            </a:xfrm>
            <a:custGeom>
              <a:avLst/>
              <a:gdLst>
                <a:gd name="T0" fmla="*/ 11 w 38"/>
                <a:gd name="T1" fmla="*/ 5 h 36"/>
                <a:gd name="T2" fmla="*/ 11 w 38"/>
                <a:gd name="T3" fmla="*/ 7 h 36"/>
                <a:gd name="T4" fmla="*/ 2 w 38"/>
                <a:gd name="T5" fmla="*/ 15 h 36"/>
                <a:gd name="T6" fmla="*/ 4 w 38"/>
                <a:gd name="T7" fmla="*/ 29 h 36"/>
                <a:gd name="T8" fmla="*/ 18 w 38"/>
                <a:gd name="T9" fmla="*/ 36 h 36"/>
                <a:gd name="T10" fmla="*/ 34 w 38"/>
                <a:gd name="T11" fmla="*/ 26 h 36"/>
                <a:gd name="T12" fmla="*/ 32 w 38"/>
                <a:gd name="T13" fmla="*/ 7 h 36"/>
                <a:gd name="T14" fmla="*/ 11 w 38"/>
                <a:gd name="T15" fmla="*/ 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6">
                  <a:moveTo>
                    <a:pt x="11" y="5"/>
                  </a:moveTo>
                  <a:cubicBezTo>
                    <a:pt x="11" y="6"/>
                    <a:pt x="11" y="6"/>
                    <a:pt x="11" y="7"/>
                  </a:cubicBezTo>
                  <a:cubicBezTo>
                    <a:pt x="6" y="8"/>
                    <a:pt x="3" y="10"/>
                    <a:pt x="2" y="15"/>
                  </a:cubicBezTo>
                  <a:cubicBezTo>
                    <a:pt x="0" y="19"/>
                    <a:pt x="2" y="25"/>
                    <a:pt x="4" y="29"/>
                  </a:cubicBezTo>
                  <a:cubicBezTo>
                    <a:pt x="7" y="33"/>
                    <a:pt x="12" y="36"/>
                    <a:pt x="18" y="36"/>
                  </a:cubicBezTo>
                  <a:cubicBezTo>
                    <a:pt x="24" y="35"/>
                    <a:pt x="30" y="32"/>
                    <a:pt x="34" y="26"/>
                  </a:cubicBezTo>
                  <a:cubicBezTo>
                    <a:pt x="38" y="20"/>
                    <a:pt x="37" y="12"/>
                    <a:pt x="32" y="7"/>
                  </a:cubicBezTo>
                  <a:cubicBezTo>
                    <a:pt x="27" y="1"/>
                    <a:pt x="17" y="0"/>
                    <a:pt x="11" y="5"/>
                  </a:cubicBezTo>
                  <a:close/>
                </a:path>
              </a:pathLst>
            </a:custGeom>
            <a:solidFill>
              <a:srgbClr val="FEEB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8" name="îšļïḑe">
              <a:extLst>
                <a:ext uri="{FF2B5EF4-FFF2-40B4-BE49-F238E27FC236}">
                  <a16:creationId xmlns:a16="http://schemas.microsoft.com/office/drawing/2014/main" id="{7BCB70A1-95C6-44B8-9CEF-F42EFB6047CC}"/>
                </a:ext>
              </a:extLst>
            </p:cNvPr>
            <p:cNvSpPr/>
            <p:nvPr/>
          </p:nvSpPr>
          <p:spPr bwMode="auto">
            <a:xfrm>
              <a:off x="6568140" y="5713750"/>
              <a:ext cx="22201" cy="34042"/>
            </a:xfrm>
            <a:custGeom>
              <a:avLst/>
              <a:gdLst>
                <a:gd name="T0" fmla="*/ 6 w 7"/>
                <a:gd name="T1" fmla="*/ 10 h 11"/>
                <a:gd name="T2" fmla="*/ 6 w 7"/>
                <a:gd name="T3" fmla="*/ 10 h 11"/>
                <a:gd name="T4" fmla="*/ 1 w 7"/>
                <a:gd name="T5" fmla="*/ 10 h 11"/>
                <a:gd name="T6" fmla="*/ 1 w 7"/>
                <a:gd name="T7" fmla="*/ 10 h 11"/>
                <a:gd name="T8" fmla="*/ 0 w 7"/>
                <a:gd name="T9" fmla="*/ 10 h 11"/>
                <a:gd name="T10" fmla="*/ 0 w 7"/>
                <a:gd name="T11" fmla="*/ 9 h 11"/>
                <a:gd name="T12" fmla="*/ 2 w 7"/>
                <a:gd name="T13" fmla="*/ 2 h 11"/>
                <a:gd name="T14" fmla="*/ 2 w 7"/>
                <a:gd name="T15" fmla="*/ 0 h 11"/>
                <a:gd name="T16" fmla="*/ 6 w 7"/>
                <a:gd name="T17" fmla="*/ 4 h 11"/>
                <a:gd name="T18" fmla="*/ 7 w 7"/>
                <a:gd name="T19" fmla="*/ 7 h 11"/>
                <a:gd name="T20" fmla="*/ 6 w 7"/>
                <a:gd name="T2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11">
                  <a:moveTo>
                    <a:pt x="6" y="10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1"/>
                    <a:pt x="2" y="11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0" y="6"/>
                    <a:pt x="1" y="3"/>
                    <a:pt x="2" y="2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4" y="1"/>
                    <a:pt x="5" y="2"/>
                    <a:pt x="6" y="4"/>
                  </a:cubicBezTo>
                  <a:cubicBezTo>
                    <a:pt x="7" y="5"/>
                    <a:pt x="7" y="6"/>
                    <a:pt x="7" y="7"/>
                  </a:cubicBezTo>
                  <a:cubicBezTo>
                    <a:pt x="7" y="8"/>
                    <a:pt x="7" y="9"/>
                    <a:pt x="6" y="10"/>
                  </a:cubicBezTo>
                  <a:close/>
                </a:path>
              </a:pathLst>
            </a:custGeom>
            <a:solidFill>
              <a:srgbClr val="F752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9" name="íSḻiďè">
              <a:extLst>
                <a:ext uri="{FF2B5EF4-FFF2-40B4-BE49-F238E27FC236}">
                  <a16:creationId xmlns:a16="http://schemas.microsoft.com/office/drawing/2014/main" id="{4FF9E7D9-1CB4-47DE-AC04-1F756F769B05}"/>
                </a:ext>
              </a:extLst>
            </p:cNvPr>
            <p:cNvSpPr/>
            <p:nvPr/>
          </p:nvSpPr>
          <p:spPr bwMode="auto">
            <a:xfrm>
              <a:off x="6553339" y="5693029"/>
              <a:ext cx="54763" cy="71043"/>
            </a:xfrm>
            <a:custGeom>
              <a:avLst/>
              <a:gdLst>
                <a:gd name="T0" fmla="*/ 4 w 18"/>
                <a:gd name="T1" fmla="*/ 3 h 23"/>
                <a:gd name="T2" fmla="*/ 4 w 18"/>
                <a:gd name="T3" fmla="*/ 5 h 23"/>
                <a:gd name="T4" fmla="*/ 5 w 18"/>
                <a:gd name="T5" fmla="*/ 6 h 23"/>
                <a:gd name="T6" fmla="*/ 4 w 18"/>
                <a:gd name="T7" fmla="*/ 6 h 23"/>
                <a:gd name="T8" fmla="*/ 0 w 18"/>
                <a:gd name="T9" fmla="*/ 17 h 23"/>
                <a:gd name="T10" fmla="*/ 13 w 18"/>
                <a:gd name="T11" fmla="*/ 21 h 23"/>
                <a:gd name="T12" fmla="*/ 16 w 18"/>
                <a:gd name="T13" fmla="*/ 9 h 23"/>
                <a:gd name="T14" fmla="*/ 4 w 18"/>
                <a:gd name="T1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3">
                  <a:moveTo>
                    <a:pt x="4" y="3"/>
                  </a:moveTo>
                  <a:cubicBezTo>
                    <a:pt x="3" y="4"/>
                    <a:pt x="3" y="5"/>
                    <a:pt x="4" y="5"/>
                  </a:cubicBezTo>
                  <a:cubicBezTo>
                    <a:pt x="4" y="5"/>
                    <a:pt x="4" y="5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1" y="9"/>
                    <a:pt x="0" y="13"/>
                    <a:pt x="0" y="17"/>
                  </a:cubicBezTo>
                  <a:cubicBezTo>
                    <a:pt x="1" y="23"/>
                    <a:pt x="8" y="23"/>
                    <a:pt x="13" y="21"/>
                  </a:cubicBezTo>
                  <a:cubicBezTo>
                    <a:pt x="17" y="19"/>
                    <a:pt x="18" y="14"/>
                    <a:pt x="16" y="9"/>
                  </a:cubicBezTo>
                  <a:cubicBezTo>
                    <a:pt x="14" y="5"/>
                    <a:pt x="8" y="0"/>
                    <a:pt x="4" y="3"/>
                  </a:cubicBezTo>
                  <a:close/>
                </a:path>
              </a:pathLst>
            </a:custGeom>
            <a:solidFill>
              <a:srgbClr val="F752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0" name="ïṣļïḋè">
              <a:extLst>
                <a:ext uri="{FF2B5EF4-FFF2-40B4-BE49-F238E27FC236}">
                  <a16:creationId xmlns:a16="http://schemas.microsoft.com/office/drawing/2014/main" id="{55D65193-12B6-4F6B-9736-A01EC23937AA}"/>
                </a:ext>
              </a:extLst>
            </p:cNvPr>
            <p:cNvSpPr/>
            <p:nvPr/>
          </p:nvSpPr>
          <p:spPr bwMode="auto">
            <a:xfrm>
              <a:off x="5070317" y="2650021"/>
              <a:ext cx="267892" cy="227930"/>
            </a:xfrm>
            <a:custGeom>
              <a:avLst/>
              <a:gdLst>
                <a:gd name="T0" fmla="*/ 86 w 87"/>
                <a:gd name="T1" fmla="*/ 19 h 74"/>
                <a:gd name="T2" fmla="*/ 82 w 87"/>
                <a:gd name="T3" fmla="*/ 18 h 74"/>
                <a:gd name="T4" fmla="*/ 78 w 87"/>
                <a:gd name="T5" fmla="*/ 15 h 74"/>
                <a:gd name="T6" fmla="*/ 71 w 87"/>
                <a:gd name="T7" fmla="*/ 11 h 74"/>
                <a:gd name="T8" fmla="*/ 58 w 87"/>
                <a:gd name="T9" fmla="*/ 4 h 74"/>
                <a:gd name="T10" fmla="*/ 37 w 87"/>
                <a:gd name="T11" fmla="*/ 0 h 74"/>
                <a:gd name="T12" fmla="*/ 18 w 87"/>
                <a:gd name="T13" fmla="*/ 7 h 74"/>
                <a:gd name="T14" fmla="*/ 5 w 87"/>
                <a:gd name="T15" fmla="*/ 29 h 74"/>
                <a:gd name="T16" fmla="*/ 8 w 87"/>
                <a:gd name="T17" fmla="*/ 70 h 74"/>
                <a:gd name="T18" fmla="*/ 10 w 87"/>
                <a:gd name="T19" fmla="*/ 70 h 74"/>
                <a:gd name="T20" fmla="*/ 10 w 87"/>
                <a:gd name="T21" fmla="*/ 73 h 74"/>
                <a:gd name="T22" fmla="*/ 18 w 87"/>
                <a:gd name="T23" fmla="*/ 74 h 74"/>
                <a:gd name="T24" fmla="*/ 25 w 87"/>
                <a:gd name="T25" fmla="*/ 73 h 74"/>
                <a:gd name="T26" fmla="*/ 38 w 87"/>
                <a:gd name="T27" fmla="*/ 70 h 74"/>
                <a:gd name="T28" fmla="*/ 61 w 87"/>
                <a:gd name="T29" fmla="*/ 58 h 74"/>
                <a:gd name="T30" fmla="*/ 76 w 87"/>
                <a:gd name="T31" fmla="*/ 42 h 74"/>
                <a:gd name="T32" fmla="*/ 83 w 87"/>
                <a:gd name="T33" fmla="*/ 31 h 74"/>
                <a:gd name="T34" fmla="*/ 86 w 87"/>
                <a:gd name="T35" fmla="*/ 21 h 74"/>
                <a:gd name="T36" fmla="*/ 86 w 87"/>
                <a:gd name="T37" fmla="*/ 19 h 74"/>
                <a:gd name="T38" fmla="*/ 7 w 87"/>
                <a:gd name="T39" fmla="*/ 40 h 74"/>
                <a:gd name="T40" fmla="*/ 7 w 87"/>
                <a:gd name="T41" fmla="*/ 40 h 74"/>
                <a:gd name="T42" fmla="*/ 17 w 87"/>
                <a:gd name="T43" fmla="*/ 15 h 74"/>
                <a:gd name="T44" fmla="*/ 34 w 87"/>
                <a:gd name="T45" fmla="*/ 5 h 74"/>
                <a:gd name="T46" fmla="*/ 54 w 87"/>
                <a:gd name="T47" fmla="*/ 9 h 74"/>
                <a:gd name="T48" fmla="*/ 68 w 87"/>
                <a:gd name="T49" fmla="*/ 15 h 74"/>
                <a:gd name="T50" fmla="*/ 67 w 87"/>
                <a:gd name="T51" fmla="*/ 15 h 74"/>
                <a:gd name="T52" fmla="*/ 48 w 87"/>
                <a:gd name="T53" fmla="*/ 14 h 74"/>
                <a:gd name="T54" fmla="*/ 17 w 87"/>
                <a:gd name="T55" fmla="*/ 31 h 74"/>
                <a:gd name="T56" fmla="*/ 10 w 87"/>
                <a:gd name="T57" fmla="*/ 46 h 74"/>
                <a:gd name="T58" fmla="*/ 8 w 87"/>
                <a:gd name="T59" fmla="*/ 58 h 74"/>
                <a:gd name="T60" fmla="*/ 8 w 87"/>
                <a:gd name="T61" fmla="*/ 61 h 74"/>
                <a:gd name="T62" fmla="*/ 7 w 87"/>
                <a:gd name="T63" fmla="*/ 40 h 74"/>
                <a:gd name="T64" fmla="*/ 72 w 87"/>
                <a:gd name="T65" fmla="*/ 38 h 74"/>
                <a:gd name="T66" fmla="*/ 72 w 87"/>
                <a:gd name="T67" fmla="*/ 38 h 74"/>
                <a:gd name="T68" fmla="*/ 65 w 87"/>
                <a:gd name="T69" fmla="*/ 46 h 74"/>
                <a:gd name="T70" fmla="*/ 57 w 87"/>
                <a:gd name="T71" fmla="*/ 54 h 74"/>
                <a:gd name="T72" fmla="*/ 36 w 87"/>
                <a:gd name="T73" fmla="*/ 64 h 74"/>
                <a:gd name="T74" fmla="*/ 24 w 87"/>
                <a:gd name="T75" fmla="*/ 67 h 74"/>
                <a:gd name="T76" fmla="*/ 17 w 87"/>
                <a:gd name="T77" fmla="*/ 68 h 74"/>
                <a:gd name="T78" fmla="*/ 13 w 87"/>
                <a:gd name="T79" fmla="*/ 68 h 74"/>
                <a:gd name="T80" fmla="*/ 14 w 87"/>
                <a:gd name="T81" fmla="*/ 63 h 74"/>
                <a:gd name="T82" fmla="*/ 14 w 87"/>
                <a:gd name="T83" fmla="*/ 55 h 74"/>
                <a:gd name="T84" fmla="*/ 17 w 87"/>
                <a:gd name="T85" fmla="*/ 42 h 74"/>
                <a:gd name="T86" fmla="*/ 27 w 87"/>
                <a:gd name="T87" fmla="*/ 28 h 74"/>
                <a:gd name="T88" fmla="*/ 61 w 87"/>
                <a:gd name="T89" fmla="*/ 19 h 74"/>
                <a:gd name="T90" fmla="*/ 76 w 87"/>
                <a:gd name="T91" fmla="*/ 20 h 74"/>
                <a:gd name="T92" fmla="*/ 78 w 87"/>
                <a:gd name="T93" fmla="*/ 21 h 74"/>
                <a:gd name="T94" fmla="*/ 82 w 87"/>
                <a:gd name="T95" fmla="*/ 23 h 74"/>
                <a:gd name="T96" fmla="*/ 82 w 87"/>
                <a:gd name="T97" fmla="*/ 23 h 74"/>
                <a:gd name="T98" fmla="*/ 79 w 87"/>
                <a:gd name="T99" fmla="*/ 29 h 74"/>
                <a:gd name="T100" fmla="*/ 72 w 87"/>
                <a:gd name="T101" fmla="*/ 3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" h="74">
                  <a:moveTo>
                    <a:pt x="86" y="19"/>
                  </a:moveTo>
                  <a:cubicBezTo>
                    <a:pt x="85" y="18"/>
                    <a:pt x="83" y="18"/>
                    <a:pt x="82" y="18"/>
                  </a:cubicBezTo>
                  <a:cubicBezTo>
                    <a:pt x="81" y="16"/>
                    <a:pt x="79" y="15"/>
                    <a:pt x="78" y="15"/>
                  </a:cubicBezTo>
                  <a:cubicBezTo>
                    <a:pt x="76" y="13"/>
                    <a:pt x="73" y="12"/>
                    <a:pt x="71" y="11"/>
                  </a:cubicBezTo>
                  <a:cubicBezTo>
                    <a:pt x="67" y="8"/>
                    <a:pt x="63" y="6"/>
                    <a:pt x="58" y="4"/>
                  </a:cubicBezTo>
                  <a:cubicBezTo>
                    <a:pt x="51" y="1"/>
                    <a:pt x="44" y="0"/>
                    <a:pt x="37" y="0"/>
                  </a:cubicBezTo>
                  <a:cubicBezTo>
                    <a:pt x="29" y="0"/>
                    <a:pt x="23" y="2"/>
                    <a:pt x="18" y="7"/>
                  </a:cubicBezTo>
                  <a:cubicBezTo>
                    <a:pt x="11" y="12"/>
                    <a:pt x="7" y="21"/>
                    <a:pt x="5" y="29"/>
                  </a:cubicBezTo>
                  <a:cubicBezTo>
                    <a:pt x="0" y="42"/>
                    <a:pt x="2" y="57"/>
                    <a:pt x="8" y="70"/>
                  </a:cubicBezTo>
                  <a:cubicBezTo>
                    <a:pt x="9" y="70"/>
                    <a:pt x="9" y="70"/>
                    <a:pt x="10" y="70"/>
                  </a:cubicBezTo>
                  <a:cubicBezTo>
                    <a:pt x="9" y="71"/>
                    <a:pt x="10" y="72"/>
                    <a:pt x="10" y="73"/>
                  </a:cubicBezTo>
                  <a:cubicBezTo>
                    <a:pt x="13" y="74"/>
                    <a:pt x="15" y="74"/>
                    <a:pt x="18" y="74"/>
                  </a:cubicBezTo>
                  <a:cubicBezTo>
                    <a:pt x="20" y="73"/>
                    <a:pt x="23" y="73"/>
                    <a:pt x="25" y="73"/>
                  </a:cubicBezTo>
                  <a:cubicBezTo>
                    <a:pt x="30" y="72"/>
                    <a:pt x="34" y="71"/>
                    <a:pt x="38" y="70"/>
                  </a:cubicBezTo>
                  <a:cubicBezTo>
                    <a:pt x="45" y="67"/>
                    <a:pt x="54" y="63"/>
                    <a:pt x="61" y="58"/>
                  </a:cubicBezTo>
                  <a:cubicBezTo>
                    <a:pt x="67" y="54"/>
                    <a:pt x="72" y="47"/>
                    <a:pt x="76" y="42"/>
                  </a:cubicBezTo>
                  <a:cubicBezTo>
                    <a:pt x="79" y="38"/>
                    <a:pt x="81" y="35"/>
                    <a:pt x="83" y="31"/>
                  </a:cubicBezTo>
                  <a:cubicBezTo>
                    <a:pt x="85" y="28"/>
                    <a:pt x="86" y="25"/>
                    <a:pt x="86" y="21"/>
                  </a:cubicBezTo>
                  <a:cubicBezTo>
                    <a:pt x="87" y="21"/>
                    <a:pt x="87" y="19"/>
                    <a:pt x="86" y="19"/>
                  </a:cubicBezTo>
                  <a:close/>
                  <a:moveTo>
                    <a:pt x="7" y="40"/>
                  </a:moveTo>
                  <a:cubicBezTo>
                    <a:pt x="7" y="40"/>
                    <a:pt x="7" y="40"/>
                    <a:pt x="7" y="40"/>
                  </a:cubicBezTo>
                  <a:cubicBezTo>
                    <a:pt x="8" y="31"/>
                    <a:pt x="11" y="22"/>
                    <a:pt x="17" y="15"/>
                  </a:cubicBezTo>
                  <a:cubicBezTo>
                    <a:pt x="21" y="9"/>
                    <a:pt x="27" y="6"/>
                    <a:pt x="34" y="5"/>
                  </a:cubicBezTo>
                  <a:cubicBezTo>
                    <a:pt x="41" y="5"/>
                    <a:pt x="48" y="6"/>
                    <a:pt x="54" y="9"/>
                  </a:cubicBezTo>
                  <a:cubicBezTo>
                    <a:pt x="59" y="10"/>
                    <a:pt x="63" y="12"/>
                    <a:pt x="68" y="15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1" y="14"/>
                    <a:pt x="54" y="14"/>
                    <a:pt x="48" y="14"/>
                  </a:cubicBezTo>
                  <a:cubicBezTo>
                    <a:pt x="36" y="15"/>
                    <a:pt x="24" y="21"/>
                    <a:pt x="17" y="31"/>
                  </a:cubicBezTo>
                  <a:cubicBezTo>
                    <a:pt x="13" y="35"/>
                    <a:pt x="11" y="41"/>
                    <a:pt x="10" y="46"/>
                  </a:cubicBezTo>
                  <a:cubicBezTo>
                    <a:pt x="9" y="50"/>
                    <a:pt x="8" y="54"/>
                    <a:pt x="8" y="58"/>
                  </a:cubicBezTo>
                  <a:cubicBezTo>
                    <a:pt x="8" y="59"/>
                    <a:pt x="8" y="60"/>
                    <a:pt x="8" y="61"/>
                  </a:cubicBezTo>
                  <a:cubicBezTo>
                    <a:pt x="6" y="54"/>
                    <a:pt x="6" y="47"/>
                    <a:pt x="7" y="40"/>
                  </a:cubicBezTo>
                  <a:close/>
                  <a:moveTo>
                    <a:pt x="72" y="38"/>
                  </a:moveTo>
                  <a:cubicBezTo>
                    <a:pt x="72" y="38"/>
                    <a:pt x="72" y="38"/>
                    <a:pt x="72" y="38"/>
                  </a:cubicBezTo>
                  <a:cubicBezTo>
                    <a:pt x="70" y="41"/>
                    <a:pt x="68" y="44"/>
                    <a:pt x="65" y="46"/>
                  </a:cubicBezTo>
                  <a:cubicBezTo>
                    <a:pt x="62" y="49"/>
                    <a:pt x="60" y="52"/>
                    <a:pt x="57" y="54"/>
                  </a:cubicBezTo>
                  <a:cubicBezTo>
                    <a:pt x="51" y="58"/>
                    <a:pt x="43" y="62"/>
                    <a:pt x="36" y="64"/>
                  </a:cubicBezTo>
                  <a:cubicBezTo>
                    <a:pt x="32" y="66"/>
                    <a:pt x="28" y="67"/>
                    <a:pt x="24" y="67"/>
                  </a:cubicBezTo>
                  <a:cubicBezTo>
                    <a:pt x="22" y="67"/>
                    <a:pt x="20" y="68"/>
                    <a:pt x="17" y="68"/>
                  </a:cubicBezTo>
                  <a:cubicBezTo>
                    <a:pt x="16" y="68"/>
                    <a:pt x="14" y="68"/>
                    <a:pt x="13" y="68"/>
                  </a:cubicBezTo>
                  <a:cubicBezTo>
                    <a:pt x="14" y="67"/>
                    <a:pt x="14" y="65"/>
                    <a:pt x="14" y="63"/>
                  </a:cubicBezTo>
                  <a:cubicBezTo>
                    <a:pt x="14" y="60"/>
                    <a:pt x="14" y="57"/>
                    <a:pt x="14" y="55"/>
                  </a:cubicBezTo>
                  <a:cubicBezTo>
                    <a:pt x="15" y="50"/>
                    <a:pt x="16" y="46"/>
                    <a:pt x="17" y="42"/>
                  </a:cubicBezTo>
                  <a:cubicBezTo>
                    <a:pt x="19" y="36"/>
                    <a:pt x="22" y="31"/>
                    <a:pt x="27" y="28"/>
                  </a:cubicBezTo>
                  <a:cubicBezTo>
                    <a:pt x="37" y="20"/>
                    <a:pt x="49" y="19"/>
                    <a:pt x="61" y="19"/>
                  </a:cubicBezTo>
                  <a:cubicBezTo>
                    <a:pt x="66" y="19"/>
                    <a:pt x="71" y="20"/>
                    <a:pt x="76" y="20"/>
                  </a:cubicBezTo>
                  <a:cubicBezTo>
                    <a:pt x="77" y="21"/>
                    <a:pt x="77" y="21"/>
                    <a:pt x="78" y="21"/>
                  </a:cubicBezTo>
                  <a:cubicBezTo>
                    <a:pt x="79" y="22"/>
                    <a:pt x="80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1" y="25"/>
                    <a:pt x="81" y="27"/>
                    <a:pt x="79" y="29"/>
                  </a:cubicBezTo>
                  <a:cubicBezTo>
                    <a:pt x="77" y="32"/>
                    <a:pt x="75" y="35"/>
                    <a:pt x="72" y="3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1" name="îṣḷíḍè">
              <a:extLst>
                <a:ext uri="{FF2B5EF4-FFF2-40B4-BE49-F238E27FC236}">
                  <a16:creationId xmlns:a16="http://schemas.microsoft.com/office/drawing/2014/main" id="{AFDADF4E-4048-43B2-8B86-EF9951E886CE}"/>
                </a:ext>
              </a:extLst>
            </p:cNvPr>
            <p:cNvSpPr/>
            <p:nvPr/>
          </p:nvSpPr>
          <p:spPr bwMode="auto">
            <a:xfrm>
              <a:off x="5329328" y="2564177"/>
              <a:ext cx="75484" cy="99165"/>
            </a:xfrm>
            <a:custGeom>
              <a:avLst/>
              <a:gdLst>
                <a:gd name="T0" fmla="*/ 9 w 25"/>
                <a:gd name="T1" fmla="*/ 0 h 32"/>
                <a:gd name="T2" fmla="*/ 2 w 25"/>
                <a:gd name="T3" fmla="*/ 4 h 32"/>
                <a:gd name="T4" fmla="*/ 1 w 25"/>
                <a:gd name="T5" fmla="*/ 5 h 32"/>
                <a:gd name="T6" fmla="*/ 3 w 25"/>
                <a:gd name="T7" fmla="*/ 22 h 32"/>
                <a:gd name="T8" fmla="*/ 15 w 25"/>
                <a:gd name="T9" fmla="*/ 32 h 32"/>
                <a:gd name="T10" fmla="*/ 25 w 25"/>
                <a:gd name="T11" fmla="*/ 21 h 32"/>
                <a:gd name="T12" fmla="*/ 18 w 25"/>
                <a:gd name="T13" fmla="*/ 5 h 32"/>
                <a:gd name="T14" fmla="*/ 9 w 25"/>
                <a:gd name="T15" fmla="*/ 0 h 32"/>
                <a:gd name="T16" fmla="*/ 21 w 25"/>
                <a:gd name="T17" fmla="*/ 23 h 32"/>
                <a:gd name="T18" fmla="*/ 21 w 25"/>
                <a:gd name="T19" fmla="*/ 23 h 32"/>
                <a:gd name="T20" fmla="*/ 11 w 25"/>
                <a:gd name="T21" fmla="*/ 26 h 32"/>
                <a:gd name="T22" fmla="*/ 4 w 25"/>
                <a:gd name="T23" fmla="*/ 11 h 32"/>
                <a:gd name="T24" fmla="*/ 4 w 25"/>
                <a:gd name="T25" fmla="*/ 10 h 32"/>
                <a:gd name="T26" fmla="*/ 6 w 25"/>
                <a:gd name="T27" fmla="*/ 8 h 32"/>
                <a:gd name="T28" fmla="*/ 6 w 25"/>
                <a:gd name="T29" fmla="*/ 5 h 32"/>
                <a:gd name="T30" fmla="*/ 10 w 25"/>
                <a:gd name="T31" fmla="*/ 5 h 32"/>
                <a:gd name="T32" fmla="*/ 15 w 25"/>
                <a:gd name="T33" fmla="*/ 8 h 32"/>
                <a:gd name="T34" fmla="*/ 21 w 25"/>
                <a:gd name="T35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" h="32">
                  <a:moveTo>
                    <a:pt x="9" y="0"/>
                  </a:moveTo>
                  <a:cubicBezTo>
                    <a:pt x="6" y="0"/>
                    <a:pt x="3" y="2"/>
                    <a:pt x="2" y="4"/>
                  </a:cubicBezTo>
                  <a:cubicBezTo>
                    <a:pt x="2" y="4"/>
                    <a:pt x="1" y="5"/>
                    <a:pt x="1" y="5"/>
                  </a:cubicBezTo>
                  <a:cubicBezTo>
                    <a:pt x="0" y="10"/>
                    <a:pt x="1" y="17"/>
                    <a:pt x="3" y="22"/>
                  </a:cubicBezTo>
                  <a:cubicBezTo>
                    <a:pt x="6" y="27"/>
                    <a:pt x="10" y="32"/>
                    <a:pt x="15" y="32"/>
                  </a:cubicBezTo>
                  <a:cubicBezTo>
                    <a:pt x="22" y="32"/>
                    <a:pt x="25" y="27"/>
                    <a:pt x="25" y="21"/>
                  </a:cubicBezTo>
                  <a:cubicBezTo>
                    <a:pt x="25" y="15"/>
                    <a:pt x="22" y="9"/>
                    <a:pt x="18" y="5"/>
                  </a:cubicBezTo>
                  <a:cubicBezTo>
                    <a:pt x="16" y="2"/>
                    <a:pt x="12" y="1"/>
                    <a:pt x="9" y="0"/>
                  </a:cubicBezTo>
                  <a:close/>
                  <a:moveTo>
                    <a:pt x="21" y="23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0" y="27"/>
                    <a:pt x="14" y="29"/>
                    <a:pt x="11" y="26"/>
                  </a:cubicBezTo>
                  <a:cubicBezTo>
                    <a:pt x="7" y="23"/>
                    <a:pt x="5" y="17"/>
                    <a:pt x="4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6" y="9"/>
                    <a:pt x="6" y="8"/>
                  </a:cubicBezTo>
                  <a:cubicBezTo>
                    <a:pt x="6" y="7"/>
                    <a:pt x="6" y="6"/>
                    <a:pt x="6" y="5"/>
                  </a:cubicBezTo>
                  <a:cubicBezTo>
                    <a:pt x="7" y="4"/>
                    <a:pt x="9" y="4"/>
                    <a:pt x="10" y="5"/>
                  </a:cubicBezTo>
                  <a:cubicBezTo>
                    <a:pt x="12" y="5"/>
                    <a:pt x="13" y="6"/>
                    <a:pt x="15" y="8"/>
                  </a:cubicBezTo>
                  <a:cubicBezTo>
                    <a:pt x="19" y="12"/>
                    <a:pt x="21" y="18"/>
                    <a:pt x="21" y="2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2" name="ïSḷiḑe">
              <a:extLst>
                <a:ext uri="{FF2B5EF4-FFF2-40B4-BE49-F238E27FC236}">
                  <a16:creationId xmlns:a16="http://schemas.microsoft.com/office/drawing/2014/main" id="{6864C4EF-7206-4E63-ACAF-495FABDFF939}"/>
                </a:ext>
              </a:extLst>
            </p:cNvPr>
            <p:cNvSpPr/>
            <p:nvPr/>
          </p:nvSpPr>
          <p:spPr bwMode="auto">
            <a:xfrm>
              <a:off x="4753584" y="4868635"/>
              <a:ext cx="76963" cy="62163"/>
            </a:xfrm>
            <a:custGeom>
              <a:avLst/>
              <a:gdLst>
                <a:gd name="T0" fmla="*/ 2 w 25"/>
                <a:gd name="T1" fmla="*/ 6 h 20"/>
                <a:gd name="T2" fmla="*/ 2 w 25"/>
                <a:gd name="T3" fmla="*/ 17 h 20"/>
                <a:gd name="T4" fmla="*/ 4 w 25"/>
                <a:gd name="T5" fmla="*/ 19 h 20"/>
                <a:gd name="T6" fmla="*/ 20 w 25"/>
                <a:gd name="T7" fmla="*/ 18 h 20"/>
                <a:gd name="T8" fmla="*/ 24 w 25"/>
                <a:gd name="T9" fmla="*/ 8 h 20"/>
                <a:gd name="T10" fmla="*/ 18 w 25"/>
                <a:gd name="T11" fmla="*/ 1 h 20"/>
                <a:gd name="T12" fmla="*/ 5 w 25"/>
                <a:gd name="T13" fmla="*/ 4 h 20"/>
                <a:gd name="T14" fmla="*/ 2 w 25"/>
                <a:gd name="T15" fmla="*/ 6 h 20"/>
                <a:gd name="T16" fmla="*/ 17 w 25"/>
                <a:gd name="T17" fmla="*/ 6 h 20"/>
                <a:gd name="T18" fmla="*/ 17 w 25"/>
                <a:gd name="T19" fmla="*/ 6 h 20"/>
                <a:gd name="T20" fmla="*/ 17 w 25"/>
                <a:gd name="T21" fmla="*/ 6 h 20"/>
                <a:gd name="T22" fmla="*/ 17 w 25"/>
                <a:gd name="T23" fmla="*/ 6 h 20"/>
                <a:gd name="T24" fmla="*/ 18 w 25"/>
                <a:gd name="T25" fmla="*/ 6 h 20"/>
                <a:gd name="T26" fmla="*/ 18 w 25"/>
                <a:gd name="T27" fmla="*/ 6 h 20"/>
                <a:gd name="T28" fmla="*/ 18 w 25"/>
                <a:gd name="T29" fmla="*/ 6 h 20"/>
                <a:gd name="T30" fmla="*/ 18 w 25"/>
                <a:gd name="T31" fmla="*/ 6 h 20"/>
                <a:gd name="T32" fmla="*/ 19 w 25"/>
                <a:gd name="T33" fmla="*/ 7 h 20"/>
                <a:gd name="T34" fmla="*/ 19 w 25"/>
                <a:gd name="T35" fmla="*/ 7 h 20"/>
                <a:gd name="T36" fmla="*/ 19 w 25"/>
                <a:gd name="T37" fmla="*/ 7 h 20"/>
                <a:gd name="T38" fmla="*/ 20 w 25"/>
                <a:gd name="T39" fmla="*/ 8 h 20"/>
                <a:gd name="T40" fmla="*/ 20 w 25"/>
                <a:gd name="T41" fmla="*/ 8 h 20"/>
                <a:gd name="T42" fmla="*/ 20 w 25"/>
                <a:gd name="T43" fmla="*/ 8 h 20"/>
                <a:gd name="T44" fmla="*/ 20 w 25"/>
                <a:gd name="T45" fmla="*/ 9 h 20"/>
                <a:gd name="T46" fmla="*/ 20 w 25"/>
                <a:gd name="T47" fmla="*/ 9 h 20"/>
                <a:gd name="T48" fmla="*/ 20 w 25"/>
                <a:gd name="T49" fmla="*/ 9 h 20"/>
                <a:gd name="T50" fmla="*/ 20 w 25"/>
                <a:gd name="T51" fmla="*/ 10 h 20"/>
                <a:gd name="T52" fmla="*/ 20 w 25"/>
                <a:gd name="T53" fmla="*/ 10 h 20"/>
                <a:gd name="T54" fmla="*/ 20 w 25"/>
                <a:gd name="T55" fmla="*/ 10 h 20"/>
                <a:gd name="T56" fmla="*/ 20 w 25"/>
                <a:gd name="T57" fmla="*/ 11 h 20"/>
                <a:gd name="T58" fmla="*/ 20 w 25"/>
                <a:gd name="T59" fmla="*/ 11 h 20"/>
                <a:gd name="T60" fmla="*/ 20 w 25"/>
                <a:gd name="T61" fmla="*/ 11 h 20"/>
                <a:gd name="T62" fmla="*/ 19 w 25"/>
                <a:gd name="T63" fmla="*/ 11 h 20"/>
                <a:gd name="T64" fmla="*/ 19 w 25"/>
                <a:gd name="T65" fmla="*/ 12 h 20"/>
                <a:gd name="T66" fmla="*/ 19 w 25"/>
                <a:gd name="T67" fmla="*/ 12 h 20"/>
                <a:gd name="T68" fmla="*/ 19 w 25"/>
                <a:gd name="T69" fmla="*/ 12 h 20"/>
                <a:gd name="T70" fmla="*/ 18 w 25"/>
                <a:gd name="T71" fmla="*/ 13 h 20"/>
                <a:gd name="T72" fmla="*/ 17 w 25"/>
                <a:gd name="T73" fmla="*/ 14 h 20"/>
                <a:gd name="T74" fmla="*/ 17 w 25"/>
                <a:gd name="T75" fmla="*/ 14 h 20"/>
                <a:gd name="T76" fmla="*/ 14 w 25"/>
                <a:gd name="T77" fmla="*/ 15 h 20"/>
                <a:gd name="T78" fmla="*/ 6 w 25"/>
                <a:gd name="T79" fmla="*/ 15 h 20"/>
                <a:gd name="T80" fmla="*/ 6 w 25"/>
                <a:gd name="T81" fmla="*/ 10 h 20"/>
                <a:gd name="T82" fmla="*/ 6 w 25"/>
                <a:gd name="T83" fmla="*/ 9 h 20"/>
                <a:gd name="T84" fmla="*/ 6 w 25"/>
                <a:gd name="T85" fmla="*/ 9 h 20"/>
                <a:gd name="T86" fmla="*/ 13 w 25"/>
                <a:gd name="T87" fmla="*/ 5 h 20"/>
                <a:gd name="T88" fmla="*/ 17 w 25"/>
                <a:gd name="T89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" h="20">
                  <a:moveTo>
                    <a:pt x="2" y="6"/>
                  </a:moveTo>
                  <a:cubicBezTo>
                    <a:pt x="0" y="9"/>
                    <a:pt x="2" y="14"/>
                    <a:pt x="2" y="17"/>
                  </a:cubicBezTo>
                  <a:cubicBezTo>
                    <a:pt x="2" y="18"/>
                    <a:pt x="3" y="18"/>
                    <a:pt x="4" y="19"/>
                  </a:cubicBezTo>
                  <a:cubicBezTo>
                    <a:pt x="9" y="20"/>
                    <a:pt x="15" y="20"/>
                    <a:pt x="20" y="18"/>
                  </a:cubicBezTo>
                  <a:cubicBezTo>
                    <a:pt x="23" y="16"/>
                    <a:pt x="25" y="12"/>
                    <a:pt x="24" y="8"/>
                  </a:cubicBezTo>
                  <a:cubicBezTo>
                    <a:pt x="24" y="5"/>
                    <a:pt x="21" y="2"/>
                    <a:pt x="18" y="1"/>
                  </a:cubicBezTo>
                  <a:cubicBezTo>
                    <a:pt x="13" y="0"/>
                    <a:pt x="8" y="2"/>
                    <a:pt x="5" y="4"/>
                  </a:cubicBezTo>
                  <a:cubicBezTo>
                    <a:pt x="4" y="5"/>
                    <a:pt x="3" y="5"/>
                    <a:pt x="2" y="6"/>
                  </a:cubicBezTo>
                  <a:close/>
                  <a:moveTo>
                    <a:pt x="17" y="6"/>
                  </a:move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9" y="6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19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3"/>
                    <a:pt x="18" y="13"/>
                  </a:cubicBezTo>
                  <a:cubicBezTo>
                    <a:pt x="18" y="13"/>
                    <a:pt x="18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5"/>
                    <a:pt x="15" y="15"/>
                    <a:pt x="14" y="15"/>
                  </a:cubicBezTo>
                  <a:cubicBezTo>
                    <a:pt x="11" y="15"/>
                    <a:pt x="9" y="15"/>
                    <a:pt x="6" y="15"/>
                  </a:cubicBezTo>
                  <a:cubicBezTo>
                    <a:pt x="6" y="13"/>
                    <a:pt x="6" y="12"/>
                    <a:pt x="6" y="10"/>
                  </a:cubicBezTo>
                  <a:cubicBezTo>
                    <a:pt x="6" y="10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8"/>
                    <a:pt x="10" y="6"/>
                    <a:pt x="13" y="5"/>
                  </a:cubicBezTo>
                  <a:cubicBezTo>
                    <a:pt x="14" y="5"/>
                    <a:pt x="16" y="5"/>
                    <a:pt x="17" y="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3" name="işļîdê">
              <a:extLst>
                <a:ext uri="{FF2B5EF4-FFF2-40B4-BE49-F238E27FC236}">
                  <a16:creationId xmlns:a16="http://schemas.microsoft.com/office/drawing/2014/main" id="{C0A3BA63-AF65-41D0-98D4-0B596DA1FCA6}"/>
                </a:ext>
              </a:extLst>
            </p:cNvPr>
            <p:cNvSpPr/>
            <p:nvPr/>
          </p:nvSpPr>
          <p:spPr bwMode="auto">
            <a:xfrm>
              <a:off x="5672703" y="2812828"/>
              <a:ext cx="76963" cy="87324"/>
            </a:xfrm>
            <a:custGeom>
              <a:avLst/>
              <a:gdLst>
                <a:gd name="T0" fmla="*/ 16 w 25"/>
                <a:gd name="T1" fmla="*/ 2 h 28"/>
                <a:gd name="T2" fmla="*/ 12 w 25"/>
                <a:gd name="T3" fmla="*/ 2 h 28"/>
                <a:gd name="T4" fmla="*/ 9 w 25"/>
                <a:gd name="T5" fmla="*/ 0 h 28"/>
                <a:gd name="T6" fmla="*/ 1 w 25"/>
                <a:gd name="T7" fmla="*/ 10 h 28"/>
                <a:gd name="T8" fmla="*/ 4 w 25"/>
                <a:gd name="T9" fmla="*/ 22 h 28"/>
                <a:gd name="T10" fmla="*/ 15 w 25"/>
                <a:gd name="T11" fmla="*/ 25 h 28"/>
                <a:gd name="T12" fmla="*/ 23 w 25"/>
                <a:gd name="T13" fmla="*/ 7 h 28"/>
                <a:gd name="T14" fmla="*/ 16 w 25"/>
                <a:gd name="T15" fmla="*/ 2 h 28"/>
                <a:gd name="T16" fmla="*/ 18 w 25"/>
                <a:gd name="T17" fmla="*/ 11 h 28"/>
                <a:gd name="T18" fmla="*/ 18 w 25"/>
                <a:gd name="T19" fmla="*/ 11 h 28"/>
                <a:gd name="T20" fmla="*/ 18 w 25"/>
                <a:gd name="T21" fmla="*/ 11 h 28"/>
                <a:gd name="T22" fmla="*/ 18 w 25"/>
                <a:gd name="T23" fmla="*/ 12 h 28"/>
                <a:gd name="T24" fmla="*/ 17 w 25"/>
                <a:gd name="T25" fmla="*/ 13 h 28"/>
                <a:gd name="T26" fmla="*/ 17 w 25"/>
                <a:gd name="T27" fmla="*/ 14 h 28"/>
                <a:gd name="T28" fmla="*/ 17 w 25"/>
                <a:gd name="T29" fmla="*/ 14 h 28"/>
                <a:gd name="T30" fmla="*/ 17 w 25"/>
                <a:gd name="T31" fmla="*/ 15 h 28"/>
                <a:gd name="T32" fmla="*/ 16 w 25"/>
                <a:gd name="T33" fmla="*/ 17 h 28"/>
                <a:gd name="T34" fmla="*/ 15 w 25"/>
                <a:gd name="T35" fmla="*/ 18 h 28"/>
                <a:gd name="T36" fmla="*/ 14 w 25"/>
                <a:gd name="T37" fmla="*/ 18 h 28"/>
                <a:gd name="T38" fmla="*/ 14 w 25"/>
                <a:gd name="T39" fmla="*/ 19 h 28"/>
                <a:gd name="T40" fmla="*/ 13 w 25"/>
                <a:gd name="T41" fmla="*/ 20 h 28"/>
                <a:gd name="T42" fmla="*/ 13 w 25"/>
                <a:gd name="T43" fmla="*/ 20 h 28"/>
                <a:gd name="T44" fmla="*/ 12 w 25"/>
                <a:gd name="T45" fmla="*/ 20 h 28"/>
                <a:gd name="T46" fmla="*/ 12 w 25"/>
                <a:gd name="T47" fmla="*/ 20 h 28"/>
                <a:gd name="T48" fmla="*/ 12 w 25"/>
                <a:gd name="T49" fmla="*/ 20 h 28"/>
                <a:gd name="T50" fmla="*/ 11 w 25"/>
                <a:gd name="T51" fmla="*/ 21 h 28"/>
                <a:gd name="T52" fmla="*/ 11 w 25"/>
                <a:gd name="T53" fmla="*/ 21 h 28"/>
                <a:gd name="T54" fmla="*/ 10 w 25"/>
                <a:gd name="T55" fmla="*/ 20 h 28"/>
                <a:gd name="T56" fmla="*/ 10 w 25"/>
                <a:gd name="T57" fmla="*/ 20 h 28"/>
                <a:gd name="T58" fmla="*/ 10 w 25"/>
                <a:gd name="T59" fmla="*/ 20 h 28"/>
                <a:gd name="T60" fmla="*/ 9 w 25"/>
                <a:gd name="T61" fmla="*/ 20 h 28"/>
                <a:gd name="T62" fmla="*/ 9 w 25"/>
                <a:gd name="T63" fmla="*/ 19 h 28"/>
                <a:gd name="T64" fmla="*/ 7 w 25"/>
                <a:gd name="T65" fmla="*/ 17 h 28"/>
                <a:gd name="T66" fmla="*/ 7 w 25"/>
                <a:gd name="T67" fmla="*/ 9 h 28"/>
                <a:gd name="T68" fmla="*/ 8 w 25"/>
                <a:gd name="T69" fmla="*/ 9 h 28"/>
                <a:gd name="T70" fmla="*/ 10 w 25"/>
                <a:gd name="T71" fmla="*/ 8 h 28"/>
                <a:gd name="T72" fmla="*/ 14 w 25"/>
                <a:gd name="T73" fmla="*/ 7 h 28"/>
                <a:gd name="T74" fmla="*/ 14 w 25"/>
                <a:gd name="T75" fmla="*/ 7 h 28"/>
                <a:gd name="T76" fmla="*/ 14 w 25"/>
                <a:gd name="T77" fmla="*/ 7 h 28"/>
                <a:gd name="T78" fmla="*/ 15 w 25"/>
                <a:gd name="T79" fmla="*/ 7 h 28"/>
                <a:gd name="T80" fmla="*/ 16 w 25"/>
                <a:gd name="T81" fmla="*/ 7 h 28"/>
                <a:gd name="T82" fmla="*/ 17 w 25"/>
                <a:gd name="T83" fmla="*/ 7 h 28"/>
                <a:gd name="T84" fmla="*/ 17 w 25"/>
                <a:gd name="T85" fmla="*/ 8 h 28"/>
                <a:gd name="T86" fmla="*/ 17 w 25"/>
                <a:gd name="T87" fmla="*/ 8 h 28"/>
                <a:gd name="T88" fmla="*/ 18 w 25"/>
                <a:gd name="T89" fmla="*/ 8 h 28"/>
                <a:gd name="T90" fmla="*/ 18 w 25"/>
                <a:gd name="T91" fmla="*/ 8 h 28"/>
                <a:gd name="T92" fmla="*/ 18 w 25"/>
                <a:gd name="T93" fmla="*/ 9 h 28"/>
                <a:gd name="T94" fmla="*/ 18 w 25"/>
                <a:gd name="T95" fmla="*/ 9 h 28"/>
                <a:gd name="T96" fmla="*/ 18 w 25"/>
                <a:gd name="T97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" h="28">
                  <a:moveTo>
                    <a:pt x="16" y="2"/>
                  </a:moveTo>
                  <a:cubicBezTo>
                    <a:pt x="15" y="1"/>
                    <a:pt x="13" y="2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5" y="3"/>
                    <a:pt x="2" y="6"/>
                    <a:pt x="1" y="10"/>
                  </a:cubicBezTo>
                  <a:cubicBezTo>
                    <a:pt x="0" y="14"/>
                    <a:pt x="1" y="19"/>
                    <a:pt x="4" y="22"/>
                  </a:cubicBezTo>
                  <a:cubicBezTo>
                    <a:pt x="7" y="26"/>
                    <a:pt x="11" y="28"/>
                    <a:pt x="15" y="25"/>
                  </a:cubicBezTo>
                  <a:cubicBezTo>
                    <a:pt x="21" y="22"/>
                    <a:pt x="25" y="13"/>
                    <a:pt x="23" y="7"/>
                  </a:cubicBezTo>
                  <a:cubicBezTo>
                    <a:pt x="22" y="4"/>
                    <a:pt x="19" y="2"/>
                    <a:pt x="16" y="2"/>
                  </a:cubicBezTo>
                  <a:close/>
                  <a:moveTo>
                    <a:pt x="18" y="11"/>
                  </a:move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2"/>
                  </a:cubicBezTo>
                  <a:cubicBezTo>
                    <a:pt x="18" y="12"/>
                    <a:pt x="18" y="13"/>
                    <a:pt x="17" y="13"/>
                  </a:cubicBezTo>
                  <a:cubicBezTo>
                    <a:pt x="17" y="13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5"/>
                    <a:pt x="17" y="15"/>
                  </a:cubicBezTo>
                  <a:cubicBezTo>
                    <a:pt x="16" y="15"/>
                    <a:pt x="16" y="16"/>
                    <a:pt x="16" y="17"/>
                  </a:cubicBezTo>
                  <a:cubicBezTo>
                    <a:pt x="15" y="17"/>
                    <a:pt x="15" y="18"/>
                    <a:pt x="15" y="18"/>
                  </a:cubicBezTo>
                  <a:cubicBezTo>
                    <a:pt x="15" y="18"/>
                    <a:pt x="15" y="18"/>
                    <a:pt x="14" y="18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3" y="19"/>
                    <a:pt x="13" y="19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1" y="20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0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0"/>
                    <a:pt x="9" y="19"/>
                    <a:pt x="9" y="19"/>
                  </a:cubicBezTo>
                  <a:cubicBezTo>
                    <a:pt x="8" y="19"/>
                    <a:pt x="7" y="18"/>
                    <a:pt x="7" y="17"/>
                  </a:cubicBezTo>
                  <a:cubicBezTo>
                    <a:pt x="6" y="14"/>
                    <a:pt x="6" y="12"/>
                    <a:pt x="7" y="9"/>
                  </a:cubicBezTo>
                  <a:cubicBezTo>
                    <a:pt x="7" y="9"/>
                    <a:pt x="8" y="9"/>
                    <a:pt x="8" y="9"/>
                  </a:cubicBezTo>
                  <a:cubicBezTo>
                    <a:pt x="9" y="9"/>
                    <a:pt x="10" y="9"/>
                    <a:pt x="10" y="8"/>
                  </a:cubicBezTo>
                  <a:cubicBezTo>
                    <a:pt x="12" y="8"/>
                    <a:pt x="13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8" y="11"/>
                    <a:pt x="18" y="11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4" name="ïṡ1îḓe">
              <a:extLst>
                <a:ext uri="{FF2B5EF4-FFF2-40B4-BE49-F238E27FC236}">
                  <a16:creationId xmlns:a16="http://schemas.microsoft.com/office/drawing/2014/main" id="{F555D84D-12EA-4006-B28B-B1A0A771B8B7}"/>
                </a:ext>
              </a:extLst>
            </p:cNvPr>
            <p:cNvSpPr/>
            <p:nvPr/>
          </p:nvSpPr>
          <p:spPr bwMode="auto">
            <a:xfrm>
              <a:off x="6008676" y="1418609"/>
              <a:ext cx="79923" cy="91764"/>
            </a:xfrm>
            <a:custGeom>
              <a:avLst/>
              <a:gdLst>
                <a:gd name="T0" fmla="*/ 8 w 26"/>
                <a:gd name="T1" fmla="*/ 2 h 30"/>
                <a:gd name="T2" fmla="*/ 8 w 26"/>
                <a:gd name="T3" fmla="*/ 6 h 30"/>
                <a:gd name="T4" fmla="*/ 14 w 26"/>
                <a:gd name="T5" fmla="*/ 9 h 30"/>
                <a:gd name="T6" fmla="*/ 15 w 26"/>
                <a:gd name="T7" fmla="*/ 9 h 30"/>
                <a:gd name="T8" fmla="*/ 17 w 26"/>
                <a:gd name="T9" fmla="*/ 11 h 30"/>
                <a:gd name="T10" fmla="*/ 17 w 26"/>
                <a:gd name="T11" fmla="*/ 11 h 30"/>
                <a:gd name="T12" fmla="*/ 17 w 26"/>
                <a:gd name="T13" fmla="*/ 11 h 30"/>
                <a:gd name="T14" fmla="*/ 17 w 26"/>
                <a:gd name="T15" fmla="*/ 12 h 30"/>
                <a:gd name="T16" fmla="*/ 18 w 26"/>
                <a:gd name="T17" fmla="*/ 13 h 30"/>
                <a:gd name="T18" fmla="*/ 18 w 26"/>
                <a:gd name="T19" fmla="*/ 13 h 30"/>
                <a:gd name="T20" fmla="*/ 18 w 26"/>
                <a:gd name="T21" fmla="*/ 13 h 30"/>
                <a:gd name="T22" fmla="*/ 18 w 26"/>
                <a:gd name="T23" fmla="*/ 15 h 30"/>
                <a:gd name="T24" fmla="*/ 18 w 26"/>
                <a:gd name="T25" fmla="*/ 15 h 30"/>
                <a:gd name="T26" fmla="*/ 18 w 26"/>
                <a:gd name="T27" fmla="*/ 16 h 30"/>
                <a:gd name="T28" fmla="*/ 18 w 26"/>
                <a:gd name="T29" fmla="*/ 18 h 30"/>
                <a:gd name="T30" fmla="*/ 18 w 26"/>
                <a:gd name="T31" fmla="*/ 18 h 30"/>
                <a:gd name="T32" fmla="*/ 18 w 26"/>
                <a:gd name="T33" fmla="*/ 18 h 30"/>
                <a:gd name="T34" fmla="*/ 18 w 26"/>
                <a:gd name="T35" fmla="*/ 19 h 30"/>
                <a:gd name="T36" fmla="*/ 18 w 26"/>
                <a:gd name="T37" fmla="*/ 20 h 30"/>
                <a:gd name="T38" fmla="*/ 17 w 26"/>
                <a:gd name="T39" fmla="*/ 21 h 30"/>
                <a:gd name="T40" fmla="*/ 17 w 26"/>
                <a:gd name="T41" fmla="*/ 21 h 30"/>
                <a:gd name="T42" fmla="*/ 17 w 26"/>
                <a:gd name="T43" fmla="*/ 21 h 30"/>
                <a:gd name="T44" fmla="*/ 17 w 26"/>
                <a:gd name="T45" fmla="*/ 22 h 30"/>
                <a:gd name="T46" fmla="*/ 16 w 26"/>
                <a:gd name="T47" fmla="*/ 22 h 30"/>
                <a:gd name="T48" fmla="*/ 16 w 26"/>
                <a:gd name="T49" fmla="*/ 22 h 30"/>
                <a:gd name="T50" fmla="*/ 13 w 26"/>
                <a:gd name="T51" fmla="*/ 24 h 30"/>
                <a:gd name="T52" fmla="*/ 9 w 26"/>
                <a:gd name="T53" fmla="*/ 24 h 30"/>
                <a:gd name="T54" fmla="*/ 8 w 26"/>
                <a:gd name="T55" fmla="*/ 24 h 30"/>
                <a:gd name="T56" fmla="*/ 8 w 26"/>
                <a:gd name="T57" fmla="*/ 24 h 30"/>
                <a:gd name="T58" fmla="*/ 7 w 26"/>
                <a:gd name="T59" fmla="*/ 24 h 30"/>
                <a:gd name="T60" fmla="*/ 7 w 26"/>
                <a:gd name="T61" fmla="*/ 24 h 30"/>
                <a:gd name="T62" fmla="*/ 7 w 26"/>
                <a:gd name="T63" fmla="*/ 24 h 30"/>
                <a:gd name="T64" fmla="*/ 7 w 26"/>
                <a:gd name="T65" fmla="*/ 23 h 30"/>
                <a:gd name="T66" fmla="*/ 7 w 26"/>
                <a:gd name="T67" fmla="*/ 23 h 30"/>
                <a:gd name="T68" fmla="*/ 7 w 26"/>
                <a:gd name="T69" fmla="*/ 23 h 30"/>
                <a:gd name="T70" fmla="*/ 7 w 26"/>
                <a:gd name="T71" fmla="*/ 23 h 30"/>
                <a:gd name="T72" fmla="*/ 7 w 26"/>
                <a:gd name="T73" fmla="*/ 22 h 30"/>
                <a:gd name="T74" fmla="*/ 7 w 26"/>
                <a:gd name="T75" fmla="*/ 20 h 30"/>
                <a:gd name="T76" fmla="*/ 8 w 26"/>
                <a:gd name="T77" fmla="*/ 19 h 30"/>
                <a:gd name="T78" fmla="*/ 8 w 26"/>
                <a:gd name="T79" fmla="*/ 18 h 30"/>
                <a:gd name="T80" fmla="*/ 8 w 26"/>
                <a:gd name="T81" fmla="*/ 18 h 30"/>
                <a:gd name="T82" fmla="*/ 11 w 26"/>
                <a:gd name="T83" fmla="*/ 13 h 30"/>
                <a:gd name="T84" fmla="*/ 10 w 26"/>
                <a:gd name="T85" fmla="*/ 9 h 30"/>
                <a:gd name="T86" fmla="*/ 1 w 26"/>
                <a:gd name="T87" fmla="*/ 21 h 30"/>
                <a:gd name="T88" fmla="*/ 3 w 26"/>
                <a:gd name="T89" fmla="*/ 28 h 30"/>
                <a:gd name="T90" fmla="*/ 11 w 26"/>
                <a:gd name="T91" fmla="*/ 30 h 30"/>
                <a:gd name="T92" fmla="*/ 24 w 26"/>
                <a:gd name="T93" fmla="*/ 21 h 30"/>
                <a:gd name="T94" fmla="*/ 20 w 26"/>
                <a:gd name="T95" fmla="*/ 6 h 30"/>
                <a:gd name="T96" fmla="*/ 8 w 26"/>
                <a:gd name="T97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3"/>
                    <a:pt x="7" y="5"/>
                    <a:pt x="8" y="6"/>
                  </a:cubicBezTo>
                  <a:cubicBezTo>
                    <a:pt x="10" y="7"/>
                    <a:pt x="12" y="7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10"/>
                    <a:pt x="16" y="10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2"/>
                  </a:cubicBezTo>
                  <a:cubicBezTo>
                    <a:pt x="17" y="12"/>
                    <a:pt x="17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9" y="16"/>
                    <a:pt x="19" y="17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4" y="23"/>
                    <a:pt x="14" y="23"/>
                    <a:pt x="13" y="24"/>
                  </a:cubicBezTo>
                  <a:cubicBezTo>
                    <a:pt x="11" y="24"/>
                    <a:pt x="11" y="24"/>
                    <a:pt x="9" y="24"/>
                  </a:cubicBezTo>
                  <a:cubicBezTo>
                    <a:pt x="9" y="24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1"/>
                    <a:pt x="7" y="21"/>
                    <a:pt x="7" y="20"/>
                  </a:cubicBezTo>
                  <a:cubicBezTo>
                    <a:pt x="7" y="20"/>
                    <a:pt x="7" y="19"/>
                    <a:pt x="8" y="19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5"/>
                    <a:pt x="10" y="14"/>
                    <a:pt x="11" y="13"/>
                  </a:cubicBezTo>
                  <a:cubicBezTo>
                    <a:pt x="13" y="11"/>
                    <a:pt x="11" y="8"/>
                    <a:pt x="10" y="9"/>
                  </a:cubicBezTo>
                  <a:cubicBezTo>
                    <a:pt x="5" y="10"/>
                    <a:pt x="1" y="16"/>
                    <a:pt x="1" y="21"/>
                  </a:cubicBezTo>
                  <a:cubicBezTo>
                    <a:pt x="0" y="23"/>
                    <a:pt x="1" y="26"/>
                    <a:pt x="3" y="28"/>
                  </a:cubicBezTo>
                  <a:cubicBezTo>
                    <a:pt x="5" y="30"/>
                    <a:pt x="8" y="30"/>
                    <a:pt x="11" y="30"/>
                  </a:cubicBezTo>
                  <a:cubicBezTo>
                    <a:pt x="17" y="30"/>
                    <a:pt x="22" y="27"/>
                    <a:pt x="24" y="21"/>
                  </a:cubicBezTo>
                  <a:cubicBezTo>
                    <a:pt x="26" y="16"/>
                    <a:pt x="24" y="10"/>
                    <a:pt x="20" y="6"/>
                  </a:cubicBezTo>
                  <a:cubicBezTo>
                    <a:pt x="17" y="3"/>
                    <a:pt x="12" y="0"/>
                    <a:pt x="8" y="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5" name="îŝľïḑê">
              <a:extLst>
                <a:ext uri="{FF2B5EF4-FFF2-40B4-BE49-F238E27FC236}">
                  <a16:creationId xmlns:a16="http://schemas.microsoft.com/office/drawing/2014/main" id="{B7A709CB-9097-4667-8C4B-595606B81A6F}"/>
                </a:ext>
              </a:extLst>
            </p:cNvPr>
            <p:cNvSpPr/>
            <p:nvPr/>
          </p:nvSpPr>
          <p:spPr bwMode="auto">
            <a:xfrm>
              <a:off x="5688983" y="5114325"/>
              <a:ext cx="162807" cy="173168"/>
            </a:xfrm>
            <a:custGeom>
              <a:avLst/>
              <a:gdLst>
                <a:gd name="T0" fmla="*/ 52 w 53"/>
                <a:gd name="T1" fmla="*/ 20 h 56"/>
                <a:gd name="T2" fmla="*/ 43 w 53"/>
                <a:gd name="T3" fmla="*/ 6 h 56"/>
                <a:gd name="T4" fmla="*/ 22 w 53"/>
                <a:gd name="T5" fmla="*/ 2 h 56"/>
                <a:gd name="T6" fmla="*/ 10 w 53"/>
                <a:gd name="T7" fmla="*/ 7 h 56"/>
                <a:gd name="T8" fmla="*/ 1 w 53"/>
                <a:gd name="T9" fmla="*/ 15 h 56"/>
                <a:gd name="T10" fmla="*/ 3 w 53"/>
                <a:gd name="T11" fmla="*/ 18 h 56"/>
                <a:gd name="T12" fmla="*/ 3 w 53"/>
                <a:gd name="T13" fmla="*/ 18 h 56"/>
                <a:gd name="T14" fmla="*/ 3 w 53"/>
                <a:gd name="T15" fmla="*/ 29 h 56"/>
                <a:gd name="T16" fmla="*/ 4 w 53"/>
                <a:gd name="T17" fmla="*/ 31 h 56"/>
                <a:gd name="T18" fmla="*/ 8 w 53"/>
                <a:gd name="T19" fmla="*/ 43 h 56"/>
                <a:gd name="T20" fmla="*/ 15 w 53"/>
                <a:gd name="T21" fmla="*/ 50 h 56"/>
                <a:gd name="T22" fmla="*/ 35 w 53"/>
                <a:gd name="T23" fmla="*/ 56 h 56"/>
                <a:gd name="T24" fmla="*/ 45 w 53"/>
                <a:gd name="T25" fmla="*/ 52 h 56"/>
                <a:gd name="T26" fmla="*/ 50 w 53"/>
                <a:gd name="T27" fmla="*/ 44 h 56"/>
                <a:gd name="T28" fmla="*/ 51 w 53"/>
                <a:gd name="T29" fmla="*/ 34 h 56"/>
                <a:gd name="T30" fmla="*/ 51 w 53"/>
                <a:gd name="T31" fmla="*/ 34 h 56"/>
                <a:gd name="T32" fmla="*/ 52 w 53"/>
                <a:gd name="T33" fmla="*/ 20 h 56"/>
                <a:gd name="T34" fmla="*/ 15 w 53"/>
                <a:gd name="T35" fmla="*/ 12 h 56"/>
                <a:gd name="T36" fmla="*/ 15 w 53"/>
                <a:gd name="T37" fmla="*/ 12 h 56"/>
                <a:gd name="T38" fmla="*/ 26 w 53"/>
                <a:gd name="T39" fmla="*/ 8 h 56"/>
                <a:gd name="T40" fmla="*/ 32 w 53"/>
                <a:gd name="T41" fmla="*/ 8 h 56"/>
                <a:gd name="T42" fmla="*/ 36 w 53"/>
                <a:gd name="T43" fmla="*/ 10 h 56"/>
                <a:gd name="T44" fmla="*/ 42 w 53"/>
                <a:gd name="T45" fmla="*/ 15 h 56"/>
                <a:gd name="T46" fmla="*/ 42 w 53"/>
                <a:gd name="T47" fmla="*/ 15 h 56"/>
                <a:gd name="T48" fmla="*/ 43 w 53"/>
                <a:gd name="T49" fmla="*/ 15 h 56"/>
                <a:gd name="T50" fmla="*/ 43 w 53"/>
                <a:gd name="T51" fmla="*/ 16 h 56"/>
                <a:gd name="T52" fmla="*/ 44 w 53"/>
                <a:gd name="T53" fmla="*/ 17 h 56"/>
                <a:gd name="T54" fmla="*/ 44 w 53"/>
                <a:gd name="T55" fmla="*/ 18 h 56"/>
                <a:gd name="T56" fmla="*/ 45 w 53"/>
                <a:gd name="T57" fmla="*/ 18 h 56"/>
                <a:gd name="T58" fmla="*/ 45 w 53"/>
                <a:gd name="T59" fmla="*/ 19 h 56"/>
                <a:gd name="T60" fmla="*/ 45 w 53"/>
                <a:gd name="T61" fmla="*/ 21 h 56"/>
                <a:gd name="T62" fmla="*/ 46 w 53"/>
                <a:gd name="T63" fmla="*/ 23 h 56"/>
                <a:gd name="T64" fmla="*/ 46 w 53"/>
                <a:gd name="T65" fmla="*/ 23 h 56"/>
                <a:gd name="T66" fmla="*/ 46 w 53"/>
                <a:gd name="T67" fmla="*/ 23 h 56"/>
                <a:gd name="T68" fmla="*/ 46 w 53"/>
                <a:gd name="T69" fmla="*/ 24 h 56"/>
                <a:gd name="T70" fmla="*/ 46 w 53"/>
                <a:gd name="T71" fmla="*/ 26 h 56"/>
                <a:gd name="T72" fmla="*/ 46 w 53"/>
                <a:gd name="T73" fmla="*/ 27 h 56"/>
                <a:gd name="T74" fmla="*/ 46 w 53"/>
                <a:gd name="T75" fmla="*/ 28 h 56"/>
                <a:gd name="T76" fmla="*/ 46 w 53"/>
                <a:gd name="T77" fmla="*/ 28 h 56"/>
                <a:gd name="T78" fmla="*/ 38 w 53"/>
                <a:gd name="T79" fmla="*/ 39 h 56"/>
                <a:gd name="T80" fmla="*/ 14 w 53"/>
                <a:gd name="T81" fmla="*/ 36 h 56"/>
                <a:gd name="T82" fmla="*/ 8 w 53"/>
                <a:gd name="T83" fmla="*/ 24 h 56"/>
                <a:gd name="T84" fmla="*/ 9 w 53"/>
                <a:gd name="T85" fmla="*/ 16 h 56"/>
                <a:gd name="T86" fmla="*/ 15 w 53"/>
                <a:gd name="T87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" h="56">
                  <a:moveTo>
                    <a:pt x="52" y="20"/>
                  </a:moveTo>
                  <a:cubicBezTo>
                    <a:pt x="51" y="14"/>
                    <a:pt x="48" y="10"/>
                    <a:pt x="43" y="6"/>
                  </a:cubicBezTo>
                  <a:cubicBezTo>
                    <a:pt x="37" y="1"/>
                    <a:pt x="29" y="0"/>
                    <a:pt x="22" y="2"/>
                  </a:cubicBezTo>
                  <a:cubicBezTo>
                    <a:pt x="18" y="2"/>
                    <a:pt x="14" y="4"/>
                    <a:pt x="10" y="7"/>
                  </a:cubicBezTo>
                  <a:cubicBezTo>
                    <a:pt x="7" y="9"/>
                    <a:pt x="3" y="11"/>
                    <a:pt x="1" y="15"/>
                  </a:cubicBezTo>
                  <a:cubicBezTo>
                    <a:pt x="0" y="17"/>
                    <a:pt x="1" y="19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" y="21"/>
                    <a:pt x="2" y="25"/>
                    <a:pt x="3" y="29"/>
                  </a:cubicBezTo>
                  <a:cubicBezTo>
                    <a:pt x="3" y="29"/>
                    <a:pt x="3" y="30"/>
                    <a:pt x="4" y="31"/>
                  </a:cubicBezTo>
                  <a:cubicBezTo>
                    <a:pt x="4" y="35"/>
                    <a:pt x="6" y="39"/>
                    <a:pt x="8" y="43"/>
                  </a:cubicBezTo>
                  <a:cubicBezTo>
                    <a:pt x="10" y="46"/>
                    <a:pt x="12" y="48"/>
                    <a:pt x="15" y="50"/>
                  </a:cubicBezTo>
                  <a:cubicBezTo>
                    <a:pt x="21" y="54"/>
                    <a:pt x="28" y="56"/>
                    <a:pt x="35" y="56"/>
                  </a:cubicBezTo>
                  <a:cubicBezTo>
                    <a:pt x="39" y="56"/>
                    <a:pt x="42" y="55"/>
                    <a:pt x="45" y="52"/>
                  </a:cubicBezTo>
                  <a:cubicBezTo>
                    <a:pt x="47" y="50"/>
                    <a:pt x="49" y="48"/>
                    <a:pt x="50" y="44"/>
                  </a:cubicBezTo>
                  <a:cubicBezTo>
                    <a:pt x="51" y="41"/>
                    <a:pt x="51" y="37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3" y="29"/>
                    <a:pt x="53" y="24"/>
                    <a:pt x="52" y="20"/>
                  </a:cubicBezTo>
                  <a:close/>
                  <a:moveTo>
                    <a:pt x="15" y="12"/>
                  </a:moveTo>
                  <a:cubicBezTo>
                    <a:pt x="15" y="12"/>
                    <a:pt x="15" y="12"/>
                    <a:pt x="15" y="12"/>
                  </a:cubicBezTo>
                  <a:cubicBezTo>
                    <a:pt x="18" y="10"/>
                    <a:pt x="22" y="8"/>
                    <a:pt x="26" y="8"/>
                  </a:cubicBezTo>
                  <a:cubicBezTo>
                    <a:pt x="28" y="8"/>
                    <a:pt x="30" y="8"/>
                    <a:pt x="32" y="8"/>
                  </a:cubicBezTo>
                  <a:cubicBezTo>
                    <a:pt x="34" y="9"/>
                    <a:pt x="35" y="9"/>
                    <a:pt x="36" y="10"/>
                  </a:cubicBezTo>
                  <a:cubicBezTo>
                    <a:pt x="39" y="11"/>
                    <a:pt x="41" y="12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3" y="15"/>
                  </a:cubicBezTo>
                  <a:cubicBezTo>
                    <a:pt x="43" y="15"/>
                    <a:pt x="43" y="16"/>
                    <a:pt x="43" y="16"/>
                  </a:cubicBezTo>
                  <a:cubicBezTo>
                    <a:pt x="43" y="16"/>
                    <a:pt x="44" y="17"/>
                    <a:pt x="44" y="17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5" y="18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20"/>
                    <a:pt x="45" y="21"/>
                  </a:cubicBezTo>
                  <a:cubicBezTo>
                    <a:pt x="45" y="21"/>
                    <a:pt x="46" y="22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4"/>
                  </a:cubicBezTo>
                  <a:cubicBezTo>
                    <a:pt x="46" y="24"/>
                    <a:pt x="46" y="25"/>
                    <a:pt x="46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7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5" y="33"/>
                    <a:pt x="42" y="37"/>
                    <a:pt x="38" y="39"/>
                  </a:cubicBezTo>
                  <a:cubicBezTo>
                    <a:pt x="30" y="44"/>
                    <a:pt x="20" y="43"/>
                    <a:pt x="14" y="36"/>
                  </a:cubicBezTo>
                  <a:cubicBezTo>
                    <a:pt x="11" y="33"/>
                    <a:pt x="8" y="29"/>
                    <a:pt x="8" y="24"/>
                  </a:cubicBezTo>
                  <a:cubicBezTo>
                    <a:pt x="7" y="22"/>
                    <a:pt x="7" y="19"/>
                    <a:pt x="9" y="16"/>
                  </a:cubicBezTo>
                  <a:cubicBezTo>
                    <a:pt x="11" y="15"/>
                    <a:pt x="13" y="13"/>
                    <a:pt x="15" y="1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6" name="íšľiḋe">
              <a:extLst>
                <a:ext uri="{FF2B5EF4-FFF2-40B4-BE49-F238E27FC236}">
                  <a16:creationId xmlns:a16="http://schemas.microsoft.com/office/drawing/2014/main" id="{D0D90190-7DD2-4DEC-89D8-9D5B84E29290}"/>
                </a:ext>
              </a:extLst>
            </p:cNvPr>
            <p:cNvSpPr/>
            <p:nvPr/>
          </p:nvSpPr>
          <p:spPr bwMode="auto">
            <a:xfrm>
              <a:off x="5780747" y="4951518"/>
              <a:ext cx="162807" cy="119886"/>
            </a:xfrm>
            <a:custGeom>
              <a:avLst/>
              <a:gdLst>
                <a:gd name="T0" fmla="*/ 18 w 53"/>
                <a:gd name="T1" fmla="*/ 0 h 39"/>
                <a:gd name="T2" fmla="*/ 1 w 53"/>
                <a:gd name="T3" fmla="*/ 30 h 39"/>
                <a:gd name="T4" fmla="*/ 0 w 53"/>
                <a:gd name="T5" fmla="*/ 37 h 39"/>
                <a:gd name="T6" fmla="*/ 3 w 53"/>
                <a:gd name="T7" fmla="*/ 38 h 39"/>
                <a:gd name="T8" fmla="*/ 4 w 53"/>
                <a:gd name="T9" fmla="*/ 38 h 39"/>
                <a:gd name="T10" fmla="*/ 12 w 53"/>
                <a:gd name="T11" fmla="*/ 28 h 39"/>
                <a:gd name="T12" fmla="*/ 24 w 53"/>
                <a:gd name="T13" fmla="*/ 24 h 39"/>
                <a:gd name="T14" fmla="*/ 47 w 53"/>
                <a:gd name="T15" fmla="*/ 31 h 39"/>
                <a:gd name="T16" fmla="*/ 52 w 53"/>
                <a:gd name="T17" fmla="*/ 27 h 39"/>
                <a:gd name="T18" fmla="*/ 38 w 53"/>
                <a:gd name="T19" fmla="*/ 9 h 39"/>
                <a:gd name="T20" fmla="*/ 18 w 53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39">
                  <a:moveTo>
                    <a:pt x="18" y="0"/>
                  </a:moveTo>
                  <a:cubicBezTo>
                    <a:pt x="4" y="2"/>
                    <a:pt x="1" y="18"/>
                    <a:pt x="1" y="30"/>
                  </a:cubicBezTo>
                  <a:cubicBezTo>
                    <a:pt x="1" y="32"/>
                    <a:pt x="0" y="35"/>
                    <a:pt x="0" y="37"/>
                  </a:cubicBezTo>
                  <a:cubicBezTo>
                    <a:pt x="0" y="39"/>
                    <a:pt x="2" y="39"/>
                    <a:pt x="3" y="38"/>
                  </a:cubicBezTo>
                  <a:cubicBezTo>
                    <a:pt x="3" y="38"/>
                    <a:pt x="4" y="38"/>
                    <a:pt x="4" y="38"/>
                  </a:cubicBezTo>
                  <a:cubicBezTo>
                    <a:pt x="8" y="35"/>
                    <a:pt x="9" y="31"/>
                    <a:pt x="12" y="28"/>
                  </a:cubicBezTo>
                  <a:cubicBezTo>
                    <a:pt x="16" y="26"/>
                    <a:pt x="20" y="24"/>
                    <a:pt x="24" y="24"/>
                  </a:cubicBezTo>
                  <a:cubicBezTo>
                    <a:pt x="32" y="23"/>
                    <a:pt x="40" y="26"/>
                    <a:pt x="47" y="31"/>
                  </a:cubicBezTo>
                  <a:cubicBezTo>
                    <a:pt x="49" y="33"/>
                    <a:pt x="53" y="30"/>
                    <a:pt x="52" y="27"/>
                  </a:cubicBezTo>
                  <a:cubicBezTo>
                    <a:pt x="48" y="21"/>
                    <a:pt x="44" y="14"/>
                    <a:pt x="38" y="9"/>
                  </a:cubicBezTo>
                  <a:cubicBezTo>
                    <a:pt x="33" y="3"/>
                    <a:pt x="26" y="0"/>
                    <a:pt x="18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7" name="iṩľiďé">
              <a:extLst>
                <a:ext uri="{FF2B5EF4-FFF2-40B4-BE49-F238E27FC236}">
                  <a16:creationId xmlns:a16="http://schemas.microsoft.com/office/drawing/2014/main" id="{CFFE764B-AC34-4919-A7AF-8F7A86BC85DF}"/>
                </a:ext>
              </a:extLst>
            </p:cNvPr>
            <p:cNvSpPr/>
            <p:nvPr/>
          </p:nvSpPr>
          <p:spPr bwMode="auto">
            <a:xfrm>
              <a:off x="5512856" y="5025521"/>
              <a:ext cx="190928" cy="162807"/>
            </a:xfrm>
            <a:custGeom>
              <a:avLst/>
              <a:gdLst>
                <a:gd name="T0" fmla="*/ 60 w 62"/>
                <a:gd name="T1" fmla="*/ 23 h 53"/>
                <a:gd name="T2" fmla="*/ 42 w 62"/>
                <a:gd name="T3" fmla="*/ 5 h 53"/>
                <a:gd name="T4" fmla="*/ 20 w 62"/>
                <a:gd name="T5" fmla="*/ 1 h 53"/>
                <a:gd name="T6" fmla="*/ 2 w 62"/>
                <a:gd name="T7" fmla="*/ 15 h 53"/>
                <a:gd name="T8" fmla="*/ 0 w 62"/>
                <a:gd name="T9" fmla="*/ 38 h 53"/>
                <a:gd name="T10" fmla="*/ 2 w 62"/>
                <a:gd name="T11" fmla="*/ 45 h 53"/>
                <a:gd name="T12" fmla="*/ 2 w 62"/>
                <a:gd name="T13" fmla="*/ 46 h 53"/>
                <a:gd name="T14" fmla="*/ 5 w 62"/>
                <a:gd name="T15" fmla="*/ 52 h 53"/>
                <a:gd name="T16" fmla="*/ 9 w 62"/>
                <a:gd name="T17" fmla="*/ 51 h 53"/>
                <a:gd name="T18" fmla="*/ 26 w 62"/>
                <a:gd name="T19" fmla="*/ 29 h 53"/>
                <a:gd name="T20" fmla="*/ 57 w 62"/>
                <a:gd name="T21" fmla="*/ 27 h 53"/>
                <a:gd name="T22" fmla="*/ 60 w 62"/>
                <a:gd name="T23" fmla="*/ 2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53">
                  <a:moveTo>
                    <a:pt x="60" y="23"/>
                  </a:moveTo>
                  <a:cubicBezTo>
                    <a:pt x="56" y="15"/>
                    <a:pt x="50" y="9"/>
                    <a:pt x="42" y="5"/>
                  </a:cubicBezTo>
                  <a:cubicBezTo>
                    <a:pt x="35" y="1"/>
                    <a:pt x="27" y="0"/>
                    <a:pt x="20" y="1"/>
                  </a:cubicBezTo>
                  <a:cubicBezTo>
                    <a:pt x="12" y="3"/>
                    <a:pt x="5" y="8"/>
                    <a:pt x="2" y="15"/>
                  </a:cubicBezTo>
                  <a:cubicBezTo>
                    <a:pt x="0" y="22"/>
                    <a:pt x="0" y="31"/>
                    <a:pt x="0" y="38"/>
                  </a:cubicBezTo>
                  <a:cubicBezTo>
                    <a:pt x="1" y="41"/>
                    <a:pt x="1" y="43"/>
                    <a:pt x="2" y="45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3" y="48"/>
                    <a:pt x="4" y="50"/>
                    <a:pt x="5" y="52"/>
                  </a:cubicBezTo>
                  <a:cubicBezTo>
                    <a:pt x="7" y="53"/>
                    <a:pt x="8" y="53"/>
                    <a:pt x="9" y="51"/>
                  </a:cubicBezTo>
                  <a:cubicBezTo>
                    <a:pt x="14" y="43"/>
                    <a:pt x="18" y="34"/>
                    <a:pt x="26" y="29"/>
                  </a:cubicBezTo>
                  <a:cubicBezTo>
                    <a:pt x="35" y="23"/>
                    <a:pt x="48" y="24"/>
                    <a:pt x="57" y="27"/>
                  </a:cubicBezTo>
                  <a:cubicBezTo>
                    <a:pt x="60" y="28"/>
                    <a:pt x="62" y="25"/>
                    <a:pt x="60" y="2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8" name="ísļïḋe">
              <a:extLst>
                <a:ext uri="{FF2B5EF4-FFF2-40B4-BE49-F238E27FC236}">
                  <a16:creationId xmlns:a16="http://schemas.microsoft.com/office/drawing/2014/main" id="{F30B8DBC-2165-4C3A-B538-3BCA12D431A8}"/>
                </a:ext>
              </a:extLst>
            </p:cNvPr>
            <p:cNvSpPr/>
            <p:nvPr/>
          </p:nvSpPr>
          <p:spPr bwMode="auto">
            <a:xfrm>
              <a:off x="6146323" y="5219409"/>
              <a:ext cx="71043" cy="102125"/>
            </a:xfrm>
            <a:custGeom>
              <a:avLst/>
              <a:gdLst>
                <a:gd name="T0" fmla="*/ 0 w 23"/>
                <a:gd name="T1" fmla="*/ 22 h 33"/>
                <a:gd name="T2" fmla="*/ 9 w 23"/>
                <a:gd name="T3" fmla="*/ 33 h 33"/>
                <a:gd name="T4" fmla="*/ 16 w 23"/>
                <a:gd name="T5" fmla="*/ 30 h 33"/>
                <a:gd name="T6" fmla="*/ 19 w 23"/>
                <a:gd name="T7" fmla="*/ 27 h 33"/>
                <a:gd name="T8" fmla="*/ 20 w 23"/>
                <a:gd name="T9" fmla="*/ 22 h 33"/>
                <a:gd name="T10" fmla="*/ 23 w 23"/>
                <a:gd name="T11" fmla="*/ 13 h 33"/>
                <a:gd name="T12" fmla="*/ 19 w 23"/>
                <a:gd name="T13" fmla="*/ 4 h 33"/>
                <a:gd name="T14" fmla="*/ 9 w 23"/>
                <a:gd name="T15" fmla="*/ 2 h 33"/>
                <a:gd name="T16" fmla="*/ 9 w 23"/>
                <a:gd name="T17" fmla="*/ 3 h 33"/>
                <a:gd name="T18" fmla="*/ 0 w 23"/>
                <a:gd name="T19" fmla="*/ 16 h 33"/>
                <a:gd name="T20" fmla="*/ 1 w 23"/>
                <a:gd name="T21" fmla="*/ 20 h 33"/>
                <a:gd name="T22" fmla="*/ 0 w 23"/>
                <a:gd name="T23" fmla="*/ 22 h 33"/>
                <a:gd name="T24" fmla="*/ 11 w 23"/>
                <a:gd name="T25" fmla="*/ 6 h 33"/>
                <a:gd name="T26" fmla="*/ 11 w 23"/>
                <a:gd name="T27" fmla="*/ 6 h 33"/>
                <a:gd name="T28" fmla="*/ 15 w 23"/>
                <a:gd name="T29" fmla="*/ 8 h 33"/>
                <a:gd name="T30" fmla="*/ 18 w 23"/>
                <a:gd name="T31" fmla="*/ 13 h 33"/>
                <a:gd name="T32" fmla="*/ 12 w 23"/>
                <a:gd name="T33" fmla="*/ 22 h 33"/>
                <a:gd name="T34" fmla="*/ 5 w 23"/>
                <a:gd name="T35" fmla="*/ 16 h 33"/>
                <a:gd name="T36" fmla="*/ 11 w 23"/>
                <a:gd name="T37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33">
                  <a:moveTo>
                    <a:pt x="0" y="22"/>
                  </a:moveTo>
                  <a:cubicBezTo>
                    <a:pt x="0" y="28"/>
                    <a:pt x="3" y="32"/>
                    <a:pt x="9" y="33"/>
                  </a:cubicBezTo>
                  <a:cubicBezTo>
                    <a:pt x="11" y="33"/>
                    <a:pt x="14" y="32"/>
                    <a:pt x="16" y="30"/>
                  </a:cubicBezTo>
                  <a:cubicBezTo>
                    <a:pt x="17" y="29"/>
                    <a:pt x="18" y="28"/>
                    <a:pt x="19" y="27"/>
                  </a:cubicBezTo>
                  <a:cubicBezTo>
                    <a:pt x="20" y="25"/>
                    <a:pt x="20" y="23"/>
                    <a:pt x="20" y="22"/>
                  </a:cubicBezTo>
                  <a:cubicBezTo>
                    <a:pt x="22" y="20"/>
                    <a:pt x="23" y="16"/>
                    <a:pt x="23" y="13"/>
                  </a:cubicBezTo>
                  <a:cubicBezTo>
                    <a:pt x="23" y="10"/>
                    <a:pt x="22" y="6"/>
                    <a:pt x="19" y="4"/>
                  </a:cubicBezTo>
                  <a:cubicBezTo>
                    <a:pt x="16" y="3"/>
                    <a:pt x="12" y="0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4" y="6"/>
                    <a:pt x="1" y="11"/>
                    <a:pt x="0" y="16"/>
                  </a:cubicBezTo>
                  <a:cubicBezTo>
                    <a:pt x="0" y="17"/>
                    <a:pt x="1" y="19"/>
                    <a:pt x="1" y="20"/>
                  </a:cubicBezTo>
                  <a:cubicBezTo>
                    <a:pt x="1" y="21"/>
                    <a:pt x="0" y="21"/>
                    <a:pt x="0" y="22"/>
                  </a:cubicBezTo>
                  <a:close/>
                  <a:moveTo>
                    <a:pt x="11" y="6"/>
                  </a:moveTo>
                  <a:cubicBezTo>
                    <a:pt x="11" y="6"/>
                    <a:pt x="11" y="6"/>
                    <a:pt x="11" y="6"/>
                  </a:cubicBezTo>
                  <a:cubicBezTo>
                    <a:pt x="12" y="7"/>
                    <a:pt x="14" y="7"/>
                    <a:pt x="15" y="8"/>
                  </a:cubicBezTo>
                  <a:cubicBezTo>
                    <a:pt x="17" y="9"/>
                    <a:pt x="18" y="11"/>
                    <a:pt x="18" y="13"/>
                  </a:cubicBezTo>
                  <a:cubicBezTo>
                    <a:pt x="18" y="16"/>
                    <a:pt x="16" y="21"/>
                    <a:pt x="12" y="22"/>
                  </a:cubicBezTo>
                  <a:cubicBezTo>
                    <a:pt x="8" y="23"/>
                    <a:pt x="5" y="19"/>
                    <a:pt x="5" y="16"/>
                  </a:cubicBezTo>
                  <a:cubicBezTo>
                    <a:pt x="5" y="12"/>
                    <a:pt x="7" y="8"/>
                    <a:pt x="11" y="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9" name="ïṡļîdê">
              <a:extLst>
                <a:ext uri="{FF2B5EF4-FFF2-40B4-BE49-F238E27FC236}">
                  <a16:creationId xmlns:a16="http://schemas.microsoft.com/office/drawing/2014/main" id="{9EF4135C-C929-4623-9323-5A2E517F56B1}"/>
                </a:ext>
              </a:extLst>
            </p:cNvPr>
            <p:cNvSpPr/>
            <p:nvPr/>
          </p:nvSpPr>
          <p:spPr bwMode="auto">
            <a:xfrm>
              <a:off x="6217366" y="5207569"/>
              <a:ext cx="111005" cy="165767"/>
            </a:xfrm>
            <a:custGeom>
              <a:avLst/>
              <a:gdLst>
                <a:gd name="T0" fmla="*/ 5 w 36"/>
                <a:gd name="T1" fmla="*/ 51 h 54"/>
                <a:gd name="T2" fmla="*/ 13 w 36"/>
                <a:gd name="T3" fmla="*/ 54 h 54"/>
                <a:gd name="T4" fmla="*/ 28 w 36"/>
                <a:gd name="T5" fmla="*/ 46 h 54"/>
                <a:gd name="T6" fmla="*/ 33 w 36"/>
                <a:gd name="T7" fmla="*/ 38 h 54"/>
                <a:gd name="T8" fmla="*/ 34 w 36"/>
                <a:gd name="T9" fmla="*/ 33 h 54"/>
                <a:gd name="T10" fmla="*/ 36 w 36"/>
                <a:gd name="T11" fmla="*/ 19 h 54"/>
                <a:gd name="T12" fmla="*/ 32 w 36"/>
                <a:gd name="T13" fmla="*/ 6 h 54"/>
                <a:gd name="T14" fmla="*/ 14 w 36"/>
                <a:gd name="T15" fmla="*/ 7 h 54"/>
                <a:gd name="T16" fmla="*/ 14 w 36"/>
                <a:gd name="T17" fmla="*/ 7 h 54"/>
                <a:gd name="T18" fmla="*/ 8 w 36"/>
                <a:gd name="T19" fmla="*/ 17 h 54"/>
                <a:gd name="T20" fmla="*/ 5 w 36"/>
                <a:gd name="T21" fmla="*/ 24 h 54"/>
                <a:gd name="T22" fmla="*/ 5 w 36"/>
                <a:gd name="T23" fmla="*/ 24 h 54"/>
                <a:gd name="T24" fmla="*/ 2 w 36"/>
                <a:gd name="T25" fmla="*/ 33 h 54"/>
                <a:gd name="T26" fmla="*/ 1 w 36"/>
                <a:gd name="T27" fmla="*/ 42 h 54"/>
                <a:gd name="T28" fmla="*/ 5 w 36"/>
                <a:gd name="T29" fmla="*/ 51 h 54"/>
                <a:gd name="T30" fmla="*/ 9 w 36"/>
                <a:gd name="T31" fmla="*/ 25 h 54"/>
                <a:gd name="T32" fmla="*/ 9 w 36"/>
                <a:gd name="T33" fmla="*/ 25 h 54"/>
                <a:gd name="T34" fmla="*/ 14 w 36"/>
                <a:gd name="T35" fmla="*/ 14 h 54"/>
                <a:gd name="T36" fmla="*/ 18 w 36"/>
                <a:gd name="T37" fmla="*/ 8 h 54"/>
                <a:gd name="T38" fmla="*/ 26 w 36"/>
                <a:gd name="T39" fmla="*/ 7 h 54"/>
                <a:gd name="T40" fmla="*/ 30 w 36"/>
                <a:gd name="T41" fmla="*/ 13 h 54"/>
                <a:gd name="T42" fmla="*/ 29 w 36"/>
                <a:gd name="T43" fmla="*/ 28 h 54"/>
                <a:gd name="T44" fmla="*/ 22 w 36"/>
                <a:gd name="T45" fmla="*/ 42 h 54"/>
                <a:gd name="T46" fmla="*/ 17 w 36"/>
                <a:gd name="T47" fmla="*/ 44 h 54"/>
                <a:gd name="T48" fmla="*/ 17 w 36"/>
                <a:gd name="T49" fmla="*/ 44 h 54"/>
                <a:gd name="T50" fmla="*/ 17 w 36"/>
                <a:gd name="T51" fmla="*/ 44 h 54"/>
                <a:gd name="T52" fmla="*/ 16 w 36"/>
                <a:gd name="T53" fmla="*/ 44 h 54"/>
                <a:gd name="T54" fmla="*/ 15 w 36"/>
                <a:gd name="T55" fmla="*/ 44 h 54"/>
                <a:gd name="T56" fmla="*/ 15 w 36"/>
                <a:gd name="T57" fmla="*/ 44 h 54"/>
                <a:gd name="T58" fmla="*/ 15 w 36"/>
                <a:gd name="T59" fmla="*/ 44 h 54"/>
                <a:gd name="T60" fmla="*/ 11 w 36"/>
                <a:gd name="T61" fmla="*/ 43 h 54"/>
                <a:gd name="T62" fmla="*/ 9 w 36"/>
                <a:gd name="T63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" h="54">
                  <a:moveTo>
                    <a:pt x="5" y="51"/>
                  </a:moveTo>
                  <a:cubicBezTo>
                    <a:pt x="7" y="53"/>
                    <a:pt x="10" y="54"/>
                    <a:pt x="13" y="54"/>
                  </a:cubicBezTo>
                  <a:cubicBezTo>
                    <a:pt x="19" y="54"/>
                    <a:pt x="24" y="50"/>
                    <a:pt x="28" y="46"/>
                  </a:cubicBezTo>
                  <a:cubicBezTo>
                    <a:pt x="30" y="43"/>
                    <a:pt x="32" y="41"/>
                    <a:pt x="33" y="38"/>
                  </a:cubicBezTo>
                  <a:cubicBezTo>
                    <a:pt x="34" y="36"/>
                    <a:pt x="34" y="34"/>
                    <a:pt x="34" y="33"/>
                  </a:cubicBezTo>
                  <a:cubicBezTo>
                    <a:pt x="35" y="28"/>
                    <a:pt x="36" y="23"/>
                    <a:pt x="36" y="19"/>
                  </a:cubicBezTo>
                  <a:cubicBezTo>
                    <a:pt x="36" y="14"/>
                    <a:pt x="35" y="10"/>
                    <a:pt x="32" y="6"/>
                  </a:cubicBezTo>
                  <a:cubicBezTo>
                    <a:pt x="27" y="0"/>
                    <a:pt x="17" y="0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1" y="10"/>
                    <a:pt x="9" y="14"/>
                    <a:pt x="8" y="17"/>
                  </a:cubicBezTo>
                  <a:cubicBezTo>
                    <a:pt x="7" y="19"/>
                    <a:pt x="6" y="22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4" y="27"/>
                    <a:pt x="2" y="30"/>
                    <a:pt x="2" y="33"/>
                  </a:cubicBezTo>
                  <a:cubicBezTo>
                    <a:pt x="1" y="36"/>
                    <a:pt x="0" y="39"/>
                    <a:pt x="1" y="42"/>
                  </a:cubicBezTo>
                  <a:cubicBezTo>
                    <a:pt x="1" y="46"/>
                    <a:pt x="2" y="49"/>
                    <a:pt x="5" y="51"/>
                  </a:cubicBezTo>
                  <a:close/>
                  <a:moveTo>
                    <a:pt x="9" y="25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11" y="21"/>
                    <a:pt x="12" y="18"/>
                    <a:pt x="14" y="14"/>
                  </a:cubicBezTo>
                  <a:cubicBezTo>
                    <a:pt x="16" y="12"/>
                    <a:pt x="17" y="10"/>
                    <a:pt x="18" y="8"/>
                  </a:cubicBezTo>
                  <a:cubicBezTo>
                    <a:pt x="20" y="7"/>
                    <a:pt x="23" y="6"/>
                    <a:pt x="26" y="7"/>
                  </a:cubicBezTo>
                  <a:cubicBezTo>
                    <a:pt x="29" y="8"/>
                    <a:pt x="30" y="10"/>
                    <a:pt x="30" y="13"/>
                  </a:cubicBezTo>
                  <a:cubicBezTo>
                    <a:pt x="31" y="17"/>
                    <a:pt x="31" y="23"/>
                    <a:pt x="29" y="28"/>
                  </a:cubicBezTo>
                  <a:cubicBezTo>
                    <a:pt x="28" y="33"/>
                    <a:pt x="25" y="38"/>
                    <a:pt x="22" y="42"/>
                  </a:cubicBezTo>
                  <a:cubicBezTo>
                    <a:pt x="20" y="43"/>
                    <a:pt x="19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4"/>
                    <a:pt x="16" y="44"/>
                    <a:pt x="16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4" y="44"/>
                    <a:pt x="12" y="44"/>
                    <a:pt x="11" y="43"/>
                  </a:cubicBezTo>
                  <a:cubicBezTo>
                    <a:pt x="5" y="40"/>
                    <a:pt x="8" y="30"/>
                    <a:pt x="9" y="2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0" name="i$ḻîḓé">
              <a:extLst>
                <a:ext uri="{FF2B5EF4-FFF2-40B4-BE49-F238E27FC236}">
                  <a16:creationId xmlns:a16="http://schemas.microsoft.com/office/drawing/2014/main" id="{EE4435AE-74CE-4242-80B3-085DE545CF19}"/>
                </a:ext>
              </a:extLst>
            </p:cNvPr>
            <p:cNvSpPr/>
            <p:nvPr/>
          </p:nvSpPr>
          <p:spPr bwMode="auto">
            <a:xfrm>
              <a:off x="6368332" y="5250491"/>
              <a:ext cx="68083" cy="88804"/>
            </a:xfrm>
            <a:custGeom>
              <a:avLst/>
              <a:gdLst>
                <a:gd name="T0" fmla="*/ 9 w 22"/>
                <a:gd name="T1" fmla="*/ 29 h 29"/>
                <a:gd name="T2" fmla="*/ 18 w 22"/>
                <a:gd name="T3" fmla="*/ 25 h 29"/>
                <a:gd name="T4" fmla="*/ 19 w 22"/>
                <a:gd name="T5" fmla="*/ 12 h 29"/>
                <a:gd name="T6" fmla="*/ 18 w 22"/>
                <a:gd name="T7" fmla="*/ 5 h 29"/>
                <a:gd name="T8" fmla="*/ 10 w 22"/>
                <a:gd name="T9" fmla="*/ 2 h 29"/>
                <a:gd name="T10" fmla="*/ 9 w 22"/>
                <a:gd name="T11" fmla="*/ 3 h 29"/>
                <a:gd name="T12" fmla="*/ 1 w 22"/>
                <a:gd name="T13" fmla="*/ 13 h 29"/>
                <a:gd name="T14" fmla="*/ 1 w 22"/>
                <a:gd name="T15" fmla="*/ 14 h 29"/>
                <a:gd name="T16" fmla="*/ 0 w 22"/>
                <a:gd name="T17" fmla="*/ 17 h 29"/>
                <a:gd name="T18" fmla="*/ 1 w 22"/>
                <a:gd name="T19" fmla="*/ 23 h 29"/>
                <a:gd name="T20" fmla="*/ 9 w 22"/>
                <a:gd name="T21" fmla="*/ 29 h 29"/>
                <a:gd name="T22" fmla="*/ 5 w 22"/>
                <a:gd name="T23" fmla="*/ 14 h 29"/>
                <a:gd name="T24" fmla="*/ 5 w 22"/>
                <a:gd name="T25" fmla="*/ 14 h 29"/>
                <a:gd name="T26" fmla="*/ 10 w 22"/>
                <a:gd name="T27" fmla="*/ 7 h 29"/>
                <a:gd name="T28" fmla="*/ 11 w 22"/>
                <a:gd name="T29" fmla="*/ 6 h 29"/>
                <a:gd name="T30" fmla="*/ 14 w 22"/>
                <a:gd name="T31" fmla="*/ 8 h 29"/>
                <a:gd name="T32" fmla="*/ 15 w 22"/>
                <a:gd name="T33" fmla="*/ 12 h 29"/>
                <a:gd name="T34" fmla="*/ 8 w 22"/>
                <a:gd name="T35" fmla="*/ 19 h 29"/>
                <a:gd name="T36" fmla="*/ 7 w 22"/>
                <a:gd name="T37" fmla="*/ 19 h 29"/>
                <a:gd name="T38" fmla="*/ 6 w 22"/>
                <a:gd name="T39" fmla="*/ 18 h 29"/>
                <a:gd name="T40" fmla="*/ 5 w 22"/>
                <a:gd name="T41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29">
                  <a:moveTo>
                    <a:pt x="9" y="29"/>
                  </a:moveTo>
                  <a:cubicBezTo>
                    <a:pt x="13" y="29"/>
                    <a:pt x="16" y="27"/>
                    <a:pt x="18" y="25"/>
                  </a:cubicBezTo>
                  <a:cubicBezTo>
                    <a:pt x="20" y="22"/>
                    <a:pt x="22" y="16"/>
                    <a:pt x="19" y="12"/>
                  </a:cubicBezTo>
                  <a:cubicBezTo>
                    <a:pt x="19" y="9"/>
                    <a:pt x="19" y="7"/>
                    <a:pt x="18" y="5"/>
                  </a:cubicBezTo>
                  <a:cubicBezTo>
                    <a:pt x="16" y="3"/>
                    <a:pt x="13" y="0"/>
                    <a:pt x="10" y="2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5" y="5"/>
                    <a:pt x="2" y="8"/>
                    <a:pt x="1" y="13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9"/>
                    <a:pt x="0" y="21"/>
                    <a:pt x="1" y="23"/>
                  </a:cubicBezTo>
                  <a:cubicBezTo>
                    <a:pt x="2" y="27"/>
                    <a:pt x="5" y="29"/>
                    <a:pt x="9" y="29"/>
                  </a:cubicBezTo>
                  <a:close/>
                  <a:moveTo>
                    <a:pt x="5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1"/>
                    <a:pt x="7" y="8"/>
                    <a:pt x="10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3" y="7"/>
                    <a:pt x="14" y="8"/>
                  </a:cubicBezTo>
                  <a:cubicBezTo>
                    <a:pt x="15" y="9"/>
                    <a:pt x="15" y="10"/>
                    <a:pt x="15" y="12"/>
                  </a:cubicBezTo>
                  <a:cubicBezTo>
                    <a:pt x="14" y="15"/>
                    <a:pt x="11" y="18"/>
                    <a:pt x="8" y="19"/>
                  </a:cubicBezTo>
                  <a:cubicBezTo>
                    <a:pt x="8" y="19"/>
                    <a:pt x="7" y="19"/>
                    <a:pt x="7" y="1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5" y="16"/>
                    <a:pt x="5" y="1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1" name="ïsľïďé">
              <a:extLst>
                <a:ext uri="{FF2B5EF4-FFF2-40B4-BE49-F238E27FC236}">
                  <a16:creationId xmlns:a16="http://schemas.microsoft.com/office/drawing/2014/main" id="{8A364640-40E3-4ECC-9656-5993C1CA8EDB}"/>
                </a:ext>
              </a:extLst>
            </p:cNvPr>
            <p:cNvSpPr/>
            <p:nvPr/>
          </p:nvSpPr>
          <p:spPr bwMode="auto">
            <a:xfrm>
              <a:off x="5279006" y="4699908"/>
              <a:ext cx="19241" cy="11840"/>
            </a:xfrm>
            <a:custGeom>
              <a:avLst/>
              <a:gdLst>
                <a:gd name="T0" fmla="*/ 2 w 6"/>
                <a:gd name="T1" fmla="*/ 4 h 4"/>
                <a:gd name="T2" fmla="*/ 6 w 6"/>
                <a:gd name="T3" fmla="*/ 2 h 4"/>
                <a:gd name="T4" fmla="*/ 2 w 6"/>
                <a:gd name="T5" fmla="*/ 0 h 4"/>
                <a:gd name="T6" fmla="*/ 0 w 6"/>
                <a:gd name="T7" fmla="*/ 2 h 4"/>
                <a:gd name="T8" fmla="*/ 2 w 6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2" y="4"/>
                  </a:moveTo>
                  <a:cubicBezTo>
                    <a:pt x="4" y="4"/>
                    <a:pt x="6" y="4"/>
                    <a:pt x="6" y="2"/>
                  </a:cubicBezTo>
                  <a:cubicBezTo>
                    <a:pt x="6" y="0"/>
                    <a:pt x="4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2" name="îšļíḍé">
              <a:extLst>
                <a:ext uri="{FF2B5EF4-FFF2-40B4-BE49-F238E27FC236}">
                  <a16:creationId xmlns:a16="http://schemas.microsoft.com/office/drawing/2014/main" id="{8B8B02C7-42E5-4806-92D1-83546ACD17FF}"/>
                </a:ext>
              </a:extLst>
            </p:cNvPr>
            <p:cNvSpPr/>
            <p:nvPr/>
          </p:nvSpPr>
          <p:spPr bwMode="auto">
            <a:xfrm>
              <a:off x="7235648" y="4466058"/>
              <a:ext cx="2960" cy="296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3" name="íṣľîḋé">
              <a:extLst>
                <a:ext uri="{FF2B5EF4-FFF2-40B4-BE49-F238E27FC236}">
                  <a16:creationId xmlns:a16="http://schemas.microsoft.com/office/drawing/2014/main" id="{D5DA6716-8745-4675-8746-8059978119DE}"/>
                </a:ext>
              </a:extLst>
            </p:cNvPr>
            <p:cNvSpPr/>
            <p:nvPr/>
          </p:nvSpPr>
          <p:spPr bwMode="auto">
            <a:xfrm>
              <a:off x="5441813" y="2407291"/>
              <a:ext cx="287132" cy="259011"/>
            </a:xfrm>
            <a:custGeom>
              <a:avLst/>
              <a:gdLst>
                <a:gd name="T0" fmla="*/ 4 w 93"/>
                <a:gd name="T1" fmla="*/ 76 h 84"/>
                <a:gd name="T2" fmla="*/ 4 w 93"/>
                <a:gd name="T3" fmla="*/ 78 h 84"/>
                <a:gd name="T4" fmla="*/ 4 w 93"/>
                <a:gd name="T5" fmla="*/ 83 h 84"/>
                <a:gd name="T6" fmla="*/ 20 w 93"/>
                <a:gd name="T7" fmla="*/ 84 h 84"/>
                <a:gd name="T8" fmla="*/ 32 w 93"/>
                <a:gd name="T9" fmla="*/ 83 h 84"/>
                <a:gd name="T10" fmla="*/ 52 w 93"/>
                <a:gd name="T11" fmla="*/ 76 h 84"/>
                <a:gd name="T12" fmla="*/ 86 w 93"/>
                <a:gd name="T13" fmla="*/ 47 h 84"/>
                <a:gd name="T14" fmla="*/ 90 w 93"/>
                <a:gd name="T15" fmla="*/ 37 h 84"/>
                <a:gd name="T16" fmla="*/ 92 w 93"/>
                <a:gd name="T17" fmla="*/ 31 h 84"/>
                <a:gd name="T18" fmla="*/ 92 w 93"/>
                <a:gd name="T19" fmla="*/ 28 h 84"/>
                <a:gd name="T20" fmla="*/ 92 w 93"/>
                <a:gd name="T21" fmla="*/ 27 h 84"/>
                <a:gd name="T22" fmla="*/ 92 w 93"/>
                <a:gd name="T23" fmla="*/ 23 h 84"/>
                <a:gd name="T24" fmla="*/ 91 w 93"/>
                <a:gd name="T25" fmla="*/ 22 h 84"/>
                <a:gd name="T26" fmla="*/ 90 w 93"/>
                <a:gd name="T27" fmla="*/ 18 h 84"/>
                <a:gd name="T28" fmla="*/ 85 w 93"/>
                <a:gd name="T29" fmla="*/ 14 h 84"/>
                <a:gd name="T30" fmla="*/ 78 w 93"/>
                <a:gd name="T31" fmla="*/ 10 h 84"/>
                <a:gd name="T32" fmla="*/ 65 w 93"/>
                <a:gd name="T33" fmla="*/ 4 h 84"/>
                <a:gd name="T34" fmla="*/ 44 w 93"/>
                <a:gd name="T35" fmla="*/ 1 h 84"/>
                <a:gd name="T36" fmla="*/ 7 w 93"/>
                <a:gd name="T37" fmla="*/ 22 h 84"/>
                <a:gd name="T38" fmla="*/ 0 w 93"/>
                <a:gd name="T39" fmla="*/ 49 h 84"/>
                <a:gd name="T40" fmla="*/ 1 w 93"/>
                <a:gd name="T41" fmla="*/ 63 h 84"/>
                <a:gd name="T42" fmla="*/ 4 w 93"/>
                <a:gd name="T43" fmla="*/ 76 h 84"/>
                <a:gd name="T44" fmla="*/ 85 w 93"/>
                <a:gd name="T45" fmla="*/ 35 h 84"/>
                <a:gd name="T46" fmla="*/ 85 w 93"/>
                <a:gd name="T47" fmla="*/ 35 h 84"/>
                <a:gd name="T48" fmla="*/ 80 w 93"/>
                <a:gd name="T49" fmla="*/ 44 h 84"/>
                <a:gd name="T50" fmla="*/ 66 w 93"/>
                <a:gd name="T51" fmla="*/ 59 h 84"/>
                <a:gd name="T52" fmla="*/ 28 w 93"/>
                <a:gd name="T53" fmla="*/ 77 h 84"/>
                <a:gd name="T54" fmla="*/ 18 w 93"/>
                <a:gd name="T55" fmla="*/ 78 h 84"/>
                <a:gd name="T56" fmla="*/ 8 w 93"/>
                <a:gd name="T57" fmla="*/ 78 h 84"/>
                <a:gd name="T58" fmla="*/ 13 w 93"/>
                <a:gd name="T59" fmla="*/ 57 h 84"/>
                <a:gd name="T60" fmla="*/ 22 w 93"/>
                <a:gd name="T61" fmla="*/ 38 h 84"/>
                <a:gd name="T62" fmla="*/ 65 w 93"/>
                <a:gd name="T63" fmla="*/ 22 h 84"/>
                <a:gd name="T64" fmla="*/ 77 w 93"/>
                <a:gd name="T65" fmla="*/ 23 h 84"/>
                <a:gd name="T66" fmla="*/ 83 w 93"/>
                <a:gd name="T67" fmla="*/ 25 h 84"/>
                <a:gd name="T68" fmla="*/ 88 w 93"/>
                <a:gd name="T69" fmla="*/ 27 h 84"/>
                <a:gd name="T70" fmla="*/ 87 w 93"/>
                <a:gd name="T71" fmla="*/ 29 h 84"/>
                <a:gd name="T72" fmla="*/ 85 w 93"/>
                <a:gd name="T73" fmla="*/ 35 h 84"/>
                <a:gd name="T74" fmla="*/ 5 w 93"/>
                <a:gd name="T75" fmla="*/ 51 h 84"/>
                <a:gd name="T76" fmla="*/ 5 w 93"/>
                <a:gd name="T77" fmla="*/ 51 h 84"/>
                <a:gd name="T78" fmla="*/ 10 w 93"/>
                <a:gd name="T79" fmla="*/ 27 h 84"/>
                <a:gd name="T80" fmla="*/ 45 w 93"/>
                <a:gd name="T81" fmla="*/ 7 h 84"/>
                <a:gd name="T82" fmla="*/ 64 w 93"/>
                <a:gd name="T83" fmla="*/ 9 h 84"/>
                <a:gd name="T84" fmla="*/ 76 w 93"/>
                <a:gd name="T85" fmla="*/ 15 h 84"/>
                <a:gd name="T86" fmla="*/ 78 w 93"/>
                <a:gd name="T87" fmla="*/ 17 h 84"/>
                <a:gd name="T88" fmla="*/ 65 w 93"/>
                <a:gd name="T89" fmla="*/ 15 h 84"/>
                <a:gd name="T90" fmla="*/ 41 w 93"/>
                <a:gd name="T91" fmla="*/ 18 h 84"/>
                <a:gd name="T92" fmla="*/ 20 w 93"/>
                <a:gd name="T93" fmla="*/ 31 h 84"/>
                <a:gd name="T94" fmla="*/ 9 w 93"/>
                <a:gd name="T95" fmla="*/ 51 h 84"/>
                <a:gd name="T96" fmla="*/ 5 w 93"/>
                <a:gd name="T97" fmla="*/ 63 h 84"/>
                <a:gd name="T98" fmla="*/ 5 w 93"/>
                <a:gd name="T99" fmla="*/ 5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3" h="84">
                  <a:moveTo>
                    <a:pt x="4" y="76"/>
                  </a:moveTo>
                  <a:cubicBezTo>
                    <a:pt x="4" y="77"/>
                    <a:pt x="4" y="78"/>
                    <a:pt x="4" y="78"/>
                  </a:cubicBezTo>
                  <a:cubicBezTo>
                    <a:pt x="2" y="79"/>
                    <a:pt x="3" y="82"/>
                    <a:pt x="4" y="83"/>
                  </a:cubicBezTo>
                  <a:cubicBezTo>
                    <a:pt x="9" y="84"/>
                    <a:pt x="15" y="84"/>
                    <a:pt x="20" y="84"/>
                  </a:cubicBezTo>
                  <a:cubicBezTo>
                    <a:pt x="24" y="84"/>
                    <a:pt x="28" y="84"/>
                    <a:pt x="32" y="83"/>
                  </a:cubicBezTo>
                  <a:cubicBezTo>
                    <a:pt x="39" y="82"/>
                    <a:pt x="46" y="79"/>
                    <a:pt x="52" y="76"/>
                  </a:cubicBezTo>
                  <a:cubicBezTo>
                    <a:pt x="65" y="70"/>
                    <a:pt x="78" y="60"/>
                    <a:pt x="86" y="47"/>
                  </a:cubicBezTo>
                  <a:cubicBezTo>
                    <a:pt x="88" y="44"/>
                    <a:pt x="89" y="40"/>
                    <a:pt x="90" y="37"/>
                  </a:cubicBezTo>
                  <a:cubicBezTo>
                    <a:pt x="91" y="35"/>
                    <a:pt x="91" y="33"/>
                    <a:pt x="92" y="31"/>
                  </a:cubicBezTo>
                  <a:cubicBezTo>
                    <a:pt x="92" y="30"/>
                    <a:pt x="92" y="29"/>
                    <a:pt x="92" y="28"/>
                  </a:cubicBezTo>
                  <a:cubicBezTo>
                    <a:pt x="92" y="28"/>
                    <a:pt x="92" y="27"/>
                    <a:pt x="92" y="27"/>
                  </a:cubicBezTo>
                  <a:cubicBezTo>
                    <a:pt x="93" y="26"/>
                    <a:pt x="93" y="24"/>
                    <a:pt x="92" y="23"/>
                  </a:cubicBezTo>
                  <a:cubicBezTo>
                    <a:pt x="92" y="22"/>
                    <a:pt x="91" y="22"/>
                    <a:pt x="91" y="22"/>
                  </a:cubicBezTo>
                  <a:cubicBezTo>
                    <a:pt x="91" y="21"/>
                    <a:pt x="91" y="19"/>
                    <a:pt x="90" y="18"/>
                  </a:cubicBezTo>
                  <a:cubicBezTo>
                    <a:pt x="89" y="17"/>
                    <a:pt x="87" y="16"/>
                    <a:pt x="85" y="14"/>
                  </a:cubicBezTo>
                  <a:cubicBezTo>
                    <a:pt x="82" y="13"/>
                    <a:pt x="80" y="12"/>
                    <a:pt x="78" y="10"/>
                  </a:cubicBezTo>
                  <a:cubicBezTo>
                    <a:pt x="74" y="8"/>
                    <a:pt x="70" y="6"/>
                    <a:pt x="65" y="4"/>
                  </a:cubicBezTo>
                  <a:cubicBezTo>
                    <a:pt x="58" y="1"/>
                    <a:pt x="50" y="0"/>
                    <a:pt x="44" y="1"/>
                  </a:cubicBezTo>
                  <a:cubicBezTo>
                    <a:pt x="29" y="2"/>
                    <a:pt x="14" y="9"/>
                    <a:pt x="7" y="22"/>
                  </a:cubicBezTo>
                  <a:cubicBezTo>
                    <a:pt x="2" y="30"/>
                    <a:pt x="1" y="40"/>
                    <a:pt x="0" y="49"/>
                  </a:cubicBezTo>
                  <a:cubicBezTo>
                    <a:pt x="0" y="54"/>
                    <a:pt x="1" y="59"/>
                    <a:pt x="1" y="63"/>
                  </a:cubicBezTo>
                  <a:cubicBezTo>
                    <a:pt x="2" y="68"/>
                    <a:pt x="2" y="73"/>
                    <a:pt x="4" y="76"/>
                  </a:cubicBezTo>
                  <a:close/>
                  <a:moveTo>
                    <a:pt x="85" y="35"/>
                  </a:moveTo>
                  <a:cubicBezTo>
                    <a:pt x="85" y="35"/>
                    <a:pt x="85" y="35"/>
                    <a:pt x="85" y="35"/>
                  </a:cubicBezTo>
                  <a:cubicBezTo>
                    <a:pt x="84" y="38"/>
                    <a:pt x="82" y="41"/>
                    <a:pt x="80" y="44"/>
                  </a:cubicBezTo>
                  <a:cubicBezTo>
                    <a:pt x="76" y="50"/>
                    <a:pt x="72" y="55"/>
                    <a:pt x="66" y="59"/>
                  </a:cubicBezTo>
                  <a:cubicBezTo>
                    <a:pt x="55" y="69"/>
                    <a:pt x="42" y="75"/>
                    <a:pt x="28" y="77"/>
                  </a:cubicBezTo>
                  <a:cubicBezTo>
                    <a:pt x="25" y="77"/>
                    <a:pt x="22" y="77"/>
                    <a:pt x="18" y="78"/>
                  </a:cubicBezTo>
                  <a:cubicBezTo>
                    <a:pt x="15" y="78"/>
                    <a:pt x="12" y="78"/>
                    <a:pt x="8" y="78"/>
                  </a:cubicBezTo>
                  <a:cubicBezTo>
                    <a:pt x="9" y="71"/>
                    <a:pt x="11" y="64"/>
                    <a:pt x="13" y="57"/>
                  </a:cubicBezTo>
                  <a:cubicBezTo>
                    <a:pt x="15" y="50"/>
                    <a:pt x="18" y="43"/>
                    <a:pt x="22" y="38"/>
                  </a:cubicBezTo>
                  <a:cubicBezTo>
                    <a:pt x="32" y="25"/>
                    <a:pt x="49" y="22"/>
                    <a:pt x="65" y="22"/>
                  </a:cubicBezTo>
                  <a:cubicBezTo>
                    <a:pt x="69" y="22"/>
                    <a:pt x="73" y="22"/>
                    <a:pt x="77" y="23"/>
                  </a:cubicBezTo>
                  <a:cubicBezTo>
                    <a:pt x="79" y="24"/>
                    <a:pt x="81" y="24"/>
                    <a:pt x="83" y="25"/>
                  </a:cubicBezTo>
                  <a:cubicBezTo>
                    <a:pt x="85" y="26"/>
                    <a:pt x="86" y="26"/>
                    <a:pt x="88" y="27"/>
                  </a:cubicBezTo>
                  <a:cubicBezTo>
                    <a:pt x="88" y="28"/>
                    <a:pt x="87" y="29"/>
                    <a:pt x="87" y="29"/>
                  </a:cubicBezTo>
                  <a:cubicBezTo>
                    <a:pt x="86" y="31"/>
                    <a:pt x="86" y="33"/>
                    <a:pt x="85" y="35"/>
                  </a:cubicBezTo>
                  <a:close/>
                  <a:moveTo>
                    <a:pt x="5" y="51"/>
                  </a:moveTo>
                  <a:cubicBezTo>
                    <a:pt x="5" y="51"/>
                    <a:pt x="5" y="51"/>
                    <a:pt x="5" y="51"/>
                  </a:cubicBezTo>
                  <a:cubicBezTo>
                    <a:pt x="5" y="43"/>
                    <a:pt x="6" y="34"/>
                    <a:pt x="10" y="27"/>
                  </a:cubicBezTo>
                  <a:cubicBezTo>
                    <a:pt x="17" y="14"/>
                    <a:pt x="31" y="8"/>
                    <a:pt x="45" y="7"/>
                  </a:cubicBezTo>
                  <a:cubicBezTo>
                    <a:pt x="51" y="6"/>
                    <a:pt x="58" y="7"/>
                    <a:pt x="64" y="9"/>
                  </a:cubicBezTo>
                  <a:cubicBezTo>
                    <a:pt x="68" y="11"/>
                    <a:pt x="72" y="13"/>
                    <a:pt x="76" y="15"/>
                  </a:cubicBezTo>
                  <a:cubicBezTo>
                    <a:pt x="76" y="16"/>
                    <a:pt x="77" y="16"/>
                    <a:pt x="78" y="17"/>
                  </a:cubicBezTo>
                  <a:cubicBezTo>
                    <a:pt x="73" y="16"/>
                    <a:pt x="69" y="15"/>
                    <a:pt x="65" y="15"/>
                  </a:cubicBezTo>
                  <a:cubicBezTo>
                    <a:pt x="57" y="15"/>
                    <a:pt x="48" y="16"/>
                    <a:pt x="41" y="18"/>
                  </a:cubicBezTo>
                  <a:cubicBezTo>
                    <a:pt x="33" y="21"/>
                    <a:pt x="26" y="25"/>
                    <a:pt x="20" y="31"/>
                  </a:cubicBezTo>
                  <a:cubicBezTo>
                    <a:pt x="15" y="37"/>
                    <a:pt x="11" y="44"/>
                    <a:pt x="9" y="51"/>
                  </a:cubicBezTo>
                  <a:cubicBezTo>
                    <a:pt x="7" y="55"/>
                    <a:pt x="6" y="59"/>
                    <a:pt x="5" y="63"/>
                  </a:cubicBezTo>
                  <a:cubicBezTo>
                    <a:pt x="5" y="59"/>
                    <a:pt x="5" y="55"/>
                    <a:pt x="5" y="51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4" name="îŝļíďè">
              <a:extLst>
                <a:ext uri="{FF2B5EF4-FFF2-40B4-BE49-F238E27FC236}">
                  <a16:creationId xmlns:a16="http://schemas.microsoft.com/office/drawing/2014/main" id="{51FD9D9D-9599-4A8B-B6B2-CEC232F3258D}"/>
                </a:ext>
              </a:extLst>
            </p:cNvPr>
            <p:cNvSpPr/>
            <p:nvPr/>
          </p:nvSpPr>
          <p:spPr bwMode="auto">
            <a:xfrm>
              <a:off x="3772303" y="1178839"/>
              <a:ext cx="4648876" cy="4765801"/>
            </a:xfrm>
            <a:custGeom>
              <a:avLst/>
              <a:gdLst>
                <a:gd name="T0" fmla="*/ 530 w 1511"/>
                <a:gd name="T1" fmla="*/ 16 h 1551"/>
                <a:gd name="T2" fmla="*/ 622 w 1511"/>
                <a:gd name="T3" fmla="*/ 1546 h 1551"/>
                <a:gd name="T4" fmla="*/ 1166 w 1511"/>
                <a:gd name="T5" fmla="*/ 814 h 1551"/>
                <a:gd name="T6" fmla="*/ 190 w 1511"/>
                <a:gd name="T7" fmla="*/ 750 h 1551"/>
                <a:gd name="T8" fmla="*/ 550 w 1511"/>
                <a:gd name="T9" fmla="*/ 198 h 1551"/>
                <a:gd name="T10" fmla="*/ 636 w 1511"/>
                <a:gd name="T11" fmla="*/ 205 h 1551"/>
                <a:gd name="T12" fmla="*/ 878 w 1511"/>
                <a:gd name="T13" fmla="*/ 436 h 1551"/>
                <a:gd name="T14" fmla="*/ 1157 w 1511"/>
                <a:gd name="T15" fmla="*/ 360 h 1551"/>
                <a:gd name="T16" fmla="*/ 999 w 1511"/>
                <a:gd name="T17" fmla="*/ 487 h 1551"/>
                <a:gd name="T18" fmla="*/ 490 w 1511"/>
                <a:gd name="T19" fmla="*/ 592 h 1551"/>
                <a:gd name="T20" fmla="*/ 349 w 1511"/>
                <a:gd name="T21" fmla="*/ 570 h 1551"/>
                <a:gd name="T22" fmla="*/ 642 w 1511"/>
                <a:gd name="T23" fmla="*/ 455 h 1551"/>
                <a:gd name="T24" fmla="*/ 676 w 1511"/>
                <a:gd name="T25" fmla="*/ 451 h 1551"/>
                <a:gd name="T26" fmla="*/ 416 w 1511"/>
                <a:gd name="T27" fmla="*/ 431 h 1551"/>
                <a:gd name="T28" fmla="*/ 692 w 1511"/>
                <a:gd name="T29" fmla="*/ 442 h 1551"/>
                <a:gd name="T30" fmla="*/ 690 w 1511"/>
                <a:gd name="T31" fmla="*/ 277 h 1551"/>
                <a:gd name="T32" fmla="*/ 273 w 1511"/>
                <a:gd name="T33" fmla="*/ 536 h 1551"/>
                <a:gd name="T34" fmla="*/ 379 w 1511"/>
                <a:gd name="T35" fmla="*/ 696 h 1551"/>
                <a:gd name="T36" fmla="*/ 709 w 1511"/>
                <a:gd name="T37" fmla="*/ 564 h 1551"/>
                <a:gd name="T38" fmla="*/ 1015 w 1511"/>
                <a:gd name="T39" fmla="*/ 540 h 1551"/>
                <a:gd name="T40" fmla="*/ 1247 w 1511"/>
                <a:gd name="T41" fmla="*/ 299 h 1551"/>
                <a:gd name="T42" fmla="*/ 1188 w 1511"/>
                <a:gd name="T43" fmla="*/ 241 h 1551"/>
                <a:gd name="T44" fmla="*/ 1138 w 1511"/>
                <a:gd name="T45" fmla="*/ 347 h 1551"/>
                <a:gd name="T46" fmla="*/ 857 w 1511"/>
                <a:gd name="T47" fmla="*/ 156 h 1551"/>
                <a:gd name="T48" fmla="*/ 730 w 1511"/>
                <a:gd name="T49" fmla="*/ 67 h 1551"/>
                <a:gd name="T50" fmla="*/ 568 w 1511"/>
                <a:gd name="T51" fmla="*/ 125 h 1551"/>
                <a:gd name="T52" fmla="*/ 497 w 1511"/>
                <a:gd name="T53" fmla="*/ 159 h 1551"/>
                <a:gd name="T54" fmla="*/ 402 w 1511"/>
                <a:gd name="T55" fmla="*/ 277 h 1551"/>
                <a:gd name="T56" fmla="*/ 317 w 1511"/>
                <a:gd name="T57" fmla="*/ 270 h 1551"/>
                <a:gd name="T58" fmla="*/ 162 w 1511"/>
                <a:gd name="T59" fmla="*/ 867 h 1551"/>
                <a:gd name="T60" fmla="*/ 291 w 1511"/>
                <a:gd name="T61" fmla="*/ 796 h 1551"/>
                <a:gd name="T62" fmla="*/ 1299 w 1511"/>
                <a:gd name="T63" fmla="*/ 998 h 1551"/>
                <a:gd name="T64" fmla="*/ 1118 w 1511"/>
                <a:gd name="T65" fmla="*/ 1120 h 1551"/>
                <a:gd name="T66" fmla="*/ 1139 w 1511"/>
                <a:gd name="T67" fmla="*/ 1093 h 1551"/>
                <a:gd name="T68" fmla="*/ 757 w 1511"/>
                <a:gd name="T69" fmla="*/ 1265 h 1551"/>
                <a:gd name="T70" fmla="*/ 496 w 1511"/>
                <a:gd name="T71" fmla="*/ 1344 h 1551"/>
                <a:gd name="T72" fmla="*/ 506 w 1511"/>
                <a:gd name="T73" fmla="*/ 1448 h 1551"/>
                <a:gd name="T74" fmla="*/ 252 w 1511"/>
                <a:gd name="T75" fmla="*/ 1325 h 1551"/>
                <a:gd name="T76" fmla="*/ 1096 w 1511"/>
                <a:gd name="T77" fmla="*/ 943 h 1551"/>
                <a:gd name="T78" fmla="*/ 855 w 1511"/>
                <a:gd name="T79" fmla="*/ 1097 h 1551"/>
                <a:gd name="T80" fmla="*/ 882 w 1511"/>
                <a:gd name="T81" fmla="*/ 1336 h 1551"/>
                <a:gd name="T82" fmla="*/ 358 w 1511"/>
                <a:gd name="T83" fmla="*/ 1243 h 1551"/>
                <a:gd name="T84" fmla="*/ 514 w 1511"/>
                <a:gd name="T85" fmla="*/ 1278 h 1551"/>
                <a:gd name="T86" fmla="*/ 612 w 1511"/>
                <a:gd name="T87" fmla="*/ 1036 h 1551"/>
                <a:gd name="T88" fmla="*/ 749 w 1511"/>
                <a:gd name="T89" fmla="*/ 1101 h 1551"/>
                <a:gd name="T90" fmla="*/ 939 w 1511"/>
                <a:gd name="T91" fmla="*/ 889 h 1551"/>
                <a:gd name="T92" fmla="*/ 1067 w 1511"/>
                <a:gd name="T93" fmla="*/ 1010 h 1551"/>
                <a:gd name="T94" fmla="*/ 988 w 1511"/>
                <a:gd name="T95" fmla="*/ 1124 h 1551"/>
                <a:gd name="T96" fmla="*/ 854 w 1511"/>
                <a:gd name="T97" fmla="*/ 981 h 1551"/>
                <a:gd name="T98" fmla="*/ 773 w 1511"/>
                <a:gd name="T99" fmla="*/ 997 h 1551"/>
                <a:gd name="T100" fmla="*/ 906 w 1511"/>
                <a:gd name="T101" fmla="*/ 930 h 1551"/>
                <a:gd name="T102" fmla="*/ 846 w 1511"/>
                <a:gd name="T103" fmla="*/ 1056 h 1551"/>
                <a:gd name="T104" fmla="*/ 1059 w 1511"/>
                <a:gd name="T105" fmla="*/ 1136 h 1551"/>
                <a:gd name="T106" fmla="*/ 1042 w 1511"/>
                <a:gd name="T107" fmla="*/ 1043 h 1551"/>
                <a:gd name="T108" fmla="*/ 962 w 1511"/>
                <a:gd name="T109" fmla="*/ 855 h 1551"/>
                <a:gd name="T110" fmla="*/ 753 w 1511"/>
                <a:gd name="T111" fmla="*/ 1032 h 1551"/>
                <a:gd name="T112" fmla="*/ 514 w 1511"/>
                <a:gd name="T113" fmla="*/ 1091 h 1551"/>
                <a:gd name="T114" fmla="*/ 999 w 1511"/>
                <a:gd name="T115" fmla="*/ 1193 h 1551"/>
                <a:gd name="T116" fmla="*/ 1148 w 1511"/>
                <a:gd name="T117" fmla="*/ 914 h 1551"/>
                <a:gd name="T118" fmla="*/ 1210 w 1511"/>
                <a:gd name="T119" fmla="*/ 916 h 1551"/>
                <a:gd name="T120" fmla="*/ 357 w 1511"/>
                <a:gd name="T121" fmla="*/ 1339 h 1551"/>
                <a:gd name="T122" fmla="*/ 948 w 1511"/>
                <a:gd name="T123" fmla="*/ 1265 h 1551"/>
                <a:gd name="T124" fmla="*/ 1350 w 1511"/>
                <a:gd name="T125" fmla="*/ 975 h 1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1" h="1551">
                  <a:moveTo>
                    <a:pt x="1459" y="1055"/>
                  </a:moveTo>
                  <a:cubicBezTo>
                    <a:pt x="1471" y="1042"/>
                    <a:pt x="1481" y="1026"/>
                    <a:pt x="1490" y="1011"/>
                  </a:cubicBezTo>
                  <a:cubicBezTo>
                    <a:pt x="1499" y="996"/>
                    <a:pt x="1505" y="979"/>
                    <a:pt x="1508" y="961"/>
                  </a:cubicBezTo>
                  <a:cubicBezTo>
                    <a:pt x="1510" y="949"/>
                    <a:pt x="1511" y="932"/>
                    <a:pt x="1500" y="925"/>
                  </a:cubicBezTo>
                  <a:cubicBezTo>
                    <a:pt x="1491" y="919"/>
                    <a:pt x="1479" y="922"/>
                    <a:pt x="1470" y="925"/>
                  </a:cubicBezTo>
                  <a:cubicBezTo>
                    <a:pt x="1466" y="926"/>
                    <a:pt x="1462" y="927"/>
                    <a:pt x="1458" y="928"/>
                  </a:cubicBezTo>
                  <a:cubicBezTo>
                    <a:pt x="1457" y="929"/>
                    <a:pt x="1456" y="929"/>
                    <a:pt x="1454" y="929"/>
                  </a:cubicBezTo>
                  <a:cubicBezTo>
                    <a:pt x="1451" y="930"/>
                    <a:pt x="1446" y="930"/>
                    <a:pt x="1442" y="931"/>
                  </a:cubicBezTo>
                  <a:cubicBezTo>
                    <a:pt x="1437" y="932"/>
                    <a:pt x="1432" y="932"/>
                    <a:pt x="1427" y="932"/>
                  </a:cubicBezTo>
                  <a:cubicBezTo>
                    <a:pt x="1416" y="934"/>
                    <a:pt x="1406" y="932"/>
                    <a:pt x="1396" y="930"/>
                  </a:cubicBezTo>
                  <a:cubicBezTo>
                    <a:pt x="1386" y="929"/>
                    <a:pt x="1376" y="926"/>
                    <a:pt x="1366" y="923"/>
                  </a:cubicBezTo>
                  <a:cubicBezTo>
                    <a:pt x="1357" y="920"/>
                    <a:pt x="1348" y="917"/>
                    <a:pt x="1338" y="913"/>
                  </a:cubicBezTo>
                  <a:cubicBezTo>
                    <a:pt x="1330" y="910"/>
                    <a:pt x="1323" y="907"/>
                    <a:pt x="1316" y="904"/>
                  </a:cubicBezTo>
                  <a:cubicBezTo>
                    <a:pt x="1315" y="902"/>
                    <a:pt x="1315" y="900"/>
                    <a:pt x="1314" y="898"/>
                  </a:cubicBezTo>
                  <a:cubicBezTo>
                    <a:pt x="1312" y="894"/>
                    <a:pt x="1311" y="890"/>
                    <a:pt x="1309" y="886"/>
                  </a:cubicBezTo>
                  <a:cubicBezTo>
                    <a:pt x="1306" y="878"/>
                    <a:pt x="1303" y="871"/>
                    <a:pt x="1299" y="863"/>
                  </a:cubicBezTo>
                  <a:cubicBezTo>
                    <a:pt x="1291" y="849"/>
                    <a:pt x="1282" y="835"/>
                    <a:pt x="1271" y="823"/>
                  </a:cubicBezTo>
                  <a:cubicBezTo>
                    <a:pt x="1266" y="817"/>
                    <a:pt x="1260" y="812"/>
                    <a:pt x="1254" y="807"/>
                  </a:cubicBezTo>
                  <a:cubicBezTo>
                    <a:pt x="1253" y="806"/>
                    <a:pt x="1252" y="806"/>
                    <a:pt x="1252" y="805"/>
                  </a:cubicBezTo>
                  <a:cubicBezTo>
                    <a:pt x="1252" y="805"/>
                    <a:pt x="1253" y="805"/>
                    <a:pt x="1253" y="805"/>
                  </a:cubicBezTo>
                  <a:cubicBezTo>
                    <a:pt x="1254" y="805"/>
                    <a:pt x="1255" y="805"/>
                    <a:pt x="1256" y="805"/>
                  </a:cubicBezTo>
                  <a:cubicBezTo>
                    <a:pt x="1261" y="805"/>
                    <a:pt x="1266" y="804"/>
                    <a:pt x="1271" y="803"/>
                  </a:cubicBezTo>
                  <a:cubicBezTo>
                    <a:pt x="1276" y="801"/>
                    <a:pt x="1280" y="799"/>
                    <a:pt x="1284" y="797"/>
                  </a:cubicBezTo>
                  <a:cubicBezTo>
                    <a:pt x="1292" y="794"/>
                    <a:pt x="1300" y="789"/>
                    <a:pt x="1307" y="784"/>
                  </a:cubicBezTo>
                  <a:cubicBezTo>
                    <a:pt x="1313" y="779"/>
                    <a:pt x="1320" y="773"/>
                    <a:pt x="1326" y="768"/>
                  </a:cubicBezTo>
                  <a:cubicBezTo>
                    <a:pt x="1330" y="764"/>
                    <a:pt x="1335" y="759"/>
                    <a:pt x="1340" y="755"/>
                  </a:cubicBezTo>
                  <a:cubicBezTo>
                    <a:pt x="1362" y="735"/>
                    <a:pt x="1382" y="712"/>
                    <a:pt x="1400" y="687"/>
                  </a:cubicBezTo>
                  <a:cubicBezTo>
                    <a:pt x="1417" y="662"/>
                    <a:pt x="1431" y="634"/>
                    <a:pt x="1434" y="603"/>
                  </a:cubicBezTo>
                  <a:cubicBezTo>
                    <a:pt x="1436" y="589"/>
                    <a:pt x="1434" y="574"/>
                    <a:pt x="1428" y="561"/>
                  </a:cubicBezTo>
                  <a:cubicBezTo>
                    <a:pt x="1423" y="549"/>
                    <a:pt x="1413" y="538"/>
                    <a:pt x="1403" y="530"/>
                  </a:cubicBezTo>
                  <a:cubicBezTo>
                    <a:pt x="1392" y="520"/>
                    <a:pt x="1379" y="512"/>
                    <a:pt x="1366" y="506"/>
                  </a:cubicBezTo>
                  <a:cubicBezTo>
                    <a:pt x="1354" y="499"/>
                    <a:pt x="1340" y="494"/>
                    <a:pt x="1327" y="488"/>
                  </a:cubicBezTo>
                  <a:cubicBezTo>
                    <a:pt x="1324" y="487"/>
                    <a:pt x="1322" y="486"/>
                    <a:pt x="1319" y="485"/>
                  </a:cubicBezTo>
                  <a:cubicBezTo>
                    <a:pt x="1318" y="484"/>
                    <a:pt x="1317" y="484"/>
                    <a:pt x="1316" y="483"/>
                  </a:cubicBezTo>
                  <a:cubicBezTo>
                    <a:pt x="1311" y="480"/>
                    <a:pt x="1306" y="478"/>
                    <a:pt x="1302" y="476"/>
                  </a:cubicBezTo>
                  <a:cubicBezTo>
                    <a:pt x="1297" y="473"/>
                    <a:pt x="1291" y="471"/>
                    <a:pt x="1286" y="470"/>
                  </a:cubicBezTo>
                  <a:cubicBezTo>
                    <a:pt x="1284" y="469"/>
                    <a:pt x="1282" y="469"/>
                    <a:pt x="1280" y="468"/>
                  </a:cubicBezTo>
                  <a:cubicBezTo>
                    <a:pt x="1278" y="461"/>
                    <a:pt x="1274" y="454"/>
                    <a:pt x="1269" y="448"/>
                  </a:cubicBezTo>
                  <a:cubicBezTo>
                    <a:pt x="1261" y="440"/>
                    <a:pt x="1252" y="434"/>
                    <a:pt x="1241" y="431"/>
                  </a:cubicBezTo>
                  <a:cubicBezTo>
                    <a:pt x="1249" y="428"/>
                    <a:pt x="1255" y="423"/>
                    <a:pt x="1261" y="417"/>
                  </a:cubicBezTo>
                  <a:cubicBezTo>
                    <a:pt x="1270" y="408"/>
                    <a:pt x="1278" y="397"/>
                    <a:pt x="1282" y="385"/>
                  </a:cubicBezTo>
                  <a:cubicBezTo>
                    <a:pt x="1292" y="360"/>
                    <a:pt x="1295" y="329"/>
                    <a:pt x="1277" y="307"/>
                  </a:cubicBezTo>
                  <a:cubicBezTo>
                    <a:pt x="1269" y="297"/>
                    <a:pt x="1255" y="289"/>
                    <a:pt x="1242" y="289"/>
                  </a:cubicBezTo>
                  <a:cubicBezTo>
                    <a:pt x="1233" y="289"/>
                    <a:pt x="1226" y="292"/>
                    <a:pt x="1219" y="297"/>
                  </a:cubicBezTo>
                  <a:cubicBezTo>
                    <a:pt x="1220" y="293"/>
                    <a:pt x="1221" y="288"/>
                    <a:pt x="1221" y="284"/>
                  </a:cubicBezTo>
                  <a:cubicBezTo>
                    <a:pt x="1221" y="276"/>
                    <a:pt x="1220" y="268"/>
                    <a:pt x="1218" y="261"/>
                  </a:cubicBezTo>
                  <a:cubicBezTo>
                    <a:pt x="1215" y="248"/>
                    <a:pt x="1207" y="234"/>
                    <a:pt x="1195" y="227"/>
                  </a:cubicBezTo>
                  <a:cubicBezTo>
                    <a:pt x="1181" y="219"/>
                    <a:pt x="1164" y="221"/>
                    <a:pt x="1152" y="229"/>
                  </a:cubicBezTo>
                  <a:cubicBezTo>
                    <a:pt x="1138" y="237"/>
                    <a:pt x="1130" y="252"/>
                    <a:pt x="1126" y="267"/>
                  </a:cubicBezTo>
                  <a:cubicBezTo>
                    <a:pt x="1125" y="269"/>
                    <a:pt x="1125" y="271"/>
                    <a:pt x="1125" y="273"/>
                  </a:cubicBezTo>
                  <a:cubicBezTo>
                    <a:pt x="1113" y="270"/>
                    <a:pt x="1103" y="265"/>
                    <a:pt x="1093" y="259"/>
                  </a:cubicBezTo>
                  <a:cubicBezTo>
                    <a:pt x="1088" y="256"/>
                    <a:pt x="1083" y="253"/>
                    <a:pt x="1078" y="250"/>
                  </a:cubicBezTo>
                  <a:cubicBezTo>
                    <a:pt x="1089" y="214"/>
                    <a:pt x="1097" y="176"/>
                    <a:pt x="1093" y="139"/>
                  </a:cubicBezTo>
                  <a:cubicBezTo>
                    <a:pt x="1092" y="126"/>
                    <a:pt x="1090" y="113"/>
                    <a:pt x="1086" y="101"/>
                  </a:cubicBezTo>
                  <a:cubicBezTo>
                    <a:pt x="1083" y="87"/>
                    <a:pt x="1079" y="74"/>
                    <a:pt x="1072" y="62"/>
                  </a:cubicBezTo>
                  <a:cubicBezTo>
                    <a:pt x="1072" y="60"/>
                    <a:pt x="1070" y="60"/>
                    <a:pt x="1068" y="60"/>
                  </a:cubicBezTo>
                  <a:cubicBezTo>
                    <a:pt x="1067" y="60"/>
                    <a:pt x="1065" y="61"/>
                    <a:pt x="1065" y="64"/>
                  </a:cubicBezTo>
                  <a:cubicBezTo>
                    <a:pt x="1066" y="73"/>
                    <a:pt x="1067" y="82"/>
                    <a:pt x="1067" y="92"/>
                  </a:cubicBezTo>
                  <a:cubicBezTo>
                    <a:pt x="1067" y="96"/>
                    <a:pt x="1067" y="100"/>
                    <a:pt x="1067" y="104"/>
                  </a:cubicBezTo>
                  <a:cubicBezTo>
                    <a:pt x="1067" y="106"/>
                    <a:pt x="1067" y="108"/>
                    <a:pt x="1067" y="110"/>
                  </a:cubicBezTo>
                  <a:cubicBezTo>
                    <a:pt x="1066" y="111"/>
                    <a:pt x="1066" y="111"/>
                    <a:pt x="1066" y="111"/>
                  </a:cubicBezTo>
                  <a:cubicBezTo>
                    <a:pt x="1066" y="111"/>
                    <a:pt x="1066" y="112"/>
                    <a:pt x="1066" y="112"/>
                  </a:cubicBezTo>
                  <a:cubicBezTo>
                    <a:pt x="1066" y="113"/>
                    <a:pt x="1066" y="114"/>
                    <a:pt x="1066" y="115"/>
                  </a:cubicBezTo>
                  <a:cubicBezTo>
                    <a:pt x="1065" y="119"/>
                    <a:pt x="1064" y="123"/>
                    <a:pt x="1063" y="127"/>
                  </a:cubicBezTo>
                  <a:cubicBezTo>
                    <a:pt x="1063" y="127"/>
                    <a:pt x="1062" y="128"/>
                    <a:pt x="1062" y="129"/>
                  </a:cubicBezTo>
                  <a:cubicBezTo>
                    <a:pt x="1062" y="129"/>
                    <a:pt x="1062" y="130"/>
                    <a:pt x="1061" y="130"/>
                  </a:cubicBezTo>
                  <a:cubicBezTo>
                    <a:pt x="1061" y="130"/>
                    <a:pt x="1061" y="130"/>
                    <a:pt x="1061" y="130"/>
                  </a:cubicBezTo>
                  <a:cubicBezTo>
                    <a:pt x="1061" y="131"/>
                    <a:pt x="1061" y="131"/>
                    <a:pt x="1061" y="131"/>
                  </a:cubicBezTo>
                  <a:cubicBezTo>
                    <a:pt x="1060" y="132"/>
                    <a:pt x="1060" y="134"/>
                    <a:pt x="1059" y="136"/>
                  </a:cubicBezTo>
                  <a:cubicBezTo>
                    <a:pt x="1058" y="137"/>
                    <a:pt x="1057" y="139"/>
                    <a:pt x="1057" y="140"/>
                  </a:cubicBezTo>
                  <a:cubicBezTo>
                    <a:pt x="1056" y="141"/>
                    <a:pt x="1056" y="142"/>
                    <a:pt x="1055" y="143"/>
                  </a:cubicBezTo>
                  <a:cubicBezTo>
                    <a:pt x="1055" y="143"/>
                    <a:pt x="1055" y="143"/>
                    <a:pt x="1054" y="144"/>
                  </a:cubicBezTo>
                  <a:cubicBezTo>
                    <a:pt x="1054" y="144"/>
                    <a:pt x="1054" y="145"/>
                    <a:pt x="1053" y="145"/>
                  </a:cubicBezTo>
                  <a:cubicBezTo>
                    <a:pt x="1051" y="148"/>
                    <a:pt x="1049" y="150"/>
                    <a:pt x="1046" y="154"/>
                  </a:cubicBezTo>
                  <a:cubicBezTo>
                    <a:pt x="1040" y="159"/>
                    <a:pt x="1034" y="164"/>
                    <a:pt x="1026" y="168"/>
                  </a:cubicBezTo>
                  <a:cubicBezTo>
                    <a:pt x="1023" y="170"/>
                    <a:pt x="1020" y="171"/>
                    <a:pt x="1017" y="173"/>
                  </a:cubicBezTo>
                  <a:cubicBezTo>
                    <a:pt x="1020" y="168"/>
                    <a:pt x="1023" y="164"/>
                    <a:pt x="1025" y="159"/>
                  </a:cubicBezTo>
                  <a:cubicBezTo>
                    <a:pt x="1029" y="147"/>
                    <a:pt x="1030" y="134"/>
                    <a:pt x="1029" y="122"/>
                  </a:cubicBezTo>
                  <a:cubicBezTo>
                    <a:pt x="1027" y="110"/>
                    <a:pt x="1024" y="98"/>
                    <a:pt x="1019" y="86"/>
                  </a:cubicBezTo>
                  <a:cubicBezTo>
                    <a:pt x="1015" y="76"/>
                    <a:pt x="1009" y="66"/>
                    <a:pt x="1001" y="58"/>
                  </a:cubicBezTo>
                  <a:cubicBezTo>
                    <a:pt x="993" y="51"/>
                    <a:pt x="983" y="48"/>
                    <a:pt x="972" y="50"/>
                  </a:cubicBezTo>
                  <a:cubicBezTo>
                    <a:pt x="966" y="52"/>
                    <a:pt x="960" y="55"/>
                    <a:pt x="956" y="59"/>
                  </a:cubicBezTo>
                  <a:cubicBezTo>
                    <a:pt x="949" y="64"/>
                    <a:pt x="943" y="70"/>
                    <a:pt x="938" y="77"/>
                  </a:cubicBezTo>
                  <a:cubicBezTo>
                    <a:pt x="930" y="89"/>
                    <a:pt x="925" y="105"/>
                    <a:pt x="925" y="120"/>
                  </a:cubicBezTo>
                  <a:cubicBezTo>
                    <a:pt x="925" y="136"/>
                    <a:pt x="929" y="151"/>
                    <a:pt x="935" y="165"/>
                  </a:cubicBezTo>
                  <a:cubicBezTo>
                    <a:pt x="938" y="173"/>
                    <a:pt x="943" y="181"/>
                    <a:pt x="949" y="188"/>
                  </a:cubicBezTo>
                  <a:cubicBezTo>
                    <a:pt x="941" y="187"/>
                    <a:pt x="933" y="187"/>
                    <a:pt x="926" y="185"/>
                  </a:cubicBezTo>
                  <a:cubicBezTo>
                    <a:pt x="924" y="185"/>
                    <a:pt x="922" y="185"/>
                    <a:pt x="921" y="184"/>
                  </a:cubicBezTo>
                  <a:cubicBezTo>
                    <a:pt x="924" y="181"/>
                    <a:pt x="926" y="176"/>
                    <a:pt x="927" y="172"/>
                  </a:cubicBezTo>
                  <a:cubicBezTo>
                    <a:pt x="929" y="165"/>
                    <a:pt x="929" y="156"/>
                    <a:pt x="927" y="148"/>
                  </a:cubicBezTo>
                  <a:cubicBezTo>
                    <a:pt x="923" y="133"/>
                    <a:pt x="911" y="119"/>
                    <a:pt x="897" y="114"/>
                  </a:cubicBezTo>
                  <a:cubicBezTo>
                    <a:pt x="890" y="111"/>
                    <a:pt x="884" y="111"/>
                    <a:pt x="877" y="112"/>
                  </a:cubicBezTo>
                  <a:cubicBezTo>
                    <a:pt x="877" y="110"/>
                    <a:pt x="877" y="107"/>
                    <a:pt x="877" y="105"/>
                  </a:cubicBezTo>
                  <a:cubicBezTo>
                    <a:pt x="877" y="102"/>
                    <a:pt x="876" y="99"/>
                    <a:pt x="875" y="96"/>
                  </a:cubicBezTo>
                  <a:cubicBezTo>
                    <a:pt x="873" y="91"/>
                    <a:pt x="869" y="87"/>
                    <a:pt x="865" y="84"/>
                  </a:cubicBezTo>
                  <a:cubicBezTo>
                    <a:pt x="856" y="78"/>
                    <a:pt x="844" y="78"/>
                    <a:pt x="834" y="80"/>
                  </a:cubicBezTo>
                  <a:cubicBezTo>
                    <a:pt x="829" y="81"/>
                    <a:pt x="824" y="83"/>
                    <a:pt x="820" y="85"/>
                  </a:cubicBezTo>
                  <a:cubicBezTo>
                    <a:pt x="819" y="86"/>
                    <a:pt x="817" y="87"/>
                    <a:pt x="816" y="88"/>
                  </a:cubicBezTo>
                  <a:cubicBezTo>
                    <a:pt x="816" y="87"/>
                    <a:pt x="815" y="87"/>
                    <a:pt x="815" y="86"/>
                  </a:cubicBezTo>
                  <a:cubicBezTo>
                    <a:pt x="810" y="72"/>
                    <a:pt x="800" y="59"/>
                    <a:pt x="788" y="51"/>
                  </a:cubicBezTo>
                  <a:cubicBezTo>
                    <a:pt x="775" y="43"/>
                    <a:pt x="761" y="41"/>
                    <a:pt x="747" y="45"/>
                  </a:cubicBezTo>
                  <a:cubicBezTo>
                    <a:pt x="745" y="37"/>
                    <a:pt x="739" y="29"/>
                    <a:pt x="733" y="24"/>
                  </a:cubicBezTo>
                  <a:cubicBezTo>
                    <a:pt x="727" y="19"/>
                    <a:pt x="721" y="15"/>
                    <a:pt x="714" y="13"/>
                  </a:cubicBezTo>
                  <a:cubicBezTo>
                    <a:pt x="701" y="9"/>
                    <a:pt x="687" y="12"/>
                    <a:pt x="677" y="22"/>
                  </a:cubicBezTo>
                  <a:cubicBezTo>
                    <a:pt x="667" y="32"/>
                    <a:pt x="664" y="47"/>
                    <a:pt x="664" y="61"/>
                  </a:cubicBezTo>
                  <a:cubicBezTo>
                    <a:pt x="664" y="63"/>
                    <a:pt x="664" y="65"/>
                    <a:pt x="665" y="68"/>
                  </a:cubicBezTo>
                  <a:cubicBezTo>
                    <a:pt x="659" y="60"/>
                    <a:pt x="651" y="52"/>
                    <a:pt x="642" y="47"/>
                  </a:cubicBezTo>
                  <a:cubicBezTo>
                    <a:pt x="628" y="39"/>
                    <a:pt x="612" y="37"/>
                    <a:pt x="596" y="43"/>
                  </a:cubicBezTo>
                  <a:cubicBezTo>
                    <a:pt x="583" y="49"/>
                    <a:pt x="572" y="61"/>
                    <a:pt x="566" y="75"/>
                  </a:cubicBezTo>
                  <a:cubicBezTo>
                    <a:pt x="560" y="88"/>
                    <a:pt x="558" y="103"/>
                    <a:pt x="559" y="118"/>
                  </a:cubicBezTo>
                  <a:cubicBezTo>
                    <a:pt x="559" y="123"/>
                    <a:pt x="560" y="128"/>
                    <a:pt x="561" y="133"/>
                  </a:cubicBezTo>
                  <a:cubicBezTo>
                    <a:pt x="559" y="132"/>
                    <a:pt x="557" y="131"/>
                    <a:pt x="555" y="131"/>
                  </a:cubicBezTo>
                  <a:cubicBezTo>
                    <a:pt x="553" y="130"/>
                    <a:pt x="551" y="129"/>
                    <a:pt x="549" y="129"/>
                  </a:cubicBezTo>
                  <a:cubicBezTo>
                    <a:pt x="548" y="129"/>
                    <a:pt x="547" y="129"/>
                    <a:pt x="547" y="129"/>
                  </a:cubicBezTo>
                  <a:cubicBezTo>
                    <a:pt x="547" y="126"/>
                    <a:pt x="546" y="124"/>
                    <a:pt x="545" y="121"/>
                  </a:cubicBezTo>
                  <a:cubicBezTo>
                    <a:pt x="543" y="119"/>
                    <a:pt x="542" y="118"/>
                    <a:pt x="541" y="117"/>
                  </a:cubicBezTo>
                  <a:cubicBezTo>
                    <a:pt x="540" y="116"/>
                    <a:pt x="540" y="116"/>
                    <a:pt x="539" y="115"/>
                  </a:cubicBezTo>
                  <a:cubicBezTo>
                    <a:pt x="542" y="112"/>
                    <a:pt x="545" y="108"/>
                    <a:pt x="547" y="104"/>
                  </a:cubicBezTo>
                  <a:cubicBezTo>
                    <a:pt x="555" y="90"/>
                    <a:pt x="557" y="74"/>
                    <a:pt x="554" y="58"/>
                  </a:cubicBezTo>
                  <a:cubicBezTo>
                    <a:pt x="551" y="42"/>
                    <a:pt x="542" y="26"/>
                    <a:pt x="530" y="16"/>
                  </a:cubicBezTo>
                  <a:cubicBezTo>
                    <a:pt x="517" y="6"/>
                    <a:pt x="500" y="0"/>
                    <a:pt x="485" y="7"/>
                  </a:cubicBezTo>
                  <a:cubicBezTo>
                    <a:pt x="482" y="8"/>
                    <a:pt x="480" y="9"/>
                    <a:pt x="478" y="11"/>
                  </a:cubicBezTo>
                  <a:cubicBezTo>
                    <a:pt x="478" y="11"/>
                    <a:pt x="478" y="11"/>
                    <a:pt x="477" y="11"/>
                  </a:cubicBezTo>
                  <a:cubicBezTo>
                    <a:pt x="476" y="12"/>
                    <a:pt x="475" y="13"/>
                    <a:pt x="474" y="14"/>
                  </a:cubicBezTo>
                  <a:cubicBezTo>
                    <a:pt x="473" y="15"/>
                    <a:pt x="472" y="17"/>
                    <a:pt x="471" y="18"/>
                  </a:cubicBezTo>
                  <a:cubicBezTo>
                    <a:pt x="469" y="20"/>
                    <a:pt x="468" y="23"/>
                    <a:pt x="467" y="25"/>
                  </a:cubicBezTo>
                  <a:cubicBezTo>
                    <a:pt x="464" y="31"/>
                    <a:pt x="462" y="37"/>
                    <a:pt x="461" y="43"/>
                  </a:cubicBezTo>
                  <a:cubicBezTo>
                    <a:pt x="459" y="55"/>
                    <a:pt x="459" y="68"/>
                    <a:pt x="462" y="80"/>
                  </a:cubicBezTo>
                  <a:cubicBezTo>
                    <a:pt x="465" y="92"/>
                    <a:pt x="470" y="104"/>
                    <a:pt x="479" y="112"/>
                  </a:cubicBezTo>
                  <a:cubicBezTo>
                    <a:pt x="488" y="121"/>
                    <a:pt x="500" y="127"/>
                    <a:pt x="513" y="127"/>
                  </a:cubicBezTo>
                  <a:cubicBezTo>
                    <a:pt x="516" y="127"/>
                    <a:pt x="518" y="127"/>
                    <a:pt x="520" y="126"/>
                  </a:cubicBezTo>
                  <a:cubicBezTo>
                    <a:pt x="520" y="127"/>
                    <a:pt x="520" y="127"/>
                    <a:pt x="520" y="127"/>
                  </a:cubicBezTo>
                  <a:cubicBezTo>
                    <a:pt x="520" y="129"/>
                    <a:pt x="520" y="131"/>
                    <a:pt x="520" y="133"/>
                  </a:cubicBezTo>
                  <a:cubicBezTo>
                    <a:pt x="517" y="133"/>
                    <a:pt x="515" y="134"/>
                    <a:pt x="512" y="134"/>
                  </a:cubicBezTo>
                  <a:cubicBezTo>
                    <a:pt x="509" y="135"/>
                    <a:pt x="506" y="136"/>
                    <a:pt x="503" y="138"/>
                  </a:cubicBezTo>
                  <a:cubicBezTo>
                    <a:pt x="498" y="141"/>
                    <a:pt x="494" y="146"/>
                    <a:pt x="491" y="151"/>
                  </a:cubicBezTo>
                  <a:cubicBezTo>
                    <a:pt x="484" y="163"/>
                    <a:pt x="482" y="177"/>
                    <a:pt x="484" y="190"/>
                  </a:cubicBezTo>
                  <a:cubicBezTo>
                    <a:pt x="485" y="196"/>
                    <a:pt x="487" y="202"/>
                    <a:pt x="490" y="207"/>
                  </a:cubicBezTo>
                  <a:cubicBezTo>
                    <a:pt x="492" y="210"/>
                    <a:pt x="493" y="214"/>
                    <a:pt x="495" y="217"/>
                  </a:cubicBezTo>
                  <a:cubicBezTo>
                    <a:pt x="497" y="219"/>
                    <a:pt x="500" y="221"/>
                    <a:pt x="503" y="222"/>
                  </a:cubicBezTo>
                  <a:cubicBezTo>
                    <a:pt x="497" y="227"/>
                    <a:pt x="493" y="233"/>
                    <a:pt x="492" y="240"/>
                  </a:cubicBezTo>
                  <a:cubicBezTo>
                    <a:pt x="491" y="242"/>
                    <a:pt x="491" y="245"/>
                    <a:pt x="490" y="248"/>
                  </a:cubicBezTo>
                  <a:cubicBezTo>
                    <a:pt x="486" y="242"/>
                    <a:pt x="481" y="238"/>
                    <a:pt x="475" y="234"/>
                  </a:cubicBezTo>
                  <a:cubicBezTo>
                    <a:pt x="464" y="225"/>
                    <a:pt x="450" y="219"/>
                    <a:pt x="435" y="220"/>
                  </a:cubicBezTo>
                  <a:cubicBezTo>
                    <a:pt x="432" y="220"/>
                    <a:pt x="428" y="221"/>
                    <a:pt x="425" y="222"/>
                  </a:cubicBezTo>
                  <a:cubicBezTo>
                    <a:pt x="424" y="221"/>
                    <a:pt x="423" y="220"/>
                    <a:pt x="422" y="219"/>
                  </a:cubicBezTo>
                  <a:cubicBezTo>
                    <a:pt x="420" y="217"/>
                    <a:pt x="418" y="215"/>
                    <a:pt x="417" y="213"/>
                  </a:cubicBezTo>
                  <a:cubicBezTo>
                    <a:pt x="414" y="211"/>
                    <a:pt x="412" y="210"/>
                    <a:pt x="410" y="208"/>
                  </a:cubicBezTo>
                  <a:cubicBezTo>
                    <a:pt x="410" y="208"/>
                    <a:pt x="411" y="207"/>
                    <a:pt x="412" y="207"/>
                  </a:cubicBezTo>
                  <a:cubicBezTo>
                    <a:pt x="412" y="207"/>
                    <a:pt x="413" y="207"/>
                    <a:pt x="413" y="207"/>
                  </a:cubicBezTo>
                  <a:cubicBezTo>
                    <a:pt x="414" y="207"/>
                    <a:pt x="415" y="206"/>
                    <a:pt x="415" y="206"/>
                  </a:cubicBezTo>
                  <a:cubicBezTo>
                    <a:pt x="418" y="206"/>
                    <a:pt x="423" y="209"/>
                    <a:pt x="426" y="211"/>
                  </a:cubicBezTo>
                  <a:cubicBezTo>
                    <a:pt x="431" y="213"/>
                    <a:pt x="435" y="217"/>
                    <a:pt x="441" y="219"/>
                  </a:cubicBezTo>
                  <a:cubicBezTo>
                    <a:pt x="442" y="219"/>
                    <a:pt x="444" y="218"/>
                    <a:pt x="444" y="216"/>
                  </a:cubicBezTo>
                  <a:cubicBezTo>
                    <a:pt x="444" y="212"/>
                    <a:pt x="444" y="209"/>
                    <a:pt x="443" y="205"/>
                  </a:cubicBezTo>
                  <a:cubicBezTo>
                    <a:pt x="443" y="204"/>
                    <a:pt x="443" y="202"/>
                    <a:pt x="443" y="200"/>
                  </a:cubicBezTo>
                  <a:cubicBezTo>
                    <a:pt x="443" y="199"/>
                    <a:pt x="443" y="198"/>
                    <a:pt x="442" y="197"/>
                  </a:cubicBezTo>
                  <a:cubicBezTo>
                    <a:pt x="444" y="195"/>
                    <a:pt x="447" y="192"/>
                    <a:pt x="449" y="190"/>
                  </a:cubicBezTo>
                  <a:cubicBezTo>
                    <a:pt x="452" y="187"/>
                    <a:pt x="458" y="182"/>
                    <a:pt x="456" y="177"/>
                  </a:cubicBezTo>
                  <a:cubicBezTo>
                    <a:pt x="454" y="173"/>
                    <a:pt x="448" y="173"/>
                    <a:pt x="444" y="172"/>
                  </a:cubicBezTo>
                  <a:cubicBezTo>
                    <a:pt x="441" y="172"/>
                    <a:pt x="439" y="171"/>
                    <a:pt x="436" y="171"/>
                  </a:cubicBezTo>
                  <a:cubicBezTo>
                    <a:pt x="435" y="171"/>
                    <a:pt x="433" y="170"/>
                    <a:pt x="432" y="170"/>
                  </a:cubicBezTo>
                  <a:cubicBezTo>
                    <a:pt x="432" y="170"/>
                    <a:pt x="432" y="169"/>
                    <a:pt x="432" y="169"/>
                  </a:cubicBezTo>
                  <a:cubicBezTo>
                    <a:pt x="431" y="167"/>
                    <a:pt x="431" y="166"/>
                    <a:pt x="430" y="165"/>
                  </a:cubicBezTo>
                  <a:cubicBezTo>
                    <a:pt x="429" y="162"/>
                    <a:pt x="428" y="160"/>
                    <a:pt x="426" y="157"/>
                  </a:cubicBezTo>
                  <a:cubicBezTo>
                    <a:pt x="424" y="152"/>
                    <a:pt x="421" y="147"/>
                    <a:pt x="418" y="143"/>
                  </a:cubicBezTo>
                  <a:cubicBezTo>
                    <a:pt x="418" y="141"/>
                    <a:pt x="415" y="141"/>
                    <a:pt x="415" y="143"/>
                  </a:cubicBezTo>
                  <a:cubicBezTo>
                    <a:pt x="407" y="151"/>
                    <a:pt x="400" y="162"/>
                    <a:pt x="397" y="174"/>
                  </a:cubicBezTo>
                  <a:cubicBezTo>
                    <a:pt x="397" y="174"/>
                    <a:pt x="397" y="174"/>
                    <a:pt x="396" y="174"/>
                  </a:cubicBezTo>
                  <a:cubicBezTo>
                    <a:pt x="395" y="173"/>
                    <a:pt x="394" y="174"/>
                    <a:pt x="394" y="174"/>
                  </a:cubicBezTo>
                  <a:cubicBezTo>
                    <a:pt x="392" y="174"/>
                    <a:pt x="390" y="174"/>
                    <a:pt x="389" y="174"/>
                  </a:cubicBezTo>
                  <a:cubicBezTo>
                    <a:pt x="385" y="174"/>
                    <a:pt x="382" y="173"/>
                    <a:pt x="378" y="173"/>
                  </a:cubicBezTo>
                  <a:cubicBezTo>
                    <a:pt x="376" y="172"/>
                    <a:pt x="374" y="175"/>
                    <a:pt x="375" y="177"/>
                  </a:cubicBezTo>
                  <a:cubicBezTo>
                    <a:pt x="378" y="181"/>
                    <a:pt x="380" y="186"/>
                    <a:pt x="383" y="189"/>
                  </a:cubicBezTo>
                  <a:cubicBezTo>
                    <a:pt x="379" y="189"/>
                    <a:pt x="374" y="189"/>
                    <a:pt x="369" y="191"/>
                  </a:cubicBezTo>
                  <a:cubicBezTo>
                    <a:pt x="364" y="193"/>
                    <a:pt x="358" y="197"/>
                    <a:pt x="353" y="201"/>
                  </a:cubicBezTo>
                  <a:cubicBezTo>
                    <a:pt x="343" y="210"/>
                    <a:pt x="336" y="222"/>
                    <a:pt x="331" y="235"/>
                  </a:cubicBezTo>
                  <a:cubicBezTo>
                    <a:pt x="329" y="240"/>
                    <a:pt x="327" y="245"/>
                    <a:pt x="326" y="250"/>
                  </a:cubicBezTo>
                  <a:cubicBezTo>
                    <a:pt x="325" y="253"/>
                    <a:pt x="325" y="256"/>
                    <a:pt x="324" y="259"/>
                  </a:cubicBezTo>
                  <a:cubicBezTo>
                    <a:pt x="324" y="259"/>
                    <a:pt x="323" y="259"/>
                    <a:pt x="323" y="259"/>
                  </a:cubicBezTo>
                  <a:cubicBezTo>
                    <a:pt x="322" y="259"/>
                    <a:pt x="320" y="259"/>
                    <a:pt x="319" y="259"/>
                  </a:cubicBezTo>
                  <a:cubicBezTo>
                    <a:pt x="321" y="253"/>
                    <a:pt x="323" y="246"/>
                    <a:pt x="325" y="239"/>
                  </a:cubicBezTo>
                  <a:cubicBezTo>
                    <a:pt x="335" y="205"/>
                    <a:pt x="344" y="170"/>
                    <a:pt x="348" y="135"/>
                  </a:cubicBezTo>
                  <a:cubicBezTo>
                    <a:pt x="348" y="131"/>
                    <a:pt x="345" y="130"/>
                    <a:pt x="342" y="130"/>
                  </a:cubicBezTo>
                  <a:cubicBezTo>
                    <a:pt x="342" y="130"/>
                    <a:pt x="341" y="130"/>
                    <a:pt x="341" y="130"/>
                  </a:cubicBezTo>
                  <a:cubicBezTo>
                    <a:pt x="324" y="137"/>
                    <a:pt x="309" y="147"/>
                    <a:pt x="294" y="157"/>
                  </a:cubicBezTo>
                  <a:cubicBezTo>
                    <a:pt x="279" y="166"/>
                    <a:pt x="264" y="176"/>
                    <a:pt x="250" y="187"/>
                  </a:cubicBezTo>
                  <a:cubicBezTo>
                    <a:pt x="222" y="208"/>
                    <a:pt x="195" y="232"/>
                    <a:pt x="171" y="259"/>
                  </a:cubicBezTo>
                  <a:cubicBezTo>
                    <a:pt x="149" y="285"/>
                    <a:pt x="129" y="312"/>
                    <a:pt x="111" y="340"/>
                  </a:cubicBezTo>
                  <a:cubicBezTo>
                    <a:pt x="91" y="369"/>
                    <a:pt x="73" y="399"/>
                    <a:pt x="56" y="431"/>
                  </a:cubicBezTo>
                  <a:cubicBezTo>
                    <a:pt x="41" y="463"/>
                    <a:pt x="26" y="496"/>
                    <a:pt x="16" y="531"/>
                  </a:cubicBezTo>
                  <a:cubicBezTo>
                    <a:pt x="7" y="562"/>
                    <a:pt x="0" y="596"/>
                    <a:pt x="0" y="629"/>
                  </a:cubicBezTo>
                  <a:cubicBezTo>
                    <a:pt x="1" y="685"/>
                    <a:pt x="24" y="747"/>
                    <a:pt x="73" y="775"/>
                  </a:cubicBezTo>
                  <a:cubicBezTo>
                    <a:pt x="80" y="779"/>
                    <a:pt x="88" y="782"/>
                    <a:pt x="97" y="784"/>
                  </a:cubicBezTo>
                  <a:cubicBezTo>
                    <a:pt x="102" y="789"/>
                    <a:pt x="108" y="793"/>
                    <a:pt x="116" y="795"/>
                  </a:cubicBezTo>
                  <a:cubicBezTo>
                    <a:pt x="121" y="796"/>
                    <a:pt x="126" y="796"/>
                    <a:pt x="131" y="795"/>
                  </a:cubicBezTo>
                  <a:cubicBezTo>
                    <a:pt x="131" y="795"/>
                    <a:pt x="131" y="795"/>
                    <a:pt x="131" y="795"/>
                  </a:cubicBezTo>
                  <a:cubicBezTo>
                    <a:pt x="131" y="795"/>
                    <a:pt x="131" y="795"/>
                    <a:pt x="132" y="795"/>
                  </a:cubicBezTo>
                  <a:cubicBezTo>
                    <a:pt x="123" y="797"/>
                    <a:pt x="115" y="798"/>
                    <a:pt x="106" y="799"/>
                  </a:cubicBezTo>
                  <a:cubicBezTo>
                    <a:pt x="99" y="799"/>
                    <a:pt x="92" y="800"/>
                    <a:pt x="84" y="801"/>
                  </a:cubicBezTo>
                  <a:cubicBezTo>
                    <a:pt x="77" y="802"/>
                    <a:pt x="69" y="803"/>
                    <a:pt x="62" y="803"/>
                  </a:cubicBezTo>
                  <a:cubicBezTo>
                    <a:pt x="61" y="803"/>
                    <a:pt x="60" y="803"/>
                    <a:pt x="58" y="804"/>
                  </a:cubicBezTo>
                  <a:cubicBezTo>
                    <a:pt x="58" y="803"/>
                    <a:pt x="57" y="803"/>
                    <a:pt x="57" y="803"/>
                  </a:cubicBezTo>
                  <a:cubicBezTo>
                    <a:pt x="54" y="802"/>
                    <a:pt x="51" y="802"/>
                    <a:pt x="48" y="803"/>
                  </a:cubicBezTo>
                  <a:cubicBezTo>
                    <a:pt x="47" y="803"/>
                    <a:pt x="46" y="802"/>
                    <a:pt x="45" y="802"/>
                  </a:cubicBezTo>
                  <a:cubicBezTo>
                    <a:pt x="43" y="802"/>
                    <a:pt x="42" y="805"/>
                    <a:pt x="43" y="806"/>
                  </a:cubicBezTo>
                  <a:cubicBezTo>
                    <a:pt x="39" y="811"/>
                    <a:pt x="38" y="817"/>
                    <a:pt x="37" y="823"/>
                  </a:cubicBezTo>
                  <a:cubicBezTo>
                    <a:pt x="35" y="839"/>
                    <a:pt x="40" y="856"/>
                    <a:pt x="44" y="872"/>
                  </a:cubicBezTo>
                  <a:cubicBezTo>
                    <a:pt x="49" y="893"/>
                    <a:pt x="57" y="915"/>
                    <a:pt x="66" y="935"/>
                  </a:cubicBezTo>
                  <a:cubicBezTo>
                    <a:pt x="70" y="944"/>
                    <a:pt x="74" y="953"/>
                    <a:pt x="80" y="961"/>
                  </a:cubicBezTo>
                  <a:cubicBezTo>
                    <a:pt x="84" y="968"/>
                    <a:pt x="90" y="975"/>
                    <a:pt x="96" y="979"/>
                  </a:cubicBezTo>
                  <a:cubicBezTo>
                    <a:pt x="102" y="983"/>
                    <a:pt x="109" y="983"/>
                    <a:pt x="115" y="980"/>
                  </a:cubicBezTo>
                  <a:cubicBezTo>
                    <a:pt x="117" y="979"/>
                    <a:pt x="119" y="978"/>
                    <a:pt x="121" y="976"/>
                  </a:cubicBezTo>
                  <a:cubicBezTo>
                    <a:pt x="121" y="976"/>
                    <a:pt x="121" y="976"/>
                    <a:pt x="121" y="976"/>
                  </a:cubicBezTo>
                  <a:cubicBezTo>
                    <a:pt x="125" y="975"/>
                    <a:pt x="129" y="973"/>
                    <a:pt x="132" y="971"/>
                  </a:cubicBezTo>
                  <a:cubicBezTo>
                    <a:pt x="140" y="967"/>
                    <a:pt x="147" y="962"/>
                    <a:pt x="154" y="957"/>
                  </a:cubicBezTo>
                  <a:cubicBezTo>
                    <a:pt x="160" y="952"/>
                    <a:pt x="166" y="948"/>
                    <a:pt x="172" y="943"/>
                  </a:cubicBezTo>
                  <a:cubicBezTo>
                    <a:pt x="165" y="959"/>
                    <a:pt x="159" y="976"/>
                    <a:pt x="153" y="992"/>
                  </a:cubicBezTo>
                  <a:cubicBezTo>
                    <a:pt x="147" y="1015"/>
                    <a:pt x="140" y="1038"/>
                    <a:pt x="136" y="1061"/>
                  </a:cubicBezTo>
                  <a:cubicBezTo>
                    <a:pt x="131" y="1084"/>
                    <a:pt x="126" y="1108"/>
                    <a:pt x="124" y="1132"/>
                  </a:cubicBezTo>
                  <a:cubicBezTo>
                    <a:pt x="124" y="1133"/>
                    <a:pt x="124" y="1134"/>
                    <a:pt x="124" y="1134"/>
                  </a:cubicBezTo>
                  <a:cubicBezTo>
                    <a:pt x="123" y="1141"/>
                    <a:pt x="122" y="1147"/>
                    <a:pt x="121" y="1154"/>
                  </a:cubicBezTo>
                  <a:cubicBezTo>
                    <a:pt x="118" y="1175"/>
                    <a:pt x="117" y="1197"/>
                    <a:pt x="120" y="1218"/>
                  </a:cubicBezTo>
                  <a:cubicBezTo>
                    <a:pt x="122" y="1236"/>
                    <a:pt x="128" y="1254"/>
                    <a:pt x="136" y="1270"/>
                  </a:cubicBezTo>
                  <a:cubicBezTo>
                    <a:pt x="143" y="1285"/>
                    <a:pt x="151" y="1298"/>
                    <a:pt x="162" y="1310"/>
                  </a:cubicBezTo>
                  <a:cubicBezTo>
                    <a:pt x="182" y="1334"/>
                    <a:pt x="209" y="1352"/>
                    <a:pt x="238" y="1363"/>
                  </a:cubicBezTo>
                  <a:cubicBezTo>
                    <a:pt x="254" y="1368"/>
                    <a:pt x="271" y="1372"/>
                    <a:pt x="288" y="1374"/>
                  </a:cubicBezTo>
                  <a:cubicBezTo>
                    <a:pt x="298" y="1375"/>
                    <a:pt x="308" y="1376"/>
                    <a:pt x="318" y="1377"/>
                  </a:cubicBezTo>
                  <a:cubicBezTo>
                    <a:pt x="323" y="1377"/>
                    <a:pt x="328" y="1378"/>
                    <a:pt x="333" y="1378"/>
                  </a:cubicBezTo>
                  <a:cubicBezTo>
                    <a:pt x="336" y="1378"/>
                    <a:pt x="338" y="1378"/>
                    <a:pt x="341" y="1378"/>
                  </a:cubicBezTo>
                  <a:cubicBezTo>
                    <a:pt x="343" y="1378"/>
                    <a:pt x="344" y="1378"/>
                    <a:pt x="345" y="1378"/>
                  </a:cubicBezTo>
                  <a:cubicBezTo>
                    <a:pt x="346" y="1378"/>
                    <a:pt x="346" y="1378"/>
                    <a:pt x="347" y="1377"/>
                  </a:cubicBezTo>
                  <a:cubicBezTo>
                    <a:pt x="346" y="1384"/>
                    <a:pt x="346" y="1391"/>
                    <a:pt x="346" y="1398"/>
                  </a:cubicBezTo>
                  <a:cubicBezTo>
                    <a:pt x="346" y="1402"/>
                    <a:pt x="349" y="1404"/>
                    <a:pt x="352" y="1403"/>
                  </a:cubicBezTo>
                  <a:cubicBezTo>
                    <a:pt x="371" y="1396"/>
                    <a:pt x="390" y="1388"/>
                    <a:pt x="408" y="1381"/>
                  </a:cubicBezTo>
                  <a:cubicBezTo>
                    <a:pt x="412" y="1390"/>
                    <a:pt x="417" y="1399"/>
                    <a:pt x="422" y="1408"/>
                  </a:cubicBezTo>
                  <a:cubicBezTo>
                    <a:pt x="429" y="1418"/>
                    <a:pt x="436" y="1427"/>
                    <a:pt x="443" y="1437"/>
                  </a:cubicBezTo>
                  <a:cubicBezTo>
                    <a:pt x="458" y="1455"/>
                    <a:pt x="475" y="1473"/>
                    <a:pt x="493" y="1488"/>
                  </a:cubicBezTo>
                  <a:cubicBezTo>
                    <a:pt x="512" y="1504"/>
                    <a:pt x="531" y="1517"/>
                    <a:pt x="552" y="1527"/>
                  </a:cubicBezTo>
                  <a:cubicBezTo>
                    <a:pt x="574" y="1537"/>
                    <a:pt x="598" y="1543"/>
                    <a:pt x="622" y="1546"/>
                  </a:cubicBezTo>
                  <a:cubicBezTo>
                    <a:pt x="673" y="1551"/>
                    <a:pt x="726" y="1543"/>
                    <a:pt x="774" y="1524"/>
                  </a:cubicBezTo>
                  <a:cubicBezTo>
                    <a:pt x="781" y="1522"/>
                    <a:pt x="788" y="1519"/>
                    <a:pt x="794" y="1516"/>
                  </a:cubicBezTo>
                  <a:cubicBezTo>
                    <a:pt x="801" y="1513"/>
                    <a:pt x="807" y="1511"/>
                    <a:pt x="813" y="1508"/>
                  </a:cubicBezTo>
                  <a:cubicBezTo>
                    <a:pt x="826" y="1502"/>
                    <a:pt x="838" y="1496"/>
                    <a:pt x="848" y="1485"/>
                  </a:cubicBezTo>
                  <a:cubicBezTo>
                    <a:pt x="848" y="1484"/>
                    <a:pt x="848" y="1484"/>
                    <a:pt x="848" y="1484"/>
                  </a:cubicBezTo>
                  <a:cubicBezTo>
                    <a:pt x="851" y="1489"/>
                    <a:pt x="854" y="1494"/>
                    <a:pt x="857" y="1500"/>
                  </a:cubicBezTo>
                  <a:cubicBezTo>
                    <a:pt x="858" y="1503"/>
                    <a:pt x="862" y="1503"/>
                    <a:pt x="864" y="1500"/>
                  </a:cubicBezTo>
                  <a:cubicBezTo>
                    <a:pt x="875" y="1482"/>
                    <a:pt x="887" y="1464"/>
                    <a:pt x="899" y="1446"/>
                  </a:cubicBezTo>
                  <a:cubicBezTo>
                    <a:pt x="904" y="1438"/>
                    <a:pt x="910" y="1429"/>
                    <a:pt x="915" y="1421"/>
                  </a:cubicBezTo>
                  <a:cubicBezTo>
                    <a:pt x="918" y="1417"/>
                    <a:pt x="920" y="1414"/>
                    <a:pt x="923" y="1410"/>
                  </a:cubicBezTo>
                  <a:cubicBezTo>
                    <a:pt x="924" y="1409"/>
                    <a:pt x="926" y="1407"/>
                    <a:pt x="927" y="1405"/>
                  </a:cubicBezTo>
                  <a:cubicBezTo>
                    <a:pt x="929" y="1404"/>
                    <a:pt x="931" y="1402"/>
                    <a:pt x="932" y="1399"/>
                  </a:cubicBezTo>
                  <a:cubicBezTo>
                    <a:pt x="933" y="1399"/>
                    <a:pt x="933" y="1398"/>
                    <a:pt x="933" y="1398"/>
                  </a:cubicBezTo>
                  <a:cubicBezTo>
                    <a:pt x="933" y="1398"/>
                    <a:pt x="933" y="1398"/>
                    <a:pt x="933" y="1398"/>
                  </a:cubicBezTo>
                  <a:cubicBezTo>
                    <a:pt x="936" y="1406"/>
                    <a:pt x="941" y="1413"/>
                    <a:pt x="945" y="1420"/>
                  </a:cubicBezTo>
                  <a:cubicBezTo>
                    <a:pt x="948" y="1424"/>
                    <a:pt x="950" y="1428"/>
                    <a:pt x="953" y="1432"/>
                  </a:cubicBezTo>
                  <a:cubicBezTo>
                    <a:pt x="954" y="1434"/>
                    <a:pt x="955" y="1436"/>
                    <a:pt x="956" y="1438"/>
                  </a:cubicBezTo>
                  <a:cubicBezTo>
                    <a:pt x="957" y="1439"/>
                    <a:pt x="957" y="1440"/>
                    <a:pt x="958" y="1441"/>
                  </a:cubicBezTo>
                  <a:cubicBezTo>
                    <a:pt x="957" y="1445"/>
                    <a:pt x="956" y="1449"/>
                    <a:pt x="955" y="1453"/>
                  </a:cubicBezTo>
                  <a:cubicBezTo>
                    <a:pt x="954" y="1458"/>
                    <a:pt x="952" y="1463"/>
                    <a:pt x="951" y="1468"/>
                  </a:cubicBezTo>
                  <a:cubicBezTo>
                    <a:pt x="949" y="1472"/>
                    <a:pt x="947" y="1477"/>
                    <a:pt x="946" y="1482"/>
                  </a:cubicBezTo>
                  <a:cubicBezTo>
                    <a:pt x="945" y="1485"/>
                    <a:pt x="946" y="1487"/>
                    <a:pt x="949" y="1489"/>
                  </a:cubicBezTo>
                  <a:cubicBezTo>
                    <a:pt x="952" y="1491"/>
                    <a:pt x="955" y="1489"/>
                    <a:pt x="957" y="1487"/>
                  </a:cubicBezTo>
                  <a:cubicBezTo>
                    <a:pt x="958" y="1487"/>
                    <a:pt x="960" y="1488"/>
                    <a:pt x="961" y="1487"/>
                  </a:cubicBezTo>
                  <a:cubicBezTo>
                    <a:pt x="973" y="1483"/>
                    <a:pt x="985" y="1477"/>
                    <a:pt x="996" y="1471"/>
                  </a:cubicBezTo>
                  <a:cubicBezTo>
                    <a:pt x="1008" y="1465"/>
                    <a:pt x="1018" y="1458"/>
                    <a:pt x="1029" y="1452"/>
                  </a:cubicBezTo>
                  <a:cubicBezTo>
                    <a:pt x="1051" y="1440"/>
                    <a:pt x="1071" y="1426"/>
                    <a:pt x="1091" y="1410"/>
                  </a:cubicBezTo>
                  <a:cubicBezTo>
                    <a:pt x="1127" y="1382"/>
                    <a:pt x="1160" y="1351"/>
                    <a:pt x="1188" y="1315"/>
                  </a:cubicBezTo>
                  <a:cubicBezTo>
                    <a:pt x="1203" y="1296"/>
                    <a:pt x="1215" y="1277"/>
                    <a:pt x="1226" y="1256"/>
                  </a:cubicBezTo>
                  <a:cubicBezTo>
                    <a:pt x="1236" y="1235"/>
                    <a:pt x="1244" y="1212"/>
                    <a:pt x="1250" y="1190"/>
                  </a:cubicBezTo>
                  <a:cubicBezTo>
                    <a:pt x="1252" y="1178"/>
                    <a:pt x="1255" y="1167"/>
                    <a:pt x="1256" y="1156"/>
                  </a:cubicBezTo>
                  <a:cubicBezTo>
                    <a:pt x="1257" y="1144"/>
                    <a:pt x="1259" y="1132"/>
                    <a:pt x="1259" y="1119"/>
                  </a:cubicBezTo>
                  <a:cubicBezTo>
                    <a:pt x="1259" y="1108"/>
                    <a:pt x="1258" y="1096"/>
                    <a:pt x="1256" y="1084"/>
                  </a:cubicBezTo>
                  <a:cubicBezTo>
                    <a:pt x="1255" y="1079"/>
                    <a:pt x="1255" y="1073"/>
                    <a:pt x="1254" y="1067"/>
                  </a:cubicBezTo>
                  <a:cubicBezTo>
                    <a:pt x="1253" y="1065"/>
                    <a:pt x="1252" y="1062"/>
                    <a:pt x="1252" y="1060"/>
                  </a:cubicBezTo>
                  <a:cubicBezTo>
                    <a:pt x="1252" y="1059"/>
                    <a:pt x="1251" y="1059"/>
                    <a:pt x="1251" y="1059"/>
                  </a:cubicBezTo>
                  <a:cubicBezTo>
                    <a:pt x="1251" y="1057"/>
                    <a:pt x="1251" y="1057"/>
                    <a:pt x="1251" y="1056"/>
                  </a:cubicBezTo>
                  <a:cubicBezTo>
                    <a:pt x="1252" y="1056"/>
                    <a:pt x="1253" y="1055"/>
                    <a:pt x="1254" y="1055"/>
                  </a:cubicBezTo>
                  <a:cubicBezTo>
                    <a:pt x="1256" y="1055"/>
                    <a:pt x="1260" y="1054"/>
                    <a:pt x="1263" y="1053"/>
                  </a:cubicBezTo>
                  <a:cubicBezTo>
                    <a:pt x="1270" y="1051"/>
                    <a:pt x="1277" y="1048"/>
                    <a:pt x="1282" y="1044"/>
                  </a:cubicBezTo>
                  <a:cubicBezTo>
                    <a:pt x="1286" y="1042"/>
                    <a:pt x="1289" y="1040"/>
                    <a:pt x="1293" y="1038"/>
                  </a:cubicBezTo>
                  <a:cubicBezTo>
                    <a:pt x="1292" y="1038"/>
                    <a:pt x="1292" y="1039"/>
                    <a:pt x="1292" y="1039"/>
                  </a:cubicBezTo>
                  <a:cubicBezTo>
                    <a:pt x="1291" y="1046"/>
                    <a:pt x="1295" y="1053"/>
                    <a:pt x="1301" y="1055"/>
                  </a:cubicBezTo>
                  <a:cubicBezTo>
                    <a:pt x="1305" y="1057"/>
                    <a:pt x="1309" y="1058"/>
                    <a:pt x="1313" y="1056"/>
                  </a:cubicBezTo>
                  <a:cubicBezTo>
                    <a:pt x="1317" y="1054"/>
                    <a:pt x="1319" y="1051"/>
                    <a:pt x="1321" y="1048"/>
                  </a:cubicBezTo>
                  <a:cubicBezTo>
                    <a:pt x="1325" y="1042"/>
                    <a:pt x="1326" y="1034"/>
                    <a:pt x="1323" y="1028"/>
                  </a:cubicBezTo>
                  <a:cubicBezTo>
                    <a:pt x="1321" y="1024"/>
                    <a:pt x="1318" y="1023"/>
                    <a:pt x="1314" y="1023"/>
                  </a:cubicBezTo>
                  <a:cubicBezTo>
                    <a:pt x="1312" y="1023"/>
                    <a:pt x="1310" y="1023"/>
                    <a:pt x="1308" y="1024"/>
                  </a:cubicBezTo>
                  <a:cubicBezTo>
                    <a:pt x="1308" y="1024"/>
                    <a:pt x="1307" y="1025"/>
                    <a:pt x="1307" y="1025"/>
                  </a:cubicBezTo>
                  <a:cubicBezTo>
                    <a:pt x="1310" y="1022"/>
                    <a:pt x="1313" y="1018"/>
                    <a:pt x="1316" y="1015"/>
                  </a:cubicBezTo>
                  <a:cubicBezTo>
                    <a:pt x="1326" y="1001"/>
                    <a:pt x="1331" y="981"/>
                    <a:pt x="1326" y="964"/>
                  </a:cubicBezTo>
                  <a:cubicBezTo>
                    <a:pt x="1344" y="979"/>
                    <a:pt x="1360" y="998"/>
                    <a:pt x="1371" y="1019"/>
                  </a:cubicBezTo>
                  <a:cubicBezTo>
                    <a:pt x="1376" y="1028"/>
                    <a:pt x="1379" y="1038"/>
                    <a:pt x="1383" y="1047"/>
                  </a:cubicBezTo>
                  <a:cubicBezTo>
                    <a:pt x="1387" y="1056"/>
                    <a:pt x="1390" y="1065"/>
                    <a:pt x="1395" y="1074"/>
                  </a:cubicBezTo>
                  <a:cubicBezTo>
                    <a:pt x="1397" y="1078"/>
                    <a:pt x="1400" y="1081"/>
                    <a:pt x="1403" y="1083"/>
                  </a:cubicBezTo>
                  <a:cubicBezTo>
                    <a:pt x="1408" y="1087"/>
                    <a:pt x="1415" y="1086"/>
                    <a:pt x="1421" y="1084"/>
                  </a:cubicBezTo>
                  <a:cubicBezTo>
                    <a:pt x="1428" y="1082"/>
                    <a:pt x="1435" y="1077"/>
                    <a:pt x="1441" y="1072"/>
                  </a:cubicBezTo>
                  <a:cubicBezTo>
                    <a:pt x="1447" y="1067"/>
                    <a:pt x="1453" y="1061"/>
                    <a:pt x="1459" y="1055"/>
                  </a:cubicBezTo>
                  <a:close/>
                  <a:moveTo>
                    <a:pt x="1268" y="833"/>
                  </a:moveTo>
                  <a:cubicBezTo>
                    <a:pt x="1268" y="833"/>
                    <a:pt x="1268" y="833"/>
                    <a:pt x="1268" y="833"/>
                  </a:cubicBezTo>
                  <a:cubicBezTo>
                    <a:pt x="1274" y="839"/>
                    <a:pt x="1278" y="845"/>
                    <a:pt x="1282" y="852"/>
                  </a:cubicBezTo>
                  <a:cubicBezTo>
                    <a:pt x="1286" y="859"/>
                    <a:pt x="1291" y="866"/>
                    <a:pt x="1294" y="873"/>
                  </a:cubicBezTo>
                  <a:cubicBezTo>
                    <a:pt x="1298" y="880"/>
                    <a:pt x="1301" y="886"/>
                    <a:pt x="1304" y="892"/>
                  </a:cubicBezTo>
                  <a:cubicBezTo>
                    <a:pt x="1305" y="895"/>
                    <a:pt x="1305" y="897"/>
                    <a:pt x="1306" y="899"/>
                  </a:cubicBezTo>
                  <a:cubicBezTo>
                    <a:pt x="1301" y="896"/>
                    <a:pt x="1295" y="894"/>
                    <a:pt x="1289" y="891"/>
                  </a:cubicBezTo>
                  <a:cubicBezTo>
                    <a:pt x="1290" y="886"/>
                    <a:pt x="1288" y="880"/>
                    <a:pt x="1286" y="875"/>
                  </a:cubicBezTo>
                  <a:cubicBezTo>
                    <a:pt x="1284" y="868"/>
                    <a:pt x="1280" y="861"/>
                    <a:pt x="1276" y="855"/>
                  </a:cubicBezTo>
                  <a:cubicBezTo>
                    <a:pt x="1267" y="842"/>
                    <a:pt x="1255" y="830"/>
                    <a:pt x="1244" y="820"/>
                  </a:cubicBezTo>
                  <a:cubicBezTo>
                    <a:pt x="1239" y="816"/>
                    <a:pt x="1235" y="813"/>
                    <a:pt x="1231" y="809"/>
                  </a:cubicBezTo>
                  <a:cubicBezTo>
                    <a:pt x="1230" y="808"/>
                    <a:pt x="1230" y="808"/>
                    <a:pt x="1229" y="808"/>
                  </a:cubicBezTo>
                  <a:cubicBezTo>
                    <a:pt x="1232" y="807"/>
                    <a:pt x="1235" y="807"/>
                    <a:pt x="1238" y="807"/>
                  </a:cubicBezTo>
                  <a:cubicBezTo>
                    <a:pt x="1239" y="807"/>
                    <a:pt x="1240" y="808"/>
                    <a:pt x="1241" y="808"/>
                  </a:cubicBezTo>
                  <a:cubicBezTo>
                    <a:pt x="1244" y="811"/>
                    <a:pt x="1248" y="814"/>
                    <a:pt x="1251" y="816"/>
                  </a:cubicBezTo>
                  <a:cubicBezTo>
                    <a:pt x="1257" y="821"/>
                    <a:pt x="1263" y="827"/>
                    <a:pt x="1268" y="833"/>
                  </a:cubicBezTo>
                  <a:close/>
                  <a:moveTo>
                    <a:pt x="1242" y="855"/>
                  </a:moveTo>
                  <a:cubicBezTo>
                    <a:pt x="1242" y="855"/>
                    <a:pt x="1242" y="855"/>
                    <a:pt x="1242" y="855"/>
                  </a:cubicBezTo>
                  <a:cubicBezTo>
                    <a:pt x="1242" y="855"/>
                    <a:pt x="1243" y="854"/>
                    <a:pt x="1243" y="853"/>
                  </a:cubicBezTo>
                  <a:cubicBezTo>
                    <a:pt x="1244" y="852"/>
                    <a:pt x="1244" y="852"/>
                    <a:pt x="1245" y="851"/>
                  </a:cubicBezTo>
                  <a:cubicBezTo>
                    <a:pt x="1246" y="851"/>
                    <a:pt x="1246" y="851"/>
                    <a:pt x="1247" y="852"/>
                  </a:cubicBezTo>
                  <a:cubicBezTo>
                    <a:pt x="1250" y="852"/>
                    <a:pt x="1252" y="853"/>
                    <a:pt x="1255" y="854"/>
                  </a:cubicBezTo>
                  <a:cubicBezTo>
                    <a:pt x="1256" y="856"/>
                    <a:pt x="1258" y="857"/>
                    <a:pt x="1259" y="859"/>
                  </a:cubicBezTo>
                  <a:cubicBezTo>
                    <a:pt x="1259" y="859"/>
                    <a:pt x="1259" y="859"/>
                    <a:pt x="1259" y="860"/>
                  </a:cubicBezTo>
                  <a:cubicBezTo>
                    <a:pt x="1259" y="860"/>
                    <a:pt x="1259" y="860"/>
                    <a:pt x="1259" y="860"/>
                  </a:cubicBezTo>
                  <a:cubicBezTo>
                    <a:pt x="1259" y="860"/>
                    <a:pt x="1259" y="860"/>
                    <a:pt x="1259" y="860"/>
                  </a:cubicBezTo>
                  <a:cubicBezTo>
                    <a:pt x="1259" y="860"/>
                    <a:pt x="1259" y="860"/>
                    <a:pt x="1259" y="860"/>
                  </a:cubicBezTo>
                  <a:cubicBezTo>
                    <a:pt x="1259" y="861"/>
                    <a:pt x="1259" y="861"/>
                    <a:pt x="1259" y="861"/>
                  </a:cubicBezTo>
                  <a:cubicBezTo>
                    <a:pt x="1259" y="861"/>
                    <a:pt x="1259" y="861"/>
                    <a:pt x="1259" y="861"/>
                  </a:cubicBezTo>
                  <a:cubicBezTo>
                    <a:pt x="1259" y="861"/>
                    <a:pt x="1259" y="861"/>
                    <a:pt x="1259" y="861"/>
                  </a:cubicBezTo>
                  <a:cubicBezTo>
                    <a:pt x="1259" y="861"/>
                    <a:pt x="1259" y="861"/>
                    <a:pt x="1259" y="861"/>
                  </a:cubicBezTo>
                  <a:cubicBezTo>
                    <a:pt x="1259" y="862"/>
                    <a:pt x="1258" y="862"/>
                    <a:pt x="1258" y="862"/>
                  </a:cubicBezTo>
                  <a:cubicBezTo>
                    <a:pt x="1254" y="866"/>
                    <a:pt x="1248" y="864"/>
                    <a:pt x="1245" y="861"/>
                  </a:cubicBezTo>
                  <a:cubicBezTo>
                    <a:pt x="1243" y="859"/>
                    <a:pt x="1242" y="857"/>
                    <a:pt x="1242" y="855"/>
                  </a:cubicBezTo>
                  <a:close/>
                  <a:moveTo>
                    <a:pt x="1252" y="870"/>
                  </a:moveTo>
                  <a:cubicBezTo>
                    <a:pt x="1252" y="870"/>
                    <a:pt x="1252" y="870"/>
                    <a:pt x="1252" y="870"/>
                  </a:cubicBezTo>
                  <a:cubicBezTo>
                    <a:pt x="1257" y="870"/>
                    <a:pt x="1265" y="866"/>
                    <a:pt x="1265" y="860"/>
                  </a:cubicBezTo>
                  <a:cubicBezTo>
                    <a:pt x="1265" y="854"/>
                    <a:pt x="1259" y="850"/>
                    <a:pt x="1255" y="848"/>
                  </a:cubicBezTo>
                  <a:cubicBezTo>
                    <a:pt x="1252" y="847"/>
                    <a:pt x="1249" y="846"/>
                    <a:pt x="1246" y="846"/>
                  </a:cubicBezTo>
                  <a:cubicBezTo>
                    <a:pt x="1243" y="845"/>
                    <a:pt x="1240" y="846"/>
                    <a:pt x="1238" y="848"/>
                  </a:cubicBezTo>
                  <a:cubicBezTo>
                    <a:pt x="1237" y="849"/>
                    <a:pt x="1238" y="850"/>
                    <a:pt x="1239" y="851"/>
                  </a:cubicBezTo>
                  <a:cubicBezTo>
                    <a:pt x="1239" y="851"/>
                    <a:pt x="1238" y="851"/>
                    <a:pt x="1238" y="852"/>
                  </a:cubicBezTo>
                  <a:cubicBezTo>
                    <a:pt x="1237" y="855"/>
                    <a:pt x="1237" y="858"/>
                    <a:pt x="1238" y="860"/>
                  </a:cubicBezTo>
                  <a:cubicBezTo>
                    <a:pt x="1239" y="862"/>
                    <a:pt x="1240" y="864"/>
                    <a:pt x="1242" y="865"/>
                  </a:cubicBezTo>
                  <a:cubicBezTo>
                    <a:pt x="1241" y="865"/>
                    <a:pt x="1240" y="864"/>
                    <a:pt x="1239" y="864"/>
                  </a:cubicBezTo>
                  <a:cubicBezTo>
                    <a:pt x="1239" y="861"/>
                    <a:pt x="1237" y="858"/>
                    <a:pt x="1235" y="856"/>
                  </a:cubicBezTo>
                  <a:cubicBezTo>
                    <a:pt x="1233" y="853"/>
                    <a:pt x="1231" y="850"/>
                    <a:pt x="1230" y="848"/>
                  </a:cubicBezTo>
                  <a:cubicBezTo>
                    <a:pt x="1225" y="842"/>
                    <a:pt x="1221" y="837"/>
                    <a:pt x="1216" y="832"/>
                  </a:cubicBezTo>
                  <a:cubicBezTo>
                    <a:pt x="1208" y="824"/>
                    <a:pt x="1201" y="817"/>
                    <a:pt x="1193" y="811"/>
                  </a:cubicBezTo>
                  <a:cubicBezTo>
                    <a:pt x="1198" y="811"/>
                    <a:pt x="1203" y="811"/>
                    <a:pt x="1208" y="810"/>
                  </a:cubicBezTo>
                  <a:cubicBezTo>
                    <a:pt x="1212" y="810"/>
                    <a:pt x="1217" y="809"/>
                    <a:pt x="1221" y="808"/>
                  </a:cubicBezTo>
                  <a:cubicBezTo>
                    <a:pt x="1224" y="812"/>
                    <a:pt x="1227" y="814"/>
                    <a:pt x="1230" y="816"/>
                  </a:cubicBezTo>
                  <a:cubicBezTo>
                    <a:pt x="1236" y="821"/>
                    <a:pt x="1241" y="826"/>
                    <a:pt x="1247" y="831"/>
                  </a:cubicBezTo>
                  <a:cubicBezTo>
                    <a:pt x="1258" y="842"/>
                    <a:pt x="1269" y="854"/>
                    <a:pt x="1277" y="867"/>
                  </a:cubicBezTo>
                  <a:cubicBezTo>
                    <a:pt x="1279" y="872"/>
                    <a:pt x="1281" y="877"/>
                    <a:pt x="1283" y="881"/>
                  </a:cubicBezTo>
                  <a:cubicBezTo>
                    <a:pt x="1284" y="884"/>
                    <a:pt x="1284" y="886"/>
                    <a:pt x="1285" y="889"/>
                  </a:cubicBezTo>
                  <a:cubicBezTo>
                    <a:pt x="1284" y="888"/>
                    <a:pt x="1284" y="888"/>
                    <a:pt x="1283" y="888"/>
                  </a:cubicBezTo>
                  <a:cubicBezTo>
                    <a:pt x="1274" y="883"/>
                    <a:pt x="1265" y="878"/>
                    <a:pt x="1256" y="873"/>
                  </a:cubicBezTo>
                  <a:cubicBezTo>
                    <a:pt x="1255" y="872"/>
                    <a:pt x="1252" y="871"/>
                    <a:pt x="1250" y="869"/>
                  </a:cubicBezTo>
                  <a:cubicBezTo>
                    <a:pt x="1251" y="870"/>
                    <a:pt x="1252" y="870"/>
                    <a:pt x="1252" y="870"/>
                  </a:cubicBezTo>
                  <a:close/>
                  <a:moveTo>
                    <a:pt x="1166" y="814"/>
                  </a:moveTo>
                  <a:cubicBezTo>
                    <a:pt x="1166" y="814"/>
                    <a:pt x="1166" y="814"/>
                    <a:pt x="1166" y="814"/>
                  </a:cubicBezTo>
                  <a:cubicBezTo>
                    <a:pt x="1167" y="816"/>
                    <a:pt x="1168" y="817"/>
                    <a:pt x="1169" y="819"/>
                  </a:cubicBezTo>
                  <a:cubicBezTo>
                    <a:pt x="1171" y="822"/>
                    <a:pt x="1173" y="825"/>
                    <a:pt x="1175" y="827"/>
                  </a:cubicBezTo>
                  <a:cubicBezTo>
                    <a:pt x="1175" y="827"/>
                    <a:pt x="1175" y="827"/>
                    <a:pt x="1175" y="827"/>
                  </a:cubicBezTo>
                  <a:cubicBezTo>
                    <a:pt x="1171" y="825"/>
                    <a:pt x="1168" y="823"/>
                    <a:pt x="1164" y="821"/>
                  </a:cubicBezTo>
                  <a:cubicBezTo>
                    <a:pt x="1160" y="820"/>
                    <a:pt x="1157" y="818"/>
                    <a:pt x="1153" y="817"/>
                  </a:cubicBezTo>
                  <a:cubicBezTo>
                    <a:pt x="1153" y="817"/>
                    <a:pt x="1153" y="817"/>
                    <a:pt x="1152" y="817"/>
                  </a:cubicBezTo>
                  <a:cubicBezTo>
                    <a:pt x="1157" y="816"/>
                    <a:pt x="1161" y="815"/>
                    <a:pt x="1166" y="814"/>
                  </a:cubicBezTo>
                  <a:close/>
                  <a:moveTo>
                    <a:pt x="1192" y="838"/>
                  </a:moveTo>
                  <a:cubicBezTo>
                    <a:pt x="1192" y="838"/>
                    <a:pt x="1192" y="838"/>
                    <a:pt x="1192" y="838"/>
                  </a:cubicBezTo>
                  <a:cubicBezTo>
                    <a:pt x="1192" y="838"/>
                    <a:pt x="1192" y="838"/>
                    <a:pt x="1192" y="838"/>
                  </a:cubicBezTo>
                  <a:cubicBezTo>
                    <a:pt x="1191" y="835"/>
                    <a:pt x="1188" y="834"/>
                    <a:pt x="1186" y="832"/>
                  </a:cubicBezTo>
                  <a:cubicBezTo>
                    <a:pt x="1183" y="830"/>
                    <a:pt x="1181" y="827"/>
                    <a:pt x="1179" y="825"/>
                  </a:cubicBezTo>
                  <a:cubicBezTo>
                    <a:pt x="1177" y="822"/>
                    <a:pt x="1175" y="820"/>
                    <a:pt x="1173" y="817"/>
                  </a:cubicBezTo>
                  <a:cubicBezTo>
                    <a:pt x="1172" y="816"/>
                    <a:pt x="1171" y="815"/>
                    <a:pt x="1171" y="813"/>
                  </a:cubicBezTo>
                  <a:cubicBezTo>
                    <a:pt x="1177" y="812"/>
                    <a:pt x="1182" y="812"/>
                    <a:pt x="1188" y="811"/>
                  </a:cubicBezTo>
                  <a:cubicBezTo>
                    <a:pt x="1196" y="819"/>
                    <a:pt x="1204" y="826"/>
                    <a:pt x="1211" y="834"/>
                  </a:cubicBezTo>
                  <a:cubicBezTo>
                    <a:pt x="1216" y="840"/>
                    <a:pt x="1221" y="845"/>
                    <a:pt x="1225" y="850"/>
                  </a:cubicBezTo>
                  <a:cubicBezTo>
                    <a:pt x="1227" y="852"/>
                    <a:pt x="1229" y="855"/>
                    <a:pt x="1231" y="858"/>
                  </a:cubicBezTo>
                  <a:cubicBezTo>
                    <a:pt x="1231" y="859"/>
                    <a:pt x="1231" y="859"/>
                    <a:pt x="1232" y="860"/>
                  </a:cubicBezTo>
                  <a:cubicBezTo>
                    <a:pt x="1231" y="860"/>
                    <a:pt x="1230" y="859"/>
                    <a:pt x="1229" y="859"/>
                  </a:cubicBezTo>
                  <a:cubicBezTo>
                    <a:pt x="1217" y="852"/>
                    <a:pt x="1204" y="846"/>
                    <a:pt x="1192" y="838"/>
                  </a:cubicBezTo>
                  <a:close/>
                  <a:moveTo>
                    <a:pt x="1380" y="689"/>
                  </a:moveTo>
                  <a:cubicBezTo>
                    <a:pt x="1380" y="689"/>
                    <a:pt x="1380" y="689"/>
                    <a:pt x="1380" y="689"/>
                  </a:cubicBezTo>
                  <a:cubicBezTo>
                    <a:pt x="1380" y="689"/>
                    <a:pt x="1380" y="689"/>
                    <a:pt x="1380" y="689"/>
                  </a:cubicBezTo>
                  <a:close/>
                  <a:moveTo>
                    <a:pt x="1245" y="443"/>
                  </a:moveTo>
                  <a:cubicBezTo>
                    <a:pt x="1245" y="443"/>
                    <a:pt x="1245" y="443"/>
                    <a:pt x="1245" y="443"/>
                  </a:cubicBezTo>
                  <a:cubicBezTo>
                    <a:pt x="1245" y="443"/>
                    <a:pt x="1245" y="443"/>
                    <a:pt x="1245" y="443"/>
                  </a:cubicBezTo>
                  <a:cubicBezTo>
                    <a:pt x="1245" y="443"/>
                    <a:pt x="1245" y="443"/>
                    <a:pt x="1245" y="443"/>
                  </a:cubicBezTo>
                  <a:cubicBezTo>
                    <a:pt x="1249" y="444"/>
                    <a:pt x="1252" y="446"/>
                    <a:pt x="1255" y="448"/>
                  </a:cubicBezTo>
                  <a:cubicBezTo>
                    <a:pt x="1255" y="449"/>
                    <a:pt x="1255" y="449"/>
                    <a:pt x="1255" y="449"/>
                  </a:cubicBezTo>
                  <a:cubicBezTo>
                    <a:pt x="1256" y="449"/>
                    <a:pt x="1256" y="449"/>
                    <a:pt x="1256" y="449"/>
                  </a:cubicBezTo>
                  <a:cubicBezTo>
                    <a:pt x="1256" y="450"/>
                    <a:pt x="1257" y="450"/>
                    <a:pt x="1257" y="451"/>
                  </a:cubicBezTo>
                  <a:cubicBezTo>
                    <a:pt x="1259" y="452"/>
                    <a:pt x="1260" y="453"/>
                    <a:pt x="1261" y="455"/>
                  </a:cubicBezTo>
                  <a:cubicBezTo>
                    <a:pt x="1263" y="456"/>
                    <a:pt x="1264" y="457"/>
                    <a:pt x="1265" y="459"/>
                  </a:cubicBezTo>
                  <a:cubicBezTo>
                    <a:pt x="1265" y="459"/>
                    <a:pt x="1265" y="459"/>
                    <a:pt x="1265" y="459"/>
                  </a:cubicBezTo>
                  <a:cubicBezTo>
                    <a:pt x="1265" y="459"/>
                    <a:pt x="1265" y="459"/>
                    <a:pt x="1265" y="459"/>
                  </a:cubicBezTo>
                  <a:cubicBezTo>
                    <a:pt x="1265" y="459"/>
                    <a:pt x="1266" y="460"/>
                    <a:pt x="1266" y="460"/>
                  </a:cubicBezTo>
                  <a:cubicBezTo>
                    <a:pt x="1266" y="461"/>
                    <a:pt x="1267" y="462"/>
                    <a:pt x="1267" y="462"/>
                  </a:cubicBezTo>
                  <a:cubicBezTo>
                    <a:pt x="1268" y="464"/>
                    <a:pt x="1269" y="466"/>
                    <a:pt x="1270" y="467"/>
                  </a:cubicBezTo>
                  <a:cubicBezTo>
                    <a:pt x="1270" y="467"/>
                    <a:pt x="1270" y="467"/>
                    <a:pt x="1270" y="468"/>
                  </a:cubicBezTo>
                  <a:cubicBezTo>
                    <a:pt x="1269" y="468"/>
                    <a:pt x="1269" y="470"/>
                    <a:pt x="1270" y="471"/>
                  </a:cubicBezTo>
                  <a:cubicBezTo>
                    <a:pt x="1271" y="471"/>
                    <a:pt x="1271" y="471"/>
                    <a:pt x="1272" y="472"/>
                  </a:cubicBezTo>
                  <a:cubicBezTo>
                    <a:pt x="1272" y="472"/>
                    <a:pt x="1272" y="472"/>
                    <a:pt x="1272" y="472"/>
                  </a:cubicBezTo>
                  <a:cubicBezTo>
                    <a:pt x="1273" y="475"/>
                    <a:pt x="1274" y="479"/>
                    <a:pt x="1275" y="482"/>
                  </a:cubicBezTo>
                  <a:cubicBezTo>
                    <a:pt x="1275" y="483"/>
                    <a:pt x="1275" y="483"/>
                    <a:pt x="1275" y="483"/>
                  </a:cubicBezTo>
                  <a:cubicBezTo>
                    <a:pt x="1275" y="483"/>
                    <a:pt x="1275" y="483"/>
                    <a:pt x="1275" y="483"/>
                  </a:cubicBezTo>
                  <a:cubicBezTo>
                    <a:pt x="1275" y="483"/>
                    <a:pt x="1275" y="484"/>
                    <a:pt x="1275" y="484"/>
                  </a:cubicBezTo>
                  <a:cubicBezTo>
                    <a:pt x="1275" y="485"/>
                    <a:pt x="1275" y="486"/>
                    <a:pt x="1275" y="487"/>
                  </a:cubicBezTo>
                  <a:cubicBezTo>
                    <a:pt x="1275" y="489"/>
                    <a:pt x="1275" y="491"/>
                    <a:pt x="1275" y="493"/>
                  </a:cubicBezTo>
                  <a:cubicBezTo>
                    <a:pt x="1275" y="501"/>
                    <a:pt x="1272" y="510"/>
                    <a:pt x="1269" y="517"/>
                  </a:cubicBezTo>
                  <a:cubicBezTo>
                    <a:pt x="1269" y="518"/>
                    <a:pt x="1269" y="518"/>
                    <a:pt x="1269" y="518"/>
                  </a:cubicBezTo>
                  <a:cubicBezTo>
                    <a:pt x="1268" y="519"/>
                    <a:pt x="1267" y="520"/>
                    <a:pt x="1267" y="520"/>
                  </a:cubicBezTo>
                  <a:cubicBezTo>
                    <a:pt x="1266" y="521"/>
                    <a:pt x="1266" y="522"/>
                    <a:pt x="1266" y="523"/>
                  </a:cubicBezTo>
                  <a:cubicBezTo>
                    <a:pt x="1265" y="524"/>
                    <a:pt x="1264" y="526"/>
                    <a:pt x="1264" y="528"/>
                  </a:cubicBezTo>
                  <a:cubicBezTo>
                    <a:pt x="1263" y="529"/>
                    <a:pt x="1262" y="530"/>
                    <a:pt x="1261" y="531"/>
                  </a:cubicBezTo>
                  <a:cubicBezTo>
                    <a:pt x="1259" y="532"/>
                    <a:pt x="1257" y="532"/>
                    <a:pt x="1255" y="533"/>
                  </a:cubicBezTo>
                  <a:cubicBezTo>
                    <a:pt x="1238" y="536"/>
                    <a:pt x="1220" y="539"/>
                    <a:pt x="1203" y="541"/>
                  </a:cubicBezTo>
                  <a:cubicBezTo>
                    <a:pt x="1193" y="542"/>
                    <a:pt x="1182" y="543"/>
                    <a:pt x="1172" y="543"/>
                  </a:cubicBezTo>
                  <a:cubicBezTo>
                    <a:pt x="1172" y="540"/>
                    <a:pt x="1171" y="536"/>
                    <a:pt x="1171" y="532"/>
                  </a:cubicBezTo>
                  <a:cubicBezTo>
                    <a:pt x="1171" y="525"/>
                    <a:pt x="1171" y="518"/>
                    <a:pt x="1172" y="511"/>
                  </a:cubicBezTo>
                  <a:cubicBezTo>
                    <a:pt x="1173" y="505"/>
                    <a:pt x="1174" y="498"/>
                    <a:pt x="1176" y="491"/>
                  </a:cubicBezTo>
                  <a:cubicBezTo>
                    <a:pt x="1177" y="487"/>
                    <a:pt x="1178" y="484"/>
                    <a:pt x="1179" y="481"/>
                  </a:cubicBezTo>
                  <a:cubicBezTo>
                    <a:pt x="1180" y="477"/>
                    <a:pt x="1181" y="475"/>
                    <a:pt x="1182" y="472"/>
                  </a:cubicBezTo>
                  <a:cubicBezTo>
                    <a:pt x="1184" y="469"/>
                    <a:pt x="1186" y="466"/>
                    <a:pt x="1188" y="463"/>
                  </a:cubicBezTo>
                  <a:cubicBezTo>
                    <a:pt x="1188" y="462"/>
                    <a:pt x="1188" y="461"/>
                    <a:pt x="1189" y="461"/>
                  </a:cubicBezTo>
                  <a:cubicBezTo>
                    <a:pt x="1189" y="460"/>
                    <a:pt x="1189" y="460"/>
                    <a:pt x="1190" y="460"/>
                  </a:cubicBezTo>
                  <a:cubicBezTo>
                    <a:pt x="1190" y="460"/>
                    <a:pt x="1190" y="459"/>
                    <a:pt x="1190" y="459"/>
                  </a:cubicBezTo>
                  <a:cubicBezTo>
                    <a:pt x="1191" y="458"/>
                    <a:pt x="1192" y="457"/>
                    <a:pt x="1193" y="456"/>
                  </a:cubicBezTo>
                  <a:cubicBezTo>
                    <a:pt x="1195" y="453"/>
                    <a:pt x="1198" y="451"/>
                    <a:pt x="1200" y="449"/>
                  </a:cubicBezTo>
                  <a:cubicBezTo>
                    <a:pt x="1200" y="449"/>
                    <a:pt x="1200" y="449"/>
                    <a:pt x="1200" y="449"/>
                  </a:cubicBezTo>
                  <a:cubicBezTo>
                    <a:pt x="1201" y="449"/>
                    <a:pt x="1201" y="448"/>
                    <a:pt x="1201" y="448"/>
                  </a:cubicBezTo>
                  <a:cubicBezTo>
                    <a:pt x="1202" y="448"/>
                    <a:pt x="1202" y="447"/>
                    <a:pt x="1203" y="447"/>
                  </a:cubicBezTo>
                  <a:cubicBezTo>
                    <a:pt x="1204" y="446"/>
                    <a:pt x="1206" y="445"/>
                    <a:pt x="1207" y="444"/>
                  </a:cubicBezTo>
                  <a:cubicBezTo>
                    <a:pt x="1208" y="444"/>
                    <a:pt x="1208" y="444"/>
                    <a:pt x="1209" y="443"/>
                  </a:cubicBezTo>
                  <a:cubicBezTo>
                    <a:pt x="1209" y="443"/>
                    <a:pt x="1210" y="443"/>
                    <a:pt x="1210" y="443"/>
                  </a:cubicBezTo>
                  <a:cubicBezTo>
                    <a:pt x="1210" y="443"/>
                    <a:pt x="1210" y="443"/>
                    <a:pt x="1211" y="443"/>
                  </a:cubicBezTo>
                  <a:cubicBezTo>
                    <a:pt x="1211" y="442"/>
                    <a:pt x="1211" y="442"/>
                    <a:pt x="1212" y="442"/>
                  </a:cubicBezTo>
                  <a:cubicBezTo>
                    <a:pt x="1213" y="444"/>
                    <a:pt x="1215" y="444"/>
                    <a:pt x="1216" y="443"/>
                  </a:cubicBezTo>
                  <a:cubicBezTo>
                    <a:pt x="1217" y="442"/>
                    <a:pt x="1218" y="441"/>
                    <a:pt x="1218" y="440"/>
                  </a:cubicBezTo>
                  <a:cubicBezTo>
                    <a:pt x="1219" y="440"/>
                    <a:pt x="1220" y="440"/>
                    <a:pt x="1221" y="440"/>
                  </a:cubicBezTo>
                  <a:cubicBezTo>
                    <a:pt x="1222" y="440"/>
                    <a:pt x="1222" y="440"/>
                    <a:pt x="1222" y="440"/>
                  </a:cubicBezTo>
                  <a:cubicBezTo>
                    <a:pt x="1223" y="439"/>
                    <a:pt x="1223" y="439"/>
                    <a:pt x="1224" y="439"/>
                  </a:cubicBezTo>
                  <a:cubicBezTo>
                    <a:pt x="1225" y="439"/>
                    <a:pt x="1226" y="439"/>
                    <a:pt x="1227" y="439"/>
                  </a:cubicBezTo>
                  <a:cubicBezTo>
                    <a:pt x="1228" y="439"/>
                    <a:pt x="1230" y="439"/>
                    <a:pt x="1231" y="439"/>
                  </a:cubicBezTo>
                  <a:cubicBezTo>
                    <a:pt x="1232" y="439"/>
                    <a:pt x="1232" y="440"/>
                    <a:pt x="1233" y="440"/>
                  </a:cubicBezTo>
                  <a:cubicBezTo>
                    <a:pt x="1233" y="440"/>
                    <a:pt x="1233" y="440"/>
                    <a:pt x="1233" y="440"/>
                  </a:cubicBezTo>
                  <a:cubicBezTo>
                    <a:pt x="1233" y="440"/>
                    <a:pt x="1233" y="440"/>
                    <a:pt x="1233" y="440"/>
                  </a:cubicBezTo>
                  <a:cubicBezTo>
                    <a:pt x="1234" y="440"/>
                    <a:pt x="1235" y="440"/>
                    <a:pt x="1236" y="440"/>
                  </a:cubicBezTo>
                  <a:cubicBezTo>
                    <a:pt x="1238" y="440"/>
                    <a:pt x="1239" y="441"/>
                    <a:pt x="1241" y="441"/>
                  </a:cubicBezTo>
                  <a:cubicBezTo>
                    <a:pt x="1242" y="442"/>
                    <a:pt x="1243" y="442"/>
                    <a:pt x="1243" y="442"/>
                  </a:cubicBezTo>
                  <a:cubicBezTo>
                    <a:pt x="1244" y="442"/>
                    <a:pt x="1244" y="443"/>
                    <a:pt x="1245" y="443"/>
                  </a:cubicBezTo>
                  <a:close/>
                  <a:moveTo>
                    <a:pt x="225" y="847"/>
                  </a:moveTo>
                  <a:cubicBezTo>
                    <a:pt x="225" y="847"/>
                    <a:pt x="225" y="847"/>
                    <a:pt x="225" y="847"/>
                  </a:cubicBezTo>
                  <a:cubicBezTo>
                    <a:pt x="225" y="847"/>
                    <a:pt x="224" y="846"/>
                    <a:pt x="224" y="846"/>
                  </a:cubicBezTo>
                  <a:cubicBezTo>
                    <a:pt x="222" y="844"/>
                    <a:pt x="220" y="843"/>
                    <a:pt x="218" y="841"/>
                  </a:cubicBezTo>
                  <a:cubicBezTo>
                    <a:pt x="214" y="838"/>
                    <a:pt x="210" y="835"/>
                    <a:pt x="206" y="832"/>
                  </a:cubicBezTo>
                  <a:cubicBezTo>
                    <a:pt x="198" y="827"/>
                    <a:pt x="190" y="822"/>
                    <a:pt x="181" y="817"/>
                  </a:cubicBezTo>
                  <a:cubicBezTo>
                    <a:pt x="173" y="813"/>
                    <a:pt x="166" y="810"/>
                    <a:pt x="158" y="805"/>
                  </a:cubicBezTo>
                  <a:cubicBezTo>
                    <a:pt x="156" y="804"/>
                    <a:pt x="154" y="804"/>
                    <a:pt x="152" y="803"/>
                  </a:cubicBezTo>
                  <a:cubicBezTo>
                    <a:pt x="154" y="803"/>
                    <a:pt x="156" y="803"/>
                    <a:pt x="158" y="802"/>
                  </a:cubicBezTo>
                  <a:cubicBezTo>
                    <a:pt x="163" y="802"/>
                    <a:pt x="169" y="802"/>
                    <a:pt x="174" y="802"/>
                  </a:cubicBezTo>
                  <a:cubicBezTo>
                    <a:pt x="179" y="802"/>
                    <a:pt x="185" y="802"/>
                    <a:pt x="190" y="802"/>
                  </a:cubicBezTo>
                  <a:cubicBezTo>
                    <a:pt x="202" y="802"/>
                    <a:pt x="214" y="802"/>
                    <a:pt x="226" y="801"/>
                  </a:cubicBezTo>
                  <a:cubicBezTo>
                    <a:pt x="228" y="803"/>
                    <a:pt x="230" y="804"/>
                    <a:pt x="232" y="805"/>
                  </a:cubicBezTo>
                  <a:cubicBezTo>
                    <a:pt x="236" y="808"/>
                    <a:pt x="241" y="812"/>
                    <a:pt x="245" y="815"/>
                  </a:cubicBezTo>
                  <a:cubicBezTo>
                    <a:pt x="246" y="816"/>
                    <a:pt x="247" y="817"/>
                    <a:pt x="248" y="818"/>
                  </a:cubicBezTo>
                  <a:cubicBezTo>
                    <a:pt x="241" y="827"/>
                    <a:pt x="233" y="837"/>
                    <a:pt x="225" y="847"/>
                  </a:cubicBezTo>
                  <a:close/>
                  <a:moveTo>
                    <a:pt x="190" y="750"/>
                  </a:moveTo>
                  <a:cubicBezTo>
                    <a:pt x="190" y="750"/>
                    <a:pt x="190" y="750"/>
                    <a:pt x="190" y="750"/>
                  </a:cubicBezTo>
                  <a:cubicBezTo>
                    <a:pt x="190" y="742"/>
                    <a:pt x="188" y="735"/>
                    <a:pt x="187" y="728"/>
                  </a:cubicBezTo>
                  <a:cubicBezTo>
                    <a:pt x="187" y="726"/>
                    <a:pt x="187" y="724"/>
                    <a:pt x="186" y="722"/>
                  </a:cubicBezTo>
                  <a:cubicBezTo>
                    <a:pt x="194" y="700"/>
                    <a:pt x="198" y="676"/>
                    <a:pt x="201" y="653"/>
                  </a:cubicBezTo>
                  <a:cubicBezTo>
                    <a:pt x="201" y="645"/>
                    <a:pt x="202" y="638"/>
                    <a:pt x="202" y="631"/>
                  </a:cubicBezTo>
                  <a:cubicBezTo>
                    <a:pt x="206" y="644"/>
                    <a:pt x="210" y="658"/>
                    <a:pt x="213" y="671"/>
                  </a:cubicBezTo>
                  <a:cubicBezTo>
                    <a:pt x="216" y="681"/>
                    <a:pt x="218" y="691"/>
                    <a:pt x="219" y="702"/>
                  </a:cubicBezTo>
                  <a:cubicBezTo>
                    <a:pt x="221" y="711"/>
                    <a:pt x="222" y="721"/>
                    <a:pt x="222" y="730"/>
                  </a:cubicBezTo>
                  <a:cubicBezTo>
                    <a:pt x="223" y="740"/>
                    <a:pt x="224" y="750"/>
                    <a:pt x="224" y="759"/>
                  </a:cubicBezTo>
                  <a:cubicBezTo>
                    <a:pt x="224" y="768"/>
                    <a:pt x="223" y="776"/>
                    <a:pt x="221" y="785"/>
                  </a:cubicBezTo>
                  <a:cubicBezTo>
                    <a:pt x="209" y="786"/>
                    <a:pt x="197" y="787"/>
                    <a:pt x="186" y="788"/>
                  </a:cubicBezTo>
                  <a:cubicBezTo>
                    <a:pt x="188" y="775"/>
                    <a:pt x="191" y="763"/>
                    <a:pt x="190" y="750"/>
                  </a:cubicBezTo>
                  <a:close/>
                  <a:moveTo>
                    <a:pt x="135" y="784"/>
                  </a:moveTo>
                  <a:cubicBezTo>
                    <a:pt x="135" y="784"/>
                    <a:pt x="135" y="784"/>
                    <a:pt x="135" y="784"/>
                  </a:cubicBezTo>
                  <a:cubicBezTo>
                    <a:pt x="133" y="784"/>
                    <a:pt x="133" y="784"/>
                    <a:pt x="133" y="784"/>
                  </a:cubicBezTo>
                  <a:cubicBezTo>
                    <a:pt x="132" y="785"/>
                    <a:pt x="131" y="785"/>
                    <a:pt x="130" y="785"/>
                  </a:cubicBezTo>
                  <a:cubicBezTo>
                    <a:pt x="129" y="785"/>
                    <a:pt x="129" y="786"/>
                    <a:pt x="128" y="786"/>
                  </a:cubicBezTo>
                  <a:cubicBezTo>
                    <a:pt x="128" y="786"/>
                    <a:pt x="128" y="786"/>
                    <a:pt x="128" y="786"/>
                  </a:cubicBezTo>
                  <a:cubicBezTo>
                    <a:pt x="127" y="786"/>
                    <a:pt x="127" y="786"/>
                    <a:pt x="127" y="786"/>
                  </a:cubicBezTo>
                  <a:cubicBezTo>
                    <a:pt x="126" y="786"/>
                    <a:pt x="125" y="786"/>
                    <a:pt x="124" y="786"/>
                  </a:cubicBezTo>
                  <a:cubicBezTo>
                    <a:pt x="123" y="786"/>
                    <a:pt x="123" y="786"/>
                    <a:pt x="122" y="786"/>
                  </a:cubicBezTo>
                  <a:cubicBezTo>
                    <a:pt x="122" y="786"/>
                    <a:pt x="122" y="786"/>
                    <a:pt x="121" y="786"/>
                  </a:cubicBezTo>
                  <a:cubicBezTo>
                    <a:pt x="121" y="786"/>
                    <a:pt x="121" y="786"/>
                    <a:pt x="121" y="786"/>
                  </a:cubicBezTo>
                  <a:cubicBezTo>
                    <a:pt x="121" y="786"/>
                    <a:pt x="121" y="786"/>
                    <a:pt x="121" y="786"/>
                  </a:cubicBezTo>
                  <a:cubicBezTo>
                    <a:pt x="120" y="785"/>
                    <a:pt x="118" y="785"/>
                    <a:pt x="116" y="785"/>
                  </a:cubicBezTo>
                  <a:cubicBezTo>
                    <a:pt x="118" y="783"/>
                    <a:pt x="118" y="780"/>
                    <a:pt x="115" y="779"/>
                  </a:cubicBezTo>
                  <a:cubicBezTo>
                    <a:pt x="110" y="777"/>
                    <a:pt x="105" y="775"/>
                    <a:pt x="101" y="774"/>
                  </a:cubicBezTo>
                  <a:cubicBezTo>
                    <a:pt x="100" y="773"/>
                    <a:pt x="99" y="772"/>
                    <a:pt x="98" y="771"/>
                  </a:cubicBezTo>
                  <a:cubicBezTo>
                    <a:pt x="98" y="770"/>
                    <a:pt x="97" y="770"/>
                    <a:pt x="97" y="769"/>
                  </a:cubicBezTo>
                  <a:cubicBezTo>
                    <a:pt x="97" y="769"/>
                    <a:pt x="97" y="769"/>
                    <a:pt x="97" y="769"/>
                  </a:cubicBezTo>
                  <a:cubicBezTo>
                    <a:pt x="96" y="768"/>
                    <a:pt x="96" y="768"/>
                    <a:pt x="96" y="768"/>
                  </a:cubicBezTo>
                  <a:cubicBezTo>
                    <a:pt x="94" y="765"/>
                    <a:pt x="92" y="763"/>
                    <a:pt x="91" y="760"/>
                  </a:cubicBezTo>
                  <a:cubicBezTo>
                    <a:pt x="90" y="759"/>
                    <a:pt x="90" y="757"/>
                    <a:pt x="89" y="756"/>
                  </a:cubicBezTo>
                  <a:cubicBezTo>
                    <a:pt x="89" y="755"/>
                    <a:pt x="88" y="755"/>
                    <a:pt x="88" y="754"/>
                  </a:cubicBezTo>
                  <a:cubicBezTo>
                    <a:pt x="88" y="754"/>
                    <a:pt x="88" y="753"/>
                    <a:pt x="87" y="753"/>
                  </a:cubicBezTo>
                  <a:cubicBezTo>
                    <a:pt x="87" y="753"/>
                    <a:pt x="87" y="753"/>
                    <a:pt x="87" y="752"/>
                  </a:cubicBezTo>
                  <a:cubicBezTo>
                    <a:pt x="87" y="752"/>
                    <a:pt x="87" y="752"/>
                    <a:pt x="87" y="752"/>
                  </a:cubicBezTo>
                  <a:cubicBezTo>
                    <a:pt x="85" y="746"/>
                    <a:pt x="83" y="739"/>
                    <a:pt x="81" y="733"/>
                  </a:cubicBezTo>
                  <a:cubicBezTo>
                    <a:pt x="81" y="730"/>
                    <a:pt x="80" y="726"/>
                    <a:pt x="79" y="723"/>
                  </a:cubicBezTo>
                  <a:cubicBezTo>
                    <a:pt x="79" y="721"/>
                    <a:pt x="79" y="720"/>
                    <a:pt x="79" y="718"/>
                  </a:cubicBezTo>
                  <a:cubicBezTo>
                    <a:pt x="79" y="718"/>
                    <a:pt x="79" y="718"/>
                    <a:pt x="79" y="718"/>
                  </a:cubicBezTo>
                  <a:cubicBezTo>
                    <a:pt x="78" y="717"/>
                    <a:pt x="78" y="717"/>
                    <a:pt x="78" y="716"/>
                  </a:cubicBezTo>
                  <a:cubicBezTo>
                    <a:pt x="78" y="715"/>
                    <a:pt x="78" y="714"/>
                    <a:pt x="78" y="713"/>
                  </a:cubicBezTo>
                  <a:cubicBezTo>
                    <a:pt x="77" y="706"/>
                    <a:pt x="77" y="699"/>
                    <a:pt x="77" y="692"/>
                  </a:cubicBezTo>
                  <a:cubicBezTo>
                    <a:pt x="77" y="679"/>
                    <a:pt x="77" y="666"/>
                    <a:pt x="79" y="653"/>
                  </a:cubicBezTo>
                  <a:cubicBezTo>
                    <a:pt x="79" y="652"/>
                    <a:pt x="79" y="650"/>
                    <a:pt x="79" y="649"/>
                  </a:cubicBezTo>
                  <a:cubicBezTo>
                    <a:pt x="79" y="648"/>
                    <a:pt x="79" y="648"/>
                    <a:pt x="79" y="647"/>
                  </a:cubicBezTo>
                  <a:cubicBezTo>
                    <a:pt x="79" y="646"/>
                    <a:pt x="79" y="646"/>
                    <a:pt x="79" y="646"/>
                  </a:cubicBezTo>
                  <a:cubicBezTo>
                    <a:pt x="79" y="648"/>
                    <a:pt x="79" y="646"/>
                    <a:pt x="79" y="646"/>
                  </a:cubicBezTo>
                  <a:cubicBezTo>
                    <a:pt x="80" y="642"/>
                    <a:pt x="81" y="638"/>
                    <a:pt x="81" y="635"/>
                  </a:cubicBezTo>
                  <a:cubicBezTo>
                    <a:pt x="83" y="627"/>
                    <a:pt x="85" y="618"/>
                    <a:pt x="88" y="610"/>
                  </a:cubicBezTo>
                  <a:cubicBezTo>
                    <a:pt x="89" y="608"/>
                    <a:pt x="89" y="606"/>
                    <a:pt x="90" y="605"/>
                  </a:cubicBezTo>
                  <a:cubicBezTo>
                    <a:pt x="90" y="604"/>
                    <a:pt x="91" y="603"/>
                    <a:pt x="91" y="602"/>
                  </a:cubicBezTo>
                  <a:cubicBezTo>
                    <a:pt x="91" y="601"/>
                    <a:pt x="91" y="601"/>
                    <a:pt x="91" y="601"/>
                  </a:cubicBezTo>
                  <a:cubicBezTo>
                    <a:pt x="91" y="601"/>
                    <a:pt x="92" y="600"/>
                    <a:pt x="92" y="600"/>
                  </a:cubicBezTo>
                  <a:cubicBezTo>
                    <a:pt x="93" y="597"/>
                    <a:pt x="95" y="593"/>
                    <a:pt x="97" y="589"/>
                  </a:cubicBezTo>
                  <a:cubicBezTo>
                    <a:pt x="100" y="582"/>
                    <a:pt x="104" y="576"/>
                    <a:pt x="108" y="570"/>
                  </a:cubicBezTo>
                  <a:cubicBezTo>
                    <a:pt x="109" y="568"/>
                    <a:pt x="110" y="567"/>
                    <a:pt x="111" y="565"/>
                  </a:cubicBezTo>
                  <a:cubicBezTo>
                    <a:pt x="112" y="565"/>
                    <a:pt x="112" y="565"/>
                    <a:pt x="112" y="565"/>
                  </a:cubicBezTo>
                  <a:cubicBezTo>
                    <a:pt x="103" y="580"/>
                    <a:pt x="95" y="595"/>
                    <a:pt x="90" y="613"/>
                  </a:cubicBezTo>
                  <a:cubicBezTo>
                    <a:pt x="88" y="622"/>
                    <a:pt x="87" y="632"/>
                    <a:pt x="86" y="641"/>
                  </a:cubicBezTo>
                  <a:cubicBezTo>
                    <a:pt x="84" y="650"/>
                    <a:pt x="83" y="660"/>
                    <a:pt x="83" y="669"/>
                  </a:cubicBezTo>
                  <a:cubicBezTo>
                    <a:pt x="82" y="687"/>
                    <a:pt x="83" y="706"/>
                    <a:pt x="89" y="723"/>
                  </a:cubicBezTo>
                  <a:cubicBezTo>
                    <a:pt x="94" y="738"/>
                    <a:pt x="102" y="751"/>
                    <a:pt x="111" y="763"/>
                  </a:cubicBezTo>
                  <a:cubicBezTo>
                    <a:pt x="118" y="772"/>
                    <a:pt x="126" y="780"/>
                    <a:pt x="135" y="783"/>
                  </a:cubicBezTo>
                  <a:cubicBezTo>
                    <a:pt x="135" y="784"/>
                    <a:pt x="135" y="784"/>
                    <a:pt x="135" y="784"/>
                  </a:cubicBezTo>
                  <a:close/>
                  <a:moveTo>
                    <a:pt x="330" y="330"/>
                  </a:moveTo>
                  <a:cubicBezTo>
                    <a:pt x="330" y="330"/>
                    <a:pt x="330" y="330"/>
                    <a:pt x="330" y="330"/>
                  </a:cubicBezTo>
                  <a:cubicBezTo>
                    <a:pt x="330" y="329"/>
                    <a:pt x="330" y="328"/>
                    <a:pt x="330" y="327"/>
                  </a:cubicBezTo>
                  <a:cubicBezTo>
                    <a:pt x="330" y="324"/>
                    <a:pt x="331" y="320"/>
                    <a:pt x="332" y="317"/>
                  </a:cubicBezTo>
                  <a:cubicBezTo>
                    <a:pt x="334" y="311"/>
                    <a:pt x="339" y="305"/>
                    <a:pt x="344" y="301"/>
                  </a:cubicBezTo>
                  <a:cubicBezTo>
                    <a:pt x="347" y="299"/>
                    <a:pt x="349" y="298"/>
                    <a:pt x="353" y="297"/>
                  </a:cubicBezTo>
                  <a:cubicBezTo>
                    <a:pt x="356" y="296"/>
                    <a:pt x="359" y="296"/>
                    <a:pt x="363" y="297"/>
                  </a:cubicBezTo>
                  <a:cubicBezTo>
                    <a:pt x="364" y="297"/>
                    <a:pt x="364" y="297"/>
                    <a:pt x="364" y="297"/>
                  </a:cubicBezTo>
                  <a:cubicBezTo>
                    <a:pt x="364" y="297"/>
                    <a:pt x="365" y="297"/>
                    <a:pt x="365" y="297"/>
                  </a:cubicBezTo>
                  <a:cubicBezTo>
                    <a:pt x="366" y="297"/>
                    <a:pt x="367" y="298"/>
                    <a:pt x="368" y="298"/>
                  </a:cubicBezTo>
                  <a:cubicBezTo>
                    <a:pt x="369" y="298"/>
                    <a:pt x="370" y="299"/>
                    <a:pt x="372" y="300"/>
                  </a:cubicBezTo>
                  <a:cubicBezTo>
                    <a:pt x="375" y="301"/>
                    <a:pt x="379" y="304"/>
                    <a:pt x="381" y="306"/>
                  </a:cubicBezTo>
                  <a:cubicBezTo>
                    <a:pt x="387" y="311"/>
                    <a:pt x="392" y="316"/>
                    <a:pt x="395" y="322"/>
                  </a:cubicBezTo>
                  <a:cubicBezTo>
                    <a:pt x="397" y="324"/>
                    <a:pt x="398" y="327"/>
                    <a:pt x="400" y="330"/>
                  </a:cubicBezTo>
                  <a:cubicBezTo>
                    <a:pt x="401" y="332"/>
                    <a:pt x="401" y="333"/>
                    <a:pt x="402" y="334"/>
                  </a:cubicBezTo>
                  <a:cubicBezTo>
                    <a:pt x="402" y="335"/>
                    <a:pt x="402" y="335"/>
                    <a:pt x="402" y="335"/>
                  </a:cubicBezTo>
                  <a:cubicBezTo>
                    <a:pt x="378" y="331"/>
                    <a:pt x="354" y="330"/>
                    <a:pt x="330" y="330"/>
                  </a:cubicBezTo>
                  <a:close/>
                  <a:moveTo>
                    <a:pt x="411" y="336"/>
                  </a:moveTo>
                  <a:cubicBezTo>
                    <a:pt x="411" y="336"/>
                    <a:pt x="411" y="336"/>
                    <a:pt x="411" y="336"/>
                  </a:cubicBezTo>
                  <a:cubicBezTo>
                    <a:pt x="411" y="332"/>
                    <a:pt x="409" y="329"/>
                    <a:pt x="407" y="326"/>
                  </a:cubicBezTo>
                  <a:cubicBezTo>
                    <a:pt x="406" y="322"/>
                    <a:pt x="403" y="318"/>
                    <a:pt x="401" y="315"/>
                  </a:cubicBezTo>
                  <a:cubicBezTo>
                    <a:pt x="396" y="308"/>
                    <a:pt x="390" y="301"/>
                    <a:pt x="383" y="296"/>
                  </a:cubicBezTo>
                  <a:cubicBezTo>
                    <a:pt x="383" y="296"/>
                    <a:pt x="383" y="296"/>
                    <a:pt x="382" y="296"/>
                  </a:cubicBezTo>
                  <a:cubicBezTo>
                    <a:pt x="384" y="292"/>
                    <a:pt x="386" y="289"/>
                    <a:pt x="388" y="286"/>
                  </a:cubicBezTo>
                  <a:cubicBezTo>
                    <a:pt x="390" y="284"/>
                    <a:pt x="391" y="282"/>
                    <a:pt x="393" y="281"/>
                  </a:cubicBezTo>
                  <a:cubicBezTo>
                    <a:pt x="393" y="281"/>
                    <a:pt x="394" y="280"/>
                    <a:pt x="394" y="280"/>
                  </a:cubicBezTo>
                  <a:cubicBezTo>
                    <a:pt x="395" y="282"/>
                    <a:pt x="395" y="284"/>
                    <a:pt x="396" y="286"/>
                  </a:cubicBezTo>
                  <a:cubicBezTo>
                    <a:pt x="400" y="300"/>
                    <a:pt x="407" y="314"/>
                    <a:pt x="416" y="326"/>
                  </a:cubicBezTo>
                  <a:cubicBezTo>
                    <a:pt x="419" y="330"/>
                    <a:pt x="423" y="335"/>
                    <a:pt x="427" y="339"/>
                  </a:cubicBezTo>
                  <a:cubicBezTo>
                    <a:pt x="422" y="338"/>
                    <a:pt x="417" y="337"/>
                    <a:pt x="411" y="336"/>
                  </a:cubicBezTo>
                  <a:close/>
                  <a:moveTo>
                    <a:pt x="521" y="328"/>
                  </a:moveTo>
                  <a:cubicBezTo>
                    <a:pt x="521" y="328"/>
                    <a:pt x="521" y="328"/>
                    <a:pt x="521" y="328"/>
                  </a:cubicBezTo>
                  <a:cubicBezTo>
                    <a:pt x="521" y="328"/>
                    <a:pt x="522" y="328"/>
                    <a:pt x="522" y="328"/>
                  </a:cubicBezTo>
                  <a:cubicBezTo>
                    <a:pt x="522" y="328"/>
                    <a:pt x="522" y="328"/>
                    <a:pt x="522" y="329"/>
                  </a:cubicBezTo>
                  <a:cubicBezTo>
                    <a:pt x="522" y="329"/>
                    <a:pt x="522" y="329"/>
                    <a:pt x="523" y="329"/>
                  </a:cubicBezTo>
                  <a:cubicBezTo>
                    <a:pt x="523" y="329"/>
                    <a:pt x="524" y="329"/>
                    <a:pt x="525" y="329"/>
                  </a:cubicBezTo>
                  <a:cubicBezTo>
                    <a:pt x="527" y="329"/>
                    <a:pt x="528" y="330"/>
                    <a:pt x="530" y="330"/>
                  </a:cubicBezTo>
                  <a:cubicBezTo>
                    <a:pt x="533" y="331"/>
                    <a:pt x="537" y="332"/>
                    <a:pt x="540" y="333"/>
                  </a:cubicBezTo>
                  <a:cubicBezTo>
                    <a:pt x="541" y="333"/>
                    <a:pt x="541" y="333"/>
                    <a:pt x="541" y="334"/>
                  </a:cubicBezTo>
                  <a:cubicBezTo>
                    <a:pt x="542" y="334"/>
                    <a:pt x="542" y="334"/>
                    <a:pt x="542" y="334"/>
                  </a:cubicBezTo>
                  <a:cubicBezTo>
                    <a:pt x="543" y="334"/>
                    <a:pt x="543" y="334"/>
                    <a:pt x="543" y="335"/>
                  </a:cubicBezTo>
                  <a:cubicBezTo>
                    <a:pt x="545" y="335"/>
                    <a:pt x="547" y="336"/>
                    <a:pt x="548" y="337"/>
                  </a:cubicBezTo>
                  <a:cubicBezTo>
                    <a:pt x="550" y="338"/>
                    <a:pt x="551" y="339"/>
                    <a:pt x="552" y="340"/>
                  </a:cubicBezTo>
                  <a:cubicBezTo>
                    <a:pt x="553" y="341"/>
                    <a:pt x="554" y="341"/>
                    <a:pt x="555" y="342"/>
                  </a:cubicBezTo>
                  <a:cubicBezTo>
                    <a:pt x="555" y="342"/>
                    <a:pt x="555" y="342"/>
                    <a:pt x="556" y="342"/>
                  </a:cubicBezTo>
                  <a:cubicBezTo>
                    <a:pt x="556" y="342"/>
                    <a:pt x="556" y="343"/>
                    <a:pt x="557" y="343"/>
                  </a:cubicBezTo>
                  <a:cubicBezTo>
                    <a:pt x="561" y="347"/>
                    <a:pt x="565" y="351"/>
                    <a:pt x="568" y="355"/>
                  </a:cubicBezTo>
                  <a:cubicBezTo>
                    <a:pt x="562" y="353"/>
                    <a:pt x="557" y="352"/>
                    <a:pt x="551" y="350"/>
                  </a:cubicBezTo>
                  <a:cubicBezTo>
                    <a:pt x="542" y="347"/>
                    <a:pt x="533" y="345"/>
                    <a:pt x="524" y="345"/>
                  </a:cubicBezTo>
                  <a:cubicBezTo>
                    <a:pt x="514" y="345"/>
                    <a:pt x="504" y="346"/>
                    <a:pt x="494" y="347"/>
                  </a:cubicBezTo>
                  <a:cubicBezTo>
                    <a:pt x="487" y="348"/>
                    <a:pt x="480" y="350"/>
                    <a:pt x="473" y="352"/>
                  </a:cubicBezTo>
                  <a:cubicBezTo>
                    <a:pt x="466" y="350"/>
                    <a:pt x="459" y="347"/>
                    <a:pt x="452" y="346"/>
                  </a:cubicBezTo>
                  <a:cubicBezTo>
                    <a:pt x="455" y="344"/>
                    <a:pt x="458" y="342"/>
                    <a:pt x="461" y="341"/>
                  </a:cubicBezTo>
                  <a:cubicBezTo>
                    <a:pt x="467" y="337"/>
                    <a:pt x="473" y="335"/>
                    <a:pt x="480" y="333"/>
                  </a:cubicBezTo>
                  <a:cubicBezTo>
                    <a:pt x="487" y="331"/>
                    <a:pt x="494" y="329"/>
                    <a:pt x="500" y="328"/>
                  </a:cubicBezTo>
                  <a:cubicBezTo>
                    <a:pt x="507" y="328"/>
                    <a:pt x="514" y="328"/>
                    <a:pt x="521" y="328"/>
                  </a:cubicBezTo>
                  <a:close/>
                  <a:moveTo>
                    <a:pt x="541" y="206"/>
                  </a:moveTo>
                  <a:cubicBezTo>
                    <a:pt x="541" y="206"/>
                    <a:pt x="541" y="206"/>
                    <a:pt x="541" y="206"/>
                  </a:cubicBezTo>
                  <a:cubicBezTo>
                    <a:pt x="541" y="205"/>
                    <a:pt x="542" y="202"/>
                    <a:pt x="544" y="202"/>
                  </a:cubicBezTo>
                  <a:cubicBezTo>
                    <a:pt x="545" y="201"/>
                    <a:pt x="545" y="201"/>
                    <a:pt x="545" y="200"/>
                  </a:cubicBezTo>
                  <a:cubicBezTo>
                    <a:pt x="546" y="200"/>
                    <a:pt x="546" y="200"/>
                    <a:pt x="546" y="199"/>
                  </a:cubicBezTo>
                  <a:cubicBezTo>
                    <a:pt x="547" y="199"/>
                    <a:pt x="547" y="199"/>
                    <a:pt x="548" y="198"/>
                  </a:cubicBezTo>
                  <a:cubicBezTo>
                    <a:pt x="549" y="198"/>
                    <a:pt x="549" y="198"/>
                    <a:pt x="549" y="198"/>
                  </a:cubicBezTo>
                  <a:cubicBezTo>
                    <a:pt x="550" y="198"/>
                    <a:pt x="550" y="198"/>
                    <a:pt x="550" y="198"/>
                  </a:cubicBezTo>
                  <a:cubicBezTo>
                    <a:pt x="550" y="198"/>
                    <a:pt x="550" y="198"/>
                    <a:pt x="550" y="198"/>
                  </a:cubicBezTo>
                  <a:cubicBezTo>
                    <a:pt x="550" y="198"/>
                    <a:pt x="550" y="198"/>
                    <a:pt x="550" y="198"/>
                  </a:cubicBezTo>
                  <a:cubicBezTo>
                    <a:pt x="550" y="198"/>
                    <a:pt x="551" y="198"/>
                    <a:pt x="551" y="198"/>
                  </a:cubicBezTo>
                  <a:cubicBezTo>
                    <a:pt x="551" y="198"/>
                    <a:pt x="552" y="198"/>
                    <a:pt x="552" y="198"/>
                  </a:cubicBezTo>
                  <a:cubicBezTo>
                    <a:pt x="551" y="198"/>
                    <a:pt x="552" y="198"/>
                    <a:pt x="552" y="198"/>
                  </a:cubicBezTo>
                  <a:cubicBezTo>
                    <a:pt x="553" y="199"/>
                    <a:pt x="553" y="199"/>
                    <a:pt x="553" y="199"/>
                  </a:cubicBezTo>
                  <a:cubicBezTo>
                    <a:pt x="553" y="199"/>
                    <a:pt x="553" y="199"/>
                    <a:pt x="553" y="199"/>
                  </a:cubicBezTo>
                  <a:cubicBezTo>
                    <a:pt x="553" y="199"/>
                    <a:pt x="554" y="199"/>
                    <a:pt x="554" y="200"/>
                  </a:cubicBezTo>
                  <a:cubicBezTo>
                    <a:pt x="554" y="200"/>
                    <a:pt x="554" y="200"/>
                    <a:pt x="554" y="201"/>
                  </a:cubicBezTo>
                  <a:cubicBezTo>
                    <a:pt x="554" y="201"/>
                    <a:pt x="554" y="201"/>
                    <a:pt x="554" y="201"/>
                  </a:cubicBezTo>
                  <a:cubicBezTo>
                    <a:pt x="554" y="201"/>
                    <a:pt x="554" y="201"/>
                    <a:pt x="554" y="201"/>
                  </a:cubicBezTo>
                  <a:cubicBezTo>
                    <a:pt x="554" y="201"/>
                    <a:pt x="555" y="202"/>
                    <a:pt x="555" y="202"/>
                  </a:cubicBezTo>
                  <a:cubicBezTo>
                    <a:pt x="555" y="204"/>
                    <a:pt x="555" y="205"/>
                    <a:pt x="555" y="207"/>
                  </a:cubicBezTo>
                  <a:cubicBezTo>
                    <a:pt x="554" y="209"/>
                    <a:pt x="554" y="210"/>
                    <a:pt x="552" y="211"/>
                  </a:cubicBezTo>
                  <a:cubicBezTo>
                    <a:pt x="552" y="211"/>
                    <a:pt x="552" y="211"/>
                    <a:pt x="552" y="212"/>
                  </a:cubicBezTo>
                  <a:cubicBezTo>
                    <a:pt x="552" y="212"/>
                    <a:pt x="552" y="212"/>
                    <a:pt x="552" y="212"/>
                  </a:cubicBezTo>
                  <a:cubicBezTo>
                    <a:pt x="552" y="212"/>
                    <a:pt x="551" y="212"/>
                    <a:pt x="551" y="212"/>
                  </a:cubicBezTo>
                  <a:cubicBezTo>
                    <a:pt x="551" y="212"/>
                    <a:pt x="550" y="213"/>
                    <a:pt x="550" y="213"/>
                  </a:cubicBezTo>
                  <a:cubicBezTo>
                    <a:pt x="549" y="213"/>
                    <a:pt x="547" y="213"/>
                    <a:pt x="546" y="213"/>
                  </a:cubicBezTo>
                  <a:cubicBezTo>
                    <a:pt x="545" y="214"/>
                    <a:pt x="543" y="213"/>
                    <a:pt x="542" y="212"/>
                  </a:cubicBezTo>
                  <a:cubicBezTo>
                    <a:pt x="543" y="211"/>
                    <a:pt x="542" y="210"/>
                    <a:pt x="541" y="209"/>
                  </a:cubicBezTo>
                  <a:cubicBezTo>
                    <a:pt x="541" y="209"/>
                    <a:pt x="541" y="208"/>
                    <a:pt x="541" y="208"/>
                  </a:cubicBezTo>
                  <a:cubicBezTo>
                    <a:pt x="541" y="207"/>
                    <a:pt x="541" y="207"/>
                    <a:pt x="541" y="206"/>
                  </a:cubicBezTo>
                  <a:close/>
                  <a:moveTo>
                    <a:pt x="539" y="237"/>
                  </a:moveTo>
                  <a:cubicBezTo>
                    <a:pt x="539" y="237"/>
                    <a:pt x="539" y="237"/>
                    <a:pt x="539" y="237"/>
                  </a:cubicBezTo>
                  <a:cubicBezTo>
                    <a:pt x="539" y="236"/>
                    <a:pt x="539" y="235"/>
                    <a:pt x="540" y="233"/>
                  </a:cubicBezTo>
                  <a:cubicBezTo>
                    <a:pt x="540" y="231"/>
                    <a:pt x="540" y="229"/>
                    <a:pt x="541" y="227"/>
                  </a:cubicBezTo>
                  <a:cubicBezTo>
                    <a:pt x="541" y="225"/>
                    <a:pt x="542" y="222"/>
                    <a:pt x="543" y="219"/>
                  </a:cubicBezTo>
                  <a:cubicBezTo>
                    <a:pt x="545" y="219"/>
                    <a:pt x="546" y="219"/>
                    <a:pt x="548" y="219"/>
                  </a:cubicBezTo>
                  <a:cubicBezTo>
                    <a:pt x="554" y="218"/>
                    <a:pt x="558" y="215"/>
                    <a:pt x="560" y="210"/>
                  </a:cubicBezTo>
                  <a:cubicBezTo>
                    <a:pt x="561" y="205"/>
                    <a:pt x="561" y="200"/>
                    <a:pt x="558" y="197"/>
                  </a:cubicBezTo>
                  <a:cubicBezTo>
                    <a:pt x="558" y="196"/>
                    <a:pt x="557" y="195"/>
                    <a:pt x="556" y="194"/>
                  </a:cubicBezTo>
                  <a:cubicBezTo>
                    <a:pt x="556" y="194"/>
                    <a:pt x="557" y="194"/>
                    <a:pt x="557" y="194"/>
                  </a:cubicBezTo>
                  <a:cubicBezTo>
                    <a:pt x="559" y="193"/>
                    <a:pt x="560" y="192"/>
                    <a:pt x="562" y="191"/>
                  </a:cubicBezTo>
                  <a:cubicBezTo>
                    <a:pt x="565" y="190"/>
                    <a:pt x="568" y="190"/>
                    <a:pt x="572" y="190"/>
                  </a:cubicBezTo>
                  <a:cubicBezTo>
                    <a:pt x="575" y="190"/>
                    <a:pt x="579" y="190"/>
                    <a:pt x="582" y="191"/>
                  </a:cubicBezTo>
                  <a:cubicBezTo>
                    <a:pt x="583" y="191"/>
                    <a:pt x="584" y="191"/>
                    <a:pt x="586" y="191"/>
                  </a:cubicBezTo>
                  <a:cubicBezTo>
                    <a:pt x="587" y="193"/>
                    <a:pt x="589" y="195"/>
                    <a:pt x="590" y="196"/>
                  </a:cubicBezTo>
                  <a:cubicBezTo>
                    <a:pt x="597" y="204"/>
                    <a:pt x="606" y="211"/>
                    <a:pt x="616" y="217"/>
                  </a:cubicBezTo>
                  <a:cubicBezTo>
                    <a:pt x="619" y="218"/>
                    <a:pt x="622" y="219"/>
                    <a:pt x="625" y="220"/>
                  </a:cubicBezTo>
                  <a:cubicBezTo>
                    <a:pt x="625" y="221"/>
                    <a:pt x="625" y="221"/>
                    <a:pt x="625" y="221"/>
                  </a:cubicBezTo>
                  <a:cubicBezTo>
                    <a:pt x="625" y="222"/>
                    <a:pt x="625" y="224"/>
                    <a:pt x="626" y="225"/>
                  </a:cubicBezTo>
                  <a:cubicBezTo>
                    <a:pt x="626" y="226"/>
                    <a:pt x="627" y="227"/>
                    <a:pt x="627" y="228"/>
                  </a:cubicBezTo>
                  <a:cubicBezTo>
                    <a:pt x="628" y="231"/>
                    <a:pt x="629" y="233"/>
                    <a:pt x="630" y="235"/>
                  </a:cubicBezTo>
                  <a:cubicBezTo>
                    <a:pt x="632" y="239"/>
                    <a:pt x="633" y="244"/>
                    <a:pt x="635" y="249"/>
                  </a:cubicBezTo>
                  <a:cubicBezTo>
                    <a:pt x="637" y="258"/>
                    <a:pt x="639" y="267"/>
                    <a:pt x="640" y="276"/>
                  </a:cubicBezTo>
                  <a:cubicBezTo>
                    <a:pt x="640" y="292"/>
                    <a:pt x="639" y="307"/>
                    <a:pt x="631" y="320"/>
                  </a:cubicBezTo>
                  <a:cubicBezTo>
                    <a:pt x="629" y="323"/>
                    <a:pt x="626" y="326"/>
                    <a:pt x="623" y="328"/>
                  </a:cubicBezTo>
                  <a:cubicBezTo>
                    <a:pt x="620" y="330"/>
                    <a:pt x="617" y="332"/>
                    <a:pt x="613" y="333"/>
                  </a:cubicBezTo>
                  <a:cubicBezTo>
                    <a:pt x="612" y="333"/>
                    <a:pt x="611" y="333"/>
                    <a:pt x="609" y="333"/>
                  </a:cubicBezTo>
                  <a:cubicBezTo>
                    <a:pt x="607" y="333"/>
                    <a:pt x="605" y="333"/>
                    <a:pt x="603" y="333"/>
                  </a:cubicBezTo>
                  <a:cubicBezTo>
                    <a:pt x="603" y="333"/>
                    <a:pt x="602" y="333"/>
                    <a:pt x="602" y="333"/>
                  </a:cubicBezTo>
                  <a:cubicBezTo>
                    <a:pt x="601" y="333"/>
                    <a:pt x="601" y="333"/>
                    <a:pt x="600" y="332"/>
                  </a:cubicBezTo>
                  <a:cubicBezTo>
                    <a:pt x="600" y="332"/>
                    <a:pt x="599" y="332"/>
                    <a:pt x="598" y="332"/>
                  </a:cubicBezTo>
                  <a:cubicBezTo>
                    <a:pt x="596" y="331"/>
                    <a:pt x="594" y="331"/>
                    <a:pt x="592" y="330"/>
                  </a:cubicBezTo>
                  <a:cubicBezTo>
                    <a:pt x="589" y="329"/>
                    <a:pt x="585" y="326"/>
                    <a:pt x="582" y="324"/>
                  </a:cubicBezTo>
                  <a:cubicBezTo>
                    <a:pt x="579" y="322"/>
                    <a:pt x="576" y="320"/>
                    <a:pt x="573" y="317"/>
                  </a:cubicBezTo>
                  <a:cubicBezTo>
                    <a:pt x="567" y="312"/>
                    <a:pt x="562" y="305"/>
                    <a:pt x="558" y="300"/>
                  </a:cubicBezTo>
                  <a:cubicBezTo>
                    <a:pt x="549" y="287"/>
                    <a:pt x="543" y="274"/>
                    <a:pt x="540" y="259"/>
                  </a:cubicBezTo>
                  <a:cubicBezTo>
                    <a:pt x="539" y="252"/>
                    <a:pt x="539" y="245"/>
                    <a:pt x="539" y="237"/>
                  </a:cubicBezTo>
                  <a:close/>
                  <a:moveTo>
                    <a:pt x="633" y="198"/>
                  </a:moveTo>
                  <a:cubicBezTo>
                    <a:pt x="633" y="198"/>
                    <a:pt x="633" y="198"/>
                    <a:pt x="633" y="198"/>
                  </a:cubicBezTo>
                  <a:cubicBezTo>
                    <a:pt x="633" y="197"/>
                    <a:pt x="633" y="196"/>
                    <a:pt x="633" y="195"/>
                  </a:cubicBezTo>
                  <a:cubicBezTo>
                    <a:pt x="633" y="195"/>
                    <a:pt x="633" y="194"/>
                    <a:pt x="633" y="194"/>
                  </a:cubicBezTo>
                  <a:cubicBezTo>
                    <a:pt x="633" y="195"/>
                    <a:pt x="633" y="193"/>
                    <a:pt x="633" y="193"/>
                  </a:cubicBezTo>
                  <a:cubicBezTo>
                    <a:pt x="634" y="191"/>
                    <a:pt x="634" y="189"/>
                    <a:pt x="635" y="188"/>
                  </a:cubicBezTo>
                  <a:cubicBezTo>
                    <a:pt x="635" y="187"/>
                    <a:pt x="636" y="186"/>
                    <a:pt x="636" y="185"/>
                  </a:cubicBezTo>
                  <a:cubicBezTo>
                    <a:pt x="637" y="186"/>
                    <a:pt x="638" y="186"/>
                    <a:pt x="639" y="186"/>
                  </a:cubicBezTo>
                  <a:cubicBezTo>
                    <a:pt x="640" y="185"/>
                    <a:pt x="642" y="183"/>
                    <a:pt x="643" y="182"/>
                  </a:cubicBezTo>
                  <a:cubicBezTo>
                    <a:pt x="644" y="182"/>
                    <a:pt x="645" y="181"/>
                    <a:pt x="646" y="181"/>
                  </a:cubicBezTo>
                  <a:cubicBezTo>
                    <a:pt x="646" y="181"/>
                    <a:pt x="646" y="181"/>
                    <a:pt x="646" y="181"/>
                  </a:cubicBezTo>
                  <a:cubicBezTo>
                    <a:pt x="646" y="180"/>
                    <a:pt x="646" y="180"/>
                    <a:pt x="646" y="180"/>
                  </a:cubicBezTo>
                  <a:cubicBezTo>
                    <a:pt x="647" y="180"/>
                    <a:pt x="647" y="180"/>
                    <a:pt x="648" y="180"/>
                  </a:cubicBezTo>
                  <a:cubicBezTo>
                    <a:pt x="648" y="180"/>
                    <a:pt x="649" y="180"/>
                    <a:pt x="649" y="180"/>
                  </a:cubicBezTo>
                  <a:cubicBezTo>
                    <a:pt x="648" y="180"/>
                    <a:pt x="649" y="180"/>
                    <a:pt x="650" y="180"/>
                  </a:cubicBezTo>
                  <a:cubicBezTo>
                    <a:pt x="650" y="180"/>
                    <a:pt x="650" y="180"/>
                    <a:pt x="651" y="180"/>
                  </a:cubicBezTo>
                  <a:cubicBezTo>
                    <a:pt x="651" y="180"/>
                    <a:pt x="651" y="180"/>
                    <a:pt x="651" y="180"/>
                  </a:cubicBezTo>
                  <a:cubicBezTo>
                    <a:pt x="651" y="180"/>
                    <a:pt x="651" y="180"/>
                    <a:pt x="651" y="180"/>
                  </a:cubicBezTo>
                  <a:cubicBezTo>
                    <a:pt x="652" y="180"/>
                    <a:pt x="653" y="180"/>
                    <a:pt x="654" y="180"/>
                  </a:cubicBezTo>
                  <a:cubicBezTo>
                    <a:pt x="654" y="180"/>
                    <a:pt x="654" y="180"/>
                    <a:pt x="654" y="181"/>
                  </a:cubicBezTo>
                  <a:cubicBezTo>
                    <a:pt x="655" y="181"/>
                    <a:pt x="655" y="181"/>
                    <a:pt x="655" y="181"/>
                  </a:cubicBezTo>
                  <a:cubicBezTo>
                    <a:pt x="655" y="181"/>
                    <a:pt x="656" y="181"/>
                    <a:pt x="657" y="182"/>
                  </a:cubicBezTo>
                  <a:cubicBezTo>
                    <a:pt x="657" y="182"/>
                    <a:pt x="658" y="183"/>
                    <a:pt x="659" y="183"/>
                  </a:cubicBezTo>
                  <a:cubicBezTo>
                    <a:pt x="659" y="183"/>
                    <a:pt x="659" y="184"/>
                    <a:pt x="660" y="184"/>
                  </a:cubicBezTo>
                  <a:cubicBezTo>
                    <a:pt x="660" y="185"/>
                    <a:pt x="660" y="185"/>
                    <a:pt x="660" y="185"/>
                  </a:cubicBezTo>
                  <a:cubicBezTo>
                    <a:pt x="661" y="186"/>
                    <a:pt x="662" y="186"/>
                    <a:pt x="662" y="187"/>
                  </a:cubicBezTo>
                  <a:cubicBezTo>
                    <a:pt x="662" y="187"/>
                    <a:pt x="662" y="187"/>
                    <a:pt x="662" y="187"/>
                  </a:cubicBezTo>
                  <a:cubicBezTo>
                    <a:pt x="662" y="187"/>
                    <a:pt x="662" y="187"/>
                    <a:pt x="662" y="187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9"/>
                    <a:pt x="664" y="189"/>
                    <a:pt x="664" y="190"/>
                  </a:cubicBezTo>
                  <a:cubicBezTo>
                    <a:pt x="664" y="189"/>
                    <a:pt x="664" y="191"/>
                    <a:pt x="664" y="191"/>
                  </a:cubicBezTo>
                  <a:cubicBezTo>
                    <a:pt x="664" y="192"/>
                    <a:pt x="664" y="193"/>
                    <a:pt x="664" y="193"/>
                  </a:cubicBezTo>
                  <a:cubicBezTo>
                    <a:pt x="664" y="193"/>
                    <a:pt x="664" y="193"/>
                    <a:pt x="664" y="193"/>
                  </a:cubicBezTo>
                  <a:cubicBezTo>
                    <a:pt x="664" y="194"/>
                    <a:pt x="665" y="194"/>
                    <a:pt x="665" y="195"/>
                  </a:cubicBezTo>
                  <a:cubicBezTo>
                    <a:pt x="665" y="195"/>
                    <a:pt x="664" y="196"/>
                    <a:pt x="664" y="197"/>
                  </a:cubicBezTo>
                  <a:cubicBezTo>
                    <a:pt x="664" y="197"/>
                    <a:pt x="664" y="197"/>
                    <a:pt x="664" y="197"/>
                  </a:cubicBezTo>
                  <a:cubicBezTo>
                    <a:pt x="664" y="197"/>
                    <a:pt x="664" y="197"/>
                    <a:pt x="664" y="198"/>
                  </a:cubicBezTo>
                  <a:cubicBezTo>
                    <a:pt x="664" y="198"/>
                    <a:pt x="664" y="199"/>
                    <a:pt x="664" y="200"/>
                  </a:cubicBezTo>
                  <a:cubicBezTo>
                    <a:pt x="664" y="200"/>
                    <a:pt x="664" y="200"/>
                    <a:pt x="664" y="200"/>
                  </a:cubicBezTo>
                  <a:cubicBezTo>
                    <a:pt x="664" y="201"/>
                    <a:pt x="664" y="201"/>
                    <a:pt x="664" y="201"/>
                  </a:cubicBezTo>
                  <a:cubicBezTo>
                    <a:pt x="663" y="202"/>
                    <a:pt x="662" y="203"/>
                    <a:pt x="662" y="204"/>
                  </a:cubicBezTo>
                  <a:cubicBezTo>
                    <a:pt x="661" y="205"/>
                    <a:pt x="661" y="205"/>
                    <a:pt x="661" y="205"/>
                  </a:cubicBezTo>
                  <a:cubicBezTo>
                    <a:pt x="660" y="206"/>
                    <a:pt x="660" y="206"/>
                    <a:pt x="659" y="207"/>
                  </a:cubicBezTo>
                  <a:cubicBezTo>
                    <a:pt x="659" y="207"/>
                    <a:pt x="659" y="207"/>
                    <a:pt x="659" y="207"/>
                  </a:cubicBezTo>
                  <a:cubicBezTo>
                    <a:pt x="659" y="207"/>
                    <a:pt x="658" y="207"/>
                    <a:pt x="658" y="207"/>
                  </a:cubicBezTo>
                  <a:cubicBezTo>
                    <a:pt x="658" y="208"/>
                    <a:pt x="657" y="208"/>
                    <a:pt x="656" y="208"/>
                  </a:cubicBezTo>
                  <a:cubicBezTo>
                    <a:pt x="656" y="209"/>
                    <a:pt x="655" y="209"/>
                    <a:pt x="655" y="209"/>
                  </a:cubicBezTo>
                  <a:cubicBezTo>
                    <a:pt x="655" y="209"/>
                    <a:pt x="655" y="209"/>
                    <a:pt x="655" y="209"/>
                  </a:cubicBezTo>
                  <a:cubicBezTo>
                    <a:pt x="654" y="210"/>
                    <a:pt x="654" y="210"/>
                    <a:pt x="653" y="210"/>
                  </a:cubicBezTo>
                  <a:cubicBezTo>
                    <a:pt x="653" y="210"/>
                    <a:pt x="652" y="210"/>
                    <a:pt x="651" y="210"/>
                  </a:cubicBezTo>
                  <a:cubicBezTo>
                    <a:pt x="651" y="210"/>
                    <a:pt x="651" y="210"/>
                    <a:pt x="651" y="210"/>
                  </a:cubicBezTo>
                  <a:cubicBezTo>
                    <a:pt x="650" y="210"/>
                    <a:pt x="650" y="210"/>
                    <a:pt x="650" y="210"/>
                  </a:cubicBezTo>
                  <a:cubicBezTo>
                    <a:pt x="649" y="211"/>
                    <a:pt x="649" y="211"/>
                    <a:pt x="648" y="211"/>
                  </a:cubicBezTo>
                  <a:cubicBezTo>
                    <a:pt x="647" y="211"/>
                    <a:pt x="647" y="210"/>
                    <a:pt x="647" y="210"/>
                  </a:cubicBezTo>
                  <a:cubicBezTo>
                    <a:pt x="647" y="210"/>
                    <a:pt x="647" y="210"/>
                    <a:pt x="646" y="210"/>
                  </a:cubicBezTo>
                  <a:cubicBezTo>
                    <a:pt x="646" y="210"/>
                    <a:pt x="646" y="210"/>
                    <a:pt x="646" y="210"/>
                  </a:cubicBezTo>
                  <a:cubicBezTo>
                    <a:pt x="645" y="210"/>
                    <a:pt x="644" y="210"/>
                    <a:pt x="643" y="210"/>
                  </a:cubicBezTo>
                  <a:cubicBezTo>
                    <a:pt x="643" y="210"/>
                    <a:pt x="643" y="209"/>
                    <a:pt x="642" y="209"/>
                  </a:cubicBezTo>
                  <a:cubicBezTo>
                    <a:pt x="642" y="209"/>
                    <a:pt x="642" y="209"/>
                    <a:pt x="642" y="209"/>
                  </a:cubicBezTo>
                  <a:cubicBezTo>
                    <a:pt x="642" y="209"/>
                    <a:pt x="642" y="209"/>
                    <a:pt x="642" y="209"/>
                  </a:cubicBezTo>
                  <a:cubicBezTo>
                    <a:pt x="640" y="208"/>
                    <a:pt x="639" y="207"/>
                    <a:pt x="637" y="206"/>
                  </a:cubicBezTo>
                  <a:cubicBezTo>
                    <a:pt x="637" y="206"/>
                    <a:pt x="637" y="205"/>
                    <a:pt x="636" y="205"/>
                  </a:cubicBezTo>
                  <a:cubicBezTo>
                    <a:pt x="636" y="205"/>
                    <a:pt x="636" y="204"/>
                    <a:pt x="636" y="204"/>
                  </a:cubicBezTo>
                  <a:cubicBezTo>
                    <a:pt x="635" y="203"/>
                    <a:pt x="635" y="202"/>
                    <a:pt x="634" y="202"/>
                  </a:cubicBezTo>
                  <a:cubicBezTo>
                    <a:pt x="634" y="201"/>
                    <a:pt x="634" y="201"/>
                    <a:pt x="634" y="201"/>
                  </a:cubicBezTo>
                  <a:cubicBezTo>
                    <a:pt x="634" y="201"/>
                    <a:pt x="634" y="200"/>
                    <a:pt x="634" y="200"/>
                  </a:cubicBezTo>
                  <a:cubicBezTo>
                    <a:pt x="633" y="199"/>
                    <a:pt x="633" y="199"/>
                    <a:pt x="633" y="199"/>
                  </a:cubicBezTo>
                  <a:cubicBezTo>
                    <a:pt x="633" y="198"/>
                    <a:pt x="633" y="198"/>
                    <a:pt x="633" y="198"/>
                  </a:cubicBezTo>
                  <a:cubicBezTo>
                    <a:pt x="633" y="198"/>
                    <a:pt x="633" y="198"/>
                    <a:pt x="633" y="198"/>
                  </a:cubicBezTo>
                  <a:close/>
                  <a:moveTo>
                    <a:pt x="668" y="211"/>
                  </a:moveTo>
                  <a:cubicBezTo>
                    <a:pt x="668" y="211"/>
                    <a:pt x="668" y="211"/>
                    <a:pt x="668" y="211"/>
                  </a:cubicBezTo>
                  <a:cubicBezTo>
                    <a:pt x="672" y="206"/>
                    <a:pt x="674" y="201"/>
                    <a:pt x="674" y="196"/>
                  </a:cubicBezTo>
                  <a:cubicBezTo>
                    <a:pt x="674" y="194"/>
                    <a:pt x="674" y="192"/>
                    <a:pt x="674" y="190"/>
                  </a:cubicBezTo>
                  <a:cubicBezTo>
                    <a:pt x="675" y="189"/>
                    <a:pt x="676" y="187"/>
                    <a:pt x="677" y="185"/>
                  </a:cubicBezTo>
                  <a:cubicBezTo>
                    <a:pt x="678" y="182"/>
                    <a:pt x="679" y="179"/>
                    <a:pt x="680" y="177"/>
                  </a:cubicBezTo>
                  <a:cubicBezTo>
                    <a:pt x="682" y="172"/>
                    <a:pt x="683" y="168"/>
                    <a:pt x="685" y="163"/>
                  </a:cubicBezTo>
                  <a:cubicBezTo>
                    <a:pt x="686" y="157"/>
                    <a:pt x="687" y="151"/>
                    <a:pt x="688" y="145"/>
                  </a:cubicBezTo>
                  <a:cubicBezTo>
                    <a:pt x="689" y="145"/>
                    <a:pt x="691" y="146"/>
                    <a:pt x="692" y="147"/>
                  </a:cubicBezTo>
                  <a:cubicBezTo>
                    <a:pt x="693" y="148"/>
                    <a:pt x="695" y="149"/>
                    <a:pt x="696" y="150"/>
                  </a:cubicBezTo>
                  <a:cubicBezTo>
                    <a:pt x="697" y="152"/>
                    <a:pt x="697" y="153"/>
                    <a:pt x="699" y="155"/>
                  </a:cubicBezTo>
                  <a:cubicBezTo>
                    <a:pt x="699" y="155"/>
                    <a:pt x="700" y="155"/>
                    <a:pt x="700" y="154"/>
                  </a:cubicBezTo>
                  <a:cubicBezTo>
                    <a:pt x="701" y="150"/>
                    <a:pt x="698" y="147"/>
                    <a:pt x="695" y="145"/>
                  </a:cubicBezTo>
                  <a:cubicBezTo>
                    <a:pt x="693" y="143"/>
                    <a:pt x="690" y="142"/>
                    <a:pt x="688" y="141"/>
                  </a:cubicBezTo>
                  <a:cubicBezTo>
                    <a:pt x="688" y="138"/>
                    <a:pt x="688" y="136"/>
                    <a:pt x="688" y="134"/>
                  </a:cubicBezTo>
                  <a:cubicBezTo>
                    <a:pt x="688" y="133"/>
                    <a:pt x="688" y="132"/>
                    <a:pt x="688" y="131"/>
                  </a:cubicBezTo>
                  <a:cubicBezTo>
                    <a:pt x="690" y="134"/>
                    <a:pt x="692" y="136"/>
                    <a:pt x="694" y="139"/>
                  </a:cubicBezTo>
                  <a:cubicBezTo>
                    <a:pt x="702" y="146"/>
                    <a:pt x="713" y="151"/>
                    <a:pt x="724" y="149"/>
                  </a:cubicBezTo>
                  <a:cubicBezTo>
                    <a:pt x="724" y="149"/>
                    <a:pt x="725" y="148"/>
                    <a:pt x="725" y="148"/>
                  </a:cubicBezTo>
                  <a:cubicBezTo>
                    <a:pt x="725" y="148"/>
                    <a:pt x="725" y="148"/>
                    <a:pt x="726" y="148"/>
                  </a:cubicBezTo>
                  <a:cubicBezTo>
                    <a:pt x="726" y="149"/>
                    <a:pt x="726" y="149"/>
                    <a:pt x="727" y="150"/>
                  </a:cubicBezTo>
                  <a:cubicBezTo>
                    <a:pt x="717" y="156"/>
                    <a:pt x="708" y="164"/>
                    <a:pt x="699" y="172"/>
                  </a:cubicBezTo>
                  <a:cubicBezTo>
                    <a:pt x="685" y="187"/>
                    <a:pt x="673" y="204"/>
                    <a:pt x="665" y="223"/>
                  </a:cubicBezTo>
                  <a:cubicBezTo>
                    <a:pt x="664" y="221"/>
                    <a:pt x="664" y="218"/>
                    <a:pt x="664" y="216"/>
                  </a:cubicBezTo>
                  <a:cubicBezTo>
                    <a:pt x="665" y="214"/>
                    <a:pt x="667" y="212"/>
                    <a:pt x="668" y="211"/>
                  </a:cubicBezTo>
                  <a:close/>
                  <a:moveTo>
                    <a:pt x="714" y="401"/>
                  </a:moveTo>
                  <a:cubicBezTo>
                    <a:pt x="714" y="401"/>
                    <a:pt x="714" y="401"/>
                    <a:pt x="714" y="401"/>
                  </a:cubicBezTo>
                  <a:cubicBezTo>
                    <a:pt x="713" y="407"/>
                    <a:pt x="712" y="412"/>
                    <a:pt x="711" y="417"/>
                  </a:cubicBezTo>
                  <a:cubicBezTo>
                    <a:pt x="710" y="420"/>
                    <a:pt x="709" y="423"/>
                    <a:pt x="708" y="426"/>
                  </a:cubicBezTo>
                  <a:cubicBezTo>
                    <a:pt x="707" y="422"/>
                    <a:pt x="706" y="417"/>
                    <a:pt x="706" y="412"/>
                  </a:cubicBezTo>
                  <a:cubicBezTo>
                    <a:pt x="706" y="411"/>
                    <a:pt x="707" y="409"/>
                    <a:pt x="707" y="408"/>
                  </a:cubicBezTo>
                  <a:cubicBezTo>
                    <a:pt x="708" y="406"/>
                    <a:pt x="708" y="404"/>
                    <a:pt x="709" y="402"/>
                  </a:cubicBezTo>
                  <a:cubicBezTo>
                    <a:pt x="710" y="397"/>
                    <a:pt x="710" y="393"/>
                    <a:pt x="710" y="389"/>
                  </a:cubicBezTo>
                  <a:cubicBezTo>
                    <a:pt x="711" y="385"/>
                    <a:pt x="711" y="381"/>
                    <a:pt x="711" y="376"/>
                  </a:cubicBezTo>
                  <a:cubicBezTo>
                    <a:pt x="711" y="376"/>
                    <a:pt x="711" y="375"/>
                    <a:pt x="711" y="374"/>
                  </a:cubicBezTo>
                  <a:cubicBezTo>
                    <a:pt x="712" y="374"/>
                    <a:pt x="713" y="375"/>
                    <a:pt x="714" y="375"/>
                  </a:cubicBezTo>
                  <a:cubicBezTo>
                    <a:pt x="715" y="375"/>
                    <a:pt x="715" y="375"/>
                    <a:pt x="715" y="375"/>
                  </a:cubicBezTo>
                  <a:cubicBezTo>
                    <a:pt x="715" y="383"/>
                    <a:pt x="715" y="392"/>
                    <a:pt x="714" y="401"/>
                  </a:cubicBezTo>
                  <a:close/>
                  <a:moveTo>
                    <a:pt x="795" y="338"/>
                  </a:moveTo>
                  <a:cubicBezTo>
                    <a:pt x="795" y="338"/>
                    <a:pt x="795" y="338"/>
                    <a:pt x="795" y="338"/>
                  </a:cubicBezTo>
                  <a:cubicBezTo>
                    <a:pt x="796" y="336"/>
                    <a:pt x="796" y="335"/>
                    <a:pt x="796" y="334"/>
                  </a:cubicBezTo>
                  <a:cubicBezTo>
                    <a:pt x="797" y="334"/>
                    <a:pt x="797" y="334"/>
                    <a:pt x="797" y="334"/>
                  </a:cubicBezTo>
                  <a:cubicBezTo>
                    <a:pt x="799" y="333"/>
                    <a:pt x="799" y="330"/>
                    <a:pt x="798" y="328"/>
                  </a:cubicBezTo>
                  <a:cubicBezTo>
                    <a:pt x="797" y="326"/>
                    <a:pt x="795" y="324"/>
                    <a:pt x="794" y="323"/>
                  </a:cubicBezTo>
                  <a:cubicBezTo>
                    <a:pt x="791" y="320"/>
                    <a:pt x="789" y="317"/>
                    <a:pt x="787" y="314"/>
                  </a:cubicBezTo>
                  <a:cubicBezTo>
                    <a:pt x="786" y="313"/>
                    <a:pt x="784" y="311"/>
                    <a:pt x="783" y="310"/>
                  </a:cubicBezTo>
                  <a:cubicBezTo>
                    <a:pt x="784" y="310"/>
                    <a:pt x="786" y="310"/>
                    <a:pt x="788" y="310"/>
                  </a:cubicBezTo>
                  <a:cubicBezTo>
                    <a:pt x="790" y="310"/>
                    <a:pt x="793" y="310"/>
                    <a:pt x="797" y="310"/>
                  </a:cubicBezTo>
                  <a:cubicBezTo>
                    <a:pt x="799" y="310"/>
                    <a:pt x="803" y="310"/>
                    <a:pt x="805" y="307"/>
                  </a:cubicBezTo>
                  <a:cubicBezTo>
                    <a:pt x="807" y="308"/>
                    <a:pt x="809" y="308"/>
                    <a:pt x="810" y="306"/>
                  </a:cubicBezTo>
                  <a:cubicBezTo>
                    <a:pt x="813" y="300"/>
                    <a:pt x="816" y="293"/>
                    <a:pt x="820" y="286"/>
                  </a:cubicBezTo>
                  <a:cubicBezTo>
                    <a:pt x="822" y="282"/>
                    <a:pt x="824" y="279"/>
                    <a:pt x="826" y="275"/>
                  </a:cubicBezTo>
                  <a:cubicBezTo>
                    <a:pt x="827" y="279"/>
                    <a:pt x="828" y="284"/>
                    <a:pt x="830" y="288"/>
                  </a:cubicBezTo>
                  <a:cubicBezTo>
                    <a:pt x="831" y="292"/>
                    <a:pt x="832" y="296"/>
                    <a:pt x="833" y="300"/>
                  </a:cubicBezTo>
                  <a:cubicBezTo>
                    <a:pt x="834" y="302"/>
                    <a:pt x="835" y="308"/>
                    <a:pt x="837" y="310"/>
                  </a:cubicBezTo>
                  <a:cubicBezTo>
                    <a:pt x="838" y="310"/>
                    <a:pt x="838" y="310"/>
                    <a:pt x="837" y="310"/>
                  </a:cubicBezTo>
                  <a:cubicBezTo>
                    <a:pt x="838" y="310"/>
                    <a:pt x="838" y="310"/>
                    <a:pt x="838" y="311"/>
                  </a:cubicBezTo>
                  <a:cubicBezTo>
                    <a:pt x="839" y="311"/>
                    <a:pt x="840" y="311"/>
                    <a:pt x="841" y="312"/>
                  </a:cubicBezTo>
                  <a:cubicBezTo>
                    <a:pt x="842" y="312"/>
                    <a:pt x="844" y="312"/>
                    <a:pt x="845" y="312"/>
                  </a:cubicBezTo>
                  <a:cubicBezTo>
                    <a:pt x="848" y="313"/>
                    <a:pt x="851" y="313"/>
                    <a:pt x="854" y="314"/>
                  </a:cubicBezTo>
                  <a:cubicBezTo>
                    <a:pt x="858" y="314"/>
                    <a:pt x="862" y="314"/>
                    <a:pt x="866" y="315"/>
                  </a:cubicBezTo>
                  <a:cubicBezTo>
                    <a:pt x="864" y="316"/>
                    <a:pt x="862" y="317"/>
                    <a:pt x="861" y="318"/>
                  </a:cubicBezTo>
                  <a:cubicBezTo>
                    <a:pt x="858" y="320"/>
                    <a:pt x="855" y="322"/>
                    <a:pt x="851" y="324"/>
                  </a:cubicBezTo>
                  <a:cubicBezTo>
                    <a:pt x="849" y="326"/>
                    <a:pt x="845" y="327"/>
                    <a:pt x="843" y="329"/>
                  </a:cubicBezTo>
                  <a:cubicBezTo>
                    <a:pt x="843" y="329"/>
                    <a:pt x="842" y="329"/>
                    <a:pt x="842" y="329"/>
                  </a:cubicBezTo>
                  <a:cubicBezTo>
                    <a:pt x="840" y="330"/>
                    <a:pt x="839" y="332"/>
                    <a:pt x="840" y="334"/>
                  </a:cubicBezTo>
                  <a:cubicBezTo>
                    <a:pt x="840" y="337"/>
                    <a:pt x="841" y="339"/>
                    <a:pt x="841" y="342"/>
                  </a:cubicBezTo>
                  <a:cubicBezTo>
                    <a:pt x="842" y="343"/>
                    <a:pt x="842" y="343"/>
                    <a:pt x="842" y="343"/>
                  </a:cubicBezTo>
                  <a:cubicBezTo>
                    <a:pt x="842" y="343"/>
                    <a:pt x="842" y="344"/>
                    <a:pt x="842" y="344"/>
                  </a:cubicBezTo>
                  <a:cubicBezTo>
                    <a:pt x="842" y="345"/>
                    <a:pt x="842" y="345"/>
                    <a:pt x="842" y="346"/>
                  </a:cubicBezTo>
                  <a:cubicBezTo>
                    <a:pt x="842" y="348"/>
                    <a:pt x="842" y="350"/>
                    <a:pt x="843" y="352"/>
                  </a:cubicBezTo>
                  <a:cubicBezTo>
                    <a:pt x="844" y="357"/>
                    <a:pt x="846" y="362"/>
                    <a:pt x="847" y="367"/>
                  </a:cubicBezTo>
                  <a:cubicBezTo>
                    <a:pt x="842" y="365"/>
                    <a:pt x="838" y="361"/>
                    <a:pt x="834" y="358"/>
                  </a:cubicBezTo>
                  <a:cubicBezTo>
                    <a:pt x="829" y="355"/>
                    <a:pt x="824" y="349"/>
                    <a:pt x="817" y="347"/>
                  </a:cubicBezTo>
                  <a:cubicBezTo>
                    <a:pt x="815" y="347"/>
                    <a:pt x="814" y="346"/>
                    <a:pt x="812" y="347"/>
                  </a:cubicBezTo>
                  <a:cubicBezTo>
                    <a:pt x="809" y="349"/>
                    <a:pt x="806" y="351"/>
                    <a:pt x="802" y="353"/>
                  </a:cubicBezTo>
                  <a:cubicBezTo>
                    <a:pt x="799" y="355"/>
                    <a:pt x="795" y="357"/>
                    <a:pt x="791" y="358"/>
                  </a:cubicBezTo>
                  <a:cubicBezTo>
                    <a:pt x="787" y="360"/>
                    <a:pt x="782" y="362"/>
                    <a:pt x="777" y="363"/>
                  </a:cubicBezTo>
                  <a:cubicBezTo>
                    <a:pt x="777" y="363"/>
                    <a:pt x="777" y="362"/>
                    <a:pt x="778" y="362"/>
                  </a:cubicBezTo>
                  <a:cubicBezTo>
                    <a:pt x="780" y="359"/>
                    <a:pt x="782" y="356"/>
                    <a:pt x="785" y="353"/>
                  </a:cubicBezTo>
                  <a:cubicBezTo>
                    <a:pt x="788" y="350"/>
                    <a:pt x="790" y="346"/>
                    <a:pt x="792" y="343"/>
                  </a:cubicBezTo>
                  <a:cubicBezTo>
                    <a:pt x="793" y="342"/>
                    <a:pt x="794" y="339"/>
                    <a:pt x="795" y="338"/>
                  </a:cubicBezTo>
                  <a:close/>
                  <a:moveTo>
                    <a:pt x="899" y="403"/>
                  </a:moveTo>
                  <a:cubicBezTo>
                    <a:pt x="899" y="403"/>
                    <a:pt x="899" y="403"/>
                    <a:pt x="899" y="403"/>
                  </a:cubicBezTo>
                  <a:cubicBezTo>
                    <a:pt x="900" y="404"/>
                    <a:pt x="901" y="405"/>
                    <a:pt x="902" y="407"/>
                  </a:cubicBezTo>
                  <a:cubicBezTo>
                    <a:pt x="903" y="408"/>
                    <a:pt x="904" y="410"/>
                    <a:pt x="905" y="412"/>
                  </a:cubicBezTo>
                  <a:cubicBezTo>
                    <a:pt x="906" y="413"/>
                    <a:pt x="906" y="415"/>
                    <a:pt x="908" y="416"/>
                  </a:cubicBezTo>
                  <a:cubicBezTo>
                    <a:pt x="908" y="417"/>
                    <a:pt x="909" y="417"/>
                    <a:pt x="910" y="416"/>
                  </a:cubicBezTo>
                  <a:cubicBezTo>
                    <a:pt x="911" y="412"/>
                    <a:pt x="907" y="408"/>
                    <a:pt x="905" y="405"/>
                  </a:cubicBezTo>
                  <a:cubicBezTo>
                    <a:pt x="905" y="405"/>
                    <a:pt x="905" y="405"/>
                    <a:pt x="905" y="405"/>
                  </a:cubicBezTo>
                  <a:cubicBezTo>
                    <a:pt x="907" y="405"/>
                    <a:pt x="910" y="406"/>
                    <a:pt x="911" y="407"/>
                  </a:cubicBezTo>
                  <a:cubicBezTo>
                    <a:pt x="912" y="407"/>
                    <a:pt x="913" y="407"/>
                    <a:pt x="914" y="407"/>
                  </a:cubicBezTo>
                  <a:cubicBezTo>
                    <a:pt x="914" y="408"/>
                    <a:pt x="914" y="408"/>
                    <a:pt x="914" y="408"/>
                  </a:cubicBezTo>
                  <a:cubicBezTo>
                    <a:pt x="914" y="408"/>
                    <a:pt x="915" y="409"/>
                    <a:pt x="915" y="409"/>
                  </a:cubicBezTo>
                  <a:cubicBezTo>
                    <a:pt x="915" y="409"/>
                    <a:pt x="915" y="409"/>
                    <a:pt x="915" y="409"/>
                  </a:cubicBezTo>
                  <a:cubicBezTo>
                    <a:pt x="915" y="409"/>
                    <a:pt x="915" y="409"/>
                    <a:pt x="915" y="410"/>
                  </a:cubicBezTo>
                  <a:cubicBezTo>
                    <a:pt x="914" y="409"/>
                    <a:pt x="915" y="410"/>
                    <a:pt x="916" y="410"/>
                  </a:cubicBezTo>
                  <a:cubicBezTo>
                    <a:pt x="916" y="410"/>
                    <a:pt x="916" y="411"/>
                    <a:pt x="916" y="411"/>
                  </a:cubicBezTo>
                  <a:cubicBezTo>
                    <a:pt x="916" y="412"/>
                    <a:pt x="916" y="412"/>
                    <a:pt x="917" y="413"/>
                  </a:cubicBezTo>
                  <a:cubicBezTo>
                    <a:pt x="917" y="413"/>
                    <a:pt x="917" y="414"/>
                    <a:pt x="917" y="414"/>
                  </a:cubicBezTo>
                  <a:cubicBezTo>
                    <a:pt x="917" y="414"/>
                    <a:pt x="917" y="415"/>
                    <a:pt x="917" y="415"/>
                  </a:cubicBezTo>
                  <a:cubicBezTo>
                    <a:pt x="917" y="417"/>
                    <a:pt x="917" y="418"/>
                    <a:pt x="917" y="419"/>
                  </a:cubicBezTo>
                  <a:cubicBezTo>
                    <a:pt x="917" y="419"/>
                    <a:pt x="917" y="420"/>
                    <a:pt x="917" y="420"/>
                  </a:cubicBezTo>
                  <a:cubicBezTo>
                    <a:pt x="917" y="421"/>
                    <a:pt x="917" y="421"/>
                    <a:pt x="917" y="421"/>
                  </a:cubicBezTo>
                  <a:cubicBezTo>
                    <a:pt x="916" y="421"/>
                    <a:pt x="916" y="421"/>
                    <a:pt x="916" y="421"/>
                  </a:cubicBezTo>
                  <a:cubicBezTo>
                    <a:pt x="916" y="424"/>
                    <a:pt x="915" y="427"/>
                    <a:pt x="915" y="429"/>
                  </a:cubicBezTo>
                  <a:cubicBezTo>
                    <a:pt x="913" y="435"/>
                    <a:pt x="912" y="439"/>
                    <a:pt x="910" y="443"/>
                  </a:cubicBezTo>
                  <a:cubicBezTo>
                    <a:pt x="909" y="445"/>
                    <a:pt x="907" y="447"/>
                    <a:pt x="906" y="449"/>
                  </a:cubicBezTo>
                  <a:cubicBezTo>
                    <a:pt x="906" y="449"/>
                    <a:pt x="906" y="449"/>
                    <a:pt x="906" y="449"/>
                  </a:cubicBezTo>
                  <a:cubicBezTo>
                    <a:pt x="906" y="449"/>
                    <a:pt x="906" y="449"/>
                    <a:pt x="906" y="449"/>
                  </a:cubicBezTo>
                  <a:cubicBezTo>
                    <a:pt x="906" y="450"/>
                    <a:pt x="905" y="450"/>
                    <a:pt x="905" y="450"/>
                  </a:cubicBezTo>
                  <a:cubicBezTo>
                    <a:pt x="899" y="451"/>
                    <a:pt x="892" y="453"/>
                    <a:pt x="888" y="458"/>
                  </a:cubicBezTo>
                  <a:cubicBezTo>
                    <a:pt x="885" y="450"/>
                    <a:pt x="881" y="443"/>
                    <a:pt x="878" y="436"/>
                  </a:cubicBezTo>
                  <a:cubicBezTo>
                    <a:pt x="873" y="425"/>
                    <a:pt x="867" y="414"/>
                    <a:pt x="862" y="403"/>
                  </a:cubicBezTo>
                  <a:cubicBezTo>
                    <a:pt x="861" y="399"/>
                    <a:pt x="859" y="396"/>
                    <a:pt x="857" y="392"/>
                  </a:cubicBezTo>
                  <a:cubicBezTo>
                    <a:pt x="864" y="394"/>
                    <a:pt x="872" y="395"/>
                    <a:pt x="879" y="397"/>
                  </a:cubicBezTo>
                  <a:cubicBezTo>
                    <a:pt x="886" y="399"/>
                    <a:pt x="892" y="400"/>
                    <a:pt x="899" y="403"/>
                  </a:cubicBezTo>
                  <a:close/>
                  <a:moveTo>
                    <a:pt x="974" y="418"/>
                  </a:moveTo>
                  <a:cubicBezTo>
                    <a:pt x="974" y="418"/>
                    <a:pt x="974" y="418"/>
                    <a:pt x="974" y="418"/>
                  </a:cubicBezTo>
                  <a:cubicBezTo>
                    <a:pt x="997" y="419"/>
                    <a:pt x="1020" y="417"/>
                    <a:pt x="1041" y="410"/>
                  </a:cubicBezTo>
                  <a:cubicBezTo>
                    <a:pt x="1041" y="411"/>
                    <a:pt x="1041" y="411"/>
                    <a:pt x="1041" y="412"/>
                  </a:cubicBezTo>
                  <a:cubicBezTo>
                    <a:pt x="1041" y="414"/>
                    <a:pt x="1041" y="416"/>
                    <a:pt x="1041" y="417"/>
                  </a:cubicBezTo>
                  <a:cubicBezTo>
                    <a:pt x="1041" y="418"/>
                    <a:pt x="1042" y="419"/>
                    <a:pt x="1043" y="418"/>
                  </a:cubicBezTo>
                  <a:cubicBezTo>
                    <a:pt x="1045" y="416"/>
                    <a:pt x="1046" y="413"/>
                    <a:pt x="1045" y="409"/>
                  </a:cubicBezTo>
                  <a:cubicBezTo>
                    <a:pt x="1048" y="409"/>
                    <a:pt x="1050" y="408"/>
                    <a:pt x="1053" y="407"/>
                  </a:cubicBezTo>
                  <a:cubicBezTo>
                    <a:pt x="1053" y="407"/>
                    <a:pt x="1053" y="407"/>
                    <a:pt x="1053" y="407"/>
                  </a:cubicBezTo>
                  <a:cubicBezTo>
                    <a:pt x="1053" y="408"/>
                    <a:pt x="1053" y="408"/>
                    <a:pt x="1053" y="408"/>
                  </a:cubicBezTo>
                  <a:cubicBezTo>
                    <a:pt x="1053" y="409"/>
                    <a:pt x="1053" y="409"/>
                    <a:pt x="1053" y="409"/>
                  </a:cubicBezTo>
                  <a:cubicBezTo>
                    <a:pt x="1053" y="410"/>
                    <a:pt x="1053" y="410"/>
                    <a:pt x="1052" y="411"/>
                  </a:cubicBezTo>
                  <a:cubicBezTo>
                    <a:pt x="1052" y="411"/>
                    <a:pt x="1052" y="412"/>
                    <a:pt x="1052" y="412"/>
                  </a:cubicBezTo>
                  <a:cubicBezTo>
                    <a:pt x="1052" y="412"/>
                    <a:pt x="1052" y="412"/>
                    <a:pt x="1052" y="413"/>
                  </a:cubicBezTo>
                  <a:cubicBezTo>
                    <a:pt x="1052" y="413"/>
                    <a:pt x="1052" y="413"/>
                    <a:pt x="1052" y="413"/>
                  </a:cubicBezTo>
                  <a:cubicBezTo>
                    <a:pt x="1051" y="414"/>
                    <a:pt x="1050" y="416"/>
                    <a:pt x="1049" y="417"/>
                  </a:cubicBezTo>
                  <a:cubicBezTo>
                    <a:pt x="1049" y="418"/>
                    <a:pt x="1048" y="419"/>
                    <a:pt x="1048" y="420"/>
                  </a:cubicBezTo>
                  <a:cubicBezTo>
                    <a:pt x="1048" y="419"/>
                    <a:pt x="1047" y="420"/>
                    <a:pt x="1047" y="420"/>
                  </a:cubicBezTo>
                  <a:cubicBezTo>
                    <a:pt x="1047" y="421"/>
                    <a:pt x="1046" y="421"/>
                    <a:pt x="1046" y="421"/>
                  </a:cubicBezTo>
                  <a:cubicBezTo>
                    <a:pt x="1045" y="423"/>
                    <a:pt x="1043" y="424"/>
                    <a:pt x="1042" y="426"/>
                  </a:cubicBezTo>
                  <a:cubicBezTo>
                    <a:pt x="1041" y="426"/>
                    <a:pt x="1041" y="427"/>
                    <a:pt x="1040" y="427"/>
                  </a:cubicBezTo>
                  <a:cubicBezTo>
                    <a:pt x="1040" y="427"/>
                    <a:pt x="1038" y="429"/>
                    <a:pt x="1039" y="428"/>
                  </a:cubicBezTo>
                  <a:cubicBezTo>
                    <a:pt x="1039" y="428"/>
                    <a:pt x="1039" y="428"/>
                    <a:pt x="1039" y="428"/>
                  </a:cubicBezTo>
                  <a:cubicBezTo>
                    <a:pt x="1039" y="428"/>
                    <a:pt x="1038" y="428"/>
                    <a:pt x="1038" y="429"/>
                  </a:cubicBezTo>
                  <a:cubicBezTo>
                    <a:pt x="1038" y="429"/>
                    <a:pt x="1038" y="429"/>
                    <a:pt x="1037" y="429"/>
                  </a:cubicBezTo>
                  <a:cubicBezTo>
                    <a:pt x="1033" y="431"/>
                    <a:pt x="1029" y="434"/>
                    <a:pt x="1025" y="436"/>
                  </a:cubicBezTo>
                  <a:cubicBezTo>
                    <a:pt x="1022" y="438"/>
                    <a:pt x="1019" y="441"/>
                    <a:pt x="1017" y="443"/>
                  </a:cubicBezTo>
                  <a:cubicBezTo>
                    <a:pt x="1015" y="445"/>
                    <a:pt x="1014" y="447"/>
                    <a:pt x="1013" y="449"/>
                  </a:cubicBezTo>
                  <a:cubicBezTo>
                    <a:pt x="1012" y="448"/>
                    <a:pt x="1010" y="448"/>
                    <a:pt x="1009" y="448"/>
                  </a:cubicBezTo>
                  <a:cubicBezTo>
                    <a:pt x="1006" y="448"/>
                    <a:pt x="1003" y="450"/>
                    <a:pt x="1000" y="452"/>
                  </a:cubicBezTo>
                  <a:cubicBezTo>
                    <a:pt x="999" y="453"/>
                    <a:pt x="1000" y="454"/>
                    <a:pt x="1001" y="454"/>
                  </a:cubicBezTo>
                  <a:cubicBezTo>
                    <a:pt x="1004" y="454"/>
                    <a:pt x="1006" y="454"/>
                    <a:pt x="1009" y="454"/>
                  </a:cubicBezTo>
                  <a:cubicBezTo>
                    <a:pt x="1009" y="454"/>
                    <a:pt x="1009" y="454"/>
                    <a:pt x="1009" y="454"/>
                  </a:cubicBezTo>
                  <a:cubicBezTo>
                    <a:pt x="1009" y="454"/>
                    <a:pt x="1009" y="454"/>
                    <a:pt x="1009" y="454"/>
                  </a:cubicBezTo>
                  <a:cubicBezTo>
                    <a:pt x="1010" y="454"/>
                    <a:pt x="1010" y="454"/>
                    <a:pt x="1010" y="454"/>
                  </a:cubicBezTo>
                  <a:cubicBezTo>
                    <a:pt x="1010" y="455"/>
                    <a:pt x="1011" y="455"/>
                    <a:pt x="1011" y="455"/>
                  </a:cubicBezTo>
                  <a:cubicBezTo>
                    <a:pt x="1011" y="455"/>
                    <a:pt x="1011" y="455"/>
                    <a:pt x="1011" y="455"/>
                  </a:cubicBezTo>
                  <a:cubicBezTo>
                    <a:pt x="1011" y="455"/>
                    <a:pt x="1012" y="455"/>
                    <a:pt x="1012" y="455"/>
                  </a:cubicBezTo>
                  <a:cubicBezTo>
                    <a:pt x="1012" y="456"/>
                    <a:pt x="1012" y="456"/>
                    <a:pt x="1012" y="456"/>
                  </a:cubicBezTo>
                  <a:cubicBezTo>
                    <a:pt x="1012" y="456"/>
                    <a:pt x="1012" y="456"/>
                    <a:pt x="1012" y="456"/>
                  </a:cubicBezTo>
                  <a:cubicBezTo>
                    <a:pt x="1012" y="456"/>
                    <a:pt x="1012" y="457"/>
                    <a:pt x="1012" y="457"/>
                  </a:cubicBezTo>
                  <a:cubicBezTo>
                    <a:pt x="1012" y="457"/>
                    <a:pt x="1012" y="457"/>
                    <a:pt x="1012" y="457"/>
                  </a:cubicBezTo>
                  <a:cubicBezTo>
                    <a:pt x="1012" y="457"/>
                    <a:pt x="1012" y="457"/>
                    <a:pt x="1012" y="457"/>
                  </a:cubicBezTo>
                  <a:cubicBezTo>
                    <a:pt x="1012" y="458"/>
                    <a:pt x="1012" y="458"/>
                    <a:pt x="1012" y="459"/>
                  </a:cubicBezTo>
                  <a:cubicBezTo>
                    <a:pt x="1012" y="459"/>
                    <a:pt x="1012" y="459"/>
                    <a:pt x="1012" y="459"/>
                  </a:cubicBezTo>
                  <a:cubicBezTo>
                    <a:pt x="1012" y="460"/>
                    <a:pt x="1012" y="460"/>
                    <a:pt x="1012" y="460"/>
                  </a:cubicBezTo>
                  <a:cubicBezTo>
                    <a:pt x="1012" y="461"/>
                    <a:pt x="1012" y="462"/>
                    <a:pt x="1011" y="463"/>
                  </a:cubicBezTo>
                  <a:cubicBezTo>
                    <a:pt x="1011" y="463"/>
                    <a:pt x="1011" y="463"/>
                    <a:pt x="1011" y="463"/>
                  </a:cubicBezTo>
                  <a:cubicBezTo>
                    <a:pt x="1011" y="463"/>
                    <a:pt x="1011" y="463"/>
                    <a:pt x="1011" y="463"/>
                  </a:cubicBezTo>
                  <a:cubicBezTo>
                    <a:pt x="1011" y="464"/>
                    <a:pt x="1011" y="464"/>
                    <a:pt x="1010" y="465"/>
                  </a:cubicBezTo>
                  <a:cubicBezTo>
                    <a:pt x="1010" y="466"/>
                    <a:pt x="1010" y="466"/>
                    <a:pt x="1009" y="467"/>
                  </a:cubicBezTo>
                  <a:cubicBezTo>
                    <a:pt x="1009" y="468"/>
                    <a:pt x="1009" y="468"/>
                    <a:pt x="1009" y="468"/>
                  </a:cubicBezTo>
                  <a:cubicBezTo>
                    <a:pt x="1009" y="468"/>
                    <a:pt x="1008" y="468"/>
                    <a:pt x="1008" y="469"/>
                  </a:cubicBezTo>
                  <a:cubicBezTo>
                    <a:pt x="1008" y="469"/>
                    <a:pt x="1007" y="469"/>
                    <a:pt x="1007" y="470"/>
                  </a:cubicBezTo>
                  <a:cubicBezTo>
                    <a:pt x="1007" y="470"/>
                    <a:pt x="1007" y="470"/>
                    <a:pt x="1007" y="470"/>
                  </a:cubicBezTo>
                  <a:cubicBezTo>
                    <a:pt x="1007" y="470"/>
                    <a:pt x="1007" y="470"/>
                    <a:pt x="1007" y="470"/>
                  </a:cubicBezTo>
                  <a:cubicBezTo>
                    <a:pt x="1006" y="470"/>
                    <a:pt x="1006" y="470"/>
                    <a:pt x="1005" y="471"/>
                  </a:cubicBezTo>
                  <a:cubicBezTo>
                    <a:pt x="1005" y="471"/>
                    <a:pt x="1005" y="471"/>
                    <a:pt x="1005" y="471"/>
                  </a:cubicBezTo>
                  <a:cubicBezTo>
                    <a:pt x="1005" y="471"/>
                    <a:pt x="1005" y="471"/>
                    <a:pt x="1005" y="471"/>
                  </a:cubicBezTo>
                  <a:cubicBezTo>
                    <a:pt x="1005" y="471"/>
                    <a:pt x="1005" y="471"/>
                    <a:pt x="1005" y="471"/>
                  </a:cubicBezTo>
                  <a:cubicBezTo>
                    <a:pt x="1004" y="471"/>
                    <a:pt x="1004" y="471"/>
                    <a:pt x="1004" y="471"/>
                  </a:cubicBezTo>
                  <a:cubicBezTo>
                    <a:pt x="1003" y="471"/>
                    <a:pt x="1003" y="471"/>
                    <a:pt x="1003" y="471"/>
                  </a:cubicBezTo>
                  <a:cubicBezTo>
                    <a:pt x="1003" y="471"/>
                    <a:pt x="1003" y="471"/>
                    <a:pt x="1003" y="471"/>
                  </a:cubicBezTo>
                  <a:cubicBezTo>
                    <a:pt x="1003" y="472"/>
                    <a:pt x="1002" y="472"/>
                    <a:pt x="1002" y="472"/>
                  </a:cubicBezTo>
                  <a:cubicBezTo>
                    <a:pt x="1002" y="472"/>
                    <a:pt x="1002" y="472"/>
                    <a:pt x="1002" y="472"/>
                  </a:cubicBezTo>
                  <a:cubicBezTo>
                    <a:pt x="1001" y="471"/>
                    <a:pt x="1001" y="471"/>
                    <a:pt x="1001" y="471"/>
                  </a:cubicBezTo>
                  <a:cubicBezTo>
                    <a:pt x="1001" y="471"/>
                    <a:pt x="1001" y="471"/>
                    <a:pt x="1000" y="471"/>
                  </a:cubicBezTo>
                  <a:cubicBezTo>
                    <a:pt x="1000" y="471"/>
                    <a:pt x="1000" y="471"/>
                    <a:pt x="1000" y="471"/>
                  </a:cubicBezTo>
                  <a:cubicBezTo>
                    <a:pt x="1000" y="471"/>
                    <a:pt x="1000" y="471"/>
                    <a:pt x="1000" y="471"/>
                  </a:cubicBezTo>
                  <a:cubicBezTo>
                    <a:pt x="1000" y="471"/>
                    <a:pt x="1000" y="471"/>
                    <a:pt x="1000" y="471"/>
                  </a:cubicBezTo>
                  <a:cubicBezTo>
                    <a:pt x="999" y="471"/>
                    <a:pt x="999" y="470"/>
                    <a:pt x="998" y="470"/>
                  </a:cubicBezTo>
                  <a:cubicBezTo>
                    <a:pt x="998" y="470"/>
                    <a:pt x="998" y="470"/>
                    <a:pt x="998" y="470"/>
                  </a:cubicBezTo>
                  <a:cubicBezTo>
                    <a:pt x="998" y="470"/>
                    <a:pt x="998" y="470"/>
                    <a:pt x="998" y="470"/>
                  </a:cubicBezTo>
                  <a:cubicBezTo>
                    <a:pt x="997" y="469"/>
                    <a:pt x="997" y="469"/>
                    <a:pt x="997" y="469"/>
                  </a:cubicBezTo>
                  <a:cubicBezTo>
                    <a:pt x="996" y="468"/>
                    <a:pt x="995" y="467"/>
                    <a:pt x="994" y="465"/>
                  </a:cubicBezTo>
                  <a:cubicBezTo>
                    <a:pt x="994" y="463"/>
                    <a:pt x="994" y="460"/>
                    <a:pt x="996" y="458"/>
                  </a:cubicBezTo>
                  <a:cubicBezTo>
                    <a:pt x="997" y="456"/>
                    <a:pt x="999" y="453"/>
                    <a:pt x="1001" y="451"/>
                  </a:cubicBezTo>
                  <a:cubicBezTo>
                    <a:pt x="1001" y="450"/>
                    <a:pt x="1001" y="449"/>
                    <a:pt x="999" y="449"/>
                  </a:cubicBezTo>
                  <a:cubicBezTo>
                    <a:pt x="998" y="450"/>
                    <a:pt x="996" y="450"/>
                    <a:pt x="995" y="451"/>
                  </a:cubicBezTo>
                  <a:cubicBezTo>
                    <a:pt x="993" y="453"/>
                    <a:pt x="992" y="454"/>
                    <a:pt x="991" y="456"/>
                  </a:cubicBezTo>
                  <a:cubicBezTo>
                    <a:pt x="989" y="460"/>
                    <a:pt x="988" y="464"/>
                    <a:pt x="989" y="468"/>
                  </a:cubicBezTo>
                  <a:cubicBezTo>
                    <a:pt x="991" y="472"/>
                    <a:pt x="993" y="474"/>
                    <a:pt x="997" y="476"/>
                  </a:cubicBezTo>
                  <a:cubicBezTo>
                    <a:pt x="995" y="477"/>
                    <a:pt x="994" y="478"/>
                    <a:pt x="992" y="478"/>
                  </a:cubicBezTo>
                  <a:cubicBezTo>
                    <a:pt x="989" y="480"/>
                    <a:pt x="985" y="480"/>
                    <a:pt x="983" y="480"/>
                  </a:cubicBezTo>
                  <a:cubicBezTo>
                    <a:pt x="982" y="480"/>
                    <a:pt x="982" y="479"/>
                    <a:pt x="982" y="479"/>
                  </a:cubicBezTo>
                  <a:cubicBezTo>
                    <a:pt x="982" y="479"/>
                    <a:pt x="982" y="479"/>
                    <a:pt x="982" y="479"/>
                  </a:cubicBezTo>
                  <a:cubicBezTo>
                    <a:pt x="982" y="479"/>
                    <a:pt x="982" y="479"/>
                    <a:pt x="981" y="479"/>
                  </a:cubicBezTo>
                  <a:cubicBezTo>
                    <a:pt x="981" y="479"/>
                    <a:pt x="980" y="479"/>
                    <a:pt x="980" y="479"/>
                  </a:cubicBezTo>
                  <a:cubicBezTo>
                    <a:pt x="978" y="479"/>
                    <a:pt x="977" y="478"/>
                    <a:pt x="976" y="478"/>
                  </a:cubicBezTo>
                  <a:cubicBezTo>
                    <a:pt x="976" y="478"/>
                    <a:pt x="976" y="478"/>
                    <a:pt x="976" y="478"/>
                  </a:cubicBezTo>
                  <a:cubicBezTo>
                    <a:pt x="976" y="478"/>
                    <a:pt x="976" y="478"/>
                    <a:pt x="976" y="478"/>
                  </a:cubicBezTo>
                  <a:cubicBezTo>
                    <a:pt x="975" y="478"/>
                    <a:pt x="975" y="477"/>
                    <a:pt x="975" y="477"/>
                  </a:cubicBezTo>
                  <a:cubicBezTo>
                    <a:pt x="974" y="477"/>
                    <a:pt x="974" y="477"/>
                    <a:pt x="973" y="476"/>
                  </a:cubicBezTo>
                  <a:cubicBezTo>
                    <a:pt x="972" y="476"/>
                    <a:pt x="971" y="475"/>
                    <a:pt x="969" y="474"/>
                  </a:cubicBezTo>
                  <a:cubicBezTo>
                    <a:pt x="969" y="474"/>
                    <a:pt x="969" y="474"/>
                    <a:pt x="969" y="474"/>
                  </a:cubicBezTo>
                  <a:cubicBezTo>
                    <a:pt x="969" y="474"/>
                    <a:pt x="969" y="474"/>
                    <a:pt x="969" y="474"/>
                  </a:cubicBezTo>
                  <a:cubicBezTo>
                    <a:pt x="969" y="474"/>
                    <a:pt x="969" y="474"/>
                    <a:pt x="969" y="473"/>
                  </a:cubicBezTo>
                  <a:cubicBezTo>
                    <a:pt x="968" y="473"/>
                    <a:pt x="968" y="473"/>
                    <a:pt x="967" y="472"/>
                  </a:cubicBezTo>
                  <a:cubicBezTo>
                    <a:pt x="966" y="471"/>
                    <a:pt x="965" y="470"/>
                    <a:pt x="964" y="469"/>
                  </a:cubicBezTo>
                  <a:cubicBezTo>
                    <a:pt x="964" y="469"/>
                    <a:pt x="963" y="468"/>
                    <a:pt x="963" y="468"/>
                  </a:cubicBezTo>
                  <a:cubicBezTo>
                    <a:pt x="963" y="467"/>
                    <a:pt x="962" y="467"/>
                    <a:pt x="962" y="467"/>
                  </a:cubicBezTo>
                  <a:cubicBezTo>
                    <a:pt x="962" y="467"/>
                    <a:pt x="962" y="467"/>
                    <a:pt x="962" y="466"/>
                  </a:cubicBezTo>
                  <a:cubicBezTo>
                    <a:pt x="961" y="465"/>
                    <a:pt x="960" y="463"/>
                    <a:pt x="960" y="462"/>
                  </a:cubicBezTo>
                  <a:cubicBezTo>
                    <a:pt x="956" y="457"/>
                    <a:pt x="954" y="452"/>
                    <a:pt x="953" y="446"/>
                  </a:cubicBezTo>
                  <a:cubicBezTo>
                    <a:pt x="951" y="443"/>
                    <a:pt x="950" y="439"/>
                    <a:pt x="950" y="435"/>
                  </a:cubicBezTo>
                  <a:cubicBezTo>
                    <a:pt x="949" y="433"/>
                    <a:pt x="949" y="431"/>
                    <a:pt x="949" y="429"/>
                  </a:cubicBezTo>
                  <a:cubicBezTo>
                    <a:pt x="949" y="429"/>
                    <a:pt x="949" y="428"/>
                    <a:pt x="949" y="428"/>
                  </a:cubicBezTo>
                  <a:cubicBezTo>
                    <a:pt x="948" y="427"/>
                    <a:pt x="948" y="427"/>
                    <a:pt x="948" y="427"/>
                  </a:cubicBezTo>
                  <a:cubicBezTo>
                    <a:pt x="948" y="426"/>
                    <a:pt x="948" y="425"/>
                    <a:pt x="948" y="424"/>
                  </a:cubicBezTo>
                  <a:cubicBezTo>
                    <a:pt x="948" y="421"/>
                    <a:pt x="948" y="418"/>
                    <a:pt x="948" y="415"/>
                  </a:cubicBezTo>
                  <a:cubicBezTo>
                    <a:pt x="957" y="417"/>
                    <a:pt x="965" y="418"/>
                    <a:pt x="974" y="418"/>
                  </a:cubicBezTo>
                  <a:close/>
                  <a:moveTo>
                    <a:pt x="1155" y="358"/>
                  </a:moveTo>
                  <a:cubicBezTo>
                    <a:pt x="1155" y="358"/>
                    <a:pt x="1155" y="358"/>
                    <a:pt x="1155" y="358"/>
                  </a:cubicBezTo>
                  <a:cubicBezTo>
                    <a:pt x="1155" y="358"/>
                    <a:pt x="1155" y="358"/>
                    <a:pt x="1156" y="358"/>
                  </a:cubicBezTo>
                  <a:cubicBezTo>
                    <a:pt x="1156" y="359"/>
                    <a:pt x="1156" y="359"/>
                    <a:pt x="1157" y="359"/>
                  </a:cubicBezTo>
                  <a:cubicBezTo>
                    <a:pt x="1157" y="359"/>
                    <a:pt x="1157" y="359"/>
                    <a:pt x="1157" y="360"/>
                  </a:cubicBezTo>
                  <a:cubicBezTo>
                    <a:pt x="1157" y="359"/>
                    <a:pt x="1157" y="360"/>
                    <a:pt x="1157" y="360"/>
                  </a:cubicBezTo>
                  <a:cubicBezTo>
                    <a:pt x="1158" y="360"/>
                    <a:pt x="1158" y="361"/>
                    <a:pt x="1158" y="361"/>
                  </a:cubicBezTo>
                  <a:cubicBezTo>
                    <a:pt x="1159" y="361"/>
                    <a:pt x="1159" y="361"/>
                    <a:pt x="1159" y="361"/>
                  </a:cubicBezTo>
                  <a:cubicBezTo>
                    <a:pt x="1159" y="361"/>
                    <a:pt x="1159" y="362"/>
                    <a:pt x="1159" y="362"/>
                  </a:cubicBezTo>
                  <a:cubicBezTo>
                    <a:pt x="1159" y="362"/>
                    <a:pt x="1159" y="362"/>
                    <a:pt x="1160" y="363"/>
                  </a:cubicBezTo>
                  <a:cubicBezTo>
                    <a:pt x="1160" y="363"/>
                    <a:pt x="1160" y="363"/>
                    <a:pt x="1160" y="363"/>
                  </a:cubicBezTo>
                  <a:cubicBezTo>
                    <a:pt x="1160" y="364"/>
                    <a:pt x="1160" y="364"/>
                    <a:pt x="1160" y="364"/>
                  </a:cubicBezTo>
                  <a:cubicBezTo>
                    <a:pt x="1160" y="364"/>
                    <a:pt x="1160" y="365"/>
                    <a:pt x="1160" y="365"/>
                  </a:cubicBezTo>
                  <a:cubicBezTo>
                    <a:pt x="1160" y="365"/>
                    <a:pt x="1160" y="365"/>
                    <a:pt x="1160" y="365"/>
                  </a:cubicBezTo>
                  <a:cubicBezTo>
                    <a:pt x="1160" y="365"/>
                    <a:pt x="1160" y="365"/>
                    <a:pt x="1160" y="365"/>
                  </a:cubicBezTo>
                  <a:cubicBezTo>
                    <a:pt x="1160" y="366"/>
                    <a:pt x="1160" y="366"/>
                    <a:pt x="1160" y="366"/>
                  </a:cubicBezTo>
                  <a:cubicBezTo>
                    <a:pt x="1160" y="366"/>
                    <a:pt x="1160" y="367"/>
                    <a:pt x="1160" y="367"/>
                  </a:cubicBezTo>
                  <a:cubicBezTo>
                    <a:pt x="1160" y="367"/>
                    <a:pt x="1160" y="367"/>
                    <a:pt x="1160" y="367"/>
                  </a:cubicBezTo>
                  <a:cubicBezTo>
                    <a:pt x="1160" y="368"/>
                    <a:pt x="1160" y="368"/>
                    <a:pt x="1160" y="368"/>
                  </a:cubicBezTo>
                  <a:cubicBezTo>
                    <a:pt x="1160" y="368"/>
                    <a:pt x="1160" y="368"/>
                    <a:pt x="1160" y="369"/>
                  </a:cubicBezTo>
                  <a:cubicBezTo>
                    <a:pt x="1160" y="369"/>
                    <a:pt x="1160" y="369"/>
                    <a:pt x="1160" y="369"/>
                  </a:cubicBezTo>
                  <a:cubicBezTo>
                    <a:pt x="1160" y="369"/>
                    <a:pt x="1160" y="369"/>
                    <a:pt x="1159" y="370"/>
                  </a:cubicBezTo>
                  <a:cubicBezTo>
                    <a:pt x="1159" y="370"/>
                    <a:pt x="1159" y="370"/>
                    <a:pt x="1159" y="370"/>
                  </a:cubicBezTo>
                  <a:cubicBezTo>
                    <a:pt x="1159" y="370"/>
                    <a:pt x="1159" y="371"/>
                    <a:pt x="1158" y="371"/>
                  </a:cubicBezTo>
                  <a:cubicBezTo>
                    <a:pt x="1159" y="370"/>
                    <a:pt x="1158" y="371"/>
                    <a:pt x="1158" y="371"/>
                  </a:cubicBezTo>
                  <a:cubicBezTo>
                    <a:pt x="1158" y="371"/>
                    <a:pt x="1158" y="371"/>
                    <a:pt x="1157" y="371"/>
                  </a:cubicBezTo>
                  <a:cubicBezTo>
                    <a:pt x="1157" y="371"/>
                    <a:pt x="1157" y="371"/>
                    <a:pt x="1157" y="371"/>
                  </a:cubicBezTo>
                  <a:cubicBezTo>
                    <a:pt x="1157" y="371"/>
                    <a:pt x="1157" y="371"/>
                    <a:pt x="1157" y="371"/>
                  </a:cubicBezTo>
                  <a:cubicBezTo>
                    <a:pt x="1157" y="372"/>
                    <a:pt x="1157" y="372"/>
                    <a:pt x="1156" y="372"/>
                  </a:cubicBezTo>
                  <a:cubicBezTo>
                    <a:pt x="1156" y="372"/>
                    <a:pt x="1156" y="372"/>
                    <a:pt x="1156" y="372"/>
                  </a:cubicBezTo>
                  <a:cubicBezTo>
                    <a:pt x="1155" y="372"/>
                    <a:pt x="1155" y="372"/>
                    <a:pt x="1155" y="372"/>
                  </a:cubicBezTo>
                  <a:cubicBezTo>
                    <a:pt x="1154" y="373"/>
                    <a:pt x="1153" y="372"/>
                    <a:pt x="1153" y="372"/>
                  </a:cubicBezTo>
                  <a:cubicBezTo>
                    <a:pt x="1152" y="372"/>
                    <a:pt x="1150" y="372"/>
                    <a:pt x="1149" y="371"/>
                  </a:cubicBezTo>
                  <a:cubicBezTo>
                    <a:pt x="1148" y="371"/>
                    <a:pt x="1147" y="370"/>
                    <a:pt x="1146" y="369"/>
                  </a:cubicBezTo>
                  <a:cubicBezTo>
                    <a:pt x="1145" y="369"/>
                    <a:pt x="1145" y="368"/>
                    <a:pt x="1144" y="367"/>
                  </a:cubicBezTo>
                  <a:cubicBezTo>
                    <a:pt x="1144" y="367"/>
                    <a:pt x="1144" y="366"/>
                    <a:pt x="1143" y="366"/>
                  </a:cubicBezTo>
                  <a:cubicBezTo>
                    <a:pt x="1143" y="365"/>
                    <a:pt x="1143" y="365"/>
                    <a:pt x="1143" y="365"/>
                  </a:cubicBezTo>
                  <a:cubicBezTo>
                    <a:pt x="1143" y="365"/>
                    <a:pt x="1143" y="365"/>
                    <a:pt x="1143" y="364"/>
                  </a:cubicBezTo>
                  <a:cubicBezTo>
                    <a:pt x="1143" y="364"/>
                    <a:pt x="1143" y="364"/>
                    <a:pt x="1143" y="363"/>
                  </a:cubicBezTo>
                  <a:cubicBezTo>
                    <a:pt x="1142" y="363"/>
                    <a:pt x="1142" y="363"/>
                    <a:pt x="1142" y="363"/>
                  </a:cubicBezTo>
                  <a:cubicBezTo>
                    <a:pt x="1142" y="362"/>
                    <a:pt x="1142" y="362"/>
                    <a:pt x="1142" y="361"/>
                  </a:cubicBezTo>
                  <a:cubicBezTo>
                    <a:pt x="1142" y="361"/>
                    <a:pt x="1142" y="360"/>
                    <a:pt x="1143" y="360"/>
                  </a:cubicBezTo>
                  <a:cubicBezTo>
                    <a:pt x="1143" y="360"/>
                    <a:pt x="1143" y="360"/>
                    <a:pt x="1143" y="360"/>
                  </a:cubicBezTo>
                  <a:cubicBezTo>
                    <a:pt x="1143" y="360"/>
                    <a:pt x="1143" y="359"/>
                    <a:pt x="1143" y="359"/>
                  </a:cubicBezTo>
                  <a:cubicBezTo>
                    <a:pt x="1143" y="359"/>
                    <a:pt x="1143" y="359"/>
                    <a:pt x="1143" y="359"/>
                  </a:cubicBezTo>
                  <a:cubicBezTo>
                    <a:pt x="1143" y="359"/>
                    <a:pt x="1143" y="359"/>
                    <a:pt x="1143" y="359"/>
                  </a:cubicBezTo>
                  <a:cubicBezTo>
                    <a:pt x="1143" y="359"/>
                    <a:pt x="1143" y="359"/>
                    <a:pt x="1143" y="359"/>
                  </a:cubicBezTo>
                  <a:cubicBezTo>
                    <a:pt x="1144" y="358"/>
                    <a:pt x="1144" y="358"/>
                    <a:pt x="1144" y="358"/>
                  </a:cubicBezTo>
                  <a:cubicBezTo>
                    <a:pt x="1144" y="357"/>
                    <a:pt x="1144" y="358"/>
                    <a:pt x="1144" y="358"/>
                  </a:cubicBezTo>
                  <a:cubicBezTo>
                    <a:pt x="1145" y="357"/>
                    <a:pt x="1145" y="357"/>
                    <a:pt x="1145" y="357"/>
                  </a:cubicBezTo>
                  <a:cubicBezTo>
                    <a:pt x="1146" y="357"/>
                    <a:pt x="1148" y="357"/>
                    <a:pt x="1149" y="357"/>
                  </a:cubicBezTo>
                  <a:cubicBezTo>
                    <a:pt x="1150" y="357"/>
                    <a:pt x="1152" y="357"/>
                    <a:pt x="1153" y="358"/>
                  </a:cubicBezTo>
                  <a:cubicBezTo>
                    <a:pt x="1153" y="358"/>
                    <a:pt x="1154" y="358"/>
                    <a:pt x="1154" y="358"/>
                  </a:cubicBezTo>
                  <a:cubicBezTo>
                    <a:pt x="1155" y="358"/>
                    <a:pt x="1155" y="358"/>
                    <a:pt x="1155" y="358"/>
                  </a:cubicBezTo>
                  <a:cubicBezTo>
                    <a:pt x="1155" y="358"/>
                    <a:pt x="1155" y="358"/>
                    <a:pt x="1155" y="358"/>
                  </a:cubicBezTo>
                  <a:close/>
                  <a:moveTo>
                    <a:pt x="1140" y="371"/>
                  </a:moveTo>
                  <a:cubicBezTo>
                    <a:pt x="1140" y="371"/>
                    <a:pt x="1140" y="371"/>
                    <a:pt x="1140" y="371"/>
                  </a:cubicBezTo>
                  <a:cubicBezTo>
                    <a:pt x="1144" y="376"/>
                    <a:pt x="1149" y="379"/>
                    <a:pt x="1156" y="378"/>
                  </a:cubicBezTo>
                  <a:cubicBezTo>
                    <a:pt x="1159" y="378"/>
                    <a:pt x="1162" y="376"/>
                    <a:pt x="1164" y="373"/>
                  </a:cubicBezTo>
                  <a:cubicBezTo>
                    <a:pt x="1166" y="375"/>
                    <a:pt x="1167" y="377"/>
                    <a:pt x="1168" y="379"/>
                  </a:cubicBezTo>
                  <a:cubicBezTo>
                    <a:pt x="1169" y="382"/>
                    <a:pt x="1170" y="385"/>
                    <a:pt x="1172" y="387"/>
                  </a:cubicBezTo>
                  <a:cubicBezTo>
                    <a:pt x="1173" y="388"/>
                    <a:pt x="1174" y="388"/>
                    <a:pt x="1174" y="387"/>
                  </a:cubicBezTo>
                  <a:cubicBezTo>
                    <a:pt x="1175" y="383"/>
                    <a:pt x="1174" y="380"/>
                    <a:pt x="1172" y="377"/>
                  </a:cubicBezTo>
                  <a:cubicBezTo>
                    <a:pt x="1170" y="374"/>
                    <a:pt x="1168" y="371"/>
                    <a:pt x="1166" y="369"/>
                  </a:cubicBezTo>
                  <a:cubicBezTo>
                    <a:pt x="1167" y="364"/>
                    <a:pt x="1165" y="359"/>
                    <a:pt x="1162" y="356"/>
                  </a:cubicBezTo>
                  <a:cubicBezTo>
                    <a:pt x="1160" y="354"/>
                    <a:pt x="1157" y="353"/>
                    <a:pt x="1155" y="352"/>
                  </a:cubicBezTo>
                  <a:cubicBezTo>
                    <a:pt x="1153" y="352"/>
                    <a:pt x="1151" y="352"/>
                    <a:pt x="1149" y="352"/>
                  </a:cubicBezTo>
                  <a:cubicBezTo>
                    <a:pt x="1149" y="352"/>
                    <a:pt x="1149" y="352"/>
                    <a:pt x="1149" y="352"/>
                  </a:cubicBezTo>
                  <a:cubicBezTo>
                    <a:pt x="1148" y="352"/>
                    <a:pt x="1147" y="352"/>
                    <a:pt x="1147" y="352"/>
                  </a:cubicBezTo>
                  <a:cubicBezTo>
                    <a:pt x="1149" y="350"/>
                    <a:pt x="1152" y="348"/>
                    <a:pt x="1154" y="345"/>
                  </a:cubicBezTo>
                  <a:cubicBezTo>
                    <a:pt x="1156" y="346"/>
                    <a:pt x="1157" y="346"/>
                    <a:pt x="1157" y="347"/>
                  </a:cubicBezTo>
                  <a:cubicBezTo>
                    <a:pt x="1158" y="347"/>
                    <a:pt x="1158" y="347"/>
                    <a:pt x="1158" y="347"/>
                  </a:cubicBezTo>
                  <a:cubicBezTo>
                    <a:pt x="1158" y="347"/>
                    <a:pt x="1158" y="347"/>
                    <a:pt x="1159" y="347"/>
                  </a:cubicBezTo>
                  <a:cubicBezTo>
                    <a:pt x="1159" y="347"/>
                    <a:pt x="1160" y="348"/>
                    <a:pt x="1161" y="348"/>
                  </a:cubicBezTo>
                  <a:cubicBezTo>
                    <a:pt x="1162" y="349"/>
                    <a:pt x="1163" y="350"/>
                    <a:pt x="1164" y="351"/>
                  </a:cubicBezTo>
                  <a:cubicBezTo>
                    <a:pt x="1164" y="351"/>
                    <a:pt x="1164" y="351"/>
                    <a:pt x="1164" y="351"/>
                  </a:cubicBezTo>
                  <a:cubicBezTo>
                    <a:pt x="1165" y="351"/>
                    <a:pt x="1165" y="351"/>
                    <a:pt x="1165" y="351"/>
                  </a:cubicBezTo>
                  <a:cubicBezTo>
                    <a:pt x="1166" y="352"/>
                    <a:pt x="1166" y="352"/>
                    <a:pt x="1167" y="353"/>
                  </a:cubicBezTo>
                  <a:cubicBezTo>
                    <a:pt x="1168" y="354"/>
                    <a:pt x="1169" y="355"/>
                    <a:pt x="1170" y="356"/>
                  </a:cubicBezTo>
                  <a:cubicBezTo>
                    <a:pt x="1170" y="357"/>
                    <a:pt x="1171" y="357"/>
                    <a:pt x="1171" y="357"/>
                  </a:cubicBezTo>
                  <a:cubicBezTo>
                    <a:pt x="1171" y="357"/>
                    <a:pt x="1171" y="357"/>
                    <a:pt x="1171" y="357"/>
                  </a:cubicBezTo>
                  <a:cubicBezTo>
                    <a:pt x="1171" y="357"/>
                    <a:pt x="1171" y="357"/>
                    <a:pt x="1171" y="357"/>
                  </a:cubicBezTo>
                  <a:cubicBezTo>
                    <a:pt x="1171" y="358"/>
                    <a:pt x="1172" y="359"/>
                    <a:pt x="1172" y="359"/>
                  </a:cubicBezTo>
                  <a:cubicBezTo>
                    <a:pt x="1173" y="361"/>
                    <a:pt x="1174" y="362"/>
                    <a:pt x="1175" y="363"/>
                  </a:cubicBezTo>
                  <a:cubicBezTo>
                    <a:pt x="1176" y="365"/>
                    <a:pt x="1176" y="366"/>
                    <a:pt x="1177" y="367"/>
                  </a:cubicBezTo>
                  <a:cubicBezTo>
                    <a:pt x="1177" y="368"/>
                    <a:pt x="1177" y="368"/>
                    <a:pt x="1177" y="368"/>
                  </a:cubicBezTo>
                  <a:cubicBezTo>
                    <a:pt x="1178" y="369"/>
                    <a:pt x="1178" y="369"/>
                    <a:pt x="1178" y="369"/>
                  </a:cubicBezTo>
                  <a:cubicBezTo>
                    <a:pt x="1178" y="370"/>
                    <a:pt x="1178" y="370"/>
                    <a:pt x="1178" y="371"/>
                  </a:cubicBezTo>
                  <a:cubicBezTo>
                    <a:pt x="1179" y="375"/>
                    <a:pt x="1180" y="378"/>
                    <a:pt x="1181" y="381"/>
                  </a:cubicBezTo>
                  <a:cubicBezTo>
                    <a:pt x="1181" y="381"/>
                    <a:pt x="1181" y="381"/>
                    <a:pt x="1181" y="381"/>
                  </a:cubicBezTo>
                  <a:cubicBezTo>
                    <a:pt x="1181" y="381"/>
                    <a:pt x="1181" y="382"/>
                    <a:pt x="1181" y="382"/>
                  </a:cubicBezTo>
                  <a:cubicBezTo>
                    <a:pt x="1181" y="383"/>
                    <a:pt x="1181" y="383"/>
                    <a:pt x="1181" y="384"/>
                  </a:cubicBezTo>
                  <a:cubicBezTo>
                    <a:pt x="1181" y="386"/>
                    <a:pt x="1181" y="387"/>
                    <a:pt x="1181" y="389"/>
                  </a:cubicBezTo>
                  <a:cubicBezTo>
                    <a:pt x="1181" y="389"/>
                    <a:pt x="1181" y="390"/>
                    <a:pt x="1181" y="390"/>
                  </a:cubicBezTo>
                  <a:cubicBezTo>
                    <a:pt x="1170" y="386"/>
                    <a:pt x="1159" y="385"/>
                    <a:pt x="1149" y="389"/>
                  </a:cubicBezTo>
                  <a:cubicBezTo>
                    <a:pt x="1135" y="395"/>
                    <a:pt x="1126" y="407"/>
                    <a:pt x="1120" y="420"/>
                  </a:cubicBezTo>
                  <a:cubicBezTo>
                    <a:pt x="1117" y="426"/>
                    <a:pt x="1114" y="433"/>
                    <a:pt x="1113" y="440"/>
                  </a:cubicBezTo>
                  <a:cubicBezTo>
                    <a:pt x="1113" y="442"/>
                    <a:pt x="1113" y="444"/>
                    <a:pt x="1113" y="447"/>
                  </a:cubicBezTo>
                  <a:cubicBezTo>
                    <a:pt x="1107" y="438"/>
                    <a:pt x="1098" y="431"/>
                    <a:pt x="1088" y="427"/>
                  </a:cubicBezTo>
                  <a:cubicBezTo>
                    <a:pt x="1088" y="427"/>
                    <a:pt x="1088" y="426"/>
                    <a:pt x="1088" y="426"/>
                  </a:cubicBezTo>
                  <a:cubicBezTo>
                    <a:pt x="1088" y="425"/>
                    <a:pt x="1087" y="423"/>
                    <a:pt x="1087" y="422"/>
                  </a:cubicBezTo>
                  <a:cubicBezTo>
                    <a:pt x="1087" y="422"/>
                    <a:pt x="1087" y="421"/>
                    <a:pt x="1087" y="420"/>
                  </a:cubicBezTo>
                  <a:cubicBezTo>
                    <a:pt x="1087" y="420"/>
                    <a:pt x="1087" y="420"/>
                    <a:pt x="1087" y="420"/>
                  </a:cubicBezTo>
                  <a:cubicBezTo>
                    <a:pt x="1087" y="421"/>
                    <a:pt x="1087" y="418"/>
                    <a:pt x="1087" y="419"/>
                  </a:cubicBezTo>
                  <a:cubicBezTo>
                    <a:pt x="1086" y="417"/>
                    <a:pt x="1086" y="414"/>
                    <a:pt x="1086" y="412"/>
                  </a:cubicBezTo>
                  <a:cubicBezTo>
                    <a:pt x="1086" y="409"/>
                    <a:pt x="1087" y="407"/>
                    <a:pt x="1087" y="404"/>
                  </a:cubicBezTo>
                  <a:cubicBezTo>
                    <a:pt x="1088" y="399"/>
                    <a:pt x="1090" y="394"/>
                    <a:pt x="1092" y="390"/>
                  </a:cubicBezTo>
                  <a:cubicBezTo>
                    <a:pt x="1092" y="390"/>
                    <a:pt x="1093" y="389"/>
                    <a:pt x="1093" y="388"/>
                  </a:cubicBezTo>
                  <a:cubicBezTo>
                    <a:pt x="1105" y="382"/>
                    <a:pt x="1115" y="375"/>
                    <a:pt x="1126" y="367"/>
                  </a:cubicBezTo>
                  <a:cubicBezTo>
                    <a:pt x="1130" y="365"/>
                    <a:pt x="1133" y="362"/>
                    <a:pt x="1137" y="359"/>
                  </a:cubicBezTo>
                  <a:cubicBezTo>
                    <a:pt x="1136" y="363"/>
                    <a:pt x="1137" y="368"/>
                    <a:pt x="1140" y="371"/>
                  </a:cubicBezTo>
                  <a:close/>
                  <a:moveTo>
                    <a:pt x="1081" y="425"/>
                  </a:moveTo>
                  <a:cubicBezTo>
                    <a:pt x="1081" y="425"/>
                    <a:pt x="1081" y="425"/>
                    <a:pt x="1081" y="425"/>
                  </a:cubicBezTo>
                  <a:cubicBezTo>
                    <a:pt x="1072" y="423"/>
                    <a:pt x="1063" y="423"/>
                    <a:pt x="1054" y="425"/>
                  </a:cubicBezTo>
                  <a:cubicBezTo>
                    <a:pt x="1056" y="422"/>
                    <a:pt x="1058" y="419"/>
                    <a:pt x="1059" y="416"/>
                  </a:cubicBezTo>
                  <a:cubicBezTo>
                    <a:pt x="1060" y="413"/>
                    <a:pt x="1062" y="408"/>
                    <a:pt x="1060" y="404"/>
                  </a:cubicBezTo>
                  <a:cubicBezTo>
                    <a:pt x="1068" y="401"/>
                    <a:pt x="1075" y="398"/>
                    <a:pt x="1082" y="394"/>
                  </a:cubicBezTo>
                  <a:cubicBezTo>
                    <a:pt x="1081" y="397"/>
                    <a:pt x="1081" y="400"/>
                    <a:pt x="1080" y="403"/>
                  </a:cubicBezTo>
                  <a:cubicBezTo>
                    <a:pt x="1079" y="410"/>
                    <a:pt x="1079" y="418"/>
                    <a:pt x="1081" y="425"/>
                  </a:cubicBezTo>
                  <a:close/>
                  <a:moveTo>
                    <a:pt x="992" y="489"/>
                  </a:moveTo>
                  <a:cubicBezTo>
                    <a:pt x="992" y="489"/>
                    <a:pt x="992" y="489"/>
                    <a:pt x="992" y="489"/>
                  </a:cubicBezTo>
                  <a:cubicBezTo>
                    <a:pt x="992" y="489"/>
                    <a:pt x="992" y="489"/>
                    <a:pt x="992" y="488"/>
                  </a:cubicBezTo>
                  <a:cubicBezTo>
                    <a:pt x="992" y="488"/>
                    <a:pt x="992" y="488"/>
                    <a:pt x="992" y="487"/>
                  </a:cubicBezTo>
                  <a:cubicBezTo>
                    <a:pt x="995" y="487"/>
                    <a:pt x="997" y="486"/>
                    <a:pt x="999" y="485"/>
                  </a:cubicBezTo>
                  <a:cubicBezTo>
                    <a:pt x="999" y="486"/>
                    <a:pt x="999" y="487"/>
                    <a:pt x="999" y="487"/>
                  </a:cubicBezTo>
                  <a:cubicBezTo>
                    <a:pt x="997" y="487"/>
                    <a:pt x="994" y="488"/>
                    <a:pt x="992" y="489"/>
                  </a:cubicBezTo>
                  <a:close/>
                  <a:moveTo>
                    <a:pt x="944" y="465"/>
                  </a:moveTo>
                  <a:cubicBezTo>
                    <a:pt x="944" y="465"/>
                    <a:pt x="944" y="465"/>
                    <a:pt x="944" y="465"/>
                  </a:cubicBezTo>
                  <a:cubicBezTo>
                    <a:pt x="936" y="457"/>
                    <a:pt x="926" y="451"/>
                    <a:pt x="915" y="450"/>
                  </a:cubicBezTo>
                  <a:cubicBezTo>
                    <a:pt x="915" y="449"/>
                    <a:pt x="916" y="448"/>
                    <a:pt x="916" y="447"/>
                  </a:cubicBezTo>
                  <a:cubicBezTo>
                    <a:pt x="919" y="442"/>
                    <a:pt x="921" y="437"/>
                    <a:pt x="923" y="431"/>
                  </a:cubicBezTo>
                  <a:cubicBezTo>
                    <a:pt x="923" y="430"/>
                    <a:pt x="923" y="430"/>
                    <a:pt x="923" y="429"/>
                  </a:cubicBezTo>
                  <a:cubicBezTo>
                    <a:pt x="925" y="432"/>
                    <a:pt x="928" y="434"/>
                    <a:pt x="930" y="436"/>
                  </a:cubicBezTo>
                  <a:cubicBezTo>
                    <a:pt x="933" y="438"/>
                    <a:pt x="938" y="440"/>
                    <a:pt x="942" y="439"/>
                  </a:cubicBezTo>
                  <a:cubicBezTo>
                    <a:pt x="945" y="451"/>
                    <a:pt x="949" y="463"/>
                    <a:pt x="957" y="473"/>
                  </a:cubicBezTo>
                  <a:cubicBezTo>
                    <a:pt x="961" y="479"/>
                    <a:pt x="967" y="483"/>
                    <a:pt x="973" y="486"/>
                  </a:cubicBezTo>
                  <a:cubicBezTo>
                    <a:pt x="973" y="486"/>
                    <a:pt x="973" y="486"/>
                    <a:pt x="973" y="486"/>
                  </a:cubicBezTo>
                  <a:cubicBezTo>
                    <a:pt x="972" y="488"/>
                    <a:pt x="972" y="489"/>
                    <a:pt x="971" y="490"/>
                  </a:cubicBezTo>
                  <a:cubicBezTo>
                    <a:pt x="970" y="493"/>
                    <a:pt x="969" y="496"/>
                    <a:pt x="968" y="499"/>
                  </a:cubicBezTo>
                  <a:cubicBezTo>
                    <a:pt x="968" y="501"/>
                    <a:pt x="970" y="502"/>
                    <a:pt x="971" y="502"/>
                  </a:cubicBezTo>
                  <a:cubicBezTo>
                    <a:pt x="972" y="502"/>
                    <a:pt x="973" y="502"/>
                    <a:pt x="973" y="502"/>
                  </a:cubicBezTo>
                  <a:cubicBezTo>
                    <a:pt x="973" y="503"/>
                    <a:pt x="972" y="503"/>
                    <a:pt x="971" y="504"/>
                  </a:cubicBezTo>
                  <a:cubicBezTo>
                    <a:pt x="968" y="506"/>
                    <a:pt x="965" y="509"/>
                    <a:pt x="963" y="511"/>
                  </a:cubicBezTo>
                  <a:cubicBezTo>
                    <a:pt x="963" y="511"/>
                    <a:pt x="963" y="510"/>
                    <a:pt x="963" y="510"/>
                  </a:cubicBezTo>
                  <a:cubicBezTo>
                    <a:pt x="963" y="492"/>
                    <a:pt x="957" y="476"/>
                    <a:pt x="944" y="465"/>
                  </a:cubicBezTo>
                  <a:close/>
                  <a:moveTo>
                    <a:pt x="986" y="488"/>
                  </a:moveTo>
                  <a:cubicBezTo>
                    <a:pt x="986" y="488"/>
                    <a:pt x="986" y="488"/>
                    <a:pt x="986" y="488"/>
                  </a:cubicBezTo>
                  <a:cubicBezTo>
                    <a:pt x="986" y="489"/>
                    <a:pt x="986" y="490"/>
                    <a:pt x="986" y="491"/>
                  </a:cubicBezTo>
                  <a:cubicBezTo>
                    <a:pt x="986" y="492"/>
                    <a:pt x="985" y="492"/>
                    <a:pt x="985" y="493"/>
                  </a:cubicBezTo>
                  <a:cubicBezTo>
                    <a:pt x="985" y="493"/>
                    <a:pt x="985" y="493"/>
                    <a:pt x="985" y="493"/>
                  </a:cubicBezTo>
                  <a:cubicBezTo>
                    <a:pt x="984" y="494"/>
                    <a:pt x="984" y="494"/>
                    <a:pt x="983" y="495"/>
                  </a:cubicBezTo>
                  <a:cubicBezTo>
                    <a:pt x="982" y="496"/>
                    <a:pt x="980" y="497"/>
                    <a:pt x="979" y="497"/>
                  </a:cubicBezTo>
                  <a:cubicBezTo>
                    <a:pt x="977" y="497"/>
                    <a:pt x="976" y="497"/>
                    <a:pt x="974" y="497"/>
                  </a:cubicBezTo>
                  <a:cubicBezTo>
                    <a:pt x="975" y="495"/>
                    <a:pt x="975" y="493"/>
                    <a:pt x="976" y="492"/>
                  </a:cubicBezTo>
                  <a:cubicBezTo>
                    <a:pt x="976" y="491"/>
                    <a:pt x="977" y="490"/>
                    <a:pt x="977" y="488"/>
                  </a:cubicBezTo>
                  <a:cubicBezTo>
                    <a:pt x="977" y="488"/>
                    <a:pt x="978" y="488"/>
                    <a:pt x="978" y="487"/>
                  </a:cubicBezTo>
                  <a:cubicBezTo>
                    <a:pt x="981" y="488"/>
                    <a:pt x="983" y="488"/>
                    <a:pt x="986" y="488"/>
                  </a:cubicBezTo>
                  <a:close/>
                  <a:moveTo>
                    <a:pt x="941" y="432"/>
                  </a:moveTo>
                  <a:cubicBezTo>
                    <a:pt x="941" y="432"/>
                    <a:pt x="941" y="432"/>
                    <a:pt x="941" y="432"/>
                  </a:cubicBezTo>
                  <a:cubicBezTo>
                    <a:pt x="939" y="433"/>
                    <a:pt x="937" y="432"/>
                    <a:pt x="935" y="431"/>
                  </a:cubicBezTo>
                  <a:cubicBezTo>
                    <a:pt x="933" y="430"/>
                    <a:pt x="930" y="428"/>
                    <a:pt x="928" y="426"/>
                  </a:cubicBezTo>
                  <a:cubicBezTo>
                    <a:pt x="927" y="425"/>
                    <a:pt x="926" y="424"/>
                    <a:pt x="925" y="423"/>
                  </a:cubicBezTo>
                  <a:cubicBezTo>
                    <a:pt x="925" y="420"/>
                    <a:pt x="926" y="417"/>
                    <a:pt x="925" y="414"/>
                  </a:cubicBezTo>
                  <a:cubicBezTo>
                    <a:pt x="925" y="413"/>
                    <a:pt x="925" y="412"/>
                    <a:pt x="925" y="410"/>
                  </a:cubicBezTo>
                  <a:cubicBezTo>
                    <a:pt x="930" y="412"/>
                    <a:pt x="936" y="413"/>
                    <a:pt x="941" y="414"/>
                  </a:cubicBezTo>
                  <a:cubicBezTo>
                    <a:pt x="940" y="416"/>
                    <a:pt x="940" y="417"/>
                    <a:pt x="940" y="419"/>
                  </a:cubicBezTo>
                  <a:cubicBezTo>
                    <a:pt x="940" y="424"/>
                    <a:pt x="941" y="428"/>
                    <a:pt x="941" y="432"/>
                  </a:cubicBezTo>
                  <a:close/>
                  <a:moveTo>
                    <a:pt x="718" y="550"/>
                  </a:moveTo>
                  <a:cubicBezTo>
                    <a:pt x="718" y="550"/>
                    <a:pt x="718" y="550"/>
                    <a:pt x="718" y="550"/>
                  </a:cubicBezTo>
                  <a:cubicBezTo>
                    <a:pt x="718" y="549"/>
                    <a:pt x="718" y="547"/>
                    <a:pt x="718" y="546"/>
                  </a:cubicBezTo>
                  <a:cubicBezTo>
                    <a:pt x="718" y="540"/>
                    <a:pt x="717" y="535"/>
                    <a:pt x="716" y="530"/>
                  </a:cubicBezTo>
                  <a:cubicBezTo>
                    <a:pt x="715" y="519"/>
                    <a:pt x="714" y="508"/>
                    <a:pt x="712" y="498"/>
                  </a:cubicBezTo>
                  <a:cubicBezTo>
                    <a:pt x="708" y="476"/>
                    <a:pt x="704" y="455"/>
                    <a:pt x="699" y="434"/>
                  </a:cubicBezTo>
                  <a:cubicBezTo>
                    <a:pt x="697" y="424"/>
                    <a:pt x="695" y="415"/>
                    <a:pt x="692" y="406"/>
                  </a:cubicBezTo>
                  <a:cubicBezTo>
                    <a:pt x="691" y="400"/>
                    <a:pt x="690" y="395"/>
                    <a:pt x="688" y="389"/>
                  </a:cubicBezTo>
                  <a:cubicBezTo>
                    <a:pt x="688" y="388"/>
                    <a:pt x="689" y="386"/>
                    <a:pt x="689" y="385"/>
                  </a:cubicBezTo>
                  <a:cubicBezTo>
                    <a:pt x="689" y="376"/>
                    <a:pt x="689" y="367"/>
                    <a:pt x="689" y="359"/>
                  </a:cubicBezTo>
                  <a:cubicBezTo>
                    <a:pt x="691" y="373"/>
                    <a:pt x="693" y="386"/>
                    <a:pt x="696" y="400"/>
                  </a:cubicBezTo>
                  <a:cubicBezTo>
                    <a:pt x="698" y="411"/>
                    <a:pt x="700" y="421"/>
                    <a:pt x="702" y="432"/>
                  </a:cubicBezTo>
                  <a:cubicBezTo>
                    <a:pt x="702" y="434"/>
                    <a:pt x="702" y="436"/>
                    <a:pt x="703" y="438"/>
                  </a:cubicBezTo>
                  <a:cubicBezTo>
                    <a:pt x="702" y="439"/>
                    <a:pt x="702" y="440"/>
                    <a:pt x="702" y="441"/>
                  </a:cubicBezTo>
                  <a:cubicBezTo>
                    <a:pt x="701" y="443"/>
                    <a:pt x="702" y="444"/>
                    <a:pt x="704" y="444"/>
                  </a:cubicBezTo>
                  <a:cubicBezTo>
                    <a:pt x="705" y="451"/>
                    <a:pt x="707" y="457"/>
                    <a:pt x="708" y="463"/>
                  </a:cubicBezTo>
                  <a:cubicBezTo>
                    <a:pt x="711" y="474"/>
                    <a:pt x="715" y="484"/>
                    <a:pt x="719" y="495"/>
                  </a:cubicBezTo>
                  <a:cubicBezTo>
                    <a:pt x="722" y="504"/>
                    <a:pt x="725" y="514"/>
                    <a:pt x="727" y="524"/>
                  </a:cubicBezTo>
                  <a:cubicBezTo>
                    <a:pt x="725" y="532"/>
                    <a:pt x="722" y="540"/>
                    <a:pt x="719" y="548"/>
                  </a:cubicBezTo>
                  <a:cubicBezTo>
                    <a:pt x="719" y="549"/>
                    <a:pt x="719" y="550"/>
                    <a:pt x="718" y="550"/>
                  </a:cubicBezTo>
                  <a:close/>
                  <a:moveTo>
                    <a:pt x="671" y="478"/>
                  </a:moveTo>
                  <a:cubicBezTo>
                    <a:pt x="671" y="478"/>
                    <a:pt x="671" y="478"/>
                    <a:pt x="671" y="478"/>
                  </a:cubicBezTo>
                  <a:cubicBezTo>
                    <a:pt x="670" y="475"/>
                    <a:pt x="668" y="472"/>
                    <a:pt x="667" y="469"/>
                  </a:cubicBezTo>
                  <a:cubicBezTo>
                    <a:pt x="668" y="467"/>
                    <a:pt x="670" y="464"/>
                    <a:pt x="671" y="461"/>
                  </a:cubicBezTo>
                  <a:cubicBezTo>
                    <a:pt x="672" y="461"/>
                    <a:pt x="673" y="461"/>
                    <a:pt x="673" y="461"/>
                  </a:cubicBezTo>
                  <a:cubicBezTo>
                    <a:pt x="675" y="460"/>
                    <a:pt x="677" y="459"/>
                    <a:pt x="678" y="459"/>
                  </a:cubicBezTo>
                  <a:cubicBezTo>
                    <a:pt x="678" y="458"/>
                    <a:pt x="678" y="458"/>
                    <a:pt x="678" y="458"/>
                  </a:cubicBezTo>
                  <a:cubicBezTo>
                    <a:pt x="674" y="464"/>
                    <a:pt x="672" y="471"/>
                    <a:pt x="671" y="478"/>
                  </a:cubicBezTo>
                  <a:cubicBezTo>
                    <a:pt x="671" y="478"/>
                    <a:pt x="671" y="478"/>
                    <a:pt x="671" y="478"/>
                  </a:cubicBezTo>
                  <a:close/>
                  <a:moveTo>
                    <a:pt x="651" y="533"/>
                  </a:moveTo>
                  <a:cubicBezTo>
                    <a:pt x="651" y="533"/>
                    <a:pt x="651" y="533"/>
                    <a:pt x="651" y="533"/>
                  </a:cubicBezTo>
                  <a:cubicBezTo>
                    <a:pt x="651" y="534"/>
                    <a:pt x="651" y="534"/>
                    <a:pt x="651" y="534"/>
                  </a:cubicBezTo>
                  <a:cubicBezTo>
                    <a:pt x="651" y="534"/>
                    <a:pt x="651" y="535"/>
                    <a:pt x="651" y="535"/>
                  </a:cubicBezTo>
                  <a:cubicBezTo>
                    <a:pt x="650" y="539"/>
                    <a:pt x="650" y="542"/>
                    <a:pt x="649" y="545"/>
                  </a:cubicBezTo>
                  <a:cubicBezTo>
                    <a:pt x="648" y="547"/>
                    <a:pt x="648" y="548"/>
                    <a:pt x="647" y="550"/>
                  </a:cubicBezTo>
                  <a:cubicBezTo>
                    <a:pt x="647" y="551"/>
                    <a:pt x="647" y="552"/>
                    <a:pt x="646" y="552"/>
                  </a:cubicBezTo>
                  <a:cubicBezTo>
                    <a:pt x="646" y="552"/>
                    <a:pt x="646" y="553"/>
                    <a:pt x="646" y="553"/>
                  </a:cubicBezTo>
                  <a:cubicBezTo>
                    <a:pt x="646" y="553"/>
                    <a:pt x="646" y="554"/>
                    <a:pt x="645" y="554"/>
                  </a:cubicBezTo>
                  <a:cubicBezTo>
                    <a:pt x="644" y="557"/>
                    <a:pt x="642" y="561"/>
                    <a:pt x="640" y="563"/>
                  </a:cubicBezTo>
                  <a:cubicBezTo>
                    <a:pt x="640" y="564"/>
                    <a:pt x="640" y="564"/>
                    <a:pt x="640" y="564"/>
                  </a:cubicBezTo>
                  <a:cubicBezTo>
                    <a:pt x="640" y="564"/>
                    <a:pt x="640" y="564"/>
                    <a:pt x="640" y="565"/>
                  </a:cubicBezTo>
                  <a:cubicBezTo>
                    <a:pt x="639" y="565"/>
                    <a:pt x="639" y="566"/>
                    <a:pt x="638" y="566"/>
                  </a:cubicBezTo>
                  <a:cubicBezTo>
                    <a:pt x="637" y="568"/>
                    <a:pt x="636" y="569"/>
                    <a:pt x="635" y="570"/>
                  </a:cubicBezTo>
                  <a:cubicBezTo>
                    <a:pt x="634" y="570"/>
                    <a:pt x="634" y="570"/>
                    <a:pt x="634" y="570"/>
                  </a:cubicBezTo>
                  <a:cubicBezTo>
                    <a:pt x="634" y="570"/>
                    <a:pt x="634" y="571"/>
                    <a:pt x="633" y="571"/>
                  </a:cubicBezTo>
                  <a:cubicBezTo>
                    <a:pt x="633" y="571"/>
                    <a:pt x="632" y="572"/>
                    <a:pt x="631" y="572"/>
                  </a:cubicBezTo>
                  <a:cubicBezTo>
                    <a:pt x="631" y="572"/>
                    <a:pt x="630" y="573"/>
                    <a:pt x="629" y="573"/>
                  </a:cubicBezTo>
                  <a:cubicBezTo>
                    <a:pt x="629" y="573"/>
                    <a:pt x="629" y="573"/>
                    <a:pt x="629" y="573"/>
                  </a:cubicBezTo>
                  <a:cubicBezTo>
                    <a:pt x="629" y="573"/>
                    <a:pt x="629" y="573"/>
                    <a:pt x="629" y="573"/>
                  </a:cubicBezTo>
                  <a:cubicBezTo>
                    <a:pt x="628" y="573"/>
                    <a:pt x="628" y="573"/>
                    <a:pt x="627" y="574"/>
                  </a:cubicBezTo>
                  <a:cubicBezTo>
                    <a:pt x="622" y="575"/>
                    <a:pt x="617" y="575"/>
                    <a:pt x="612" y="573"/>
                  </a:cubicBezTo>
                  <a:cubicBezTo>
                    <a:pt x="609" y="573"/>
                    <a:pt x="606" y="571"/>
                    <a:pt x="603" y="570"/>
                  </a:cubicBezTo>
                  <a:cubicBezTo>
                    <a:pt x="603" y="570"/>
                    <a:pt x="602" y="570"/>
                    <a:pt x="602" y="570"/>
                  </a:cubicBezTo>
                  <a:cubicBezTo>
                    <a:pt x="601" y="567"/>
                    <a:pt x="600" y="565"/>
                    <a:pt x="598" y="563"/>
                  </a:cubicBezTo>
                  <a:cubicBezTo>
                    <a:pt x="595" y="557"/>
                    <a:pt x="591" y="553"/>
                    <a:pt x="587" y="550"/>
                  </a:cubicBezTo>
                  <a:cubicBezTo>
                    <a:pt x="585" y="548"/>
                    <a:pt x="583" y="547"/>
                    <a:pt x="580" y="546"/>
                  </a:cubicBezTo>
                  <a:cubicBezTo>
                    <a:pt x="580" y="545"/>
                    <a:pt x="579" y="545"/>
                    <a:pt x="579" y="545"/>
                  </a:cubicBezTo>
                  <a:cubicBezTo>
                    <a:pt x="579" y="543"/>
                    <a:pt x="580" y="542"/>
                    <a:pt x="581" y="540"/>
                  </a:cubicBezTo>
                  <a:cubicBezTo>
                    <a:pt x="581" y="540"/>
                    <a:pt x="581" y="540"/>
                    <a:pt x="581" y="540"/>
                  </a:cubicBezTo>
                  <a:cubicBezTo>
                    <a:pt x="582" y="539"/>
                    <a:pt x="582" y="538"/>
                    <a:pt x="583" y="537"/>
                  </a:cubicBezTo>
                  <a:cubicBezTo>
                    <a:pt x="584" y="536"/>
                    <a:pt x="585" y="535"/>
                    <a:pt x="585" y="534"/>
                  </a:cubicBezTo>
                  <a:cubicBezTo>
                    <a:pt x="587" y="531"/>
                    <a:pt x="588" y="528"/>
                    <a:pt x="588" y="525"/>
                  </a:cubicBezTo>
                  <a:cubicBezTo>
                    <a:pt x="589" y="523"/>
                    <a:pt x="590" y="520"/>
                    <a:pt x="590" y="518"/>
                  </a:cubicBezTo>
                  <a:cubicBezTo>
                    <a:pt x="590" y="517"/>
                    <a:pt x="591" y="515"/>
                    <a:pt x="591" y="514"/>
                  </a:cubicBezTo>
                  <a:cubicBezTo>
                    <a:pt x="598" y="513"/>
                    <a:pt x="606" y="511"/>
                    <a:pt x="614" y="508"/>
                  </a:cubicBezTo>
                  <a:cubicBezTo>
                    <a:pt x="626" y="504"/>
                    <a:pt x="638" y="498"/>
                    <a:pt x="647" y="490"/>
                  </a:cubicBezTo>
                  <a:cubicBezTo>
                    <a:pt x="648" y="492"/>
                    <a:pt x="649" y="494"/>
                    <a:pt x="650" y="496"/>
                  </a:cubicBezTo>
                  <a:cubicBezTo>
                    <a:pt x="649" y="497"/>
                    <a:pt x="649" y="497"/>
                    <a:pt x="648" y="498"/>
                  </a:cubicBezTo>
                  <a:cubicBezTo>
                    <a:pt x="647" y="503"/>
                    <a:pt x="650" y="508"/>
                    <a:pt x="651" y="513"/>
                  </a:cubicBezTo>
                  <a:cubicBezTo>
                    <a:pt x="652" y="517"/>
                    <a:pt x="652" y="522"/>
                    <a:pt x="652" y="527"/>
                  </a:cubicBezTo>
                  <a:cubicBezTo>
                    <a:pt x="652" y="528"/>
                    <a:pt x="652" y="530"/>
                    <a:pt x="651" y="531"/>
                  </a:cubicBezTo>
                  <a:cubicBezTo>
                    <a:pt x="651" y="532"/>
                    <a:pt x="651" y="533"/>
                    <a:pt x="651" y="533"/>
                  </a:cubicBezTo>
                  <a:close/>
                  <a:moveTo>
                    <a:pt x="538" y="586"/>
                  </a:moveTo>
                  <a:cubicBezTo>
                    <a:pt x="538" y="586"/>
                    <a:pt x="538" y="586"/>
                    <a:pt x="538" y="586"/>
                  </a:cubicBezTo>
                  <a:cubicBezTo>
                    <a:pt x="537" y="587"/>
                    <a:pt x="536" y="588"/>
                    <a:pt x="535" y="589"/>
                  </a:cubicBezTo>
                  <a:cubicBezTo>
                    <a:pt x="532" y="589"/>
                    <a:pt x="530" y="589"/>
                    <a:pt x="527" y="589"/>
                  </a:cubicBezTo>
                  <a:cubicBezTo>
                    <a:pt x="521" y="588"/>
                    <a:pt x="515" y="588"/>
                    <a:pt x="509" y="588"/>
                  </a:cubicBezTo>
                  <a:cubicBezTo>
                    <a:pt x="502" y="589"/>
                    <a:pt x="496" y="590"/>
                    <a:pt x="490" y="592"/>
                  </a:cubicBezTo>
                  <a:cubicBezTo>
                    <a:pt x="486" y="593"/>
                    <a:pt x="482" y="595"/>
                    <a:pt x="478" y="598"/>
                  </a:cubicBezTo>
                  <a:cubicBezTo>
                    <a:pt x="478" y="598"/>
                    <a:pt x="477" y="597"/>
                    <a:pt x="477" y="597"/>
                  </a:cubicBezTo>
                  <a:cubicBezTo>
                    <a:pt x="476" y="597"/>
                    <a:pt x="475" y="597"/>
                    <a:pt x="475" y="597"/>
                  </a:cubicBezTo>
                  <a:cubicBezTo>
                    <a:pt x="475" y="596"/>
                    <a:pt x="474" y="596"/>
                    <a:pt x="474" y="596"/>
                  </a:cubicBezTo>
                  <a:cubicBezTo>
                    <a:pt x="473" y="594"/>
                    <a:pt x="472" y="592"/>
                    <a:pt x="470" y="590"/>
                  </a:cubicBezTo>
                  <a:cubicBezTo>
                    <a:pt x="479" y="589"/>
                    <a:pt x="488" y="588"/>
                    <a:pt x="496" y="585"/>
                  </a:cubicBezTo>
                  <a:cubicBezTo>
                    <a:pt x="507" y="582"/>
                    <a:pt x="516" y="578"/>
                    <a:pt x="524" y="571"/>
                  </a:cubicBezTo>
                  <a:cubicBezTo>
                    <a:pt x="526" y="571"/>
                    <a:pt x="527" y="571"/>
                    <a:pt x="529" y="571"/>
                  </a:cubicBezTo>
                  <a:cubicBezTo>
                    <a:pt x="534" y="571"/>
                    <a:pt x="539" y="571"/>
                    <a:pt x="544" y="572"/>
                  </a:cubicBezTo>
                  <a:cubicBezTo>
                    <a:pt x="545" y="573"/>
                    <a:pt x="546" y="573"/>
                    <a:pt x="548" y="573"/>
                  </a:cubicBezTo>
                  <a:cubicBezTo>
                    <a:pt x="544" y="577"/>
                    <a:pt x="541" y="581"/>
                    <a:pt x="538" y="586"/>
                  </a:cubicBezTo>
                  <a:close/>
                  <a:moveTo>
                    <a:pt x="376" y="643"/>
                  </a:moveTo>
                  <a:cubicBezTo>
                    <a:pt x="376" y="643"/>
                    <a:pt x="376" y="643"/>
                    <a:pt x="376" y="643"/>
                  </a:cubicBezTo>
                  <a:cubicBezTo>
                    <a:pt x="374" y="646"/>
                    <a:pt x="373" y="649"/>
                    <a:pt x="372" y="653"/>
                  </a:cubicBezTo>
                  <a:cubicBezTo>
                    <a:pt x="372" y="652"/>
                    <a:pt x="372" y="652"/>
                    <a:pt x="372" y="652"/>
                  </a:cubicBezTo>
                  <a:cubicBezTo>
                    <a:pt x="369" y="645"/>
                    <a:pt x="366" y="640"/>
                    <a:pt x="362" y="634"/>
                  </a:cubicBezTo>
                  <a:cubicBezTo>
                    <a:pt x="358" y="627"/>
                    <a:pt x="352" y="620"/>
                    <a:pt x="346" y="615"/>
                  </a:cubicBezTo>
                  <a:cubicBezTo>
                    <a:pt x="347" y="615"/>
                    <a:pt x="348" y="614"/>
                    <a:pt x="349" y="614"/>
                  </a:cubicBezTo>
                  <a:cubicBezTo>
                    <a:pt x="350" y="614"/>
                    <a:pt x="351" y="613"/>
                    <a:pt x="352" y="613"/>
                  </a:cubicBezTo>
                  <a:cubicBezTo>
                    <a:pt x="360" y="622"/>
                    <a:pt x="369" y="630"/>
                    <a:pt x="380" y="637"/>
                  </a:cubicBezTo>
                  <a:cubicBezTo>
                    <a:pt x="378" y="639"/>
                    <a:pt x="377" y="641"/>
                    <a:pt x="376" y="643"/>
                  </a:cubicBezTo>
                  <a:close/>
                  <a:moveTo>
                    <a:pt x="348" y="647"/>
                  </a:moveTo>
                  <a:cubicBezTo>
                    <a:pt x="348" y="647"/>
                    <a:pt x="348" y="647"/>
                    <a:pt x="348" y="647"/>
                  </a:cubicBezTo>
                  <a:cubicBezTo>
                    <a:pt x="348" y="647"/>
                    <a:pt x="348" y="646"/>
                    <a:pt x="347" y="646"/>
                  </a:cubicBezTo>
                  <a:cubicBezTo>
                    <a:pt x="347" y="646"/>
                    <a:pt x="347" y="646"/>
                    <a:pt x="347" y="646"/>
                  </a:cubicBezTo>
                  <a:cubicBezTo>
                    <a:pt x="334" y="637"/>
                    <a:pt x="321" y="627"/>
                    <a:pt x="309" y="617"/>
                  </a:cubicBezTo>
                  <a:cubicBezTo>
                    <a:pt x="305" y="615"/>
                    <a:pt x="302" y="613"/>
                    <a:pt x="299" y="610"/>
                  </a:cubicBezTo>
                  <a:cubicBezTo>
                    <a:pt x="302" y="610"/>
                    <a:pt x="305" y="609"/>
                    <a:pt x="308" y="610"/>
                  </a:cubicBezTo>
                  <a:cubicBezTo>
                    <a:pt x="315" y="610"/>
                    <a:pt x="321" y="611"/>
                    <a:pt x="328" y="614"/>
                  </a:cubicBezTo>
                  <a:cubicBezTo>
                    <a:pt x="328" y="614"/>
                    <a:pt x="329" y="614"/>
                    <a:pt x="330" y="614"/>
                  </a:cubicBezTo>
                  <a:cubicBezTo>
                    <a:pt x="330" y="614"/>
                    <a:pt x="330" y="615"/>
                    <a:pt x="331" y="615"/>
                  </a:cubicBezTo>
                  <a:cubicBezTo>
                    <a:pt x="331" y="615"/>
                    <a:pt x="331" y="615"/>
                    <a:pt x="331" y="615"/>
                  </a:cubicBezTo>
                  <a:cubicBezTo>
                    <a:pt x="333" y="616"/>
                    <a:pt x="334" y="616"/>
                    <a:pt x="335" y="617"/>
                  </a:cubicBezTo>
                  <a:cubicBezTo>
                    <a:pt x="336" y="618"/>
                    <a:pt x="337" y="618"/>
                    <a:pt x="338" y="619"/>
                  </a:cubicBezTo>
                  <a:cubicBezTo>
                    <a:pt x="338" y="619"/>
                    <a:pt x="339" y="619"/>
                    <a:pt x="339" y="619"/>
                  </a:cubicBezTo>
                  <a:cubicBezTo>
                    <a:pt x="340" y="620"/>
                    <a:pt x="340" y="620"/>
                    <a:pt x="340" y="620"/>
                  </a:cubicBezTo>
                  <a:cubicBezTo>
                    <a:pt x="342" y="623"/>
                    <a:pt x="344" y="625"/>
                    <a:pt x="346" y="627"/>
                  </a:cubicBezTo>
                  <a:cubicBezTo>
                    <a:pt x="347" y="628"/>
                    <a:pt x="348" y="629"/>
                    <a:pt x="349" y="630"/>
                  </a:cubicBezTo>
                  <a:cubicBezTo>
                    <a:pt x="349" y="631"/>
                    <a:pt x="350" y="632"/>
                    <a:pt x="350" y="632"/>
                  </a:cubicBezTo>
                  <a:cubicBezTo>
                    <a:pt x="351" y="633"/>
                    <a:pt x="351" y="633"/>
                    <a:pt x="351" y="633"/>
                  </a:cubicBezTo>
                  <a:cubicBezTo>
                    <a:pt x="351" y="633"/>
                    <a:pt x="351" y="633"/>
                    <a:pt x="351" y="633"/>
                  </a:cubicBezTo>
                  <a:cubicBezTo>
                    <a:pt x="351" y="634"/>
                    <a:pt x="351" y="634"/>
                    <a:pt x="352" y="634"/>
                  </a:cubicBezTo>
                  <a:cubicBezTo>
                    <a:pt x="356" y="640"/>
                    <a:pt x="360" y="646"/>
                    <a:pt x="363" y="653"/>
                  </a:cubicBezTo>
                  <a:cubicBezTo>
                    <a:pt x="364" y="654"/>
                    <a:pt x="364" y="655"/>
                    <a:pt x="364" y="656"/>
                  </a:cubicBezTo>
                  <a:cubicBezTo>
                    <a:pt x="364" y="656"/>
                    <a:pt x="365" y="656"/>
                    <a:pt x="365" y="656"/>
                  </a:cubicBezTo>
                  <a:cubicBezTo>
                    <a:pt x="365" y="656"/>
                    <a:pt x="365" y="657"/>
                    <a:pt x="365" y="657"/>
                  </a:cubicBezTo>
                  <a:cubicBezTo>
                    <a:pt x="366" y="658"/>
                    <a:pt x="366" y="660"/>
                    <a:pt x="366" y="661"/>
                  </a:cubicBezTo>
                  <a:cubicBezTo>
                    <a:pt x="364" y="660"/>
                    <a:pt x="363" y="658"/>
                    <a:pt x="361" y="657"/>
                  </a:cubicBezTo>
                  <a:cubicBezTo>
                    <a:pt x="356" y="654"/>
                    <a:pt x="352" y="650"/>
                    <a:pt x="348" y="647"/>
                  </a:cubicBezTo>
                  <a:close/>
                  <a:moveTo>
                    <a:pt x="404" y="457"/>
                  </a:moveTo>
                  <a:cubicBezTo>
                    <a:pt x="404" y="457"/>
                    <a:pt x="404" y="457"/>
                    <a:pt x="404" y="457"/>
                  </a:cubicBezTo>
                  <a:cubicBezTo>
                    <a:pt x="400" y="459"/>
                    <a:pt x="396" y="461"/>
                    <a:pt x="393" y="463"/>
                  </a:cubicBezTo>
                  <a:cubicBezTo>
                    <a:pt x="389" y="466"/>
                    <a:pt x="385" y="468"/>
                    <a:pt x="381" y="470"/>
                  </a:cubicBezTo>
                  <a:cubicBezTo>
                    <a:pt x="373" y="474"/>
                    <a:pt x="367" y="479"/>
                    <a:pt x="361" y="485"/>
                  </a:cubicBezTo>
                  <a:cubicBezTo>
                    <a:pt x="348" y="500"/>
                    <a:pt x="337" y="516"/>
                    <a:pt x="328" y="533"/>
                  </a:cubicBezTo>
                  <a:cubicBezTo>
                    <a:pt x="327" y="535"/>
                    <a:pt x="326" y="538"/>
                    <a:pt x="325" y="540"/>
                  </a:cubicBezTo>
                  <a:cubicBezTo>
                    <a:pt x="324" y="536"/>
                    <a:pt x="323" y="532"/>
                    <a:pt x="322" y="528"/>
                  </a:cubicBezTo>
                  <a:cubicBezTo>
                    <a:pt x="327" y="528"/>
                    <a:pt x="331" y="524"/>
                    <a:pt x="333" y="519"/>
                  </a:cubicBezTo>
                  <a:cubicBezTo>
                    <a:pt x="335" y="513"/>
                    <a:pt x="332" y="507"/>
                    <a:pt x="328" y="503"/>
                  </a:cubicBezTo>
                  <a:cubicBezTo>
                    <a:pt x="327" y="503"/>
                    <a:pt x="327" y="502"/>
                    <a:pt x="326" y="502"/>
                  </a:cubicBezTo>
                  <a:cubicBezTo>
                    <a:pt x="327" y="501"/>
                    <a:pt x="327" y="501"/>
                    <a:pt x="327" y="501"/>
                  </a:cubicBezTo>
                  <a:cubicBezTo>
                    <a:pt x="328" y="499"/>
                    <a:pt x="330" y="497"/>
                    <a:pt x="331" y="495"/>
                  </a:cubicBezTo>
                  <a:cubicBezTo>
                    <a:pt x="333" y="492"/>
                    <a:pt x="335" y="488"/>
                    <a:pt x="338" y="485"/>
                  </a:cubicBezTo>
                  <a:cubicBezTo>
                    <a:pt x="342" y="479"/>
                    <a:pt x="347" y="474"/>
                    <a:pt x="352" y="468"/>
                  </a:cubicBezTo>
                  <a:cubicBezTo>
                    <a:pt x="363" y="458"/>
                    <a:pt x="375" y="450"/>
                    <a:pt x="388" y="444"/>
                  </a:cubicBezTo>
                  <a:cubicBezTo>
                    <a:pt x="392" y="443"/>
                    <a:pt x="396" y="442"/>
                    <a:pt x="400" y="440"/>
                  </a:cubicBezTo>
                  <a:cubicBezTo>
                    <a:pt x="402" y="440"/>
                    <a:pt x="404" y="439"/>
                    <a:pt x="406" y="439"/>
                  </a:cubicBezTo>
                  <a:cubicBezTo>
                    <a:pt x="407" y="439"/>
                    <a:pt x="407" y="438"/>
                    <a:pt x="408" y="438"/>
                  </a:cubicBezTo>
                  <a:cubicBezTo>
                    <a:pt x="408" y="442"/>
                    <a:pt x="408" y="446"/>
                    <a:pt x="408" y="450"/>
                  </a:cubicBezTo>
                  <a:cubicBezTo>
                    <a:pt x="409" y="458"/>
                    <a:pt x="409" y="466"/>
                    <a:pt x="411" y="473"/>
                  </a:cubicBezTo>
                  <a:cubicBezTo>
                    <a:pt x="411" y="475"/>
                    <a:pt x="411" y="477"/>
                    <a:pt x="412" y="479"/>
                  </a:cubicBezTo>
                  <a:cubicBezTo>
                    <a:pt x="409" y="480"/>
                    <a:pt x="406" y="481"/>
                    <a:pt x="404" y="483"/>
                  </a:cubicBezTo>
                  <a:cubicBezTo>
                    <a:pt x="400" y="485"/>
                    <a:pt x="396" y="488"/>
                    <a:pt x="393" y="491"/>
                  </a:cubicBezTo>
                  <a:cubicBezTo>
                    <a:pt x="387" y="497"/>
                    <a:pt x="382" y="503"/>
                    <a:pt x="375" y="509"/>
                  </a:cubicBezTo>
                  <a:cubicBezTo>
                    <a:pt x="363" y="522"/>
                    <a:pt x="352" y="537"/>
                    <a:pt x="344" y="553"/>
                  </a:cubicBezTo>
                  <a:cubicBezTo>
                    <a:pt x="341" y="560"/>
                    <a:pt x="339" y="566"/>
                    <a:pt x="337" y="572"/>
                  </a:cubicBezTo>
                  <a:cubicBezTo>
                    <a:pt x="336" y="574"/>
                    <a:pt x="339" y="575"/>
                    <a:pt x="340" y="573"/>
                  </a:cubicBezTo>
                  <a:cubicBezTo>
                    <a:pt x="344" y="565"/>
                    <a:pt x="348" y="556"/>
                    <a:pt x="352" y="548"/>
                  </a:cubicBezTo>
                  <a:cubicBezTo>
                    <a:pt x="357" y="541"/>
                    <a:pt x="362" y="533"/>
                    <a:pt x="368" y="526"/>
                  </a:cubicBezTo>
                  <a:cubicBezTo>
                    <a:pt x="373" y="519"/>
                    <a:pt x="380" y="513"/>
                    <a:pt x="386" y="507"/>
                  </a:cubicBezTo>
                  <a:cubicBezTo>
                    <a:pt x="392" y="501"/>
                    <a:pt x="397" y="494"/>
                    <a:pt x="404" y="489"/>
                  </a:cubicBezTo>
                  <a:cubicBezTo>
                    <a:pt x="406" y="488"/>
                    <a:pt x="408" y="487"/>
                    <a:pt x="410" y="486"/>
                  </a:cubicBezTo>
                  <a:cubicBezTo>
                    <a:pt x="411" y="485"/>
                    <a:pt x="412" y="485"/>
                    <a:pt x="413" y="484"/>
                  </a:cubicBezTo>
                  <a:cubicBezTo>
                    <a:pt x="413" y="484"/>
                    <a:pt x="413" y="484"/>
                    <a:pt x="413" y="485"/>
                  </a:cubicBezTo>
                  <a:cubicBezTo>
                    <a:pt x="413" y="486"/>
                    <a:pt x="414" y="488"/>
                    <a:pt x="414" y="490"/>
                  </a:cubicBezTo>
                  <a:cubicBezTo>
                    <a:pt x="411" y="497"/>
                    <a:pt x="408" y="504"/>
                    <a:pt x="405" y="511"/>
                  </a:cubicBezTo>
                  <a:cubicBezTo>
                    <a:pt x="404" y="511"/>
                    <a:pt x="404" y="511"/>
                    <a:pt x="404" y="511"/>
                  </a:cubicBezTo>
                  <a:cubicBezTo>
                    <a:pt x="402" y="511"/>
                    <a:pt x="401" y="511"/>
                    <a:pt x="399" y="510"/>
                  </a:cubicBezTo>
                  <a:cubicBezTo>
                    <a:pt x="396" y="510"/>
                    <a:pt x="393" y="509"/>
                    <a:pt x="389" y="510"/>
                  </a:cubicBezTo>
                  <a:cubicBezTo>
                    <a:pt x="388" y="510"/>
                    <a:pt x="388" y="512"/>
                    <a:pt x="388" y="513"/>
                  </a:cubicBezTo>
                  <a:cubicBezTo>
                    <a:pt x="389" y="519"/>
                    <a:pt x="391" y="525"/>
                    <a:pt x="392" y="532"/>
                  </a:cubicBezTo>
                  <a:cubicBezTo>
                    <a:pt x="391" y="532"/>
                    <a:pt x="390" y="533"/>
                    <a:pt x="389" y="534"/>
                  </a:cubicBezTo>
                  <a:cubicBezTo>
                    <a:pt x="388" y="535"/>
                    <a:pt x="388" y="535"/>
                    <a:pt x="388" y="535"/>
                  </a:cubicBezTo>
                  <a:cubicBezTo>
                    <a:pt x="388" y="535"/>
                    <a:pt x="388" y="535"/>
                    <a:pt x="387" y="535"/>
                  </a:cubicBezTo>
                  <a:cubicBezTo>
                    <a:pt x="387" y="536"/>
                    <a:pt x="386" y="536"/>
                    <a:pt x="385" y="537"/>
                  </a:cubicBezTo>
                  <a:cubicBezTo>
                    <a:pt x="382" y="539"/>
                    <a:pt x="379" y="541"/>
                    <a:pt x="376" y="543"/>
                  </a:cubicBezTo>
                  <a:cubicBezTo>
                    <a:pt x="374" y="544"/>
                    <a:pt x="372" y="545"/>
                    <a:pt x="369" y="546"/>
                  </a:cubicBezTo>
                  <a:cubicBezTo>
                    <a:pt x="369" y="546"/>
                    <a:pt x="369" y="546"/>
                    <a:pt x="368" y="545"/>
                  </a:cubicBezTo>
                  <a:cubicBezTo>
                    <a:pt x="367" y="545"/>
                    <a:pt x="365" y="547"/>
                    <a:pt x="366" y="548"/>
                  </a:cubicBezTo>
                  <a:cubicBezTo>
                    <a:pt x="366" y="548"/>
                    <a:pt x="366" y="548"/>
                    <a:pt x="366" y="548"/>
                  </a:cubicBezTo>
                  <a:cubicBezTo>
                    <a:pt x="365" y="549"/>
                    <a:pt x="366" y="550"/>
                    <a:pt x="367" y="550"/>
                  </a:cubicBezTo>
                  <a:cubicBezTo>
                    <a:pt x="368" y="550"/>
                    <a:pt x="368" y="550"/>
                    <a:pt x="368" y="550"/>
                  </a:cubicBezTo>
                  <a:cubicBezTo>
                    <a:pt x="373" y="556"/>
                    <a:pt x="381" y="559"/>
                    <a:pt x="388" y="561"/>
                  </a:cubicBezTo>
                  <a:cubicBezTo>
                    <a:pt x="393" y="563"/>
                    <a:pt x="398" y="563"/>
                    <a:pt x="404" y="565"/>
                  </a:cubicBezTo>
                  <a:cubicBezTo>
                    <a:pt x="404" y="565"/>
                    <a:pt x="404" y="565"/>
                    <a:pt x="404" y="565"/>
                  </a:cubicBezTo>
                  <a:cubicBezTo>
                    <a:pt x="402" y="565"/>
                    <a:pt x="401" y="565"/>
                    <a:pt x="400" y="566"/>
                  </a:cubicBezTo>
                  <a:cubicBezTo>
                    <a:pt x="397" y="566"/>
                    <a:pt x="395" y="567"/>
                    <a:pt x="393" y="567"/>
                  </a:cubicBezTo>
                  <a:cubicBezTo>
                    <a:pt x="391" y="567"/>
                    <a:pt x="390" y="568"/>
                    <a:pt x="388" y="569"/>
                  </a:cubicBezTo>
                  <a:cubicBezTo>
                    <a:pt x="387" y="569"/>
                    <a:pt x="386" y="570"/>
                    <a:pt x="385" y="572"/>
                  </a:cubicBezTo>
                  <a:cubicBezTo>
                    <a:pt x="384" y="573"/>
                    <a:pt x="386" y="575"/>
                    <a:pt x="387" y="575"/>
                  </a:cubicBezTo>
                  <a:cubicBezTo>
                    <a:pt x="388" y="575"/>
                    <a:pt x="389" y="576"/>
                    <a:pt x="391" y="576"/>
                  </a:cubicBezTo>
                  <a:cubicBezTo>
                    <a:pt x="391" y="576"/>
                    <a:pt x="391" y="576"/>
                    <a:pt x="391" y="576"/>
                  </a:cubicBezTo>
                  <a:cubicBezTo>
                    <a:pt x="393" y="577"/>
                    <a:pt x="394" y="578"/>
                    <a:pt x="395" y="579"/>
                  </a:cubicBezTo>
                  <a:cubicBezTo>
                    <a:pt x="398" y="581"/>
                    <a:pt x="400" y="582"/>
                    <a:pt x="403" y="583"/>
                  </a:cubicBezTo>
                  <a:cubicBezTo>
                    <a:pt x="405" y="583"/>
                    <a:pt x="407" y="584"/>
                    <a:pt x="409" y="585"/>
                  </a:cubicBezTo>
                  <a:cubicBezTo>
                    <a:pt x="410" y="587"/>
                    <a:pt x="411" y="588"/>
                    <a:pt x="412" y="591"/>
                  </a:cubicBezTo>
                  <a:cubicBezTo>
                    <a:pt x="412" y="592"/>
                    <a:pt x="413" y="594"/>
                    <a:pt x="414" y="596"/>
                  </a:cubicBezTo>
                  <a:cubicBezTo>
                    <a:pt x="404" y="592"/>
                    <a:pt x="395" y="587"/>
                    <a:pt x="386" y="583"/>
                  </a:cubicBezTo>
                  <a:cubicBezTo>
                    <a:pt x="374" y="578"/>
                    <a:pt x="364" y="573"/>
                    <a:pt x="353" y="568"/>
                  </a:cubicBezTo>
                  <a:cubicBezTo>
                    <a:pt x="351" y="567"/>
                    <a:pt x="349" y="568"/>
                    <a:pt x="349" y="570"/>
                  </a:cubicBezTo>
                  <a:cubicBezTo>
                    <a:pt x="349" y="572"/>
                    <a:pt x="350" y="573"/>
                    <a:pt x="350" y="575"/>
                  </a:cubicBezTo>
                  <a:cubicBezTo>
                    <a:pt x="351" y="578"/>
                    <a:pt x="352" y="580"/>
                    <a:pt x="352" y="582"/>
                  </a:cubicBezTo>
                  <a:cubicBezTo>
                    <a:pt x="354" y="587"/>
                    <a:pt x="356" y="593"/>
                    <a:pt x="357" y="597"/>
                  </a:cubicBezTo>
                  <a:cubicBezTo>
                    <a:pt x="359" y="602"/>
                    <a:pt x="360" y="606"/>
                    <a:pt x="362" y="610"/>
                  </a:cubicBezTo>
                  <a:cubicBezTo>
                    <a:pt x="360" y="608"/>
                    <a:pt x="359" y="607"/>
                    <a:pt x="357" y="605"/>
                  </a:cubicBezTo>
                  <a:cubicBezTo>
                    <a:pt x="358" y="604"/>
                    <a:pt x="356" y="602"/>
                    <a:pt x="355" y="602"/>
                  </a:cubicBezTo>
                  <a:cubicBezTo>
                    <a:pt x="352" y="599"/>
                    <a:pt x="351" y="597"/>
                    <a:pt x="349" y="594"/>
                  </a:cubicBezTo>
                  <a:cubicBezTo>
                    <a:pt x="340" y="582"/>
                    <a:pt x="334" y="569"/>
                    <a:pt x="329" y="555"/>
                  </a:cubicBezTo>
                  <a:cubicBezTo>
                    <a:pt x="328" y="551"/>
                    <a:pt x="327" y="548"/>
                    <a:pt x="326" y="544"/>
                  </a:cubicBezTo>
                  <a:cubicBezTo>
                    <a:pt x="335" y="528"/>
                    <a:pt x="345" y="512"/>
                    <a:pt x="357" y="498"/>
                  </a:cubicBezTo>
                  <a:cubicBezTo>
                    <a:pt x="363" y="490"/>
                    <a:pt x="369" y="483"/>
                    <a:pt x="376" y="479"/>
                  </a:cubicBezTo>
                  <a:cubicBezTo>
                    <a:pt x="384" y="474"/>
                    <a:pt x="392" y="470"/>
                    <a:pt x="399" y="467"/>
                  </a:cubicBezTo>
                  <a:cubicBezTo>
                    <a:pt x="402" y="465"/>
                    <a:pt x="404" y="463"/>
                    <a:pt x="407" y="462"/>
                  </a:cubicBezTo>
                  <a:cubicBezTo>
                    <a:pt x="410" y="460"/>
                    <a:pt x="407" y="456"/>
                    <a:pt x="404" y="457"/>
                  </a:cubicBezTo>
                  <a:close/>
                  <a:moveTo>
                    <a:pt x="311" y="506"/>
                  </a:moveTo>
                  <a:cubicBezTo>
                    <a:pt x="311" y="506"/>
                    <a:pt x="311" y="506"/>
                    <a:pt x="311" y="506"/>
                  </a:cubicBezTo>
                  <a:cubicBezTo>
                    <a:pt x="312" y="506"/>
                    <a:pt x="313" y="505"/>
                    <a:pt x="314" y="505"/>
                  </a:cubicBezTo>
                  <a:cubicBezTo>
                    <a:pt x="316" y="504"/>
                    <a:pt x="318" y="504"/>
                    <a:pt x="320" y="505"/>
                  </a:cubicBezTo>
                  <a:cubicBezTo>
                    <a:pt x="325" y="507"/>
                    <a:pt x="328" y="511"/>
                    <a:pt x="328" y="516"/>
                  </a:cubicBezTo>
                  <a:cubicBezTo>
                    <a:pt x="328" y="518"/>
                    <a:pt x="326" y="520"/>
                    <a:pt x="324" y="521"/>
                  </a:cubicBezTo>
                  <a:cubicBezTo>
                    <a:pt x="323" y="522"/>
                    <a:pt x="320" y="522"/>
                    <a:pt x="319" y="522"/>
                  </a:cubicBezTo>
                  <a:cubicBezTo>
                    <a:pt x="314" y="521"/>
                    <a:pt x="310" y="517"/>
                    <a:pt x="309" y="513"/>
                  </a:cubicBezTo>
                  <a:cubicBezTo>
                    <a:pt x="309" y="510"/>
                    <a:pt x="310" y="508"/>
                    <a:pt x="311" y="506"/>
                  </a:cubicBezTo>
                  <a:close/>
                  <a:moveTo>
                    <a:pt x="535" y="408"/>
                  </a:moveTo>
                  <a:cubicBezTo>
                    <a:pt x="535" y="408"/>
                    <a:pt x="535" y="408"/>
                    <a:pt x="535" y="408"/>
                  </a:cubicBezTo>
                  <a:cubicBezTo>
                    <a:pt x="536" y="408"/>
                    <a:pt x="536" y="407"/>
                    <a:pt x="536" y="407"/>
                  </a:cubicBezTo>
                  <a:cubicBezTo>
                    <a:pt x="536" y="407"/>
                    <a:pt x="536" y="407"/>
                    <a:pt x="536" y="407"/>
                  </a:cubicBezTo>
                  <a:cubicBezTo>
                    <a:pt x="536" y="407"/>
                    <a:pt x="537" y="406"/>
                    <a:pt x="537" y="406"/>
                  </a:cubicBezTo>
                  <a:cubicBezTo>
                    <a:pt x="538" y="404"/>
                    <a:pt x="539" y="403"/>
                    <a:pt x="541" y="402"/>
                  </a:cubicBezTo>
                  <a:cubicBezTo>
                    <a:pt x="541" y="401"/>
                    <a:pt x="541" y="401"/>
                    <a:pt x="542" y="401"/>
                  </a:cubicBezTo>
                  <a:cubicBezTo>
                    <a:pt x="542" y="400"/>
                    <a:pt x="542" y="400"/>
                    <a:pt x="542" y="400"/>
                  </a:cubicBezTo>
                  <a:cubicBezTo>
                    <a:pt x="542" y="400"/>
                    <a:pt x="542" y="400"/>
                    <a:pt x="543" y="400"/>
                  </a:cubicBezTo>
                  <a:cubicBezTo>
                    <a:pt x="544" y="399"/>
                    <a:pt x="545" y="398"/>
                    <a:pt x="547" y="397"/>
                  </a:cubicBezTo>
                  <a:cubicBezTo>
                    <a:pt x="548" y="397"/>
                    <a:pt x="549" y="396"/>
                    <a:pt x="551" y="395"/>
                  </a:cubicBezTo>
                  <a:cubicBezTo>
                    <a:pt x="551" y="395"/>
                    <a:pt x="551" y="395"/>
                    <a:pt x="551" y="395"/>
                  </a:cubicBezTo>
                  <a:cubicBezTo>
                    <a:pt x="552" y="395"/>
                    <a:pt x="552" y="395"/>
                    <a:pt x="552" y="395"/>
                  </a:cubicBezTo>
                  <a:cubicBezTo>
                    <a:pt x="553" y="394"/>
                    <a:pt x="554" y="394"/>
                    <a:pt x="555" y="394"/>
                  </a:cubicBezTo>
                  <a:cubicBezTo>
                    <a:pt x="559" y="392"/>
                    <a:pt x="563" y="391"/>
                    <a:pt x="567" y="390"/>
                  </a:cubicBezTo>
                  <a:cubicBezTo>
                    <a:pt x="573" y="389"/>
                    <a:pt x="579" y="388"/>
                    <a:pt x="585" y="387"/>
                  </a:cubicBezTo>
                  <a:cubicBezTo>
                    <a:pt x="585" y="387"/>
                    <a:pt x="585" y="387"/>
                    <a:pt x="585" y="387"/>
                  </a:cubicBezTo>
                  <a:cubicBezTo>
                    <a:pt x="588" y="387"/>
                    <a:pt x="590" y="387"/>
                    <a:pt x="593" y="386"/>
                  </a:cubicBezTo>
                  <a:cubicBezTo>
                    <a:pt x="610" y="385"/>
                    <a:pt x="627" y="383"/>
                    <a:pt x="641" y="373"/>
                  </a:cubicBezTo>
                  <a:cubicBezTo>
                    <a:pt x="648" y="367"/>
                    <a:pt x="654" y="361"/>
                    <a:pt x="659" y="353"/>
                  </a:cubicBezTo>
                  <a:cubicBezTo>
                    <a:pt x="660" y="351"/>
                    <a:pt x="661" y="349"/>
                    <a:pt x="662" y="346"/>
                  </a:cubicBezTo>
                  <a:cubicBezTo>
                    <a:pt x="662" y="348"/>
                    <a:pt x="662" y="349"/>
                    <a:pt x="663" y="350"/>
                  </a:cubicBezTo>
                  <a:cubicBezTo>
                    <a:pt x="663" y="354"/>
                    <a:pt x="663" y="357"/>
                    <a:pt x="663" y="360"/>
                  </a:cubicBezTo>
                  <a:cubicBezTo>
                    <a:pt x="663" y="363"/>
                    <a:pt x="662" y="367"/>
                    <a:pt x="663" y="370"/>
                  </a:cubicBezTo>
                  <a:cubicBezTo>
                    <a:pt x="663" y="370"/>
                    <a:pt x="664" y="371"/>
                    <a:pt x="665" y="371"/>
                  </a:cubicBezTo>
                  <a:cubicBezTo>
                    <a:pt x="666" y="371"/>
                    <a:pt x="667" y="371"/>
                    <a:pt x="667" y="370"/>
                  </a:cubicBezTo>
                  <a:cubicBezTo>
                    <a:pt x="672" y="367"/>
                    <a:pt x="675" y="364"/>
                    <a:pt x="679" y="360"/>
                  </a:cubicBezTo>
                  <a:cubicBezTo>
                    <a:pt x="679" y="361"/>
                    <a:pt x="679" y="362"/>
                    <a:pt x="679" y="364"/>
                  </a:cubicBezTo>
                  <a:cubicBezTo>
                    <a:pt x="679" y="364"/>
                    <a:pt x="679" y="365"/>
                    <a:pt x="679" y="365"/>
                  </a:cubicBezTo>
                  <a:cubicBezTo>
                    <a:pt x="678" y="368"/>
                    <a:pt x="677" y="370"/>
                    <a:pt x="677" y="374"/>
                  </a:cubicBezTo>
                  <a:cubicBezTo>
                    <a:pt x="676" y="375"/>
                    <a:pt x="678" y="375"/>
                    <a:pt x="679" y="374"/>
                  </a:cubicBezTo>
                  <a:cubicBezTo>
                    <a:pt x="679" y="374"/>
                    <a:pt x="679" y="373"/>
                    <a:pt x="679" y="373"/>
                  </a:cubicBezTo>
                  <a:cubicBezTo>
                    <a:pt x="679" y="386"/>
                    <a:pt x="678" y="399"/>
                    <a:pt x="676" y="412"/>
                  </a:cubicBezTo>
                  <a:cubicBezTo>
                    <a:pt x="675" y="422"/>
                    <a:pt x="672" y="431"/>
                    <a:pt x="669" y="442"/>
                  </a:cubicBezTo>
                  <a:cubicBezTo>
                    <a:pt x="669" y="443"/>
                    <a:pt x="668" y="445"/>
                    <a:pt x="667" y="447"/>
                  </a:cubicBezTo>
                  <a:cubicBezTo>
                    <a:pt x="667" y="447"/>
                    <a:pt x="667" y="448"/>
                    <a:pt x="667" y="448"/>
                  </a:cubicBezTo>
                  <a:cubicBezTo>
                    <a:pt x="667" y="448"/>
                    <a:pt x="666" y="449"/>
                    <a:pt x="666" y="449"/>
                  </a:cubicBezTo>
                  <a:cubicBezTo>
                    <a:pt x="666" y="450"/>
                    <a:pt x="666" y="451"/>
                    <a:pt x="665" y="452"/>
                  </a:cubicBezTo>
                  <a:cubicBezTo>
                    <a:pt x="664" y="455"/>
                    <a:pt x="662" y="459"/>
                    <a:pt x="660" y="462"/>
                  </a:cubicBezTo>
                  <a:cubicBezTo>
                    <a:pt x="659" y="463"/>
                    <a:pt x="658" y="465"/>
                    <a:pt x="657" y="467"/>
                  </a:cubicBezTo>
                  <a:cubicBezTo>
                    <a:pt x="657" y="467"/>
                    <a:pt x="657" y="467"/>
                    <a:pt x="657" y="467"/>
                  </a:cubicBezTo>
                  <a:cubicBezTo>
                    <a:pt x="656" y="468"/>
                    <a:pt x="656" y="468"/>
                    <a:pt x="656" y="468"/>
                  </a:cubicBezTo>
                  <a:cubicBezTo>
                    <a:pt x="655" y="469"/>
                    <a:pt x="655" y="470"/>
                    <a:pt x="654" y="470"/>
                  </a:cubicBezTo>
                  <a:cubicBezTo>
                    <a:pt x="652" y="473"/>
                    <a:pt x="649" y="476"/>
                    <a:pt x="646" y="478"/>
                  </a:cubicBezTo>
                  <a:cubicBezTo>
                    <a:pt x="645" y="479"/>
                    <a:pt x="643" y="481"/>
                    <a:pt x="642" y="482"/>
                  </a:cubicBezTo>
                  <a:cubicBezTo>
                    <a:pt x="642" y="482"/>
                    <a:pt x="642" y="482"/>
                    <a:pt x="641" y="482"/>
                  </a:cubicBezTo>
                  <a:cubicBezTo>
                    <a:pt x="641" y="483"/>
                    <a:pt x="641" y="483"/>
                    <a:pt x="641" y="483"/>
                  </a:cubicBezTo>
                  <a:cubicBezTo>
                    <a:pt x="640" y="483"/>
                    <a:pt x="639" y="484"/>
                    <a:pt x="639" y="485"/>
                  </a:cubicBezTo>
                  <a:cubicBezTo>
                    <a:pt x="636" y="487"/>
                    <a:pt x="632" y="489"/>
                    <a:pt x="629" y="491"/>
                  </a:cubicBezTo>
                  <a:cubicBezTo>
                    <a:pt x="627" y="491"/>
                    <a:pt x="626" y="492"/>
                    <a:pt x="624" y="493"/>
                  </a:cubicBezTo>
                  <a:cubicBezTo>
                    <a:pt x="623" y="493"/>
                    <a:pt x="622" y="494"/>
                    <a:pt x="622" y="494"/>
                  </a:cubicBezTo>
                  <a:cubicBezTo>
                    <a:pt x="621" y="494"/>
                    <a:pt x="621" y="495"/>
                    <a:pt x="620" y="495"/>
                  </a:cubicBezTo>
                  <a:cubicBezTo>
                    <a:pt x="620" y="495"/>
                    <a:pt x="620" y="495"/>
                    <a:pt x="620" y="495"/>
                  </a:cubicBezTo>
                  <a:cubicBezTo>
                    <a:pt x="619" y="495"/>
                    <a:pt x="619" y="495"/>
                    <a:pt x="619" y="495"/>
                  </a:cubicBezTo>
                  <a:cubicBezTo>
                    <a:pt x="616" y="497"/>
                    <a:pt x="613" y="498"/>
                    <a:pt x="609" y="500"/>
                  </a:cubicBezTo>
                  <a:cubicBezTo>
                    <a:pt x="599" y="503"/>
                    <a:pt x="591" y="504"/>
                    <a:pt x="581" y="504"/>
                  </a:cubicBezTo>
                  <a:cubicBezTo>
                    <a:pt x="572" y="505"/>
                    <a:pt x="564" y="504"/>
                    <a:pt x="555" y="506"/>
                  </a:cubicBezTo>
                  <a:cubicBezTo>
                    <a:pt x="553" y="504"/>
                    <a:pt x="549" y="504"/>
                    <a:pt x="549" y="508"/>
                  </a:cubicBezTo>
                  <a:cubicBezTo>
                    <a:pt x="548" y="510"/>
                    <a:pt x="548" y="511"/>
                    <a:pt x="547" y="513"/>
                  </a:cubicBezTo>
                  <a:cubicBezTo>
                    <a:pt x="547" y="515"/>
                    <a:pt x="546" y="518"/>
                    <a:pt x="545" y="520"/>
                  </a:cubicBezTo>
                  <a:cubicBezTo>
                    <a:pt x="545" y="522"/>
                    <a:pt x="544" y="523"/>
                    <a:pt x="544" y="525"/>
                  </a:cubicBezTo>
                  <a:cubicBezTo>
                    <a:pt x="543" y="526"/>
                    <a:pt x="543" y="528"/>
                    <a:pt x="543" y="529"/>
                  </a:cubicBezTo>
                  <a:cubicBezTo>
                    <a:pt x="542" y="529"/>
                    <a:pt x="542" y="530"/>
                    <a:pt x="542" y="530"/>
                  </a:cubicBezTo>
                  <a:cubicBezTo>
                    <a:pt x="542" y="531"/>
                    <a:pt x="542" y="531"/>
                    <a:pt x="542" y="531"/>
                  </a:cubicBezTo>
                  <a:cubicBezTo>
                    <a:pt x="542" y="531"/>
                    <a:pt x="542" y="531"/>
                    <a:pt x="541" y="531"/>
                  </a:cubicBezTo>
                  <a:cubicBezTo>
                    <a:pt x="540" y="535"/>
                    <a:pt x="538" y="539"/>
                    <a:pt x="536" y="543"/>
                  </a:cubicBezTo>
                  <a:cubicBezTo>
                    <a:pt x="534" y="546"/>
                    <a:pt x="532" y="549"/>
                    <a:pt x="529" y="552"/>
                  </a:cubicBezTo>
                  <a:cubicBezTo>
                    <a:pt x="524" y="559"/>
                    <a:pt x="518" y="564"/>
                    <a:pt x="512" y="568"/>
                  </a:cubicBezTo>
                  <a:cubicBezTo>
                    <a:pt x="508" y="569"/>
                    <a:pt x="505" y="571"/>
                    <a:pt x="502" y="573"/>
                  </a:cubicBezTo>
                  <a:cubicBezTo>
                    <a:pt x="502" y="573"/>
                    <a:pt x="501" y="573"/>
                    <a:pt x="501" y="574"/>
                  </a:cubicBezTo>
                  <a:cubicBezTo>
                    <a:pt x="497" y="575"/>
                    <a:pt x="492" y="576"/>
                    <a:pt x="489" y="577"/>
                  </a:cubicBezTo>
                  <a:cubicBezTo>
                    <a:pt x="481" y="579"/>
                    <a:pt x="474" y="580"/>
                    <a:pt x="466" y="580"/>
                  </a:cubicBezTo>
                  <a:cubicBezTo>
                    <a:pt x="458" y="581"/>
                    <a:pt x="450" y="581"/>
                    <a:pt x="443" y="581"/>
                  </a:cubicBezTo>
                  <a:cubicBezTo>
                    <a:pt x="439" y="581"/>
                    <a:pt x="434" y="581"/>
                    <a:pt x="430" y="580"/>
                  </a:cubicBezTo>
                  <a:cubicBezTo>
                    <a:pt x="426" y="580"/>
                    <a:pt x="422" y="579"/>
                    <a:pt x="418" y="578"/>
                  </a:cubicBezTo>
                  <a:cubicBezTo>
                    <a:pt x="413" y="577"/>
                    <a:pt x="409" y="575"/>
                    <a:pt x="405" y="574"/>
                  </a:cubicBezTo>
                  <a:cubicBezTo>
                    <a:pt x="405" y="574"/>
                    <a:pt x="405" y="574"/>
                    <a:pt x="405" y="574"/>
                  </a:cubicBezTo>
                  <a:cubicBezTo>
                    <a:pt x="405" y="574"/>
                    <a:pt x="406" y="574"/>
                    <a:pt x="406" y="573"/>
                  </a:cubicBezTo>
                  <a:cubicBezTo>
                    <a:pt x="409" y="575"/>
                    <a:pt x="412" y="575"/>
                    <a:pt x="415" y="575"/>
                  </a:cubicBezTo>
                  <a:cubicBezTo>
                    <a:pt x="419" y="575"/>
                    <a:pt x="424" y="574"/>
                    <a:pt x="429" y="574"/>
                  </a:cubicBezTo>
                  <a:cubicBezTo>
                    <a:pt x="437" y="572"/>
                    <a:pt x="446" y="571"/>
                    <a:pt x="455" y="570"/>
                  </a:cubicBezTo>
                  <a:cubicBezTo>
                    <a:pt x="464" y="568"/>
                    <a:pt x="472" y="565"/>
                    <a:pt x="481" y="563"/>
                  </a:cubicBezTo>
                  <a:cubicBezTo>
                    <a:pt x="489" y="560"/>
                    <a:pt x="497" y="555"/>
                    <a:pt x="504" y="550"/>
                  </a:cubicBezTo>
                  <a:cubicBezTo>
                    <a:pt x="512" y="545"/>
                    <a:pt x="518" y="538"/>
                    <a:pt x="524" y="531"/>
                  </a:cubicBezTo>
                  <a:cubicBezTo>
                    <a:pt x="527" y="528"/>
                    <a:pt x="529" y="524"/>
                    <a:pt x="530" y="521"/>
                  </a:cubicBezTo>
                  <a:cubicBezTo>
                    <a:pt x="531" y="522"/>
                    <a:pt x="532" y="522"/>
                    <a:pt x="533" y="521"/>
                  </a:cubicBezTo>
                  <a:cubicBezTo>
                    <a:pt x="534" y="518"/>
                    <a:pt x="536" y="514"/>
                    <a:pt x="537" y="511"/>
                  </a:cubicBezTo>
                  <a:cubicBezTo>
                    <a:pt x="538" y="511"/>
                    <a:pt x="538" y="510"/>
                    <a:pt x="538" y="510"/>
                  </a:cubicBezTo>
                  <a:cubicBezTo>
                    <a:pt x="538" y="510"/>
                    <a:pt x="538" y="510"/>
                    <a:pt x="539" y="509"/>
                  </a:cubicBezTo>
                  <a:cubicBezTo>
                    <a:pt x="539" y="509"/>
                    <a:pt x="539" y="509"/>
                    <a:pt x="539" y="509"/>
                  </a:cubicBezTo>
                  <a:cubicBezTo>
                    <a:pt x="539" y="509"/>
                    <a:pt x="538" y="509"/>
                    <a:pt x="538" y="509"/>
                  </a:cubicBezTo>
                  <a:cubicBezTo>
                    <a:pt x="539" y="507"/>
                    <a:pt x="541" y="504"/>
                    <a:pt x="543" y="503"/>
                  </a:cubicBezTo>
                  <a:cubicBezTo>
                    <a:pt x="546" y="501"/>
                    <a:pt x="550" y="500"/>
                    <a:pt x="554" y="499"/>
                  </a:cubicBezTo>
                  <a:cubicBezTo>
                    <a:pt x="558" y="499"/>
                    <a:pt x="562" y="499"/>
                    <a:pt x="566" y="498"/>
                  </a:cubicBezTo>
                  <a:cubicBezTo>
                    <a:pt x="574" y="498"/>
                    <a:pt x="582" y="498"/>
                    <a:pt x="590" y="497"/>
                  </a:cubicBezTo>
                  <a:cubicBezTo>
                    <a:pt x="597" y="495"/>
                    <a:pt x="605" y="492"/>
                    <a:pt x="611" y="488"/>
                  </a:cubicBezTo>
                  <a:cubicBezTo>
                    <a:pt x="624" y="480"/>
                    <a:pt x="634" y="468"/>
                    <a:pt x="642" y="455"/>
                  </a:cubicBezTo>
                  <a:cubicBezTo>
                    <a:pt x="646" y="449"/>
                    <a:pt x="650" y="442"/>
                    <a:pt x="654" y="435"/>
                  </a:cubicBezTo>
                  <a:cubicBezTo>
                    <a:pt x="659" y="427"/>
                    <a:pt x="663" y="419"/>
                    <a:pt x="666" y="410"/>
                  </a:cubicBezTo>
                  <a:cubicBezTo>
                    <a:pt x="668" y="406"/>
                    <a:pt x="670" y="400"/>
                    <a:pt x="672" y="395"/>
                  </a:cubicBezTo>
                  <a:cubicBezTo>
                    <a:pt x="674" y="391"/>
                    <a:pt x="676" y="386"/>
                    <a:pt x="677" y="381"/>
                  </a:cubicBezTo>
                  <a:cubicBezTo>
                    <a:pt x="677" y="380"/>
                    <a:pt x="676" y="380"/>
                    <a:pt x="676" y="380"/>
                  </a:cubicBezTo>
                  <a:cubicBezTo>
                    <a:pt x="672" y="384"/>
                    <a:pt x="671" y="389"/>
                    <a:pt x="669" y="393"/>
                  </a:cubicBezTo>
                  <a:cubicBezTo>
                    <a:pt x="667" y="398"/>
                    <a:pt x="664" y="403"/>
                    <a:pt x="663" y="407"/>
                  </a:cubicBezTo>
                  <a:cubicBezTo>
                    <a:pt x="659" y="416"/>
                    <a:pt x="654" y="423"/>
                    <a:pt x="650" y="431"/>
                  </a:cubicBezTo>
                  <a:cubicBezTo>
                    <a:pt x="642" y="445"/>
                    <a:pt x="634" y="458"/>
                    <a:pt x="624" y="470"/>
                  </a:cubicBezTo>
                  <a:cubicBezTo>
                    <a:pt x="614" y="481"/>
                    <a:pt x="601" y="489"/>
                    <a:pt x="586" y="491"/>
                  </a:cubicBezTo>
                  <a:cubicBezTo>
                    <a:pt x="583" y="492"/>
                    <a:pt x="579" y="492"/>
                    <a:pt x="575" y="492"/>
                  </a:cubicBezTo>
                  <a:cubicBezTo>
                    <a:pt x="570" y="492"/>
                    <a:pt x="566" y="492"/>
                    <a:pt x="562" y="492"/>
                  </a:cubicBezTo>
                  <a:cubicBezTo>
                    <a:pt x="555" y="493"/>
                    <a:pt x="546" y="494"/>
                    <a:pt x="540" y="499"/>
                  </a:cubicBezTo>
                  <a:cubicBezTo>
                    <a:pt x="535" y="503"/>
                    <a:pt x="534" y="508"/>
                    <a:pt x="533" y="514"/>
                  </a:cubicBezTo>
                  <a:cubicBezTo>
                    <a:pt x="532" y="514"/>
                    <a:pt x="531" y="515"/>
                    <a:pt x="530" y="516"/>
                  </a:cubicBezTo>
                  <a:cubicBezTo>
                    <a:pt x="527" y="520"/>
                    <a:pt x="525" y="523"/>
                    <a:pt x="523" y="527"/>
                  </a:cubicBezTo>
                  <a:cubicBezTo>
                    <a:pt x="521" y="531"/>
                    <a:pt x="517" y="533"/>
                    <a:pt x="515" y="536"/>
                  </a:cubicBezTo>
                  <a:cubicBezTo>
                    <a:pt x="511" y="540"/>
                    <a:pt x="508" y="543"/>
                    <a:pt x="504" y="546"/>
                  </a:cubicBezTo>
                  <a:cubicBezTo>
                    <a:pt x="497" y="551"/>
                    <a:pt x="489" y="555"/>
                    <a:pt x="481" y="558"/>
                  </a:cubicBezTo>
                  <a:cubicBezTo>
                    <a:pt x="472" y="562"/>
                    <a:pt x="464" y="564"/>
                    <a:pt x="455" y="566"/>
                  </a:cubicBezTo>
                  <a:cubicBezTo>
                    <a:pt x="446" y="567"/>
                    <a:pt x="438" y="568"/>
                    <a:pt x="430" y="569"/>
                  </a:cubicBezTo>
                  <a:cubicBezTo>
                    <a:pt x="425" y="570"/>
                    <a:pt x="421" y="571"/>
                    <a:pt x="417" y="571"/>
                  </a:cubicBezTo>
                  <a:cubicBezTo>
                    <a:pt x="415" y="571"/>
                    <a:pt x="414" y="571"/>
                    <a:pt x="412" y="570"/>
                  </a:cubicBezTo>
                  <a:cubicBezTo>
                    <a:pt x="414" y="569"/>
                    <a:pt x="416" y="567"/>
                    <a:pt x="417" y="565"/>
                  </a:cubicBezTo>
                  <a:cubicBezTo>
                    <a:pt x="418" y="562"/>
                    <a:pt x="418" y="558"/>
                    <a:pt x="415" y="558"/>
                  </a:cubicBezTo>
                  <a:cubicBezTo>
                    <a:pt x="407" y="555"/>
                    <a:pt x="399" y="554"/>
                    <a:pt x="391" y="553"/>
                  </a:cubicBezTo>
                  <a:cubicBezTo>
                    <a:pt x="387" y="552"/>
                    <a:pt x="383" y="551"/>
                    <a:pt x="380" y="550"/>
                  </a:cubicBezTo>
                  <a:cubicBezTo>
                    <a:pt x="379" y="550"/>
                    <a:pt x="378" y="549"/>
                    <a:pt x="377" y="549"/>
                  </a:cubicBezTo>
                  <a:cubicBezTo>
                    <a:pt x="377" y="549"/>
                    <a:pt x="378" y="549"/>
                    <a:pt x="379" y="548"/>
                  </a:cubicBezTo>
                  <a:cubicBezTo>
                    <a:pt x="383" y="548"/>
                    <a:pt x="386" y="546"/>
                    <a:pt x="390" y="544"/>
                  </a:cubicBezTo>
                  <a:cubicBezTo>
                    <a:pt x="397" y="540"/>
                    <a:pt x="402" y="534"/>
                    <a:pt x="407" y="526"/>
                  </a:cubicBezTo>
                  <a:cubicBezTo>
                    <a:pt x="415" y="513"/>
                    <a:pt x="419" y="499"/>
                    <a:pt x="427" y="485"/>
                  </a:cubicBezTo>
                  <a:cubicBezTo>
                    <a:pt x="430" y="479"/>
                    <a:pt x="434" y="474"/>
                    <a:pt x="439" y="469"/>
                  </a:cubicBezTo>
                  <a:cubicBezTo>
                    <a:pt x="442" y="467"/>
                    <a:pt x="443" y="465"/>
                    <a:pt x="446" y="463"/>
                  </a:cubicBezTo>
                  <a:cubicBezTo>
                    <a:pt x="449" y="461"/>
                    <a:pt x="453" y="459"/>
                    <a:pt x="456" y="457"/>
                  </a:cubicBezTo>
                  <a:cubicBezTo>
                    <a:pt x="456" y="457"/>
                    <a:pt x="457" y="457"/>
                    <a:pt x="457" y="457"/>
                  </a:cubicBezTo>
                  <a:cubicBezTo>
                    <a:pt x="457" y="457"/>
                    <a:pt x="457" y="457"/>
                    <a:pt x="458" y="457"/>
                  </a:cubicBezTo>
                  <a:cubicBezTo>
                    <a:pt x="459" y="458"/>
                    <a:pt x="460" y="458"/>
                    <a:pt x="462" y="458"/>
                  </a:cubicBezTo>
                  <a:cubicBezTo>
                    <a:pt x="462" y="457"/>
                    <a:pt x="462" y="457"/>
                    <a:pt x="462" y="456"/>
                  </a:cubicBezTo>
                  <a:cubicBezTo>
                    <a:pt x="462" y="456"/>
                    <a:pt x="462" y="455"/>
                    <a:pt x="462" y="455"/>
                  </a:cubicBezTo>
                  <a:cubicBezTo>
                    <a:pt x="467" y="453"/>
                    <a:pt x="472" y="451"/>
                    <a:pt x="477" y="450"/>
                  </a:cubicBezTo>
                  <a:cubicBezTo>
                    <a:pt x="485" y="448"/>
                    <a:pt x="492" y="447"/>
                    <a:pt x="499" y="447"/>
                  </a:cubicBezTo>
                  <a:cubicBezTo>
                    <a:pt x="500" y="446"/>
                    <a:pt x="501" y="446"/>
                    <a:pt x="502" y="444"/>
                  </a:cubicBezTo>
                  <a:cubicBezTo>
                    <a:pt x="502" y="443"/>
                    <a:pt x="502" y="443"/>
                    <a:pt x="501" y="442"/>
                  </a:cubicBezTo>
                  <a:cubicBezTo>
                    <a:pt x="501" y="441"/>
                    <a:pt x="501" y="441"/>
                    <a:pt x="500" y="440"/>
                  </a:cubicBezTo>
                  <a:cubicBezTo>
                    <a:pt x="500" y="440"/>
                    <a:pt x="500" y="440"/>
                    <a:pt x="500" y="440"/>
                  </a:cubicBezTo>
                  <a:cubicBezTo>
                    <a:pt x="500" y="439"/>
                    <a:pt x="500" y="438"/>
                    <a:pt x="500" y="437"/>
                  </a:cubicBezTo>
                  <a:cubicBezTo>
                    <a:pt x="500" y="435"/>
                    <a:pt x="501" y="434"/>
                    <a:pt x="501" y="432"/>
                  </a:cubicBezTo>
                  <a:cubicBezTo>
                    <a:pt x="501" y="431"/>
                    <a:pt x="501" y="431"/>
                    <a:pt x="502" y="430"/>
                  </a:cubicBezTo>
                  <a:cubicBezTo>
                    <a:pt x="502" y="430"/>
                    <a:pt x="502" y="430"/>
                    <a:pt x="502" y="429"/>
                  </a:cubicBezTo>
                  <a:cubicBezTo>
                    <a:pt x="503" y="429"/>
                    <a:pt x="503" y="429"/>
                    <a:pt x="503" y="429"/>
                  </a:cubicBezTo>
                  <a:cubicBezTo>
                    <a:pt x="503" y="428"/>
                    <a:pt x="503" y="428"/>
                    <a:pt x="504" y="428"/>
                  </a:cubicBezTo>
                  <a:cubicBezTo>
                    <a:pt x="503" y="428"/>
                    <a:pt x="504" y="427"/>
                    <a:pt x="504" y="427"/>
                  </a:cubicBezTo>
                  <a:cubicBezTo>
                    <a:pt x="505" y="427"/>
                    <a:pt x="505" y="427"/>
                    <a:pt x="505" y="427"/>
                  </a:cubicBezTo>
                  <a:cubicBezTo>
                    <a:pt x="506" y="426"/>
                    <a:pt x="506" y="426"/>
                    <a:pt x="506" y="426"/>
                  </a:cubicBezTo>
                  <a:cubicBezTo>
                    <a:pt x="506" y="426"/>
                    <a:pt x="507" y="426"/>
                    <a:pt x="507" y="426"/>
                  </a:cubicBezTo>
                  <a:cubicBezTo>
                    <a:pt x="507" y="426"/>
                    <a:pt x="508" y="425"/>
                    <a:pt x="509" y="425"/>
                  </a:cubicBezTo>
                  <a:cubicBezTo>
                    <a:pt x="509" y="425"/>
                    <a:pt x="509" y="425"/>
                    <a:pt x="510" y="425"/>
                  </a:cubicBezTo>
                  <a:cubicBezTo>
                    <a:pt x="510" y="425"/>
                    <a:pt x="510" y="425"/>
                    <a:pt x="510" y="425"/>
                  </a:cubicBezTo>
                  <a:cubicBezTo>
                    <a:pt x="510" y="425"/>
                    <a:pt x="510" y="425"/>
                    <a:pt x="510" y="425"/>
                  </a:cubicBezTo>
                  <a:cubicBezTo>
                    <a:pt x="511" y="425"/>
                    <a:pt x="512" y="425"/>
                    <a:pt x="513" y="425"/>
                  </a:cubicBezTo>
                  <a:cubicBezTo>
                    <a:pt x="513" y="425"/>
                    <a:pt x="514" y="425"/>
                    <a:pt x="514" y="425"/>
                  </a:cubicBezTo>
                  <a:cubicBezTo>
                    <a:pt x="515" y="425"/>
                    <a:pt x="515" y="425"/>
                    <a:pt x="515" y="425"/>
                  </a:cubicBezTo>
                  <a:cubicBezTo>
                    <a:pt x="515" y="425"/>
                    <a:pt x="516" y="425"/>
                    <a:pt x="517" y="426"/>
                  </a:cubicBezTo>
                  <a:cubicBezTo>
                    <a:pt x="518" y="426"/>
                    <a:pt x="520" y="427"/>
                    <a:pt x="522" y="427"/>
                  </a:cubicBezTo>
                  <a:cubicBezTo>
                    <a:pt x="522" y="427"/>
                    <a:pt x="522" y="427"/>
                    <a:pt x="522" y="427"/>
                  </a:cubicBezTo>
                  <a:cubicBezTo>
                    <a:pt x="523" y="427"/>
                    <a:pt x="523" y="427"/>
                    <a:pt x="524" y="427"/>
                  </a:cubicBezTo>
                  <a:cubicBezTo>
                    <a:pt x="525" y="426"/>
                    <a:pt x="526" y="425"/>
                    <a:pt x="526" y="424"/>
                  </a:cubicBezTo>
                  <a:cubicBezTo>
                    <a:pt x="527" y="423"/>
                    <a:pt x="527" y="422"/>
                    <a:pt x="528" y="421"/>
                  </a:cubicBezTo>
                  <a:cubicBezTo>
                    <a:pt x="528" y="420"/>
                    <a:pt x="529" y="418"/>
                    <a:pt x="530" y="416"/>
                  </a:cubicBezTo>
                  <a:cubicBezTo>
                    <a:pt x="532" y="414"/>
                    <a:pt x="533" y="411"/>
                    <a:pt x="535" y="408"/>
                  </a:cubicBezTo>
                  <a:cubicBezTo>
                    <a:pt x="535" y="408"/>
                    <a:pt x="536" y="407"/>
                    <a:pt x="535" y="408"/>
                  </a:cubicBezTo>
                  <a:close/>
                  <a:moveTo>
                    <a:pt x="649" y="282"/>
                  </a:moveTo>
                  <a:cubicBezTo>
                    <a:pt x="649" y="282"/>
                    <a:pt x="649" y="282"/>
                    <a:pt x="649" y="282"/>
                  </a:cubicBezTo>
                  <a:cubicBezTo>
                    <a:pt x="649" y="262"/>
                    <a:pt x="644" y="243"/>
                    <a:pt x="636" y="226"/>
                  </a:cubicBezTo>
                  <a:cubicBezTo>
                    <a:pt x="636" y="225"/>
                    <a:pt x="635" y="224"/>
                    <a:pt x="635" y="223"/>
                  </a:cubicBezTo>
                  <a:cubicBezTo>
                    <a:pt x="637" y="223"/>
                    <a:pt x="639" y="223"/>
                    <a:pt x="640" y="223"/>
                  </a:cubicBezTo>
                  <a:cubicBezTo>
                    <a:pt x="642" y="224"/>
                    <a:pt x="644" y="224"/>
                    <a:pt x="647" y="223"/>
                  </a:cubicBezTo>
                  <a:cubicBezTo>
                    <a:pt x="647" y="226"/>
                    <a:pt x="647" y="228"/>
                    <a:pt x="648" y="230"/>
                  </a:cubicBezTo>
                  <a:cubicBezTo>
                    <a:pt x="649" y="235"/>
                    <a:pt x="650" y="241"/>
                    <a:pt x="651" y="246"/>
                  </a:cubicBezTo>
                  <a:cubicBezTo>
                    <a:pt x="653" y="256"/>
                    <a:pt x="656" y="267"/>
                    <a:pt x="659" y="277"/>
                  </a:cubicBezTo>
                  <a:cubicBezTo>
                    <a:pt x="661" y="287"/>
                    <a:pt x="664" y="297"/>
                    <a:pt x="666" y="307"/>
                  </a:cubicBezTo>
                  <a:cubicBezTo>
                    <a:pt x="665" y="307"/>
                    <a:pt x="665" y="307"/>
                    <a:pt x="665" y="307"/>
                  </a:cubicBezTo>
                  <a:cubicBezTo>
                    <a:pt x="665" y="307"/>
                    <a:pt x="665" y="307"/>
                    <a:pt x="665" y="307"/>
                  </a:cubicBezTo>
                  <a:cubicBezTo>
                    <a:pt x="663" y="306"/>
                    <a:pt x="659" y="308"/>
                    <a:pt x="657" y="309"/>
                  </a:cubicBezTo>
                  <a:cubicBezTo>
                    <a:pt x="654" y="310"/>
                    <a:pt x="651" y="311"/>
                    <a:pt x="648" y="312"/>
                  </a:cubicBezTo>
                  <a:cubicBezTo>
                    <a:pt x="647" y="312"/>
                    <a:pt x="646" y="313"/>
                    <a:pt x="645" y="313"/>
                  </a:cubicBezTo>
                  <a:cubicBezTo>
                    <a:pt x="648" y="303"/>
                    <a:pt x="649" y="292"/>
                    <a:pt x="649" y="282"/>
                  </a:cubicBezTo>
                  <a:close/>
                  <a:moveTo>
                    <a:pt x="660" y="218"/>
                  </a:moveTo>
                  <a:cubicBezTo>
                    <a:pt x="660" y="218"/>
                    <a:pt x="660" y="218"/>
                    <a:pt x="660" y="218"/>
                  </a:cubicBezTo>
                  <a:cubicBezTo>
                    <a:pt x="660" y="226"/>
                    <a:pt x="662" y="234"/>
                    <a:pt x="663" y="243"/>
                  </a:cubicBezTo>
                  <a:cubicBezTo>
                    <a:pt x="665" y="254"/>
                    <a:pt x="667" y="264"/>
                    <a:pt x="669" y="274"/>
                  </a:cubicBezTo>
                  <a:cubicBezTo>
                    <a:pt x="674" y="295"/>
                    <a:pt x="680" y="316"/>
                    <a:pt x="684" y="337"/>
                  </a:cubicBezTo>
                  <a:cubicBezTo>
                    <a:pt x="685" y="340"/>
                    <a:pt x="686" y="344"/>
                    <a:pt x="686" y="347"/>
                  </a:cubicBezTo>
                  <a:cubicBezTo>
                    <a:pt x="685" y="345"/>
                    <a:pt x="683" y="345"/>
                    <a:pt x="681" y="346"/>
                  </a:cubicBezTo>
                  <a:cubicBezTo>
                    <a:pt x="681" y="347"/>
                    <a:pt x="680" y="347"/>
                    <a:pt x="679" y="348"/>
                  </a:cubicBezTo>
                  <a:cubicBezTo>
                    <a:pt x="679" y="347"/>
                    <a:pt x="679" y="346"/>
                    <a:pt x="679" y="346"/>
                  </a:cubicBezTo>
                  <a:cubicBezTo>
                    <a:pt x="678" y="343"/>
                    <a:pt x="678" y="340"/>
                    <a:pt x="677" y="337"/>
                  </a:cubicBezTo>
                  <a:cubicBezTo>
                    <a:pt x="677" y="332"/>
                    <a:pt x="676" y="327"/>
                    <a:pt x="675" y="322"/>
                  </a:cubicBezTo>
                  <a:cubicBezTo>
                    <a:pt x="673" y="312"/>
                    <a:pt x="671" y="301"/>
                    <a:pt x="668" y="291"/>
                  </a:cubicBezTo>
                  <a:cubicBezTo>
                    <a:pt x="664" y="270"/>
                    <a:pt x="658" y="250"/>
                    <a:pt x="653" y="229"/>
                  </a:cubicBezTo>
                  <a:cubicBezTo>
                    <a:pt x="652" y="226"/>
                    <a:pt x="652" y="223"/>
                    <a:pt x="651" y="220"/>
                  </a:cubicBezTo>
                  <a:cubicBezTo>
                    <a:pt x="654" y="220"/>
                    <a:pt x="657" y="219"/>
                    <a:pt x="660" y="218"/>
                  </a:cubicBezTo>
                  <a:close/>
                  <a:moveTo>
                    <a:pt x="705" y="376"/>
                  </a:moveTo>
                  <a:cubicBezTo>
                    <a:pt x="705" y="376"/>
                    <a:pt x="705" y="376"/>
                    <a:pt x="705" y="376"/>
                  </a:cubicBezTo>
                  <a:cubicBezTo>
                    <a:pt x="704" y="380"/>
                    <a:pt x="704" y="384"/>
                    <a:pt x="704" y="388"/>
                  </a:cubicBezTo>
                  <a:cubicBezTo>
                    <a:pt x="703" y="390"/>
                    <a:pt x="703" y="393"/>
                    <a:pt x="703" y="396"/>
                  </a:cubicBezTo>
                  <a:cubicBezTo>
                    <a:pt x="700" y="381"/>
                    <a:pt x="697" y="365"/>
                    <a:pt x="694" y="351"/>
                  </a:cubicBezTo>
                  <a:cubicBezTo>
                    <a:pt x="696" y="355"/>
                    <a:pt x="699" y="359"/>
                    <a:pt x="701" y="362"/>
                  </a:cubicBezTo>
                  <a:cubicBezTo>
                    <a:pt x="702" y="364"/>
                    <a:pt x="704" y="366"/>
                    <a:pt x="705" y="368"/>
                  </a:cubicBezTo>
                  <a:cubicBezTo>
                    <a:pt x="705" y="368"/>
                    <a:pt x="705" y="369"/>
                    <a:pt x="705" y="369"/>
                  </a:cubicBezTo>
                  <a:cubicBezTo>
                    <a:pt x="705" y="371"/>
                    <a:pt x="705" y="374"/>
                    <a:pt x="705" y="376"/>
                  </a:cubicBezTo>
                  <a:close/>
                  <a:moveTo>
                    <a:pt x="688" y="411"/>
                  </a:moveTo>
                  <a:cubicBezTo>
                    <a:pt x="688" y="411"/>
                    <a:pt x="688" y="411"/>
                    <a:pt x="688" y="411"/>
                  </a:cubicBezTo>
                  <a:cubicBezTo>
                    <a:pt x="689" y="417"/>
                    <a:pt x="690" y="423"/>
                    <a:pt x="692" y="429"/>
                  </a:cubicBezTo>
                  <a:cubicBezTo>
                    <a:pt x="691" y="429"/>
                    <a:pt x="691" y="430"/>
                    <a:pt x="691" y="430"/>
                  </a:cubicBezTo>
                  <a:cubicBezTo>
                    <a:pt x="689" y="433"/>
                    <a:pt x="688" y="436"/>
                    <a:pt x="687" y="439"/>
                  </a:cubicBezTo>
                  <a:cubicBezTo>
                    <a:pt x="685" y="442"/>
                    <a:pt x="683" y="445"/>
                    <a:pt x="680" y="448"/>
                  </a:cubicBezTo>
                  <a:cubicBezTo>
                    <a:pt x="679" y="449"/>
                    <a:pt x="678" y="450"/>
                    <a:pt x="677" y="451"/>
                  </a:cubicBezTo>
                  <a:cubicBezTo>
                    <a:pt x="677" y="451"/>
                    <a:pt x="676" y="451"/>
                    <a:pt x="676" y="451"/>
                  </a:cubicBezTo>
                  <a:cubicBezTo>
                    <a:pt x="677" y="449"/>
                    <a:pt x="678" y="447"/>
                    <a:pt x="678" y="446"/>
                  </a:cubicBezTo>
                  <a:cubicBezTo>
                    <a:pt x="683" y="432"/>
                    <a:pt x="685" y="419"/>
                    <a:pt x="687" y="406"/>
                  </a:cubicBezTo>
                  <a:cubicBezTo>
                    <a:pt x="687" y="407"/>
                    <a:pt x="688" y="409"/>
                    <a:pt x="688" y="411"/>
                  </a:cubicBezTo>
                  <a:close/>
                  <a:moveTo>
                    <a:pt x="632" y="333"/>
                  </a:moveTo>
                  <a:cubicBezTo>
                    <a:pt x="632" y="333"/>
                    <a:pt x="632" y="333"/>
                    <a:pt x="632" y="333"/>
                  </a:cubicBezTo>
                  <a:cubicBezTo>
                    <a:pt x="633" y="333"/>
                    <a:pt x="633" y="333"/>
                    <a:pt x="633" y="333"/>
                  </a:cubicBezTo>
                  <a:cubicBezTo>
                    <a:pt x="634" y="334"/>
                    <a:pt x="636" y="335"/>
                    <a:pt x="637" y="336"/>
                  </a:cubicBezTo>
                  <a:cubicBezTo>
                    <a:pt x="638" y="337"/>
                    <a:pt x="638" y="337"/>
                    <a:pt x="638" y="337"/>
                  </a:cubicBezTo>
                  <a:cubicBezTo>
                    <a:pt x="638" y="337"/>
                    <a:pt x="638" y="337"/>
                    <a:pt x="638" y="337"/>
                  </a:cubicBezTo>
                  <a:cubicBezTo>
                    <a:pt x="638" y="337"/>
                    <a:pt x="638" y="338"/>
                    <a:pt x="638" y="338"/>
                  </a:cubicBezTo>
                  <a:cubicBezTo>
                    <a:pt x="638" y="338"/>
                    <a:pt x="639" y="339"/>
                    <a:pt x="639" y="339"/>
                  </a:cubicBezTo>
                  <a:cubicBezTo>
                    <a:pt x="639" y="339"/>
                    <a:pt x="639" y="339"/>
                    <a:pt x="639" y="339"/>
                  </a:cubicBezTo>
                  <a:cubicBezTo>
                    <a:pt x="639" y="339"/>
                    <a:pt x="639" y="339"/>
                    <a:pt x="639" y="339"/>
                  </a:cubicBezTo>
                  <a:cubicBezTo>
                    <a:pt x="639" y="340"/>
                    <a:pt x="639" y="340"/>
                    <a:pt x="639" y="341"/>
                  </a:cubicBezTo>
                  <a:cubicBezTo>
                    <a:pt x="639" y="341"/>
                    <a:pt x="639" y="341"/>
                    <a:pt x="639" y="341"/>
                  </a:cubicBezTo>
                  <a:cubicBezTo>
                    <a:pt x="639" y="341"/>
                    <a:pt x="639" y="341"/>
                    <a:pt x="639" y="341"/>
                  </a:cubicBezTo>
                  <a:cubicBezTo>
                    <a:pt x="639" y="342"/>
                    <a:pt x="639" y="342"/>
                    <a:pt x="639" y="342"/>
                  </a:cubicBezTo>
                  <a:cubicBezTo>
                    <a:pt x="638" y="342"/>
                    <a:pt x="638" y="343"/>
                    <a:pt x="638" y="343"/>
                  </a:cubicBezTo>
                  <a:cubicBezTo>
                    <a:pt x="638" y="343"/>
                    <a:pt x="638" y="343"/>
                    <a:pt x="638" y="343"/>
                  </a:cubicBezTo>
                  <a:cubicBezTo>
                    <a:pt x="638" y="343"/>
                    <a:pt x="638" y="343"/>
                    <a:pt x="638" y="343"/>
                  </a:cubicBezTo>
                  <a:cubicBezTo>
                    <a:pt x="637" y="344"/>
                    <a:pt x="637" y="344"/>
                    <a:pt x="637" y="344"/>
                  </a:cubicBezTo>
                  <a:cubicBezTo>
                    <a:pt x="637" y="344"/>
                    <a:pt x="636" y="345"/>
                    <a:pt x="636" y="345"/>
                  </a:cubicBezTo>
                  <a:cubicBezTo>
                    <a:pt x="636" y="345"/>
                    <a:pt x="635" y="345"/>
                    <a:pt x="635" y="345"/>
                  </a:cubicBezTo>
                  <a:cubicBezTo>
                    <a:pt x="633" y="346"/>
                    <a:pt x="632" y="346"/>
                    <a:pt x="630" y="346"/>
                  </a:cubicBezTo>
                  <a:cubicBezTo>
                    <a:pt x="629" y="346"/>
                    <a:pt x="629" y="346"/>
                    <a:pt x="629" y="346"/>
                  </a:cubicBezTo>
                  <a:cubicBezTo>
                    <a:pt x="628" y="346"/>
                    <a:pt x="628" y="346"/>
                    <a:pt x="628" y="346"/>
                  </a:cubicBezTo>
                  <a:cubicBezTo>
                    <a:pt x="628" y="346"/>
                    <a:pt x="628" y="346"/>
                    <a:pt x="628" y="346"/>
                  </a:cubicBezTo>
                  <a:cubicBezTo>
                    <a:pt x="628" y="346"/>
                    <a:pt x="628" y="346"/>
                    <a:pt x="628" y="346"/>
                  </a:cubicBezTo>
                  <a:cubicBezTo>
                    <a:pt x="628" y="346"/>
                    <a:pt x="628" y="346"/>
                    <a:pt x="628" y="346"/>
                  </a:cubicBezTo>
                  <a:cubicBezTo>
                    <a:pt x="628" y="346"/>
                    <a:pt x="628" y="346"/>
                    <a:pt x="628" y="346"/>
                  </a:cubicBezTo>
                  <a:cubicBezTo>
                    <a:pt x="628" y="346"/>
                    <a:pt x="628" y="345"/>
                    <a:pt x="628" y="345"/>
                  </a:cubicBezTo>
                  <a:cubicBezTo>
                    <a:pt x="627" y="345"/>
                    <a:pt x="627" y="345"/>
                    <a:pt x="627" y="345"/>
                  </a:cubicBezTo>
                  <a:cubicBezTo>
                    <a:pt x="627" y="344"/>
                    <a:pt x="627" y="344"/>
                    <a:pt x="627" y="344"/>
                  </a:cubicBezTo>
                  <a:cubicBezTo>
                    <a:pt x="627" y="344"/>
                    <a:pt x="627" y="344"/>
                    <a:pt x="627" y="344"/>
                  </a:cubicBezTo>
                  <a:cubicBezTo>
                    <a:pt x="627" y="343"/>
                    <a:pt x="627" y="342"/>
                    <a:pt x="627" y="341"/>
                  </a:cubicBezTo>
                  <a:cubicBezTo>
                    <a:pt x="627" y="339"/>
                    <a:pt x="627" y="338"/>
                    <a:pt x="627" y="336"/>
                  </a:cubicBezTo>
                  <a:cubicBezTo>
                    <a:pt x="629" y="335"/>
                    <a:pt x="631" y="334"/>
                    <a:pt x="632" y="333"/>
                  </a:cubicBezTo>
                  <a:close/>
                  <a:moveTo>
                    <a:pt x="628" y="346"/>
                  </a:moveTo>
                  <a:cubicBezTo>
                    <a:pt x="628" y="346"/>
                    <a:pt x="628" y="346"/>
                    <a:pt x="628" y="346"/>
                  </a:cubicBezTo>
                  <a:cubicBezTo>
                    <a:pt x="628" y="346"/>
                    <a:pt x="628" y="346"/>
                    <a:pt x="628" y="346"/>
                  </a:cubicBezTo>
                  <a:cubicBezTo>
                    <a:pt x="628" y="345"/>
                    <a:pt x="628" y="345"/>
                    <a:pt x="628" y="345"/>
                  </a:cubicBezTo>
                  <a:cubicBezTo>
                    <a:pt x="628" y="345"/>
                    <a:pt x="628" y="345"/>
                    <a:pt x="628" y="346"/>
                  </a:cubicBezTo>
                  <a:close/>
                  <a:moveTo>
                    <a:pt x="622" y="349"/>
                  </a:moveTo>
                  <a:cubicBezTo>
                    <a:pt x="622" y="349"/>
                    <a:pt x="622" y="349"/>
                    <a:pt x="622" y="349"/>
                  </a:cubicBezTo>
                  <a:cubicBezTo>
                    <a:pt x="626" y="354"/>
                    <a:pt x="633" y="353"/>
                    <a:pt x="638" y="351"/>
                  </a:cubicBezTo>
                  <a:cubicBezTo>
                    <a:pt x="642" y="349"/>
                    <a:pt x="645" y="345"/>
                    <a:pt x="645" y="339"/>
                  </a:cubicBezTo>
                  <a:cubicBezTo>
                    <a:pt x="645" y="334"/>
                    <a:pt x="641" y="329"/>
                    <a:pt x="637" y="328"/>
                  </a:cubicBezTo>
                  <a:cubicBezTo>
                    <a:pt x="638" y="326"/>
                    <a:pt x="640" y="324"/>
                    <a:pt x="640" y="322"/>
                  </a:cubicBezTo>
                  <a:cubicBezTo>
                    <a:pt x="641" y="322"/>
                    <a:pt x="641" y="322"/>
                    <a:pt x="642" y="321"/>
                  </a:cubicBezTo>
                  <a:cubicBezTo>
                    <a:pt x="645" y="320"/>
                    <a:pt x="648" y="319"/>
                    <a:pt x="651" y="319"/>
                  </a:cubicBezTo>
                  <a:cubicBezTo>
                    <a:pt x="652" y="318"/>
                    <a:pt x="653" y="318"/>
                    <a:pt x="654" y="317"/>
                  </a:cubicBezTo>
                  <a:cubicBezTo>
                    <a:pt x="655" y="318"/>
                    <a:pt x="656" y="318"/>
                    <a:pt x="657" y="318"/>
                  </a:cubicBezTo>
                  <a:cubicBezTo>
                    <a:pt x="658" y="318"/>
                    <a:pt x="659" y="318"/>
                    <a:pt x="661" y="318"/>
                  </a:cubicBezTo>
                  <a:cubicBezTo>
                    <a:pt x="663" y="318"/>
                    <a:pt x="665" y="318"/>
                    <a:pt x="668" y="318"/>
                  </a:cubicBezTo>
                  <a:cubicBezTo>
                    <a:pt x="668" y="318"/>
                    <a:pt x="668" y="318"/>
                    <a:pt x="668" y="318"/>
                  </a:cubicBezTo>
                  <a:cubicBezTo>
                    <a:pt x="668" y="320"/>
                    <a:pt x="669" y="322"/>
                    <a:pt x="669" y="324"/>
                  </a:cubicBezTo>
                  <a:cubicBezTo>
                    <a:pt x="670" y="329"/>
                    <a:pt x="670" y="334"/>
                    <a:pt x="671" y="339"/>
                  </a:cubicBezTo>
                  <a:cubicBezTo>
                    <a:pt x="671" y="342"/>
                    <a:pt x="672" y="344"/>
                    <a:pt x="672" y="347"/>
                  </a:cubicBezTo>
                  <a:cubicBezTo>
                    <a:pt x="673" y="349"/>
                    <a:pt x="673" y="351"/>
                    <a:pt x="674" y="353"/>
                  </a:cubicBezTo>
                  <a:cubicBezTo>
                    <a:pt x="673" y="354"/>
                    <a:pt x="671" y="355"/>
                    <a:pt x="670" y="357"/>
                  </a:cubicBezTo>
                  <a:cubicBezTo>
                    <a:pt x="670" y="354"/>
                    <a:pt x="670" y="352"/>
                    <a:pt x="670" y="350"/>
                  </a:cubicBezTo>
                  <a:cubicBezTo>
                    <a:pt x="669" y="346"/>
                    <a:pt x="668" y="343"/>
                    <a:pt x="667" y="339"/>
                  </a:cubicBezTo>
                  <a:cubicBezTo>
                    <a:pt x="666" y="337"/>
                    <a:pt x="666" y="335"/>
                    <a:pt x="665" y="334"/>
                  </a:cubicBezTo>
                  <a:cubicBezTo>
                    <a:pt x="665" y="332"/>
                    <a:pt x="664" y="331"/>
                    <a:pt x="664" y="330"/>
                  </a:cubicBezTo>
                  <a:cubicBezTo>
                    <a:pt x="664" y="329"/>
                    <a:pt x="664" y="328"/>
                    <a:pt x="663" y="327"/>
                  </a:cubicBezTo>
                  <a:cubicBezTo>
                    <a:pt x="662" y="325"/>
                    <a:pt x="658" y="325"/>
                    <a:pt x="657" y="327"/>
                  </a:cubicBezTo>
                  <a:cubicBezTo>
                    <a:pt x="655" y="331"/>
                    <a:pt x="655" y="336"/>
                    <a:pt x="654" y="340"/>
                  </a:cubicBezTo>
                  <a:cubicBezTo>
                    <a:pt x="652" y="344"/>
                    <a:pt x="651" y="347"/>
                    <a:pt x="648" y="351"/>
                  </a:cubicBezTo>
                  <a:cubicBezTo>
                    <a:pt x="644" y="357"/>
                    <a:pt x="639" y="363"/>
                    <a:pt x="632" y="367"/>
                  </a:cubicBezTo>
                  <a:cubicBezTo>
                    <a:pt x="628" y="369"/>
                    <a:pt x="625" y="370"/>
                    <a:pt x="620" y="371"/>
                  </a:cubicBezTo>
                  <a:cubicBezTo>
                    <a:pt x="618" y="372"/>
                    <a:pt x="615" y="373"/>
                    <a:pt x="613" y="374"/>
                  </a:cubicBezTo>
                  <a:cubicBezTo>
                    <a:pt x="613" y="373"/>
                    <a:pt x="613" y="372"/>
                    <a:pt x="613" y="371"/>
                  </a:cubicBezTo>
                  <a:cubicBezTo>
                    <a:pt x="613" y="367"/>
                    <a:pt x="613" y="364"/>
                    <a:pt x="613" y="360"/>
                  </a:cubicBezTo>
                  <a:cubicBezTo>
                    <a:pt x="614" y="356"/>
                    <a:pt x="615" y="353"/>
                    <a:pt x="615" y="350"/>
                  </a:cubicBezTo>
                  <a:cubicBezTo>
                    <a:pt x="616" y="348"/>
                    <a:pt x="616" y="346"/>
                    <a:pt x="617" y="344"/>
                  </a:cubicBezTo>
                  <a:cubicBezTo>
                    <a:pt x="617" y="343"/>
                    <a:pt x="618" y="342"/>
                    <a:pt x="618" y="341"/>
                  </a:cubicBezTo>
                  <a:cubicBezTo>
                    <a:pt x="619" y="341"/>
                    <a:pt x="620" y="341"/>
                    <a:pt x="621" y="340"/>
                  </a:cubicBezTo>
                  <a:cubicBezTo>
                    <a:pt x="621" y="341"/>
                    <a:pt x="621" y="342"/>
                    <a:pt x="621" y="343"/>
                  </a:cubicBezTo>
                  <a:cubicBezTo>
                    <a:pt x="621" y="345"/>
                    <a:pt x="621" y="347"/>
                    <a:pt x="622" y="349"/>
                  </a:cubicBezTo>
                  <a:close/>
                  <a:moveTo>
                    <a:pt x="395" y="527"/>
                  </a:moveTo>
                  <a:cubicBezTo>
                    <a:pt x="395" y="527"/>
                    <a:pt x="395" y="527"/>
                    <a:pt x="395" y="527"/>
                  </a:cubicBezTo>
                  <a:cubicBezTo>
                    <a:pt x="395" y="523"/>
                    <a:pt x="393" y="519"/>
                    <a:pt x="393" y="514"/>
                  </a:cubicBezTo>
                  <a:cubicBezTo>
                    <a:pt x="395" y="515"/>
                    <a:pt x="397" y="515"/>
                    <a:pt x="399" y="516"/>
                  </a:cubicBezTo>
                  <a:cubicBezTo>
                    <a:pt x="400" y="516"/>
                    <a:pt x="401" y="516"/>
                    <a:pt x="402" y="516"/>
                  </a:cubicBezTo>
                  <a:cubicBezTo>
                    <a:pt x="401" y="518"/>
                    <a:pt x="400" y="520"/>
                    <a:pt x="399" y="522"/>
                  </a:cubicBezTo>
                  <a:cubicBezTo>
                    <a:pt x="397" y="524"/>
                    <a:pt x="396" y="525"/>
                    <a:pt x="395" y="527"/>
                  </a:cubicBezTo>
                  <a:close/>
                  <a:moveTo>
                    <a:pt x="434" y="441"/>
                  </a:moveTo>
                  <a:cubicBezTo>
                    <a:pt x="434" y="441"/>
                    <a:pt x="434" y="441"/>
                    <a:pt x="434" y="441"/>
                  </a:cubicBezTo>
                  <a:cubicBezTo>
                    <a:pt x="438" y="445"/>
                    <a:pt x="442" y="448"/>
                    <a:pt x="446" y="451"/>
                  </a:cubicBezTo>
                  <a:cubicBezTo>
                    <a:pt x="446" y="451"/>
                    <a:pt x="447" y="451"/>
                    <a:pt x="447" y="452"/>
                  </a:cubicBezTo>
                  <a:cubicBezTo>
                    <a:pt x="442" y="455"/>
                    <a:pt x="436" y="459"/>
                    <a:pt x="430" y="464"/>
                  </a:cubicBezTo>
                  <a:cubicBezTo>
                    <a:pt x="426" y="469"/>
                    <a:pt x="422" y="474"/>
                    <a:pt x="419" y="479"/>
                  </a:cubicBezTo>
                  <a:cubicBezTo>
                    <a:pt x="419" y="477"/>
                    <a:pt x="418" y="475"/>
                    <a:pt x="418" y="473"/>
                  </a:cubicBezTo>
                  <a:cubicBezTo>
                    <a:pt x="421" y="468"/>
                    <a:pt x="423" y="462"/>
                    <a:pt x="425" y="457"/>
                  </a:cubicBezTo>
                  <a:cubicBezTo>
                    <a:pt x="427" y="451"/>
                    <a:pt x="430" y="446"/>
                    <a:pt x="434" y="441"/>
                  </a:cubicBezTo>
                  <a:close/>
                  <a:moveTo>
                    <a:pt x="479" y="441"/>
                  </a:moveTo>
                  <a:cubicBezTo>
                    <a:pt x="479" y="441"/>
                    <a:pt x="479" y="441"/>
                    <a:pt x="479" y="441"/>
                  </a:cubicBezTo>
                  <a:cubicBezTo>
                    <a:pt x="479" y="441"/>
                    <a:pt x="479" y="441"/>
                    <a:pt x="479" y="440"/>
                  </a:cubicBezTo>
                  <a:cubicBezTo>
                    <a:pt x="480" y="438"/>
                    <a:pt x="482" y="435"/>
                    <a:pt x="484" y="434"/>
                  </a:cubicBezTo>
                  <a:cubicBezTo>
                    <a:pt x="487" y="433"/>
                    <a:pt x="490" y="437"/>
                    <a:pt x="492" y="438"/>
                  </a:cubicBezTo>
                  <a:cubicBezTo>
                    <a:pt x="492" y="439"/>
                    <a:pt x="492" y="439"/>
                    <a:pt x="492" y="440"/>
                  </a:cubicBezTo>
                  <a:cubicBezTo>
                    <a:pt x="488" y="439"/>
                    <a:pt x="483" y="440"/>
                    <a:pt x="479" y="441"/>
                  </a:cubicBezTo>
                  <a:close/>
                  <a:moveTo>
                    <a:pt x="523" y="414"/>
                  </a:moveTo>
                  <a:cubicBezTo>
                    <a:pt x="523" y="414"/>
                    <a:pt x="523" y="414"/>
                    <a:pt x="523" y="414"/>
                  </a:cubicBezTo>
                  <a:cubicBezTo>
                    <a:pt x="522" y="415"/>
                    <a:pt x="522" y="417"/>
                    <a:pt x="521" y="418"/>
                  </a:cubicBezTo>
                  <a:cubicBezTo>
                    <a:pt x="518" y="417"/>
                    <a:pt x="515" y="417"/>
                    <a:pt x="513" y="417"/>
                  </a:cubicBezTo>
                  <a:cubicBezTo>
                    <a:pt x="509" y="417"/>
                    <a:pt x="504" y="418"/>
                    <a:pt x="501" y="420"/>
                  </a:cubicBezTo>
                  <a:cubicBezTo>
                    <a:pt x="498" y="422"/>
                    <a:pt x="495" y="426"/>
                    <a:pt x="494" y="430"/>
                  </a:cubicBezTo>
                  <a:cubicBezTo>
                    <a:pt x="494" y="431"/>
                    <a:pt x="494" y="432"/>
                    <a:pt x="494" y="433"/>
                  </a:cubicBezTo>
                  <a:cubicBezTo>
                    <a:pt x="494" y="433"/>
                    <a:pt x="494" y="433"/>
                    <a:pt x="494" y="433"/>
                  </a:cubicBezTo>
                  <a:cubicBezTo>
                    <a:pt x="491" y="430"/>
                    <a:pt x="487" y="427"/>
                    <a:pt x="482" y="429"/>
                  </a:cubicBezTo>
                  <a:cubicBezTo>
                    <a:pt x="477" y="430"/>
                    <a:pt x="475" y="437"/>
                    <a:pt x="473" y="442"/>
                  </a:cubicBezTo>
                  <a:cubicBezTo>
                    <a:pt x="467" y="444"/>
                    <a:pt x="460" y="446"/>
                    <a:pt x="454" y="449"/>
                  </a:cubicBezTo>
                  <a:cubicBezTo>
                    <a:pt x="452" y="448"/>
                    <a:pt x="451" y="447"/>
                    <a:pt x="449" y="446"/>
                  </a:cubicBezTo>
                  <a:cubicBezTo>
                    <a:pt x="444" y="443"/>
                    <a:pt x="440" y="440"/>
                    <a:pt x="436" y="436"/>
                  </a:cubicBezTo>
                  <a:cubicBezTo>
                    <a:pt x="435" y="435"/>
                    <a:pt x="433" y="435"/>
                    <a:pt x="432" y="436"/>
                  </a:cubicBezTo>
                  <a:cubicBezTo>
                    <a:pt x="427" y="441"/>
                    <a:pt x="423" y="447"/>
                    <a:pt x="421" y="454"/>
                  </a:cubicBezTo>
                  <a:cubicBezTo>
                    <a:pt x="419" y="458"/>
                    <a:pt x="418" y="461"/>
                    <a:pt x="417" y="465"/>
                  </a:cubicBezTo>
                  <a:cubicBezTo>
                    <a:pt x="417" y="460"/>
                    <a:pt x="416" y="455"/>
                    <a:pt x="416" y="450"/>
                  </a:cubicBezTo>
                  <a:cubicBezTo>
                    <a:pt x="416" y="444"/>
                    <a:pt x="416" y="438"/>
                    <a:pt x="416" y="431"/>
                  </a:cubicBezTo>
                  <a:cubicBezTo>
                    <a:pt x="418" y="430"/>
                    <a:pt x="420" y="429"/>
                    <a:pt x="423" y="428"/>
                  </a:cubicBezTo>
                  <a:cubicBezTo>
                    <a:pt x="427" y="425"/>
                    <a:pt x="431" y="423"/>
                    <a:pt x="436" y="421"/>
                  </a:cubicBezTo>
                  <a:cubicBezTo>
                    <a:pt x="444" y="417"/>
                    <a:pt x="454" y="415"/>
                    <a:pt x="463" y="414"/>
                  </a:cubicBezTo>
                  <a:cubicBezTo>
                    <a:pt x="483" y="412"/>
                    <a:pt x="502" y="409"/>
                    <a:pt x="522" y="410"/>
                  </a:cubicBezTo>
                  <a:cubicBezTo>
                    <a:pt x="523" y="410"/>
                    <a:pt x="524" y="410"/>
                    <a:pt x="524" y="411"/>
                  </a:cubicBezTo>
                  <a:cubicBezTo>
                    <a:pt x="524" y="412"/>
                    <a:pt x="523" y="413"/>
                    <a:pt x="523" y="414"/>
                  </a:cubicBezTo>
                  <a:close/>
                  <a:moveTo>
                    <a:pt x="348" y="608"/>
                  </a:moveTo>
                  <a:cubicBezTo>
                    <a:pt x="348" y="608"/>
                    <a:pt x="348" y="608"/>
                    <a:pt x="348" y="608"/>
                  </a:cubicBezTo>
                  <a:cubicBezTo>
                    <a:pt x="347" y="608"/>
                    <a:pt x="347" y="608"/>
                    <a:pt x="346" y="608"/>
                  </a:cubicBezTo>
                  <a:cubicBezTo>
                    <a:pt x="344" y="609"/>
                    <a:pt x="342" y="610"/>
                    <a:pt x="340" y="610"/>
                  </a:cubicBezTo>
                  <a:cubicBezTo>
                    <a:pt x="339" y="610"/>
                    <a:pt x="338" y="609"/>
                    <a:pt x="337" y="609"/>
                  </a:cubicBezTo>
                  <a:cubicBezTo>
                    <a:pt x="329" y="605"/>
                    <a:pt x="320" y="603"/>
                    <a:pt x="311" y="602"/>
                  </a:cubicBezTo>
                  <a:cubicBezTo>
                    <a:pt x="307" y="602"/>
                    <a:pt x="303" y="602"/>
                    <a:pt x="299" y="603"/>
                  </a:cubicBezTo>
                  <a:cubicBezTo>
                    <a:pt x="299" y="602"/>
                    <a:pt x="299" y="602"/>
                    <a:pt x="298" y="601"/>
                  </a:cubicBezTo>
                  <a:cubicBezTo>
                    <a:pt x="294" y="597"/>
                    <a:pt x="290" y="592"/>
                    <a:pt x="287" y="587"/>
                  </a:cubicBezTo>
                  <a:cubicBezTo>
                    <a:pt x="286" y="584"/>
                    <a:pt x="285" y="581"/>
                    <a:pt x="284" y="578"/>
                  </a:cubicBezTo>
                  <a:cubicBezTo>
                    <a:pt x="284" y="576"/>
                    <a:pt x="285" y="573"/>
                    <a:pt x="286" y="571"/>
                  </a:cubicBezTo>
                  <a:cubicBezTo>
                    <a:pt x="290" y="575"/>
                    <a:pt x="294" y="579"/>
                    <a:pt x="299" y="581"/>
                  </a:cubicBezTo>
                  <a:cubicBezTo>
                    <a:pt x="305" y="585"/>
                    <a:pt x="312" y="587"/>
                    <a:pt x="319" y="588"/>
                  </a:cubicBezTo>
                  <a:cubicBezTo>
                    <a:pt x="322" y="588"/>
                    <a:pt x="325" y="588"/>
                    <a:pt x="328" y="587"/>
                  </a:cubicBezTo>
                  <a:cubicBezTo>
                    <a:pt x="330" y="586"/>
                    <a:pt x="331" y="585"/>
                    <a:pt x="333" y="584"/>
                  </a:cubicBezTo>
                  <a:cubicBezTo>
                    <a:pt x="337" y="593"/>
                    <a:pt x="342" y="600"/>
                    <a:pt x="348" y="608"/>
                  </a:cubicBezTo>
                  <a:close/>
                  <a:moveTo>
                    <a:pt x="278" y="582"/>
                  </a:moveTo>
                  <a:cubicBezTo>
                    <a:pt x="278" y="582"/>
                    <a:pt x="278" y="582"/>
                    <a:pt x="278" y="582"/>
                  </a:cubicBezTo>
                  <a:cubicBezTo>
                    <a:pt x="279" y="584"/>
                    <a:pt x="280" y="587"/>
                    <a:pt x="281" y="589"/>
                  </a:cubicBezTo>
                  <a:cubicBezTo>
                    <a:pt x="284" y="595"/>
                    <a:pt x="289" y="602"/>
                    <a:pt x="295" y="605"/>
                  </a:cubicBezTo>
                  <a:cubicBezTo>
                    <a:pt x="294" y="605"/>
                    <a:pt x="294" y="606"/>
                    <a:pt x="293" y="606"/>
                  </a:cubicBezTo>
                  <a:cubicBezTo>
                    <a:pt x="290" y="603"/>
                    <a:pt x="286" y="601"/>
                    <a:pt x="283" y="598"/>
                  </a:cubicBezTo>
                  <a:cubicBezTo>
                    <a:pt x="279" y="596"/>
                    <a:pt x="275" y="593"/>
                    <a:pt x="271" y="589"/>
                  </a:cubicBezTo>
                  <a:cubicBezTo>
                    <a:pt x="273" y="588"/>
                    <a:pt x="274" y="587"/>
                    <a:pt x="275" y="585"/>
                  </a:cubicBezTo>
                  <a:cubicBezTo>
                    <a:pt x="277" y="584"/>
                    <a:pt x="277" y="583"/>
                    <a:pt x="278" y="582"/>
                  </a:cubicBezTo>
                  <a:close/>
                  <a:moveTo>
                    <a:pt x="378" y="625"/>
                  </a:moveTo>
                  <a:cubicBezTo>
                    <a:pt x="378" y="625"/>
                    <a:pt x="378" y="625"/>
                    <a:pt x="378" y="625"/>
                  </a:cubicBezTo>
                  <a:cubicBezTo>
                    <a:pt x="377" y="625"/>
                    <a:pt x="377" y="624"/>
                    <a:pt x="377" y="624"/>
                  </a:cubicBezTo>
                  <a:cubicBezTo>
                    <a:pt x="377" y="624"/>
                    <a:pt x="376" y="624"/>
                    <a:pt x="376" y="624"/>
                  </a:cubicBezTo>
                  <a:cubicBezTo>
                    <a:pt x="375" y="623"/>
                    <a:pt x="375" y="623"/>
                    <a:pt x="374" y="622"/>
                  </a:cubicBezTo>
                  <a:cubicBezTo>
                    <a:pt x="373" y="620"/>
                    <a:pt x="371" y="619"/>
                    <a:pt x="370" y="618"/>
                  </a:cubicBezTo>
                  <a:cubicBezTo>
                    <a:pt x="369" y="617"/>
                    <a:pt x="369" y="617"/>
                    <a:pt x="368" y="616"/>
                  </a:cubicBezTo>
                  <a:cubicBezTo>
                    <a:pt x="368" y="614"/>
                    <a:pt x="367" y="613"/>
                    <a:pt x="367" y="611"/>
                  </a:cubicBezTo>
                  <a:cubicBezTo>
                    <a:pt x="365" y="607"/>
                    <a:pt x="363" y="602"/>
                    <a:pt x="362" y="597"/>
                  </a:cubicBezTo>
                  <a:cubicBezTo>
                    <a:pt x="360" y="592"/>
                    <a:pt x="359" y="587"/>
                    <a:pt x="357" y="582"/>
                  </a:cubicBezTo>
                  <a:cubicBezTo>
                    <a:pt x="356" y="580"/>
                    <a:pt x="356" y="578"/>
                    <a:pt x="355" y="575"/>
                  </a:cubicBezTo>
                  <a:cubicBezTo>
                    <a:pt x="355" y="575"/>
                    <a:pt x="355" y="575"/>
                    <a:pt x="355" y="575"/>
                  </a:cubicBezTo>
                  <a:cubicBezTo>
                    <a:pt x="364" y="579"/>
                    <a:pt x="373" y="584"/>
                    <a:pt x="383" y="588"/>
                  </a:cubicBezTo>
                  <a:cubicBezTo>
                    <a:pt x="394" y="593"/>
                    <a:pt x="405" y="598"/>
                    <a:pt x="417" y="603"/>
                  </a:cubicBezTo>
                  <a:cubicBezTo>
                    <a:pt x="418" y="604"/>
                    <a:pt x="421" y="602"/>
                    <a:pt x="420" y="600"/>
                  </a:cubicBezTo>
                  <a:cubicBezTo>
                    <a:pt x="419" y="596"/>
                    <a:pt x="418" y="593"/>
                    <a:pt x="417" y="588"/>
                  </a:cubicBezTo>
                  <a:cubicBezTo>
                    <a:pt x="416" y="588"/>
                    <a:pt x="416" y="588"/>
                    <a:pt x="416" y="587"/>
                  </a:cubicBezTo>
                  <a:cubicBezTo>
                    <a:pt x="416" y="587"/>
                    <a:pt x="417" y="587"/>
                    <a:pt x="417" y="588"/>
                  </a:cubicBezTo>
                  <a:cubicBezTo>
                    <a:pt x="422" y="589"/>
                    <a:pt x="427" y="590"/>
                    <a:pt x="432" y="591"/>
                  </a:cubicBezTo>
                  <a:cubicBezTo>
                    <a:pt x="434" y="591"/>
                    <a:pt x="435" y="591"/>
                    <a:pt x="437" y="591"/>
                  </a:cubicBezTo>
                  <a:cubicBezTo>
                    <a:pt x="436" y="592"/>
                    <a:pt x="435" y="593"/>
                    <a:pt x="434" y="594"/>
                  </a:cubicBezTo>
                  <a:cubicBezTo>
                    <a:pt x="433" y="596"/>
                    <a:pt x="431" y="599"/>
                    <a:pt x="430" y="601"/>
                  </a:cubicBezTo>
                  <a:cubicBezTo>
                    <a:pt x="426" y="606"/>
                    <a:pt x="423" y="611"/>
                    <a:pt x="421" y="616"/>
                  </a:cubicBezTo>
                  <a:cubicBezTo>
                    <a:pt x="418" y="620"/>
                    <a:pt x="417" y="626"/>
                    <a:pt x="416" y="630"/>
                  </a:cubicBezTo>
                  <a:cubicBezTo>
                    <a:pt x="415" y="633"/>
                    <a:pt x="415" y="635"/>
                    <a:pt x="414" y="638"/>
                  </a:cubicBezTo>
                  <a:cubicBezTo>
                    <a:pt x="414" y="640"/>
                    <a:pt x="413" y="642"/>
                    <a:pt x="413" y="644"/>
                  </a:cubicBezTo>
                  <a:cubicBezTo>
                    <a:pt x="407" y="642"/>
                    <a:pt x="402" y="640"/>
                    <a:pt x="396" y="637"/>
                  </a:cubicBezTo>
                  <a:cubicBezTo>
                    <a:pt x="390" y="633"/>
                    <a:pt x="384" y="629"/>
                    <a:pt x="378" y="625"/>
                  </a:cubicBezTo>
                  <a:close/>
                  <a:moveTo>
                    <a:pt x="418" y="640"/>
                  </a:moveTo>
                  <a:cubicBezTo>
                    <a:pt x="418" y="640"/>
                    <a:pt x="418" y="640"/>
                    <a:pt x="418" y="640"/>
                  </a:cubicBezTo>
                  <a:cubicBezTo>
                    <a:pt x="419" y="638"/>
                    <a:pt x="419" y="635"/>
                    <a:pt x="420" y="633"/>
                  </a:cubicBezTo>
                  <a:cubicBezTo>
                    <a:pt x="421" y="628"/>
                    <a:pt x="423" y="624"/>
                    <a:pt x="425" y="619"/>
                  </a:cubicBezTo>
                  <a:cubicBezTo>
                    <a:pt x="428" y="614"/>
                    <a:pt x="431" y="609"/>
                    <a:pt x="434" y="604"/>
                  </a:cubicBezTo>
                  <a:cubicBezTo>
                    <a:pt x="436" y="602"/>
                    <a:pt x="437" y="600"/>
                    <a:pt x="439" y="598"/>
                  </a:cubicBezTo>
                  <a:cubicBezTo>
                    <a:pt x="441" y="596"/>
                    <a:pt x="443" y="594"/>
                    <a:pt x="444" y="591"/>
                  </a:cubicBezTo>
                  <a:cubicBezTo>
                    <a:pt x="445" y="591"/>
                    <a:pt x="445" y="591"/>
                    <a:pt x="445" y="591"/>
                  </a:cubicBezTo>
                  <a:cubicBezTo>
                    <a:pt x="450" y="591"/>
                    <a:pt x="456" y="591"/>
                    <a:pt x="462" y="591"/>
                  </a:cubicBezTo>
                  <a:cubicBezTo>
                    <a:pt x="462" y="591"/>
                    <a:pt x="463" y="592"/>
                    <a:pt x="463" y="592"/>
                  </a:cubicBezTo>
                  <a:cubicBezTo>
                    <a:pt x="464" y="593"/>
                    <a:pt x="464" y="593"/>
                    <a:pt x="464" y="594"/>
                  </a:cubicBezTo>
                  <a:cubicBezTo>
                    <a:pt x="465" y="595"/>
                    <a:pt x="467" y="598"/>
                    <a:pt x="468" y="600"/>
                  </a:cubicBezTo>
                  <a:cubicBezTo>
                    <a:pt x="468" y="600"/>
                    <a:pt x="468" y="600"/>
                    <a:pt x="468" y="600"/>
                  </a:cubicBezTo>
                  <a:cubicBezTo>
                    <a:pt x="466" y="602"/>
                    <a:pt x="464" y="603"/>
                    <a:pt x="461" y="605"/>
                  </a:cubicBezTo>
                  <a:cubicBezTo>
                    <a:pt x="456" y="609"/>
                    <a:pt x="451" y="614"/>
                    <a:pt x="446" y="619"/>
                  </a:cubicBezTo>
                  <a:cubicBezTo>
                    <a:pt x="439" y="628"/>
                    <a:pt x="433" y="639"/>
                    <a:pt x="434" y="650"/>
                  </a:cubicBezTo>
                  <a:cubicBezTo>
                    <a:pt x="428" y="649"/>
                    <a:pt x="422" y="648"/>
                    <a:pt x="417" y="646"/>
                  </a:cubicBezTo>
                  <a:cubicBezTo>
                    <a:pt x="418" y="644"/>
                    <a:pt x="418" y="642"/>
                    <a:pt x="418" y="640"/>
                  </a:cubicBezTo>
                  <a:close/>
                  <a:moveTo>
                    <a:pt x="451" y="622"/>
                  </a:moveTo>
                  <a:cubicBezTo>
                    <a:pt x="451" y="622"/>
                    <a:pt x="451" y="622"/>
                    <a:pt x="451" y="622"/>
                  </a:cubicBezTo>
                  <a:cubicBezTo>
                    <a:pt x="455" y="617"/>
                    <a:pt x="460" y="613"/>
                    <a:pt x="465" y="610"/>
                  </a:cubicBezTo>
                  <a:cubicBezTo>
                    <a:pt x="467" y="608"/>
                    <a:pt x="469" y="607"/>
                    <a:pt x="471" y="605"/>
                  </a:cubicBezTo>
                  <a:cubicBezTo>
                    <a:pt x="471" y="606"/>
                    <a:pt x="472" y="608"/>
                    <a:pt x="472" y="609"/>
                  </a:cubicBezTo>
                  <a:cubicBezTo>
                    <a:pt x="474" y="612"/>
                    <a:pt x="475" y="614"/>
                    <a:pt x="476" y="617"/>
                  </a:cubicBezTo>
                  <a:cubicBezTo>
                    <a:pt x="476" y="619"/>
                    <a:pt x="477" y="620"/>
                    <a:pt x="477" y="621"/>
                  </a:cubicBezTo>
                  <a:cubicBezTo>
                    <a:pt x="477" y="621"/>
                    <a:pt x="477" y="621"/>
                    <a:pt x="477" y="621"/>
                  </a:cubicBezTo>
                  <a:cubicBezTo>
                    <a:pt x="475" y="620"/>
                    <a:pt x="473" y="622"/>
                    <a:pt x="471" y="623"/>
                  </a:cubicBezTo>
                  <a:cubicBezTo>
                    <a:pt x="470" y="625"/>
                    <a:pt x="468" y="626"/>
                    <a:pt x="467" y="627"/>
                  </a:cubicBezTo>
                  <a:cubicBezTo>
                    <a:pt x="463" y="630"/>
                    <a:pt x="460" y="633"/>
                    <a:pt x="458" y="636"/>
                  </a:cubicBezTo>
                  <a:cubicBezTo>
                    <a:pt x="453" y="642"/>
                    <a:pt x="450" y="648"/>
                    <a:pt x="451" y="655"/>
                  </a:cubicBezTo>
                  <a:cubicBezTo>
                    <a:pt x="446" y="654"/>
                    <a:pt x="442" y="653"/>
                    <a:pt x="437" y="651"/>
                  </a:cubicBezTo>
                  <a:cubicBezTo>
                    <a:pt x="437" y="640"/>
                    <a:pt x="443" y="630"/>
                    <a:pt x="451" y="622"/>
                  </a:cubicBezTo>
                  <a:close/>
                  <a:moveTo>
                    <a:pt x="552" y="568"/>
                  </a:moveTo>
                  <a:cubicBezTo>
                    <a:pt x="552" y="568"/>
                    <a:pt x="552" y="568"/>
                    <a:pt x="552" y="568"/>
                  </a:cubicBezTo>
                  <a:cubicBezTo>
                    <a:pt x="550" y="567"/>
                    <a:pt x="548" y="567"/>
                    <a:pt x="546" y="566"/>
                  </a:cubicBezTo>
                  <a:cubicBezTo>
                    <a:pt x="541" y="565"/>
                    <a:pt x="536" y="565"/>
                    <a:pt x="531" y="565"/>
                  </a:cubicBezTo>
                  <a:cubicBezTo>
                    <a:pt x="533" y="563"/>
                    <a:pt x="536" y="560"/>
                    <a:pt x="538" y="557"/>
                  </a:cubicBezTo>
                  <a:cubicBezTo>
                    <a:pt x="541" y="553"/>
                    <a:pt x="544" y="549"/>
                    <a:pt x="546" y="544"/>
                  </a:cubicBezTo>
                  <a:cubicBezTo>
                    <a:pt x="549" y="543"/>
                    <a:pt x="553" y="544"/>
                    <a:pt x="556" y="545"/>
                  </a:cubicBezTo>
                  <a:cubicBezTo>
                    <a:pt x="558" y="545"/>
                    <a:pt x="561" y="546"/>
                    <a:pt x="563" y="547"/>
                  </a:cubicBezTo>
                  <a:cubicBezTo>
                    <a:pt x="564" y="547"/>
                    <a:pt x="565" y="548"/>
                    <a:pt x="566" y="549"/>
                  </a:cubicBezTo>
                  <a:cubicBezTo>
                    <a:pt x="566" y="549"/>
                    <a:pt x="566" y="549"/>
                    <a:pt x="566" y="549"/>
                  </a:cubicBezTo>
                  <a:cubicBezTo>
                    <a:pt x="562" y="556"/>
                    <a:pt x="557" y="562"/>
                    <a:pt x="552" y="568"/>
                  </a:cubicBezTo>
                  <a:close/>
                  <a:moveTo>
                    <a:pt x="569" y="544"/>
                  </a:moveTo>
                  <a:cubicBezTo>
                    <a:pt x="569" y="544"/>
                    <a:pt x="569" y="544"/>
                    <a:pt x="569" y="544"/>
                  </a:cubicBezTo>
                  <a:cubicBezTo>
                    <a:pt x="567" y="543"/>
                    <a:pt x="566" y="542"/>
                    <a:pt x="565" y="542"/>
                  </a:cubicBezTo>
                  <a:cubicBezTo>
                    <a:pt x="562" y="541"/>
                    <a:pt x="560" y="540"/>
                    <a:pt x="557" y="539"/>
                  </a:cubicBezTo>
                  <a:cubicBezTo>
                    <a:pt x="554" y="539"/>
                    <a:pt x="551" y="539"/>
                    <a:pt x="549" y="539"/>
                  </a:cubicBezTo>
                  <a:cubicBezTo>
                    <a:pt x="549" y="538"/>
                    <a:pt x="550" y="536"/>
                    <a:pt x="551" y="534"/>
                  </a:cubicBezTo>
                  <a:cubicBezTo>
                    <a:pt x="552" y="530"/>
                    <a:pt x="554" y="526"/>
                    <a:pt x="555" y="522"/>
                  </a:cubicBezTo>
                  <a:cubicBezTo>
                    <a:pt x="555" y="519"/>
                    <a:pt x="556" y="517"/>
                    <a:pt x="556" y="515"/>
                  </a:cubicBezTo>
                  <a:cubicBezTo>
                    <a:pt x="556" y="514"/>
                    <a:pt x="556" y="513"/>
                    <a:pt x="556" y="512"/>
                  </a:cubicBezTo>
                  <a:cubicBezTo>
                    <a:pt x="563" y="514"/>
                    <a:pt x="571" y="515"/>
                    <a:pt x="579" y="514"/>
                  </a:cubicBezTo>
                  <a:cubicBezTo>
                    <a:pt x="578" y="516"/>
                    <a:pt x="578" y="518"/>
                    <a:pt x="578" y="519"/>
                  </a:cubicBezTo>
                  <a:cubicBezTo>
                    <a:pt x="577" y="523"/>
                    <a:pt x="576" y="526"/>
                    <a:pt x="575" y="530"/>
                  </a:cubicBezTo>
                  <a:cubicBezTo>
                    <a:pt x="575" y="531"/>
                    <a:pt x="575" y="532"/>
                    <a:pt x="574" y="533"/>
                  </a:cubicBezTo>
                  <a:cubicBezTo>
                    <a:pt x="574" y="533"/>
                    <a:pt x="574" y="533"/>
                    <a:pt x="574" y="533"/>
                  </a:cubicBezTo>
                  <a:cubicBezTo>
                    <a:pt x="574" y="534"/>
                    <a:pt x="574" y="534"/>
                    <a:pt x="573" y="534"/>
                  </a:cubicBezTo>
                  <a:cubicBezTo>
                    <a:pt x="573" y="536"/>
                    <a:pt x="572" y="538"/>
                    <a:pt x="571" y="539"/>
                  </a:cubicBezTo>
                  <a:cubicBezTo>
                    <a:pt x="570" y="541"/>
                    <a:pt x="569" y="542"/>
                    <a:pt x="569" y="544"/>
                  </a:cubicBezTo>
                  <a:close/>
                  <a:moveTo>
                    <a:pt x="692" y="442"/>
                  </a:moveTo>
                  <a:cubicBezTo>
                    <a:pt x="692" y="442"/>
                    <a:pt x="692" y="442"/>
                    <a:pt x="692" y="442"/>
                  </a:cubicBezTo>
                  <a:cubicBezTo>
                    <a:pt x="693" y="441"/>
                    <a:pt x="693" y="440"/>
                    <a:pt x="694" y="439"/>
                  </a:cubicBezTo>
                  <a:cubicBezTo>
                    <a:pt x="694" y="440"/>
                    <a:pt x="694" y="441"/>
                    <a:pt x="695" y="443"/>
                  </a:cubicBezTo>
                  <a:cubicBezTo>
                    <a:pt x="695" y="444"/>
                    <a:pt x="695" y="446"/>
                    <a:pt x="696" y="447"/>
                  </a:cubicBezTo>
                  <a:cubicBezTo>
                    <a:pt x="695" y="447"/>
                    <a:pt x="694" y="447"/>
                    <a:pt x="693" y="448"/>
                  </a:cubicBezTo>
                  <a:cubicBezTo>
                    <a:pt x="691" y="448"/>
                    <a:pt x="689" y="449"/>
                    <a:pt x="688" y="450"/>
                  </a:cubicBezTo>
                  <a:cubicBezTo>
                    <a:pt x="689" y="447"/>
                    <a:pt x="691" y="445"/>
                    <a:pt x="692" y="442"/>
                  </a:cubicBezTo>
                  <a:close/>
                  <a:moveTo>
                    <a:pt x="732" y="510"/>
                  </a:moveTo>
                  <a:cubicBezTo>
                    <a:pt x="732" y="510"/>
                    <a:pt x="732" y="510"/>
                    <a:pt x="732" y="510"/>
                  </a:cubicBezTo>
                  <a:cubicBezTo>
                    <a:pt x="728" y="498"/>
                    <a:pt x="723" y="486"/>
                    <a:pt x="719" y="474"/>
                  </a:cubicBezTo>
                  <a:cubicBezTo>
                    <a:pt x="720" y="471"/>
                    <a:pt x="722" y="467"/>
                    <a:pt x="724" y="463"/>
                  </a:cubicBezTo>
                  <a:cubicBezTo>
                    <a:pt x="726" y="460"/>
                    <a:pt x="727" y="457"/>
                    <a:pt x="729" y="455"/>
                  </a:cubicBezTo>
                  <a:cubicBezTo>
                    <a:pt x="730" y="454"/>
                    <a:pt x="731" y="453"/>
                    <a:pt x="732" y="452"/>
                  </a:cubicBezTo>
                  <a:cubicBezTo>
                    <a:pt x="733" y="451"/>
                    <a:pt x="733" y="451"/>
                    <a:pt x="734" y="450"/>
                  </a:cubicBezTo>
                  <a:cubicBezTo>
                    <a:pt x="734" y="450"/>
                    <a:pt x="734" y="450"/>
                    <a:pt x="735" y="450"/>
                  </a:cubicBezTo>
                  <a:cubicBezTo>
                    <a:pt x="736" y="449"/>
                    <a:pt x="736" y="449"/>
                    <a:pt x="736" y="449"/>
                  </a:cubicBezTo>
                  <a:cubicBezTo>
                    <a:pt x="737" y="448"/>
                    <a:pt x="738" y="447"/>
                    <a:pt x="738" y="447"/>
                  </a:cubicBezTo>
                  <a:cubicBezTo>
                    <a:pt x="739" y="447"/>
                    <a:pt x="739" y="446"/>
                    <a:pt x="739" y="446"/>
                  </a:cubicBezTo>
                  <a:cubicBezTo>
                    <a:pt x="740" y="446"/>
                    <a:pt x="740" y="446"/>
                    <a:pt x="740" y="446"/>
                  </a:cubicBezTo>
                  <a:cubicBezTo>
                    <a:pt x="741" y="446"/>
                    <a:pt x="741" y="446"/>
                    <a:pt x="742" y="445"/>
                  </a:cubicBezTo>
                  <a:cubicBezTo>
                    <a:pt x="742" y="445"/>
                    <a:pt x="743" y="445"/>
                    <a:pt x="743" y="445"/>
                  </a:cubicBezTo>
                  <a:cubicBezTo>
                    <a:pt x="744" y="445"/>
                    <a:pt x="744" y="445"/>
                    <a:pt x="745" y="445"/>
                  </a:cubicBezTo>
                  <a:cubicBezTo>
                    <a:pt x="745" y="445"/>
                    <a:pt x="746" y="445"/>
                    <a:pt x="746" y="445"/>
                  </a:cubicBezTo>
                  <a:cubicBezTo>
                    <a:pt x="746" y="445"/>
                    <a:pt x="746" y="445"/>
                    <a:pt x="746" y="445"/>
                  </a:cubicBezTo>
                  <a:cubicBezTo>
                    <a:pt x="746" y="445"/>
                    <a:pt x="746" y="445"/>
                    <a:pt x="746" y="445"/>
                  </a:cubicBezTo>
                  <a:cubicBezTo>
                    <a:pt x="747" y="445"/>
                    <a:pt x="748" y="446"/>
                    <a:pt x="748" y="446"/>
                  </a:cubicBezTo>
                  <a:cubicBezTo>
                    <a:pt x="749" y="446"/>
                    <a:pt x="749" y="446"/>
                    <a:pt x="749" y="446"/>
                  </a:cubicBezTo>
                  <a:cubicBezTo>
                    <a:pt x="750" y="446"/>
                    <a:pt x="750" y="446"/>
                    <a:pt x="750" y="446"/>
                  </a:cubicBezTo>
                  <a:cubicBezTo>
                    <a:pt x="751" y="447"/>
                    <a:pt x="751" y="447"/>
                    <a:pt x="752" y="448"/>
                  </a:cubicBezTo>
                  <a:cubicBezTo>
                    <a:pt x="752" y="448"/>
                    <a:pt x="752" y="448"/>
                    <a:pt x="752" y="448"/>
                  </a:cubicBezTo>
                  <a:cubicBezTo>
                    <a:pt x="752" y="450"/>
                    <a:pt x="751" y="452"/>
                    <a:pt x="750" y="454"/>
                  </a:cubicBezTo>
                  <a:cubicBezTo>
                    <a:pt x="747" y="452"/>
                    <a:pt x="741" y="451"/>
                    <a:pt x="738" y="452"/>
                  </a:cubicBezTo>
                  <a:cubicBezTo>
                    <a:pt x="738" y="453"/>
                    <a:pt x="737" y="454"/>
                    <a:pt x="737" y="455"/>
                  </a:cubicBezTo>
                  <a:cubicBezTo>
                    <a:pt x="737" y="456"/>
                    <a:pt x="737" y="456"/>
                    <a:pt x="738" y="457"/>
                  </a:cubicBezTo>
                  <a:cubicBezTo>
                    <a:pt x="738" y="459"/>
                    <a:pt x="740" y="459"/>
                    <a:pt x="741" y="457"/>
                  </a:cubicBezTo>
                  <a:cubicBezTo>
                    <a:pt x="741" y="457"/>
                    <a:pt x="741" y="457"/>
                    <a:pt x="741" y="456"/>
                  </a:cubicBezTo>
                  <a:cubicBezTo>
                    <a:pt x="742" y="456"/>
                    <a:pt x="744" y="457"/>
                    <a:pt x="745" y="457"/>
                  </a:cubicBezTo>
                  <a:cubicBezTo>
                    <a:pt x="746" y="458"/>
                    <a:pt x="747" y="458"/>
                    <a:pt x="748" y="459"/>
                  </a:cubicBezTo>
                  <a:cubicBezTo>
                    <a:pt x="746" y="464"/>
                    <a:pt x="745" y="470"/>
                    <a:pt x="743" y="475"/>
                  </a:cubicBezTo>
                  <a:cubicBezTo>
                    <a:pt x="739" y="487"/>
                    <a:pt x="735" y="499"/>
                    <a:pt x="732" y="510"/>
                  </a:cubicBezTo>
                  <a:close/>
                  <a:moveTo>
                    <a:pt x="774" y="410"/>
                  </a:moveTo>
                  <a:cubicBezTo>
                    <a:pt x="774" y="410"/>
                    <a:pt x="774" y="410"/>
                    <a:pt x="774" y="410"/>
                  </a:cubicBezTo>
                  <a:cubicBezTo>
                    <a:pt x="775" y="407"/>
                    <a:pt x="776" y="404"/>
                    <a:pt x="777" y="401"/>
                  </a:cubicBezTo>
                  <a:cubicBezTo>
                    <a:pt x="778" y="401"/>
                    <a:pt x="779" y="400"/>
                    <a:pt x="780" y="400"/>
                  </a:cubicBezTo>
                  <a:cubicBezTo>
                    <a:pt x="783" y="398"/>
                    <a:pt x="786" y="396"/>
                    <a:pt x="788" y="394"/>
                  </a:cubicBezTo>
                  <a:cubicBezTo>
                    <a:pt x="793" y="390"/>
                    <a:pt x="797" y="385"/>
                    <a:pt x="803" y="382"/>
                  </a:cubicBezTo>
                  <a:cubicBezTo>
                    <a:pt x="808" y="380"/>
                    <a:pt x="813" y="378"/>
                    <a:pt x="818" y="376"/>
                  </a:cubicBezTo>
                  <a:cubicBezTo>
                    <a:pt x="821" y="378"/>
                    <a:pt x="825" y="380"/>
                    <a:pt x="828" y="382"/>
                  </a:cubicBezTo>
                  <a:cubicBezTo>
                    <a:pt x="834" y="385"/>
                    <a:pt x="838" y="388"/>
                    <a:pt x="844" y="390"/>
                  </a:cubicBezTo>
                  <a:cubicBezTo>
                    <a:pt x="845" y="391"/>
                    <a:pt x="846" y="392"/>
                    <a:pt x="848" y="393"/>
                  </a:cubicBezTo>
                  <a:cubicBezTo>
                    <a:pt x="849" y="393"/>
                    <a:pt x="850" y="394"/>
                    <a:pt x="851" y="395"/>
                  </a:cubicBezTo>
                  <a:cubicBezTo>
                    <a:pt x="852" y="396"/>
                    <a:pt x="852" y="397"/>
                    <a:pt x="852" y="397"/>
                  </a:cubicBezTo>
                  <a:cubicBezTo>
                    <a:pt x="850" y="398"/>
                    <a:pt x="848" y="399"/>
                    <a:pt x="845" y="399"/>
                  </a:cubicBezTo>
                  <a:cubicBezTo>
                    <a:pt x="841" y="401"/>
                    <a:pt x="838" y="403"/>
                    <a:pt x="834" y="404"/>
                  </a:cubicBezTo>
                  <a:cubicBezTo>
                    <a:pt x="827" y="407"/>
                    <a:pt x="819" y="410"/>
                    <a:pt x="812" y="414"/>
                  </a:cubicBezTo>
                  <a:cubicBezTo>
                    <a:pt x="796" y="421"/>
                    <a:pt x="782" y="429"/>
                    <a:pt x="769" y="440"/>
                  </a:cubicBezTo>
                  <a:cubicBezTo>
                    <a:pt x="766" y="442"/>
                    <a:pt x="763" y="445"/>
                    <a:pt x="761" y="447"/>
                  </a:cubicBezTo>
                  <a:cubicBezTo>
                    <a:pt x="765" y="435"/>
                    <a:pt x="769" y="422"/>
                    <a:pt x="774" y="410"/>
                  </a:cubicBezTo>
                  <a:close/>
                  <a:moveTo>
                    <a:pt x="757" y="458"/>
                  </a:moveTo>
                  <a:cubicBezTo>
                    <a:pt x="757" y="458"/>
                    <a:pt x="757" y="458"/>
                    <a:pt x="757" y="458"/>
                  </a:cubicBezTo>
                  <a:cubicBezTo>
                    <a:pt x="765" y="449"/>
                    <a:pt x="776" y="441"/>
                    <a:pt x="787" y="434"/>
                  </a:cubicBezTo>
                  <a:cubicBezTo>
                    <a:pt x="801" y="424"/>
                    <a:pt x="816" y="417"/>
                    <a:pt x="832" y="411"/>
                  </a:cubicBezTo>
                  <a:cubicBezTo>
                    <a:pt x="836" y="409"/>
                    <a:pt x="840" y="407"/>
                    <a:pt x="845" y="405"/>
                  </a:cubicBezTo>
                  <a:cubicBezTo>
                    <a:pt x="848" y="404"/>
                    <a:pt x="851" y="402"/>
                    <a:pt x="854" y="401"/>
                  </a:cubicBezTo>
                  <a:cubicBezTo>
                    <a:pt x="854" y="401"/>
                    <a:pt x="854" y="401"/>
                    <a:pt x="854" y="401"/>
                  </a:cubicBezTo>
                  <a:cubicBezTo>
                    <a:pt x="858" y="410"/>
                    <a:pt x="862" y="420"/>
                    <a:pt x="866" y="430"/>
                  </a:cubicBezTo>
                  <a:cubicBezTo>
                    <a:pt x="868" y="432"/>
                    <a:pt x="869" y="435"/>
                    <a:pt x="870" y="438"/>
                  </a:cubicBezTo>
                  <a:cubicBezTo>
                    <a:pt x="852" y="445"/>
                    <a:pt x="834" y="450"/>
                    <a:pt x="815" y="457"/>
                  </a:cubicBezTo>
                  <a:cubicBezTo>
                    <a:pt x="797" y="464"/>
                    <a:pt x="781" y="474"/>
                    <a:pt x="765" y="485"/>
                  </a:cubicBezTo>
                  <a:cubicBezTo>
                    <a:pt x="759" y="489"/>
                    <a:pt x="754" y="494"/>
                    <a:pt x="749" y="498"/>
                  </a:cubicBezTo>
                  <a:cubicBezTo>
                    <a:pt x="747" y="500"/>
                    <a:pt x="745" y="502"/>
                    <a:pt x="743" y="504"/>
                  </a:cubicBezTo>
                  <a:cubicBezTo>
                    <a:pt x="747" y="489"/>
                    <a:pt x="752" y="474"/>
                    <a:pt x="757" y="458"/>
                  </a:cubicBezTo>
                  <a:close/>
                  <a:moveTo>
                    <a:pt x="784" y="387"/>
                  </a:moveTo>
                  <a:cubicBezTo>
                    <a:pt x="784" y="387"/>
                    <a:pt x="784" y="387"/>
                    <a:pt x="784" y="387"/>
                  </a:cubicBezTo>
                  <a:cubicBezTo>
                    <a:pt x="785" y="385"/>
                    <a:pt x="786" y="384"/>
                    <a:pt x="786" y="382"/>
                  </a:cubicBezTo>
                  <a:cubicBezTo>
                    <a:pt x="790" y="382"/>
                    <a:pt x="795" y="379"/>
                    <a:pt x="799" y="377"/>
                  </a:cubicBezTo>
                  <a:cubicBezTo>
                    <a:pt x="802" y="376"/>
                    <a:pt x="804" y="376"/>
                    <a:pt x="807" y="375"/>
                  </a:cubicBezTo>
                  <a:cubicBezTo>
                    <a:pt x="805" y="376"/>
                    <a:pt x="803" y="377"/>
                    <a:pt x="801" y="378"/>
                  </a:cubicBezTo>
                  <a:cubicBezTo>
                    <a:pt x="795" y="380"/>
                    <a:pt x="791" y="385"/>
                    <a:pt x="786" y="389"/>
                  </a:cubicBezTo>
                  <a:cubicBezTo>
                    <a:pt x="785" y="391"/>
                    <a:pt x="783" y="392"/>
                    <a:pt x="781" y="394"/>
                  </a:cubicBezTo>
                  <a:cubicBezTo>
                    <a:pt x="782" y="391"/>
                    <a:pt x="783" y="389"/>
                    <a:pt x="784" y="387"/>
                  </a:cubicBezTo>
                  <a:close/>
                  <a:moveTo>
                    <a:pt x="764" y="417"/>
                  </a:moveTo>
                  <a:cubicBezTo>
                    <a:pt x="764" y="417"/>
                    <a:pt x="764" y="417"/>
                    <a:pt x="764" y="417"/>
                  </a:cubicBezTo>
                  <a:cubicBezTo>
                    <a:pt x="761" y="424"/>
                    <a:pt x="758" y="432"/>
                    <a:pt x="755" y="440"/>
                  </a:cubicBezTo>
                  <a:cubicBezTo>
                    <a:pt x="755" y="440"/>
                    <a:pt x="755" y="440"/>
                    <a:pt x="755" y="440"/>
                  </a:cubicBezTo>
                  <a:cubicBezTo>
                    <a:pt x="753" y="439"/>
                    <a:pt x="752" y="438"/>
                    <a:pt x="750" y="438"/>
                  </a:cubicBezTo>
                  <a:cubicBezTo>
                    <a:pt x="746" y="437"/>
                    <a:pt x="743" y="437"/>
                    <a:pt x="740" y="438"/>
                  </a:cubicBezTo>
                  <a:cubicBezTo>
                    <a:pt x="740" y="431"/>
                    <a:pt x="741" y="425"/>
                    <a:pt x="743" y="420"/>
                  </a:cubicBezTo>
                  <a:cubicBezTo>
                    <a:pt x="745" y="417"/>
                    <a:pt x="747" y="414"/>
                    <a:pt x="749" y="412"/>
                  </a:cubicBezTo>
                  <a:cubicBezTo>
                    <a:pt x="751" y="411"/>
                    <a:pt x="752" y="409"/>
                    <a:pt x="754" y="408"/>
                  </a:cubicBezTo>
                  <a:cubicBezTo>
                    <a:pt x="756" y="407"/>
                    <a:pt x="758" y="406"/>
                    <a:pt x="760" y="405"/>
                  </a:cubicBezTo>
                  <a:cubicBezTo>
                    <a:pt x="762" y="404"/>
                    <a:pt x="762" y="403"/>
                    <a:pt x="762" y="401"/>
                  </a:cubicBezTo>
                  <a:cubicBezTo>
                    <a:pt x="763" y="400"/>
                    <a:pt x="764" y="400"/>
                    <a:pt x="765" y="399"/>
                  </a:cubicBezTo>
                  <a:cubicBezTo>
                    <a:pt x="767" y="399"/>
                    <a:pt x="770" y="398"/>
                    <a:pt x="772" y="397"/>
                  </a:cubicBezTo>
                  <a:cubicBezTo>
                    <a:pt x="769" y="404"/>
                    <a:pt x="766" y="411"/>
                    <a:pt x="764" y="417"/>
                  </a:cubicBezTo>
                  <a:close/>
                  <a:moveTo>
                    <a:pt x="738" y="417"/>
                  </a:moveTo>
                  <a:cubicBezTo>
                    <a:pt x="738" y="417"/>
                    <a:pt x="738" y="417"/>
                    <a:pt x="738" y="417"/>
                  </a:cubicBezTo>
                  <a:cubicBezTo>
                    <a:pt x="735" y="424"/>
                    <a:pt x="734" y="432"/>
                    <a:pt x="735" y="440"/>
                  </a:cubicBezTo>
                  <a:cubicBezTo>
                    <a:pt x="731" y="443"/>
                    <a:pt x="727" y="446"/>
                    <a:pt x="724" y="450"/>
                  </a:cubicBezTo>
                  <a:cubicBezTo>
                    <a:pt x="721" y="455"/>
                    <a:pt x="718" y="459"/>
                    <a:pt x="716" y="464"/>
                  </a:cubicBezTo>
                  <a:cubicBezTo>
                    <a:pt x="716" y="465"/>
                    <a:pt x="716" y="465"/>
                    <a:pt x="716" y="465"/>
                  </a:cubicBezTo>
                  <a:cubicBezTo>
                    <a:pt x="714" y="457"/>
                    <a:pt x="713" y="450"/>
                    <a:pt x="711" y="442"/>
                  </a:cubicBezTo>
                  <a:cubicBezTo>
                    <a:pt x="713" y="441"/>
                    <a:pt x="714" y="440"/>
                    <a:pt x="714" y="439"/>
                  </a:cubicBezTo>
                  <a:cubicBezTo>
                    <a:pt x="717" y="437"/>
                    <a:pt x="719" y="434"/>
                    <a:pt x="722" y="431"/>
                  </a:cubicBezTo>
                  <a:cubicBezTo>
                    <a:pt x="726" y="426"/>
                    <a:pt x="731" y="420"/>
                    <a:pt x="736" y="416"/>
                  </a:cubicBezTo>
                  <a:cubicBezTo>
                    <a:pt x="737" y="416"/>
                    <a:pt x="738" y="415"/>
                    <a:pt x="739" y="414"/>
                  </a:cubicBezTo>
                  <a:cubicBezTo>
                    <a:pt x="738" y="415"/>
                    <a:pt x="738" y="416"/>
                    <a:pt x="738" y="417"/>
                  </a:cubicBezTo>
                  <a:close/>
                  <a:moveTo>
                    <a:pt x="714" y="365"/>
                  </a:moveTo>
                  <a:cubicBezTo>
                    <a:pt x="714" y="365"/>
                    <a:pt x="714" y="365"/>
                    <a:pt x="714" y="365"/>
                  </a:cubicBezTo>
                  <a:cubicBezTo>
                    <a:pt x="713" y="364"/>
                    <a:pt x="712" y="363"/>
                    <a:pt x="710" y="361"/>
                  </a:cubicBezTo>
                  <a:cubicBezTo>
                    <a:pt x="709" y="360"/>
                    <a:pt x="709" y="359"/>
                    <a:pt x="708" y="358"/>
                  </a:cubicBezTo>
                  <a:cubicBezTo>
                    <a:pt x="707" y="356"/>
                    <a:pt x="706" y="355"/>
                    <a:pt x="705" y="353"/>
                  </a:cubicBezTo>
                  <a:cubicBezTo>
                    <a:pt x="701" y="347"/>
                    <a:pt x="698" y="340"/>
                    <a:pt x="696" y="333"/>
                  </a:cubicBezTo>
                  <a:cubicBezTo>
                    <a:pt x="691" y="318"/>
                    <a:pt x="690" y="302"/>
                    <a:pt x="693" y="287"/>
                  </a:cubicBezTo>
                  <a:cubicBezTo>
                    <a:pt x="694" y="285"/>
                    <a:pt x="694" y="283"/>
                    <a:pt x="695" y="281"/>
                  </a:cubicBezTo>
                  <a:cubicBezTo>
                    <a:pt x="695" y="281"/>
                    <a:pt x="695" y="281"/>
                    <a:pt x="695" y="281"/>
                  </a:cubicBezTo>
                  <a:cubicBezTo>
                    <a:pt x="698" y="291"/>
                    <a:pt x="700" y="301"/>
                    <a:pt x="703" y="312"/>
                  </a:cubicBezTo>
                  <a:cubicBezTo>
                    <a:pt x="707" y="329"/>
                    <a:pt x="712" y="347"/>
                    <a:pt x="714" y="366"/>
                  </a:cubicBezTo>
                  <a:cubicBezTo>
                    <a:pt x="714" y="365"/>
                    <a:pt x="714" y="365"/>
                    <a:pt x="714" y="365"/>
                  </a:cubicBezTo>
                  <a:close/>
                  <a:moveTo>
                    <a:pt x="690" y="277"/>
                  </a:moveTo>
                  <a:cubicBezTo>
                    <a:pt x="690" y="277"/>
                    <a:pt x="690" y="277"/>
                    <a:pt x="690" y="277"/>
                  </a:cubicBezTo>
                  <a:cubicBezTo>
                    <a:pt x="689" y="280"/>
                    <a:pt x="689" y="282"/>
                    <a:pt x="688" y="283"/>
                  </a:cubicBezTo>
                  <a:cubicBezTo>
                    <a:pt x="687" y="287"/>
                    <a:pt x="686" y="291"/>
                    <a:pt x="686" y="294"/>
                  </a:cubicBezTo>
                  <a:cubicBezTo>
                    <a:pt x="685" y="299"/>
                    <a:pt x="685" y="303"/>
                    <a:pt x="685" y="308"/>
                  </a:cubicBezTo>
                  <a:cubicBezTo>
                    <a:pt x="682" y="299"/>
                    <a:pt x="680" y="291"/>
                    <a:pt x="678" y="282"/>
                  </a:cubicBezTo>
                  <a:cubicBezTo>
                    <a:pt x="674" y="270"/>
                    <a:pt x="671" y="258"/>
                    <a:pt x="669" y="247"/>
                  </a:cubicBezTo>
                  <a:cubicBezTo>
                    <a:pt x="668" y="243"/>
                    <a:pt x="668" y="240"/>
                    <a:pt x="667" y="237"/>
                  </a:cubicBezTo>
                  <a:cubicBezTo>
                    <a:pt x="671" y="241"/>
                    <a:pt x="675" y="245"/>
                    <a:pt x="679" y="250"/>
                  </a:cubicBezTo>
                  <a:cubicBezTo>
                    <a:pt x="683" y="255"/>
                    <a:pt x="687" y="261"/>
                    <a:pt x="689" y="267"/>
                  </a:cubicBezTo>
                  <a:cubicBezTo>
                    <a:pt x="691" y="269"/>
                    <a:pt x="692" y="271"/>
                    <a:pt x="692" y="273"/>
                  </a:cubicBezTo>
                  <a:cubicBezTo>
                    <a:pt x="691" y="274"/>
                    <a:pt x="690" y="276"/>
                    <a:pt x="690" y="277"/>
                  </a:cubicBezTo>
                  <a:close/>
                  <a:moveTo>
                    <a:pt x="664" y="200"/>
                  </a:moveTo>
                  <a:cubicBezTo>
                    <a:pt x="664" y="200"/>
                    <a:pt x="664" y="200"/>
                    <a:pt x="664" y="200"/>
                  </a:cubicBezTo>
                  <a:cubicBezTo>
                    <a:pt x="664" y="200"/>
                    <a:pt x="664" y="200"/>
                    <a:pt x="664" y="200"/>
                  </a:cubicBezTo>
                  <a:cubicBezTo>
                    <a:pt x="664" y="200"/>
                    <a:pt x="664" y="200"/>
                    <a:pt x="664" y="200"/>
                  </a:cubicBezTo>
                  <a:close/>
                  <a:moveTo>
                    <a:pt x="594" y="341"/>
                  </a:moveTo>
                  <a:cubicBezTo>
                    <a:pt x="594" y="341"/>
                    <a:pt x="594" y="341"/>
                    <a:pt x="594" y="341"/>
                  </a:cubicBezTo>
                  <a:cubicBezTo>
                    <a:pt x="599" y="342"/>
                    <a:pt x="605" y="343"/>
                    <a:pt x="610" y="343"/>
                  </a:cubicBezTo>
                  <a:cubicBezTo>
                    <a:pt x="610" y="344"/>
                    <a:pt x="609" y="345"/>
                    <a:pt x="609" y="346"/>
                  </a:cubicBezTo>
                  <a:cubicBezTo>
                    <a:pt x="608" y="348"/>
                    <a:pt x="608" y="350"/>
                    <a:pt x="607" y="351"/>
                  </a:cubicBezTo>
                  <a:cubicBezTo>
                    <a:pt x="605" y="350"/>
                    <a:pt x="602" y="349"/>
                    <a:pt x="600" y="349"/>
                  </a:cubicBezTo>
                  <a:cubicBezTo>
                    <a:pt x="597" y="348"/>
                    <a:pt x="596" y="352"/>
                    <a:pt x="599" y="353"/>
                  </a:cubicBezTo>
                  <a:cubicBezTo>
                    <a:pt x="601" y="354"/>
                    <a:pt x="604" y="355"/>
                    <a:pt x="606" y="355"/>
                  </a:cubicBezTo>
                  <a:cubicBezTo>
                    <a:pt x="606" y="356"/>
                    <a:pt x="606" y="357"/>
                    <a:pt x="606" y="357"/>
                  </a:cubicBezTo>
                  <a:cubicBezTo>
                    <a:pt x="606" y="361"/>
                    <a:pt x="605" y="365"/>
                    <a:pt x="605" y="369"/>
                  </a:cubicBezTo>
                  <a:cubicBezTo>
                    <a:pt x="605" y="371"/>
                    <a:pt x="606" y="373"/>
                    <a:pt x="606" y="375"/>
                  </a:cubicBezTo>
                  <a:cubicBezTo>
                    <a:pt x="602" y="375"/>
                    <a:pt x="599" y="376"/>
                    <a:pt x="595" y="376"/>
                  </a:cubicBezTo>
                  <a:cubicBezTo>
                    <a:pt x="592" y="377"/>
                    <a:pt x="591" y="377"/>
                    <a:pt x="588" y="377"/>
                  </a:cubicBezTo>
                  <a:cubicBezTo>
                    <a:pt x="588" y="375"/>
                    <a:pt x="587" y="373"/>
                    <a:pt x="587" y="370"/>
                  </a:cubicBezTo>
                  <a:cubicBezTo>
                    <a:pt x="585" y="367"/>
                    <a:pt x="584" y="363"/>
                    <a:pt x="582" y="360"/>
                  </a:cubicBezTo>
                  <a:cubicBezTo>
                    <a:pt x="584" y="359"/>
                    <a:pt x="586" y="357"/>
                    <a:pt x="588" y="355"/>
                  </a:cubicBezTo>
                  <a:cubicBezTo>
                    <a:pt x="591" y="351"/>
                    <a:pt x="594" y="346"/>
                    <a:pt x="594" y="341"/>
                  </a:cubicBezTo>
                  <a:close/>
                  <a:moveTo>
                    <a:pt x="495" y="353"/>
                  </a:moveTo>
                  <a:cubicBezTo>
                    <a:pt x="495" y="353"/>
                    <a:pt x="495" y="353"/>
                    <a:pt x="495" y="353"/>
                  </a:cubicBezTo>
                  <a:cubicBezTo>
                    <a:pt x="505" y="352"/>
                    <a:pt x="515" y="352"/>
                    <a:pt x="525" y="352"/>
                  </a:cubicBezTo>
                  <a:cubicBezTo>
                    <a:pt x="533" y="352"/>
                    <a:pt x="542" y="354"/>
                    <a:pt x="550" y="356"/>
                  </a:cubicBezTo>
                  <a:cubicBezTo>
                    <a:pt x="558" y="359"/>
                    <a:pt x="565" y="361"/>
                    <a:pt x="573" y="362"/>
                  </a:cubicBezTo>
                  <a:cubicBezTo>
                    <a:pt x="575" y="365"/>
                    <a:pt x="576" y="368"/>
                    <a:pt x="578" y="372"/>
                  </a:cubicBezTo>
                  <a:cubicBezTo>
                    <a:pt x="578" y="374"/>
                    <a:pt x="579" y="376"/>
                    <a:pt x="579" y="378"/>
                  </a:cubicBezTo>
                  <a:cubicBezTo>
                    <a:pt x="572" y="379"/>
                    <a:pt x="565" y="380"/>
                    <a:pt x="558" y="382"/>
                  </a:cubicBezTo>
                  <a:cubicBezTo>
                    <a:pt x="558" y="382"/>
                    <a:pt x="557" y="382"/>
                    <a:pt x="557" y="382"/>
                  </a:cubicBezTo>
                  <a:cubicBezTo>
                    <a:pt x="554" y="382"/>
                    <a:pt x="552" y="381"/>
                    <a:pt x="549" y="381"/>
                  </a:cubicBezTo>
                  <a:cubicBezTo>
                    <a:pt x="544" y="381"/>
                    <a:pt x="540" y="380"/>
                    <a:pt x="535" y="380"/>
                  </a:cubicBezTo>
                  <a:cubicBezTo>
                    <a:pt x="528" y="380"/>
                    <a:pt x="521" y="380"/>
                    <a:pt x="514" y="381"/>
                  </a:cubicBezTo>
                  <a:cubicBezTo>
                    <a:pt x="517" y="377"/>
                    <a:pt x="516" y="371"/>
                    <a:pt x="512" y="369"/>
                  </a:cubicBezTo>
                  <a:cubicBezTo>
                    <a:pt x="502" y="364"/>
                    <a:pt x="492" y="359"/>
                    <a:pt x="481" y="355"/>
                  </a:cubicBezTo>
                  <a:cubicBezTo>
                    <a:pt x="486" y="354"/>
                    <a:pt x="491" y="354"/>
                    <a:pt x="495" y="353"/>
                  </a:cubicBezTo>
                  <a:close/>
                  <a:moveTo>
                    <a:pt x="486" y="389"/>
                  </a:moveTo>
                  <a:cubicBezTo>
                    <a:pt x="486" y="389"/>
                    <a:pt x="486" y="389"/>
                    <a:pt x="486" y="389"/>
                  </a:cubicBezTo>
                  <a:cubicBezTo>
                    <a:pt x="486" y="389"/>
                    <a:pt x="486" y="389"/>
                    <a:pt x="486" y="389"/>
                  </a:cubicBezTo>
                  <a:cubicBezTo>
                    <a:pt x="506" y="386"/>
                    <a:pt x="526" y="385"/>
                    <a:pt x="546" y="386"/>
                  </a:cubicBezTo>
                  <a:cubicBezTo>
                    <a:pt x="546" y="387"/>
                    <a:pt x="547" y="387"/>
                    <a:pt x="547" y="387"/>
                  </a:cubicBezTo>
                  <a:cubicBezTo>
                    <a:pt x="544" y="388"/>
                    <a:pt x="541" y="390"/>
                    <a:pt x="539" y="392"/>
                  </a:cubicBezTo>
                  <a:cubicBezTo>
                    <a:pt x="534" y="395"/>
                    <a:pt x="530" y="400"/>
                    <a:pt x="527" y="405"/>
                  </a:cubicBezTo>
                  <a:cubicBezTo>
                    <a:pt x="509" y="403"/>
                    <a:pt x="491" y="405"/>
                    <a:pt x="472" y="407"/>
                  </a:cubicBezTo>
                  <a:cubicBezTo>
                    <a:pt x="463" y="409"/>
                    <a:pt x="453" y="409"/>
                    <a:pt x="444" y="412"/>
                  </a:cubicBezTo>
                  <a:cubicBezTo>
                    <a:pt x="435" y="415"/>
                    <a:pt x="426" y="420"/>
                    <a:pt x="418" y="426"/>
                  </a:cubicBezTo>
                  <a:cubicBezTo>
                    <a:pt x="418" y="426"/>
                    <a:pt x="417" y="427"/>
                    <a:pt x="416" y="427"/>
                  </a:cubicBezTo>
                  <a:cubicBezTo>
                    <a:pt x="416" y="427"/>
                    <a:pt x="416" y="427"/>
                    <a:pt x="416" y="427"/>
                  </a:cubicBezTo>
                  <a:cubicBezTo>
                    <a:pt x="416" y="424"/>
                    <a:pt x="416" y="420"/>
                    <a:pt x="417" y="416"/>
                  </a:cubicBezTo>
                  <a:cubicBezTo>
                    <a:pt x="417" y="416"/>
                    <a:pt x="417" y="415"/>
                    <a:pt x="417" y="415"/>
                  </a:cubicBezTo>
                  <a:cubicBezTo>
                    <a:pt x="439" y="405"/>
                    <a:pt x="462" y="395"/>
                    <a:pt x="486" y="389"/>
                  </a:cubicBezTo>
                  <a:close/>
                  <a:moveTo>
                    <a:pt x="409" y="427"/>
                  </a:moveTo>
                  <a:cubicBezTo>
                    <a:pt x="409" y="427"/>
                    <a:pt x="409" y="427"/>
                    <a:pt x="409" y="427"/>
                  </a:cubicBezTo>
                  <a:cubicBezTo>
                    <a:pt x="408" y="429"/>
                    <a:pt x="408" y="430"/>
                    <a:pt x="408" y="432"/>
                  </a:cubicBezTo>
                  <a:cubicBezTo>
                    <a:pt x="407" y="433"/>
                    <a:pt x="406" y="433"/>
                    <a:pt x="405" y="434"/>
                  </a:cubicBezTo>
                  <a:cubicBezTo>
                    <a:pt x="403" y="434"/>
                    <a:pt x="401" y="435"/>
                    <a:pt x="399" y="435"/>
                  </a:cubicBezTo>
                  <a:cubicBezTo>
                    <a:pt x="395" y="436"/>
                    <a:pt x="392" y="437"/>
                    <a:pt x="388" y="439"/>
                  </a:cubicBezTo>
                  <a:cubicBezTo>
                    <a:pt x="381" y="442"/>
                    <a:pt x="374" y="445"/>
                    <a:pt x="368" y="449"/>
                  </a:cubicBezTo>
                  <a:cubicBezTo>
                    <a:pt x="355" y="457"/>
                    <a:pt x="344" y="468"/>
                    <a:pt x="336" y="480"/>
                  </a:cubicBezTo>
                  <a:cubicBezTo>
                    <a:pt x="333" y="483"/>
                    <a:pt x="330" y="487"/>
                    <a:pt x="328" y="491"/>
                  </a:cubicBezTo>
                  <a:cubicBezTo>
                    <a:pt x="326" y="493"/>
                    <a:pt x="325" y="495"/>
                    <a:pt x="324" y="497"/>
                  </a:cubicBezTo>
                  <a:cubicBezTo>
                    <a:pt x="324" y="498"/>
                    <a:pt x="323" y="499"/>
                    <a:pt x="323" y="500"/>
                  </a:cubicBezTo>
                  <a:cubicBezTo>
                    <a:pt x="322" y="500"/>
                    <a:pt x="321" y="499"/>
                    <a:pt x="321" y="499"/>
                  </a:cubicBezTo>
                  <a:cubicBezTo>
                    <a:pt x="321" y="497"/>
                    <a:pt x="322" y="495"/>
                    <a:pt x="322" y="493"/>
                  </a:cubicBezTo>
                  <a:cubicBezTo>
                    <a:pt x="323" y="493"/>
                    <a:pt x="323" y="492"/>
                    <a:pt x="323" y="492"/>
                  </a:cubicBezTo>
                  <a:cubicBezTo>
                    <a:pt x="323" y="491"/>
                    <a:pt x="323" y="491"/>
                    <a:pt x="323" y="491"/>
                  </a:cubicBezTo>
                  <a:cubicBezTo>
                    <a:pt x="323" y="490"/>
                    <a:pt x="323" y="490"/>
                    <a:pt x="323" y="490"/>
                  </a:cubicBezTo>
                  <a:cubicBezTo>
                    <a:pt x="323" y="490"/>
                    <a:pt x="323" y="490"/>
                    <a:pt x="323" y="490"/>
                  </a:cubicBezTo>
                  <a:cubicBezTo>
                    <a:pt x="324" y="489"/>
                    <a:pt x="325" y="487"/>
                    <a:pt x="325" y="486"/>
                  </a:cubicBezTo>
                  <a:cubicBezTo>
                    <a:pt x="329" y="480"/>
                    <a:pt x="332" y="474"/>
                    <a:pt x="336" y="468"/>
                  </a:cubicBezTo>
                  <a:cubicBezTo>
                    <a:pt x="338" y="465"/>
                    <a:pt x="340" y="463"/>
                    <a:pt x="342" y="460"/>
                  </a:cubicBezTo>
                  <a:cubicBezTo>
                    <a:pt x="344" y="457"/>
                    <a:pt x="346" y="455"/>
                    <a:pt x="349" y="453"/>
                  </a:cubicBezTo>
                  <a:cubicBezTo>
                    <a:pt x="350" y="452"/>
                    <a:pt x="351" y="451"/>
                    <a:pt x="352" y="450"/>
                  </a:cubicBezTo>
                  <a:cubicBezTo>
                    <a:pt x="352" y="450"/>
                    <a:pt x="352" y="450"/>
                    <a:pt x="352" y="450"/>
                  </a:cubicBezTo>
                  <a:cubicBezTo>
                    <a:pt x="352" y="450"/>
                    <a:pt x="352" y="450"/>
                    <a:pt x="352" y="450"/>
                  </a:cubicBezTo>
                  <a:cubicBezTo>
                    <a:pt x="353" y="449"/>
                    <a:pt x="353" y="449"/>
                    <a:pt x="353" y="449"/>
                  </a:cubicBezTo>
                  <a:cubicBezTo>
                    <a:pt x="354" y="449"/>
                    <a:pt x="354" y="448"/>
                    <a:pt x="355" y="448"/>
                  </a:cubicBezTo>
                  <a:cubicBezTo>
                    <a:pt x="356" y="447"/>
                    <a:pt x="357" y="446"/>
                    <a:pt x="358" y="446"/>
                  </a:cubicBezTo>
                  <a:cubicBezTo>
                    <a:pt x="359" y="446"/>
                    <a:pt x="359" y="446"/>
                    <a:pt x="359" y="446"/>
                  </a:cubicBezTo>
                  <a:cubicBezTo>
                    <a:pt x="359" y="446"/>
                    <a:pt x="359" y="445"/>
                    <a:pt x="360" y="445"/>
                  </a:cubicBezTo>
                  <a:cubicBezTo>
                    <a:pt x="360" y="445"/>
                    <a:pt x="361" y="445"/>
                    <a:pt x="360" y="445"/>
                  </a:cubicBezTo>
                  <a:cubicBezTo>
                    <a:pt x="360" y="445"/>
                    <a:pt x="362" y="444"/>
                    <a:pt x="361" y="444"/>
                  </a:cubicBezTo>
                  <a:cubicBezTo>
                    <a:pt x="362" y="444"/>
                    <a:pt x="362" y="444"/>
                    <a:pt x="362" y="444"/>
                  </a:cubicBezTo>
                  <a:cubicBezTo>
                    <a:pt x="362" y="444"/>
                    <a:pt x="363" y="444"/>
                    <a:pt x="363" y="443"/>
                  </a:cubicBezTo>
                  <a:cubicBezTo>
                    <a:pt x="378" y="435"/>
                    <a:pt x="393" y="426"/>
                    <a:pt x="409" y="418"/>
                  </a:cubicBezTo>
                  <a:cubicBezTo>
                    <a:pt x="409" y="421"/>
                    <a:pt x="409" y="424"/>
                    <a:pt x="409" y="427"/>
                  </a:cubicBezTo>
                  <a:close/>
                  <a:moveTo>
                    <a:pt x="320" y="478"/>
                  </a:moveTo>
                  <a:cubicBezTo>
                    <a:pt x="320" y="478"/>
                    <a:pt x="320" y="478"/>
                    <a:pt x="320" y="478"/>
                  </a:cubicBezTo>
                  <a:cubicBezTo>
                    <a:pt x="318" y="484"/>
                    <a:pt x="315" y="489"/>
                    <a:pt x="314" y="495"/>
                  </a:cubicBezTo>
                  <a:cubicBezTo>
                    <a:pt x="313" y="497"/>
                    <a:pt x="313" y="498"/>
                    <a:pt x="313" y="499"/>
                  </a:cubicBezTo>
                  <a:cubicBezTo>
                    <a:pt x="313" y="499"/>
                    <a:pt x="313" y="499"/>
                    <a:pt x="313" y="499"/>
                  </a:cubicBezTo>
                  <a:cubicBezTo>
                    <a:pt x="312" y="499"/>
                    <a:pt x="310" y="500"/>
                    <a:pt x="309" y="500"/>
                  </a:cubicBezTo>
                  <a:cubicBezTo>
                    <a:pt x="307" y="501"/>
                    <a:pt x="305" y="504"/>
                    <a:pt x="305" y="507"/>
                  </a:cubicBezTo>
                  <a:cubicBezTo>
                    <a:pt x="306" y="507"/>
                    <a:pt x="306" y="507"/>
                    <a:pt x="306" y="507"/>
                  </a:cubicBezTo>
                  <a:cubicBezTo>
                    <a:pt x="305" y="508"/>
                    <a:pt x="305" y="509"/>
                    <a:pt x="305" y="510"/>
                  </a:cubicBezTo>
                  <a:cubicBezTo>
                    <a:pt x="304" y="513"/>
                    <a:pt x="305" y="515"/>
                    <a:pt x="306" y="518"/>
                  </a:cubicBezTo>
                  <a:cubicBezTo>
                    <a:pt x="308" y="522"/>
                    <a:pt x="312" y="525"/>
                    <a:pt x="316" y="526"/>
                  </a:cubicBezTo>
                  <a:cubicBezTo>
                    <a:pt x="316" y="534"/>
                    <a:pt x="317" y="542"/>
                    <a:pt x="319" y="549"/>
                  </a:cubicBezTo>
                  <a:cubicBezTo>
                    <a:pt x="321" y="556"/>
                    <a:pt x="323" y="564"/>
                    <a:pt x="326" y="571"/>
                  </a:cubicBezTo>
                  <a:cubicBezTo>
                    <a:pt x="327" y="573"/>
                    <a:pt x="328" y="575"/>
                    <a:pt x="329" y="577"/>
                  </a:cubicBezTo>
                  <a:cubicBezTo>
                    <a:pt x="328" y="577"/>
                    <a:pt x="328" y="578"/>
                    <a:pt x="327" y="578"/>
                  </a:cubicBezTo>
                  <a:cubicBezTo>
                    <a:pt x="326" y="578"/>
                    <a:pt x="326" y="579"/>
                    <a:pt x="325" y="579"/>
                  </a:cubicBezTo>
                  <a:cubicBezTo>
                    <a:pt x="325" y="579"/>
                    <a:pt x="324" y="579"/>
                    <a:pt x="324" y="579"/>
                  </a:cubicBezTo>
                  <a:cubicBezTo>
                    <a:pt x="323" y="579"/>
                    <a:pt x="323" y="579"/>
                    <a:pt x="323" y="579"/>
                  </a:cubicBezTo>
                  <a:cubicBezTo>
                    <a:pt x="323" y="579"/>
                    <a:pt x="323" y="579"/>
                    <a:pt x="323" y="579"/>
                  </a:cubicBezTo>
                  <a:cubicBezTo>
                    <a:pt x="319" y="580"/>
                    <a:pt x="316" y="579"/>
                    <a:pt x="312" y="578"/>
                  </a:cubicBezTo>
                  <a:cubicBezTo>
                    <a:pt x="305" y="576"/>
                    <a:pt x="298" y="572"/>
                    <a:pt x="293" y="567"/>
                  </a:cubicBezTo>
                  <a:cubicBezTo>
                    <a:pt x="286" y="561"/>
                    <a:pt x="281" y="554"/>
                    <a:pt x="277" y="547"/>
                  </a:cubicBezTo>
                  <a:cubicBezTo>
                    <a:pt x="275" y="544"/>
                    <a:pt x="274" y="540"/>
                    <a:pt x="273" y="536"/>
                  </a:cubicBezTo>
                  <a:cubicBezTo>
                    <a:pt x="273" y="535"/>
                    <a:pt x="273" y="534"/>
                    <a:pt x="272" y="532"/>
                  </a:cubicBezTo>
                  <a:cubicBezTo>
                    <a:pt x="272" y="532"/>
                    <a:pt x="272" y="531"/>
                    <a:pt x="272" y="531"/>
                  </a:cubicBezTo>
                  <a:cubicBezTo>
                    <a:pt x="272" y="531"/>
                    <a:pt x="272" y="530"/>
                    <a:pt x="272" y="530"/>
                  </a:cubicBezTo>
                  <a:cubicBezTo>
                    <a:pt x="272" y="525"/>
                    <a:pt x="271" y="522"/>
                    <a:pt x="271" y="518"/>
                  </a:cubicBezTo>
                  <a:cubicBezTo>
                    <a:pt x="271" y="514"/>
                    <a:pt x="272" y="509"/>
                    <a:pt x="272" y="505"/>
                  </a:cubicBezTo>
                  <a:cubicBezTo>
                    <a:pt x="273" y="503"/>
                    <a:pt x="273" y="501"/>
                    <a:pt x="274" y="499"/>
                  </a:cubicBezTo>
                  <a:cubicBezTo>
                    <a:pt x="274" y="498"/>
                    <a:pt x="274" y="497"/>
                    <a:pt x="275" y="496"/>
                  </a:cubicBezTo>
                  <a:cubicBezTo>
                    <a:pt x="275" y="495"/>
                    <a:pt x="275" y="495"/>
                    <a:pt x="275" y="494"/>
                  </a:cubicBezTo>
                  <a:cubicBezTo>
                    <a:pt x="275" y="494"/>
                    <a:pt x="275" y="494"/>
                    <a:pt x="275" y="494"/>
                  </a:cubicBezTo>
                  <a:cubicBezTo>
                    <a:pt x="275" y="494"/>
                    <a:pt x="275" y="494"/>
                    <a:pt x="275" y="493"/>
                  </a:cubicBezTo>
                  <a:cubicBezTo>
                    <a:pt x="276" y="493"/>
                    <a:pt x="276" y="493"/>
                    <a:pt x="276" y="493"/>
                  </a:cubicBezTo>
                  <a:cubicBezTo>
                    <a:pt x="294" y="482"/>
                    <a:pt x="313" y="471"/>
                    <a:pt x="331" y="461"/>
                  </a:cubicBezTo>
                  <a:cubicBezTo>
                    <a:pt x="327" y="467"/>
                    <a:pt x="323" y="472"/>
                    <a:pt x="320" y="478"/>
                  </a:cubicBezTo>
                  <a:close/>
                  <a:moveTo>
                    <a:pt x="265" y="530"/>
                  </a:moveTo>
                  <a:cubicBezTo>
                    <a:pt x="265" y="530"/>
                    <a:pt x="265" y="530"/>
                    <a:pt x="265" y="530"/>
                  </a:cubicBezTo>
                  <a:cubicBezTo>
                    <a:pt x="266" y="537"/>
                    <a:pt x="267" y="544"/>
                    <a:pt x="270" y="550"/>
                  </a:cubicBezTo>
                  <a:cubicBezTo>
                    <a:pt x="272" y="554"/>
                    <a:pt x="275" y="558"/>
                    <a:pt x="277" y="562"/>
                  </a:cubicBezTo>
                  <a:cubicBezTo>
                    <a:pt x="277" y="563"/>
                    <a:pt x="277" y="564"/>
                    <a:pt x="277" y="564"/>
                  </a:cubicBezTo>
                  <a:cubicBezTo>
                    <a:pt x="277" y="567"/>
                    <a:pt x="276" y="570"/>
                    <a:pt x="275" y="573"/>
                  </a:cubicBezTo>
                  <a:cubicBezTo>
                    <a:pt x="274" y="575"/>
                    <a:pt x="272" y="577"/>
                    <a:pt x="270" y="580"/>
                  </a:cubicBezTo>
                  <a:cubicBezTo>
                    <a:pt x="269" y="581"/>
                    <a:pt x="269" y="581"/>
                    <a:pt x="267" y="582"/>
                  </a:cubicBezTo>
                  <a:cubicBezTo>
                    <a:pt x="266" y="583"/>
                    <a:pt x="265" y="583"/>
                    <a:pt x="264" y="584"/>
                  </a:cubicBezTo>
                  <a:cubicBezTo>
                    <a:pt x="262" y="583"/>
                    <a:pt x="260" y="581"/>
                    <a:pt x="257" y="579"/>
                  </a:cubicBezTo>
                  <a:cubicBezTo>
                    <a:pt x="253" y="576"/>
                    <a:pt x="248" y="574"/>
                    <a:pt x="244" y="571"/>
                  </a:cubicBezTo>
                  <a:cubicBezTo>
                    <a:pt x="242" y="569"/>
                    <a:pt x="241" y="568"/>
                    <a:pt x="239" y="567"/>
                  </a:cubicBezTo>
                  <a:cubicBezTo>
                    <a:pt x="239" y="567"/>
                    <a:pt x="238" y="567"/>
                    <a:pt x="238" y="567"/>
                  </a:cubicBezTo>
                  <a:cubicBezTo>
                    <a:pt x="230" y="562"/>
                    <a:pt x="222" y="558"/>
                    <a:pt x="214" y="553"/>
                  </a:cubicBezTo>
                  <a:cubicBezTo>
                    <a:pt x="214" y="550"/>
                    <a:pt x="214" y="546"/>
                    <a:pt x="215" y="543"/>
                  </a:cubicBezTo>
                  <a:cubicBezTo>
                    <a:pt x="215" y="540"/>
                    <a:pt x="216" y="537"/>
                    <a:pt x="217" y="534"/>
                  </a:cubicBezTo>
                  <a:cubicBezTo>
                    <a:pt x="233" y="521"/>
                    <a:pt x="249" y="510"/>
                    <a:pt x="267" y="499"/>
                  </a:cubicBezTo>
                  <a:cubicBezTo>
                    <a:pt x="266" y="503"/>
                    <a:pt x="265" y="508"/>
                    <a:pt x="265" y="513"/>
                  </a:cubicBezTo>
                  <a:cubicBezTo>
                    <a:pt x="264" y="518"/>
                    <a:pt x="264" y="524"/>
                    <a:pt x="265" y="530"/>
                  </a:cubicBezTo>
                  <a:close/>
                  <a:moveTo>
                    <a:pt x="208" y="549"/>
                  </a:moveTo>
                  <a:cubicBezTo>
                    <a:pt x="208" y="549"/>
                    <a:pt x="208" y="549"/>
                    <a:pt x="208" y="549"/>
                  </a:cubicBezTo>
                  <a:cubicBezTo>
                    <a:pt x="207" y="549"/>
                    <a:pt x="206" y="548"/>
                    <a:pt x="205" y="548"/>
                  </a:cubicBezTo>
                  <a:cubicBezTo>
                    <a:pt x="204" y="547"/>
                    <a:pt x="203" y="547"/>
                    <a:pt x="202" y="546"/>
                  </a:cubicBezTo>
                  <a:cubicBezTo>
                    <a:pt x="204" y="545"/>
                    <a:pt x="207" y="543"/>
                    <a:pt x="209" y="541"/>
                  </a:cubicBezTo>
                  <a:cubicBezTo>
                    <a:pt x="208" y="544"/>
                    <a:pt x="208" y="547"/>
                    <a:pt x="208" y="549"/>
                  </a:cubicBezTo>
                  <a:close/>
                  <a:moveTo>
                    <a:pt x="253" y="780"/>
                  </a:moveTo>
                  <a:cubicBezTo>
                    <a:pt x="253" y="780"/>
                    <a:pt x="253" y="780"/>
                    <a:pt x="253" y="780"/>
                  </a:cubicBezTo>
                  <a:cubicBezTo>
                    <a:pt x="253" y="780"/>
                    <a:pt x="253" y="781"/>
                    <a:pt x="253" y="781"/>
                  </a:cubicBezTo>
                  <a:cubicBezTo>
                    <a:pt x="250" y="781"/>
                    <a:pt x="247" y="782"/>
                    <a:pt x="244" y="782"/>
                  </a:cubicBezTo>
                  <a:cubicBezTo>
                    <a:pt x="238" y="783"/>
                    <a:pt x="232" y="784"/>
                    <a:pt x="226" y="784"/>
                  </a:cubicBezTo>
                  <a:cubicBezTo>
                    <a:pt x="227" y="777"/>
                    <a:pt x="228" y="770"/>
                    <a:pt x="228" y="762"/>
                  </a:cubicBezTo>
                  <a:cubicBezTo>
                    <a:pt x="229" y="753"/>
                    <a:pt x="228" y="744"/>
                    <a:pt x="227" y="735"/>
                  </a:cubicBezTo>
                  <a:cubicBezTo>
                    <a:pt x="227" y="726"/>
                    <a:pt x="226" y="717"/>
                    <a:pt x="224" y="707"/>
                  </a:cubicBezTo>
                  <a:cubicBezTo>
                    <a:pt x="223" y="697"/>
                    <a:pt x="221" y="687"/>
                    <a:pt x="218" y="676"/>
                  </a:cubicBezTo>
                  <a:cubicBezTo>
                    <a:pt x="214" y="658"/>
                    <a:pt x="208" y="640"/>
                    <a:pt x="202" y="623"/>
                  </a:cubicBezTo>
                  <a:cubicBezTo>
                    <a:pt x="202" y="616"/>
                    <a:pt x="202" y="610"/>
                    <a:pt x="201" y="603"/>
                  </a:cubicBezTo>
                  <a:cubicBezTo>
                    <a:pt x="200" y="587"/>
                    <a:pt x="196" y="572"/>
                    <a:pt x="190" y="558"/>
                  </a:cubicBezTo>
                  <a:cubicBezTo>
                    <a:pt x="191" y="557"/>
                    <a:pt x="193" y="556"/>
                    <a:pt x="194" y="554"/>
                  </a:cubicBezTo>
                  <a:cubicBezTo>
                    <a:pt x="194" y="554"/>
                    <a:pt x="195" y="554"/>
                    <a:pt x="195" y="553"/>
                  </a:cubicBezTo>
                  <a:cubicBezTo>
                    <a:pt x="196" y="554"/>
                    <a:pt x="196" y="555"/>
                    <a:pt x="196" y="555"/>
                  </a:cubicBezTo>
                  <a:cubicBezTo>
                    <a:pt x="199" y="559"/>
                    <a:pt x="201" y="563"/>
                    <a:pt x="204" y="566"/>
                  </a:cubicBezTo>
                  <a:cubicBezTo>
                    <a:pt x="208" y="573"/>
                    <a:pt x="212" y="581"/>
                    <a:pt x="216" y="589"/>
                  </a:cubicBezTo>
                  <a:cubicBezTo>
                    <a:pt x="223" y="605"/>
                    <a:pt x="229" y="621"/>
                    <a:pt x="235" y="637"/>
                  </a:cubicBezTo>
                  <a:cubicBezTo>
                    <a:pt x="248" y="677"/>
                    <a:pt x="253" y="719"/>
                    <a:pt x="255" y="761"/>
                  </a:cubicBezTo>
                  <a:cubicBezTo>
                    <a:pt x="255" y="767"/>
                    <a:pt x="255" y="773"/>
                    <a:pt x="253" y="780"/>
                  </a:cubicBezTo>
                  <a:close/>
                  <a:moveTo>
                    <a:pt x="164" y="537"/>
                  </a:moveTo>
                  <a:cubicBezTo>
                    <a:pt x="164" y="537"/>
                    <a:pt x="164" y="537"/>
                    <a:pt x="164" y="537"/>
                  </a:cubicBezTo>
                  <a:cubicBezTo>
                    <a:pt x="164" y="537"/>
                    <a:pt x="164" y="537"/>
                    <a:pt x="164" y="537"/>
                  </a:cubicBezTo>
                  <a:cubicBezTo>
                    <a:pt x="164" y="537"/>
                    <a:pt x="164" y="537"/>
                    <a:pt x="164" y="537"/>
                  </a:cubicBezTo>
                  <a:cubicBezTo>
                    <a:pt x="164" y="537"/>
                    <a:pt x="164" y="537"/>
                    <a:pt x="164" y="537"/>
                  </a:cubicBezTo>
                  <a:close/>
                  <a:moveTo>
                    <a:pt x="252" y="815"/>
                  </a:moveTo>
                  <a:cubicBezTo>
                    <a:pt x="252" y="815"/>
                    <a:pt x="252" y="815"/>
                    <a:pt x="252" y="815"/>
                  </a:cubicBezTo>
                  <a:cubicBezTo>
                    <a:pt x="250" y="813"/>
                    <a:pt x="249" y="812"/>
                    <a:pt x="247" y="811"/>
                  </a:cubicBezTo>
                  <a:cubicBezTo>
                    <a:pt x="243" y="807"/>
                    <a:pt x="239" y="804"/>
                    <a:pt x="234" y="801"/>
                  </a:cubicBezTo>
                  <a:cubicBezTo>
                    <a:pt x="241" y="801"/>
                    <a:pt x="246" y="801"/>
                    <a:pt x="253" y="801"/>
                  </a:cubicBezTo>
                  <a:cubicBezTo>
                    <a:pt x="256" y="801"/>
                    <a:pt x="260" y="802"/>
                    <a:pt x="264" y="802"/>
                  </a:cubicBezTo>
                  <a:cubicBezTo>
                    <a:pt x="260" y="806"/>
                    <a:pt x="256" y="811"/>
                    <a:pt x="252" y="815"/>
                  </a:cubicBezTo>
                  <a:close/>
                  <a:moveTo>
                    <a:pt x="291" y="776"/>
                  </a:moveTo>
                  <a:cubicBezTo>
                    <a:pt x="291" y="776"/>
                    <a:pt x="291" y="776"/>
                    <a:pt x="291" y="776"/>
                  </a:cubicBezTo>
                  <a:cubicBezTo>
                    <a:pt x="291" y="776"/>
                    <a:pt x="291" y="776"/>
                    <a:pt x="290" y="776"/>
                  </a:cubicBezTo>
                  <a:cubicBezTo>
                    <a:pt x="285" y="777"/>
                    <a:pt x="280" y="778"/>
                    <a:pt x="275" y="779"/>
                  </a:cubicBezTo>
                  <a:cubicBezTo>
                    <a:pt x="270" y="779"/>
                    <a:pt x="264" y="780"/>
                    <a:pt x="259" y="781"/>
                  </a:cubicBezTo>
                  <a:cubicBezTo>
                    <a:pt x="261" y="770"/>
                    <a:pt x="260" y="759"/>
                    <a:pt x="259" y="749"/>
                  </a:cubicBezTo>
                  <a:cubicBezTo>
                    <a:pt x="258" y="738"/>
                    <a:pt x="258" y="728"/>
                    <a:pt x="256" y="717"/>
                  </a:cubicBezTo>
                  <a:cubicBezTo>
                    <a:pt x="254" y="696"/>
                    <a:pt x="250" y="676"/>
                    <a:pt x="245" y="656"/>
                  </a:cubicBezTo>
                  <a:cubicBezTo>
                    <a:pt x="242" y="646"/>
                    <a:pt x="239" y="637"/>
                    <a:pt x="236" y="628"/>
                  </a:cubicBezTo>
                  <a:cubicBezTo>
                    <a:pt x="233" y="620"/>
                    <a:pt x="230" y="612"/>
                    <a:pt x="227" y="604"/>
                  </a:cubicBezTo>
                  <a:cubicBezTo>
                    <a:pt x="220" y="588"/>
                    <a:pt x="213" y="572"/>
                    <a:pt x="202" y="558"/>
                  </a:cubicBezTo>
                  <a:cubicBezTo>
                    <a:pt x="202" y="557"/>
                    <a:pt x="201" y="556"/>
                    <a:pt x="200" y="555"/>
                  </a:cubicBezTo>
                  <a:cubicBezTo>
                    <a:pt x="203" y="557"/>
                    <a:pt x="207" y="559"/>
                    <a:pt x="210" y="561"/>
                  </a:cubicBezTo>
                  <a:cubicBezTo>
                    <a:pt x="210" y="561"/>
                    <a:pt x="211" y="562"/>
                    <a:pt x="211" y="562"/>
                  </a:cubicBezTo>
                  <a:cubicBezTo>
                    <a:pt x="211" y="562"/>
                    <a:pt x="212" y="562"/>
                    <a:pt x="212" y="563"/>
                  </a:cubicBezTo>
                  <a:cubicBezTo>
                    <a:pt x="212" y="563"/>
                    <a:pt x="213" y="563"/>
                    <a:pt x="213" y="563"/>
                  </a:cubicBezTo>
                  <a:cubicBezTo>
                    <a:pt x="221" y="568"/>
                    <a:pt x="228" y="572"/>
                    <a:pt x="236" y="577"/>
                  </a:cubicBezTo>
                  <a:cubicBezTo>
                    <a:pt x="243" y="581"/>
                    <a:pt x="250" y="585"/>
                    <a:pt x="256" y="591"/>
                  </a:cubicBezTo>
                  <a:cubicBezTo>
                    <a:pt x="260" y="596"/>
                    <a:pt x="264" y="602"/>
                    <a:pt x="268" y="608"/>
                  </a:cubicBezTo>
                  <a:cubicBezTo>
                    <a:pt x="276" y="623"/>
                    <a:pt x="284" y="638"/>
                    <a:pt x="291" y="654"/>
                  </a:cubicBezTo>
                  <a:cubicBezTo>
                    <a:pt x="297" y="670"/>
                    <a:pt x="302" y="688"/>
                    <a:pt x="306" y="706"/>
                  </a:cubicBezTo>
                  <a:cubicBezTo>
                    <a:pt x="307" y="714"/>
                    <a:pt x="308" y="723"/>
                    <a:pt x="309" y="732"/>
                  </a:cubicBezTo>
                  <a:cubicBezTo>
                    <a:pt x="310" y="737"/>
                    <a:pt x="310" y="742"/>
                    <a:pt x="310" y="747"/>
                  </a:cubicBezTo>
                  <a:cubicBezTo>
                    <a:pt x="309" y="752"/>
                    <a:pt x="309" y="756"/>
                    <a:pt x="309" y="761"/>
                  </a:cubicBezTo>
                  <a:cubicBezTo>
                    <a:pt x="303" y="766"/>
                    <a:pt x="297" y="771"/>
                    <a:pt x="291" y="776"/>
                  </a:cubicBezTo>
                  <a:close/>
                  <a:moveTo>
                    <a:pt x="314" y="730"/>
                  </a:moveTo>
                  <a:cubicBezTo>
                    <a:pt x="314" y="730"/>
                    <a:pt x="314" y="730"/>
                    <a:pt x="314" y="730"/>
                  </a:cubicBezTo>
                  <a:cubicBezTo>
                    <a:pt x="314" y="720"/>
                    <a:pt x="312" y="710"/>
                    <a:pt x="310" y="700"/>
                  </a:cubicBezTo>
                  <a:cubicBezTo>
                    <a:pt x="306" y="681"/>
                    <a:pt x="300" y="662"/>
                    <a:pt x="292" y="644"/>
                  </a:cubicBezTo>
                  <a:cubicBezTo>
                    <a:pt x="285" y="629"/>
                    <a:pt x="277" y="615"/>
                    <a:pt x="269" y="602"/>
                  </a:cubicBezTo>
                  <a:cubicBezTo>
                    <a:pt x="268" y="601"/>
                    <a:pt x="268" y="599"/>
                    <a:pt x="267" y="598"/>
                  </a:cubicBezTo>
                  <a:cubicBezTo>
                    <a:pt x="273" y="603"/>
                    <a:pt x="280" y="608"/>
                    <a:pt x="287" y="614"/>
                  </a:cubicBezTo>
                  <a:cubicBezTo>
                    <a:pt x="298" y="622"/>
                    <a:pt x="310" y="631"/>
                    <a:pt x="321" y="639"/>
                  </a:cubicBezTo>
                  <a:cubicBezTo>
                    <a:pt x="327" y="648"/>
                    <a:pt x="332" y="658"/>
                    <a:pt x="337" y="669"/>
                  </a:cubicBezTo>
                  <a:cubicBezTo>
                    <a:pt x="341" y="677"/>
                    <a:pt x="344" y="686"/>
                    <a:pt x="346" y="695"/>
                  </a:cubicBezTo>
                  <a:cubicBezTo>
                    <a:pt x="347" y="700"/>
                    <a:pt x="348" y="704"/>
                    <a:pt x="348" y="709"/>
                  </a:cubicBezTo>
                  <a:cubicBezTo>
                    <a:pt x="349" y="713"/>
                    <a:pt x="349" y="718"/>
                    <a:pt x="350" y="722"/>
                  </a:cubicBezTo>
                  <a:cubicBezTo>
                    <a:pt x="350" y="724"/>
                    <a:pt x="350" y="726"/>
                    <a:pt x="351" y="728"/>
                  </a:cubicBezTo>
                  <a:cubicBezTo>
                    <a:pt x="350" y="729"/>
                    <a:pt x="350" y="729"/>
                    <a:pt x="349" y="730"/>
                  </a:cubicBezTo>
                  <a:cubicBezTo>
                    <a:pt x="338" y="738"/>
                    <a:pt x="326" y="747"/>
                    <a:pt x="315" y="756"/>
                  </a:cubicBezTo>
                  <a:cubicBezTo>
                    <a:pt x="315" y="753"/>
                    <a:pt x="315" y="749"/>
                    <a:pt x="315" y="745"/>
                  </a:cubicBezTo>
                  <a:cubicBezTo>
                    <a:pt x="315" y="740"/>
                    <a:pt x="315" y="735"/>
                    <a:pt x="314" y="730"/>
                  </a:cubicBezTo>
                  <a:close/>
                  <a:moveTo>
                    <a:pt x="355" y="714"/>
                  </a:moveTo>
                  <a:cubicBezTo>
                    <a:pt x="355" y="714"/>
                    <a:pt x="355" y="714"/>
                    <a:pt x="355" y="714"/>
                  </a:cubicBezTo>
                  <a:cubicBezTo>
                    <a:pt x="354" y="710"/>
                    <a:pt x="353" y="705"/>
                    <a:pt x="352" y="701"/>
                  </a:cubicBezTo>
                  <a:cubicBezTo>
                    <a:pt x="351" y="692"/>
                    <a:pt x="348" y="682"/>
                    <a:pt x="344" y="674"/>
                  </a:cubicBezTo>
                  <a:cubicBezTo>
                    <a:pt x="341" y="664"/>
                    <a:pt x="336" y="655"/>
                    <a:pt x="330" y="646"/>
                  </a:cubicBezTo>
                  <a:cubicBezTo>
                    <a:pt x="333" y="648"/>
                    <a:pt x="336" y="650"/>
                    <a:pt x="339" y="653"/>
                  </a:cubicBezTo>
                  <a:cubicBezTo>
                    <a:pt x="349" y="660"/>
                    <a:pt x="359" y="668"/>
                    <a:pt x="369" y="675"/>
                  </a:cubicBezTo>
                  <a:cubicBezTo>
                    <a:pt x="373" y="681"/>
                    <a:pt x="376" y="689"/>
                    <a:pt x="379" y="696"/>
                  </a:cubicBezTo>
                  <a:cubicBezTo>
                    <a:pt x="381" y="699"/>
                    <a:pt x="382" y="702"/>
                    <a:pt x="383" y="706"/>
                  </a:cubicBezTo>
                  <a:cubicBezTo>
                    <a:pt x="373" y="712"/>
                    <a:pt x="364" y="719"/>
                    <a:pt x="355" y="725"/>
                  </a:cubicBezTo>
                  <a:cubicBezTo>
                    <a:pt x="355" y="722"/>
                    <a:pt x="355" y="718"/>
                    <a:pt x="355" y="714"/>
                  </a:cubicBezTo>
                  <a:close/>
                  <a:moveTo>
                    <a:pt x="388" y="703"/>
                  </a:moveTo>
                  <a:cubicBezTo>
                    <a:pt x="388" y="703"/>
                    <a:pt x="388" y="703"/>
                    <a:pt x="388" y="703"/>
                  </a:cubicBezTo>
                  <a:cubicBezTo>
                    <a:pt x="387" y="700"/>
                    <a:pt x="386" y="697"/>
                    <a:pt x="384" y="694"/>
                  </a:cubicBezTo>
                  <a:cubicBezTo>
                    <a:pt x="382" y="690"/>
                    <a:pt x="380" y="686"/>
                    <a:pt x="377" y="681"/>
                  </a:cubicBezTo>
                  <a:cubicBezTo>
                    <a:pt x="381" y="685"/>
                    <a:pt x="385" y="687"/>
                    <a:pt x="389" y="690"/>
                  </a:cubicBezTo>
                  <a:cubicBezTo>
                    <a:pt x="392" y="692"/>
                    <a:pt x="394" y="694"/>
                    <a:pt x="396" y="696"/>
                  </a:cubicBezTo>
                  <a:cubicBezTo>
                    <a:pt x="397" y="696"/>
                    <a:pt x="397" y="696"/>
                    <a:pt x="397" y="696"/>
                  </a:cubicBezTo>
                  <a:cubicBezTo>
                    <a:pt x="393" y="698"/>
                    <a:pt x="391" y="701"/>
                    <a:pt x="388" y="703"/>
                  </a:cubicBezTo>
                  <a:close/>
                  <a:moveTo>
                    <a:pt x="404" y="692"/>
                  </a:moveTo>
                  <a:cubicBezTo>
                    <a:pt x="404" y="692"/>
                    <a:pt x="404" y="692"/>
                    <a:pt x="404" y="692"/>
                  </a:cubicBezTo>
                  <a:cubicBezTo>
                    <a:pt x="404" y="692"/>
                    <a:pt x="404" y="692"/>
                    <a:pt x="404" y="691"/>
                  </a:cubicBezTo>
                  <a:cubicBezTo>
                    <a:pt x="402" y="690"/>
                    <a:pt x="400" y="688"/>
                    <a:pt x="398" y="686"/>
                  </a:cubicBezTo>
                  <a:cubicBezTo>
                    <a:pt x="394" y="682"/>
                    <a:pt x="390" y="679"/>
                    <a:pt x="386" y="676"/>
                  </a:cubicBezTo>
                  <a:cubicBezTo>
                    <a:pt x="385" y="675"/>
                    <a:pt x="385" y="675"/>
                    <a:pt x="384" y="675"/>
                  </a:cubicBezTo>
                  <a:cubicBezTo>
                    <a:pt x="385" y="674"/>
                    <a:pt x="385" y="672"/>
                    <a:pt x="383" y="671"/>
                  </a:cubicBezTo>
                  <a:cubicBezTo>
                    <a:pt x="382" y="670"/>
                    <a:pt x="381" y="669"/>
                    <a:pt x="380" y="668"/>
                  </a:cubicBezTo>
                  <a:cubicBezTo>
                    <a:pt x="380" y="668"/>
                    <a:pt x="380" y="668"/>
                    <a:pt x="380" y="668"/>
                  </a:cubicBezTo>
                  <a:cubicBezTo>
                    <a:pt x="380" y="667"/>
                    <a:pt x="380" y="667"/>
                    <a:pt x="380" y="667"/>
                  </a:cubicBezTo>
                  <a:cubicBezTo>
                    <a:pt x="379" y="667"/>
                    <a:pt x="379" y="667"/>
                    <a:pt x="379" y="666"/>
                  </a:cubicBezTo>
                  <a:cubicBezTo>
                    <a:pt x="379" y="666"/>
                    <a:pt x="379" y="666"/>
                    <a:pt x="379" y="666"/>
                  </a:cubicBezTo>
                  <a:cubicBezTo>
                    <a:pt x="379" y="665"/>
                    <a:pt x="378" y="665"/>
                    <a:pt x="378" y="665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8" y="664"/>
                    <a:pt x="378" y="664"/>
                    <a:pt x="378" y="664"/>
                  </a:cubicBezTo>
                  <a:cubicBezTo>
                    <a:pt x="378" y="663"/>
                    <a:pt x="378" y="663"/>
                    <a:pt x="378" y="663"/>
                  </a:cubicBezTo>
                  <a:cubicBezTo>
                    <a:pt x="378" y="662"/>
                    <a:pt x="378" y="661"/>
                    <a:pt x="378" y="661"/>
                  </a:cubicBezTo>
                  <a:cubicBezTo>
                    <a:pt x="378" y="660"/>
                    <a:pt x="378" y="660"/>
                    <a:pt x="378" y="660"/>
                  </a:cubicBezTo>
                  <a:cubicBezTo>
                    <a:pt x="378" y="659"/>
                    <a:pt x="378" y="659"/>
                    <a:pt x="378" y="659"/>
                  </a:cubicBezTo>
                  <a:cubicBezTo>
                    <a:pt x="378" y="659"/>
                    <a:pt x="378" y="659"/>
                    <a:pt x="378" y="659"/>
                  </a:cubicBezTo>
                  <a:cubicBezTo>
                    <a:pt x="378" y="658"/>
                    <a:pt x="379" y="657"/>
                    <a:pt x="379" y="656"/>
                  </a:cubicBezTo>
                  <a:cubicBezTo>
                    <a:pt x="380" y="653"/>
                    <a:pt x="381" y="650"/>
                    <a:pt x="383" y="647"/>
                  </a:cubicBezTo>
                  <a:cubicBezTo>
                    <a:pt x="383" y="646"/>
                    <a:pt x="384" y="644"/>
                    <a:pt x="385" y="643"/>
                  </a:cubicBezTo>
                  <a:cubicBezTo>
                    <a:pt x="385" y="643"/>
                    <a:pt x="385" y="643"/>
                    <a:pt x="385" y="643"/>
                  </a:cubicBezTo>
                  <a:cubicBezTo>
                    <a:pt x="385" y="643"/>
                    <a:pt x="385" y="643"/>
                    <a:pt x="385" y="643"/>
                  </a:cubicBezTo>
                  <a:cubicBezTo>
                    <a:pt x="386" y="642"/>
                    <a:pt x="386" y="642"/>
                    <a:pt x="386" y="642"/>
                  </a:cubicBezTo>
                  <a:cubicBezTo>
                    <a:pt x="386" y="642"/>
                    <a:pt x="386" y="642"/>
                    <a:pt x="386" y="642"/>
                  </a:cubicBezTo>
                  <a:cubicBezTo>
                    <a:pt x="398" y="649"/>
                    <a:pt x="411" y="655"/>
                    <a:pt x="424" y="658"/>
                  </a:cubicBezTo>
                  <a:cubicBezTo>
                    <a:pt x="431" y="660"/>
                    <a:pt x="438" y="662"/>
                    <a:pt x="445" y="663"/>
                  </a:cubicBezTo>
                  <a:cubicBezTo>
                    <a:pt x="446" y="664"/>
                    <a:pt x="448" y="664"/>
                    <a:pt x="450" y="665"/>
                  </a:cubicBezTo>
                  <a:cubicBezTo>
                    <a:pt x="434" y="673"/>
                    <a:pt x="419" y="682"/>
                    <a:pt x="404" y="692"/>
                  </a:cubicBezTo>
                  <a:close/>
                  <a:moveTo>
                    <a:pt x="462" y="658"/>
                  </a:moveTo>
                  <a:cubicBezTo>
                    <a:pt x="462" y="658"/>
                    <a:pt x="462" y="658"/>
                    <a:pt x="462" y="658"/>
                  </a:cubicBezTo>
                  <a:cubicBezTo>
                    <a:pt x="459" y="658"/>
                    <a:pt x="457" y="657"/>
                    <a:pt x="455" y="656"/>
                  </a:cubicBezTo>
                  <a:cubicBezTo>
                    <a:pt x="455" y="649"/>
                    <a:pt x="458" y="644"/>
                    <a:pt x="462" y="639"/>
                  </a:cubicBezTo>
                  <a:cubicBezTo>
                    <a:pt x="465" y="636"/>
                    <a:pt x="468" y="634"/>
                    <a:pt x="471" y="631"/>
                  </a:cubicBezTo>
                  <a:cubicBezTo>
                    <a:pt x="472" y="630"/>
                    <a:pt x="473" y="629"/>
                    <a:pt x="475" y="628"/>
                  </a:cubicBezTo>
                  <a:cubicBezTo>
                    <a:pt x="476" y="627"/>
                    <a:pt x="478" y="626"/>
                    <a:pt x="478" y="624"/>
                  </a:cubicBezTo>
                  <a:cubicBezTo>
                    <a:pt x="479" y="628"/>
                    <a:pt x="481" y="632"/>
                    <a:pt x="482" y="637"/>
                  </a:cubicBezTo>
                  <a:cubicBezTo>
                    <a:pt x="483" y="640"/>
                    <a:pt x="483" y="642"/>
                    <a:pt x="484" y="645"/>
                  </a:cubicBezTo>
                  <a:cubicBezTo>
                    <a:pt x="484" y="646"/>
                    <a:pt x="484" y="646"/>
                    <a:pt x="484" y="646"/>
                  </a:cubicBezTo>
                  <a:cubicBezTo>
                    <a:pt x="476" y="650"/>
                    <a:pt x="469" y="654"/>
                    <a:pt x="462" y="658"/>
                  </a:cubicBezTo>
                  <a:close/>
                  <a:moveTo>
                    <a:pt x="492" y="643"/>
                  </a:moveTo>
                  <a:cubicBezTo>
                    <a:pt x="492" y="643"/>
                    <a:pt x="492" y="643"/>
                    <a:pt x="492" y="643"/>
                  </a:cubicBezTo>
                  <a:cubicBezTo>
                    <a:pt x="491" y="640"/>
                    <a:pt x="490" y="637"/>
                    <a:pt x="490" y="635"/>
                  </a:cubicBezTo>
                  <a:cubicBezTo>
                    <a:pt x="488" y="628"/>
                    <a:pt x="486" y="621"/>
                    <a:pt x="483" y="614"/>
                  </a:cubicBezTo>
                  <a:cubicBezTo>
                    <a:pt x="482" y="610"/>
                    <a:pt x="480" y="607"/>
                    <a:pt x="478" y="603"/>
                  </a:cubicBezTo>
                  <a:cubicBezTo>
                    <a:pt x="482" y="600"/>
                    <a:pt x="488" y="598"/>
                    <a:pt x="492" y="597"/>
                  </a:cubicBezTo>
                  <a:cubicBezTo>
                    <a:pt x="498" y="595"/>
                    <a:pt x="504" y="595"/>
                    <a:pt x="510" y="595"/>
                  </a:cubicBezTo>
                  <a:cubicBezTo>
                    <a:pt x="516" y="595"/>
                    <a:pt x="521" y="595"/>
                    <a:pt x="527" y="595"/>
                  </a:cubicBezTo>
                  <a:cubicBezTo>
                    <a:pt x="529" y="595"/>
                    <a:pt x="530" y="595"/>
                    <a:pt x="531" y="596"/>
                  </a:cubicBezTo>
                  <a:cubicBezTo>
                    <a:pt x="529" y="599"/>
                    <a:pt x="526" y="603"/>
                    <a:pt x="524" y="607"/>
                  </a:cubicBezTo>
                  <a:cubicBezTo>
                    <a:pt x="521" y="612"/>
                    <a:pt x="519" y="617"/>
                    <a:pt x="517" y="623"/>
                  </a:cubicBezTo>
                  <a:cubicBezTo>
                    <a:pt x="516" y="626"/>
                    <a:pt x="515" y="629"/>
                    <a:pt x="514" y="633"/>
                  </a:cubicBezTo>
                  <a:cubicBezTo>
                    <a:pt x="506" y="636"/>
                    <a:pt x="499" y="639"/>
                    <a:pt x="492" y="643"/>
                  </a:cubicBezTo>
                  <a:close/>
                  <a:moveTo>
                    <a:pt x="531" y="613"/>
                  </a:moveTo>
                  <a:cubicBezTo>
                    <a:pt x="531" y="613"/>
                    <a:pt x="531" y="613"/>
                    <a:pt x="531" y="613"/>
                  </a:cubicBezTo>
                  <a:cubicBezTo>
                    <a:pt x="534" y="607"/>
                    <a:pt x="538" y="602"/>
                    <a:pt x="541" y="596"/>
                  </a:cubicBezTo>
                  <a:cubicBezTo>
                    <a:pt x="542" y="596"/>
                    <a:pt x="543" y="596"/>
                    <a:pt x="544" y="595"/>
                  </a:cubicBezTo>
                  <a:cubicBezTo>
                    <a:pt x="546" y="594"/>
                    <a:pt x="546" y="593"/>
                    <a:pt x="545" y="592"/>
                  </a:cubicBezTo>
                  <a:cubicBezTo>
                    <a:pt x="545" y="591"/>
                    <a:pt x="546" y="591"/>
                    <a:pt x="546" y="590"/>
                  </a:cubicBezTo>
                  <a:cubicBezTo>
                    <a:pt x="547" y="588"/>
                    <a:pt x="549" y="587"/>
                    <a:pt x="550" y="585"/>
                  </a:cubicBezTo>
                  <a:cubicBezTo>
                    <a:pt x="552" y="582"/>
                    <a:pt x="555" y="579"/>
                    <a:pt x="557" y="576"/>
                  </a:cubicBezTo>
                  <a:cubicBezTo>
                    <a:pt x="562" y="570"/>
                    <a:pt x="567" y="564"/>
                    <a:pt x="571" y="557"/>
                  </a:cubicBezTo>
                  <a:cubicBezTo>
                    <a:pt x="573" y="555"/>
                    <a:pt x="574" y="553"/>
                    <a:pt x="575" y="551"/>
                  </a:cubicBezTo>
                  <a:cubicBezTo>
                    <a:pt x="575" y="551"/>
                    <a:pt x="575" y="551"/>
                    <a:pt x="576" y="551"/>
                  </a:cubicBezTo>
                  <a:cubicBezTo>
                    <a:pt x="576" y="552"/>
                    <a:pt x="578" y="553"/>
                    <a:pt x="579" y="553"/>
                  </a:cubicBezTo>
                  <a:cubicBezTo>
                    <a:pt x="582" y="555"/>
                    <a:pt x="584" y="557"/>
                    <a:pt x="586" y="560"/>
                  </a:cubicBezTo>
                  <a:cubicBezTo>
                    <a:pt x="589" y="562"/>
                    <a:pt x="590" y="564"/>
                    <a:pt x="591" y="567"/>
                  </a:cubicBezTo>
                  <a:cubicBezTo>
                    <a:pt x="592" y="568"/>
                    <a:pt x="592" y="568"/>
                    <a:pt x="592" y="568"/>
                  </a:cubicBezTo>
                  <a:cubicBezTo>
                    <a:pt x="592" y="569"/>
                    <a:pt x="592" y="571"/>
                    <a:pt x="593" y="571"/>
                  </a:cubicBezTo>
                  <a:cubicBezTo>
                    <a:pt x="593" y="572"/>
                    <a:pt x="594" y="572"/>
                    <a:pt x="594" y="572"/>
                  </a:cubicBezTo>
                  <a:cubicBezTo>
                    <a:pt x="595" y="574"/>
                    <a:pt x="595" y="575"/>
                    <a:pt x="596" y="576"/>
                  </a:cubicBezTo>
                  <a:cubicBezTo>
                    <a:pt x="596" y="578"/>
                    <a:pt x="596" y="579"/>
                    <a:pt x="597" y="581"/>
                  </a:cubicBezTo>
                  <a:cubicBezTo>
                    <a:pt x="597" y="582"/>
                    <a:pt x="597" y="583"/>
                    <a:pt x="597" y="583"/>
                  </a:cubicBezTo>
                  <a:cubicBezTo>
                    <a:pt x="597" y="584"/>
                    <a:pt x="598" y="584"/>
                    <a:pt x="598" y="585"/>
                  </a:cubicBezTo>
                  <a:cubicBezTo>
                    <a:pt x="598" y="586"/>
                    <a:pt x="598" y="586"/>
                    <a:pt x="598" y="586"/>
                  </a:cubicBezTo>
                  <a:cubicBezTo>
                    <a:pt x="598" y="589"/>
                    <a:pt x="598" y="592"/>
                    <a:pt x="598" y="595"/>
                  </a:cubicBezTo>
                  <a:cubicBezTo>
                    <a:pt x="598" y="596"/>
                    <a:pt x="598" y="596"/>
                    <a:pt x="598" y="596"/>
                  </a:cubicBezTo>
                  <a:cubicBezTo>
                    <a:pt x="598" y="597"/>
                    <a:pt x="598" y="597"/>
                    <a:pt x="598" y="597"/>
                  </a:cubicBezTo>
                  <a:cubicBezTo>
                    <a:pt x="597" y="598"/>
                    <a:pt x="597" y="598"/>
                    <a:pt x="597" y="599"/>
                  </a:cubicBezTo>
                  <a:cubicBezTo>
                    <a:pt x="573" y="607"/>
                    <a:pt x="549" y="617"/>
                    <a:pt x="525" y="627"/>
                  </a:cubicBezTo>
                  <a:cubicBezTo>
                    <a:pt x="527" y="623"/>
                    <a:pt x="529" y="618"/>
                    <a:pt x="531" y="613"/>
                  </a:cubicBezTo>
                  <a:close/>
                  <a:moveTo>
                    <a:pt x="605" y="579"/>
                  </a:moveTo>
                  <a:cubicBezTo>
                    <a:pt x="605" y="579"/>
                    <a:pt x="605" y="579"/>
                    <a:pt x="605" y="579"/>
                  </a:cubicBezTo>
                  <a:cubicBezTo>
                    <a:pt x="610" y="581"/>
                    <a:pt x="614" y="583"/>
                    <a:pt x="618" y="583"/>
                  </a:cubicBezTo>
                  <a:cubicBezTo>
                    <a:pt x="626" y="584"/>
                    <a:pt x="634" y="582"/>
                    <a:pt x="640" y="577"/>
                  </a:cubicBezTo>
                  <a:cubicBezTo>
                    <a:pt x="651" y="568"/>
                    <a:pt x="657" y="554"/>
                    <a:pt x="660" y="540"/>
                  </a:cubicBezTo>
                  <a:cubicBezTo>
                    <a:pt x="661" y="534"/>
                    <a:pt x="661" y="529"/>
                    <a:pt x="661" y="522"/>
                  </a:cubicBezTo>
                  <a:cubicBezTo>
                    <a:pt x="663" y="525"/>
                    <a:pt x="664" y="529"/>
                    <a:pt x="665" y="532"/>
                  </a:cubicBezTo>
                  <a:cubicBezTo>
                    <a:pt x="672" y="545"/>
                    <a:pt x="678" y="559"/>
                    <a:pt x="685" y="572"/>
                  </a:cubicBezTo>
                  <a:cubicBezTo>
                    <a:pt x="659" y="579"/>
                    <a:pt x="632" y="587"/>
                    <a:pt x="606" y="596"/>
                  </a:cubicBezTo>
                  <a:cubicBezTo>
                    <a:pt x="607" y="590"/>
                    <a:pt x="607" y="585"/>
                    <a:pt x="605" y="579"/>
                  </a:cubicBezTo>
                  <a:close/>
                  <a:moveTo>
                    <a:pt x="692" y="571"/>
                  </a:moveTo>
                  <a:cubicBezTo>
                    <a:pt x="692" y="571"/>
                    <a:pt x="692" y="571"/>
                    <a:pt x="692" y="571"/>
                  </a:cubicBezTo>
                  <a:cubicBezTo>
                    <a:pt x="686" y="556"/>
                    <a:pt x="679" y="543"/>
                    <a:pt x="672" y="529"/>
                  </a:cubicBezTo>
                  <a:cubicBezTo>
                    <a:pt x="669" y="522"/>
                    <a:pt x="665" y="515"/>
                    <a:pt x="662" y="508"/>
                  </a:cubicBezTo>
                  <a:cubicBezTo>
                    <a:pt x="663" y="507"/>
                    <a:pt x="664" y="506"/>
                    <a:pt x="664" y="505"/>
                  </a:cubicBezTo>
                  <a:cubicBezTo>
                    <a:pt x="665" y="502"/>
                    <a:pt x="666" y="499"/>
                    <a:pt x="667" y="495"/>
                  </a:cubicBezTo>
                  <a:cubicBezTo>
                    <a:pt x="667" y="493"/>
                    <a:pt x="668" y="491"/>
                    <a:pt x="668" y="489"/>
                  </a:cubicBezTo>
                  <a:cubicBezTo>
                    <a:pt x="669" y="491"/>
                    <a:pt x="670" y="493"/>
                    <a:pt x="671" y="496"/>
                  </a:cubicBezTo>
                  <a:cubicBezTo>
                    <a:pt x="675" y="506"/>
                    <a:pt x="679" y="515"/>
                    <a:pt x="684" y="525"/>
                  </a:cubicBezTo>
                  <a:cubicBezTo>
                    <a:pt x="687" y="533"/>
                    <a:pt x="690" y="542"/>
                    <a:pt x="693" y="550"/>
                  </a:cubicBezTo>
                  <a:cubicBezTo>
                    <a:pt x="695" y="554"/>
                    <a:pt x="697" y="559"/>
                    <a:pt x="700" y="563"/>
                  </a:cubicBezTo>
                  <a:cubicBezTo>
                    <a:pt x="700" y="565"/>
                    <a:pt x="701" y="567"/>
                    <a:pt x="703" y="568"/>
                  </a:cubicBezTo>
                  <a:cubicBezTo>
                    <a:pt x="699" y="569"/>
                    <a:pt x="696" y="570"/>
                    <a:pt x="692" y="571"/>
                  </a:cubicBezTo>
                  <a:close/>
                  <a:moveTo>
                    <a:pt x="711" y="567"/>
                  </a:moveTo>
                  <a:cubicBezTo>
                    <a:pt x="711" y="567"/>
                    <a:pt x="711" y="567"/>
                    <a:pt x="711" y="567"/>
                  </a:cubicBezTo>
                  <a:cubicBezTo>
                    <a:pt x="710" y="566"/>
                    <a:pt x="710" y="565"/>
                    <a:pt x="709" y="564"/>
                  </a:cubicBezTo>
                  <a:cubicBezTo>
                    <a:pt x="708" y="563"/>
                    <a:pt x="707" y="561"/>
                    <a:pt x="706" y="558"/>
                  </a:cubicBezTo>
                  <a:cubicBezTo>
                    <a:pt x="703" y="555"/>
                    <a:pt x="702" y="551"/>
                    <a:pt x="700" y="547"/>
                  </a:cubicBezTo>
                  <a:cubicBezTo>
                    <a:pt x="696" y="538"/>
                    <a:pt x="693" y="530"/>
                    <a:pt x="689" y="521"/>
                  </a:cubicBezTo>
                  <a:cubicBezTo>
                    <a:pt x="686" y="512"/>
                    <a:pt x="682" y="503"/>
                    <a:pt x="677" y="493"/>
                  </a:cubicBezTo>
                  <a:cubicBezTo>
                    <a:pt x="677" y="492"/>
                    <a:pt x="677" y="491"/>
                    <a:pt x="676" y="490"/>
                  </a:cubicBezTo>
                  <a:cubicBezTo>
                    <a:pt x="677" y="490"/>
                    <a:pt x="677" y="490"/>
                    <a:pt x="677" y="489"/>
                  </a:cubicBezTo>
                  <a:cubicBezTo>
                    <a:pt x="678" y="487"/>
                    <a:pt x="678" y="485"/>
                    <a:pt x="678" y="483"/>
                  </a:cubicBezTo>
                  <a:cubicBezTo>
                    <a:pt x="677" y="476"/>
                    <a:pt x="679" y="470"/>
                    <a:pt x="683" y="463"/>
                  </a:cubicBezTo>
                  <a:cubicBezTo>
                    <a:pt x="685" y="460"/>
                    <a:pt x="687" y="458"/>
                    <a:pt x="689" y="456"/>
                  </a:cubicBezTo>
                  <a:cubicBezTo>
                    <a:pt x="691" y="454"/>
                    <a:pt x="692" y="453"/>
                    <a:pt x="694" y="453"/>
                  </a:cubicBezTo>
                  <a:cubicBezTo>
                    <a:pt x="695" y="452"/>
                    <a:pt x="696" y="452"/>
                    <a:pt x="697" y="451"/>
                  </a:cubicBezTo>
                  <a:cubicBezTo>
                    <a:pt x="700" y="470"/>
                    <a:pt x="703" y="488"/>
                    <a:pt x="707" y="507"/>
                  </a:cubicBezTo>
                  <a:cubicBezTo>
                    <a:pt x="708" y="516"/>
                    <a:pt x="709" y="525"/>
                    <a:pt x="711" y="534"/>
                  </a:cubicBezTo>
                  <a:cubicBezTo>
                    <a:pt x="711" y="539"/>
                    <a:pt x="712" y="543"/>
                    <a:pt x="712" y="547"/>
                  </a:cubicBezTo>
                  <a:cubicBezTo>
                    <a:pt x="712" y="552"/>
                    <a:pt x="712" y="557"/>
                    <a:pt x="714" y="561"/>
                  </a:cubicBezTo>
                  <a:cubicBezTo>
                    <a:pt x="714" y="562"/>
                    <a:pt x="714" y="562"/>
                    <a:pt x="715" y="562"/>
                  </a:cubicBezTo>
                  <a:cubicBezTo>
                    <a:pt x="714" y="563"/>
                    <a:pt x="714" y="565"/>
                    <a:pt x="714" y="566"/>
                  </a:cubicBezTo>
                  <a:cubicBezTo>
                    <a:pt x="713" y="566"/>
                    <a:pt x="712" y="566"/>
                    <a:pt x="711" y="567"/>
                  </a:cubicBezTo>
                  <a:close/>
                  <a:moveTo>
                    <a:pt x="725" y="562"/>
                  </a:moveTo>
                  <a:cubicBezTo>
                    <a:pt x="725" y="562"/>
                    <a:pt x="725" y="562"/>
                    <a:pt x="725" y="562"/>
                  </a:cubicBezTo>
                  <a:cubicBezTo>
                    <a:pt x="726" y="556"/>
                    <a:pt x="728" y="551"/>
                    <a:pt x="730" y="546"/>
                  </a:cubicBezTo>
                  <a:cubicBezTo>
                    <a:pt x="733" y="536"/>
                    <a:pt x="736" y="526"/>
                    <a:pt x="739" y="517"/>
                  </a:cubicBezTo>
                  <a:cubicBezTo>
                    <a:pt x="739" y="516"/>
                    <a:pt x="739" y="515"/>
                    <a:pt x="739" y="514"/>
                  </a:cubicBezTo>
                  <a:cubicBezTo>
                    <a:pt x="740" y="513"/>
                    <a:pt x="741" y="513"/>
                    <a:pt x="742" y="512"/>
                  </a:cubicBezTo>
                  <a:cubicBezTo>
                    <a:pt x="744" y="510"/>
                    <a:pt x="746" y="509"/>
                    <a:pt x="748" y="507"/>
                  </a:cubicBezTo>
                  <a:cubicBezTo>
                    <a:pt x="751" y="504"/>
                    <a:pt x="755" y="501"/>
                    <a:pt x="759" y="498"/>
                  </a:cubicBezTo>
                  <a:cubicBezTo>
                    <a:pt x="765" y="492"/>
                    <a:pt x="773" y="486"/>
                    <a:pt x="781" y="481"/>
                  </a:cubicBezTo>
                  <a:cubicBezTo>
                    <a:pt x="789" y="476"/>
                    <a:pt x="797" y="472"/>
                    <a:pt x="806" y="468"/>
                  </a:cubicBezTo>
                  <a:cubicBezTo>
                    <a:pt x="815" y="463"/>
                    <a:pt x="825" y="459"/>
                    <a:pt x="835" y="456"/>
                  </a:cubicBezTo>
                  <a:cubicBezTo>
                    <a:pt x="847" y="452"/>
                    <a:pt x="860" y="447"/>
                    <a:pt x="872" y="442"/>
                  </a:cubicBezTo>
                  <a:cubicBezTo>
                    <a:pt x="877" y="454"/>
                    <a:pt x="883" y="466"/>
                    <a:pt x="888" y="478"/>
                  </a:cubicBezTo>
                  <a:cubicBezTo>
                    <a:pt x="881" y="482"/>
                    <a:pt x="873" y="484"/>
                    <a:pt x="865" y="487"/>
                  </a:cubicBezTo>
                  <a:cubicBezTo>
                    <a:pt x="855" y="490"/>
                    <a:pt x="846" y="493"/>
                    <a:pt x="837" y="498"/>
                  </a:cubicBezTo>
                  <a:cubicBezTo>
                    <a:pt x="828" y="502"/>
                    <a:pt x="818" y="506"/>
                    <a:pt x="810" y="511"/>
                  </a:cubicBezTo>
                  <a:cubicBezTo>
                    <a:pt x="801" y="516"/>
                    <a:pt x="792" y="520"/>
                    <a:pt x="784" y="526"/>
                  </a:cubicBezTo>
                  <a:cubicBezTo>
                    <a:pt x="777" y="531"/>
                    <a:pt x="769" y="537"/>
                    <a:pt x="763" y="542"/>
                  </a:cubicBezTo>
                  <a:cubicBezTo>
                    <a:pt x="759" y="545"/>
                    <a:pt x="756" y="548"/>
                    <a:pt x="752" y="551"/>
                  </a:cubicBezTo>
                  <a:cubicBezTo>
                    <a:pt x="749" y="553"/>
                    <a:pt x="745" y="556"/>
                    <a:pt x="743" y="560"/>
                  </a:cubicBezTo>
                  <a:cubicBezTo>
                    <a:pt x="737" y="561"/>
                    <a:pt x="730" y="562"/>
                    <a:pt x="724" y="564"/>
                  </a:cubicBezTo>
                  <a:cubicBezTo>
                    <a:pt x="724" y="563"/>
                    <a:pt x="724" y="562"/>
                    <a:pt x="725" y="562"/>
                  </a:cubicBezTo>
                  <a:close/>
                  <a:moveTo>
                    <a:pt x="756" y="555"/>
                  </a:moveTo>
                  <a:cubicBezTo>
                    <a:pt x="756" y="555"/>
                    <a:pt x="756" y="555"/>
                    <a:pt x="756" y="555"/>
                  </a:cubicBezTo>
                  <a:cubicBezTo>
                    <a:pt x="760" y="552"/>
                    <a:pt x="763" y="549"/>
                    <a:pt x="767" y="546"/>
                  </a:cubicBezTo>
                  <a:cubicBezTo>
                    <a:pt x="775" y="540"/>
                    <a:pt x="782" y="534"/>
                    <a:pt x="790" y="529"/>
                  </a:cubicBezTo>
                  <a:cubicBezTo>
                    <a:pt x="799" y="523"/>
                    <a:pt x="808" y="519"/>
                    <a:pt x="816" y="514"/>
                  </a:cubicBezTo>
                  <a:cubicBezTo>
                    <a:pt x="825" y="509"/>
                    <a:pt x="835" y="505"/>
                    <a:pt x="844" y="501"/>
                  </a:cubicBezTo>
                  <a:cubicBezTo>
                    <a:pt x="852" y="497"/>
                    <a:pt x="861" y="493"/>
                    <a:pt x="869" y="490"/>
                  </a:cubicBezTo>
                  <a:cubicBezTo>
                    <a:pt x="876" y="487"/>
                    <a:pt x="883" y="485"/>
                    <a:pt x="889" y="481"/>
                  </a:cubicBezTo>
                  <a:cubicBezTo>
                    <a:pt x="890" y="483"/>
                    <a:pt x="891" y="485"/>
                    <a:pt x="892" y="487"/>
                  </a:cubicBezTo>
                  <a:cubicBezTo>
                    <a:pt x="898" y="498"/>
                    <a:pt x="903" y="509"/>
                    <a:pt x="910" y="520"/>
                  </a:cubicBezTo>
                  <a:cubicBezTo>
                    <a:pt x="910" y="520"/>
                    <a:pt x="910" y="520"/>
                    <a:pt x="910" y="520"/>
                  </a:cubicBezTo>
                  <a:cubicBezTo>
                    <a:pt x="904" y="521"/>
                    <a:pt x="899" y="523"/>
                    <a:pt x="894" y="525"/>
                  </a:cubicBezTo>
                  <a:cubicBezTo>
                    <a:pt x="888" y="528"/>
                    <a:pt x="882" y="530"/>
                    <a:pt x="876" y="533"/>
                  </a:cubicBezTo>
                  <a:cubicBezTo>
                    <a:pt x="869" y="535"/>
                    <a:pt x="863" y="538"/>
                    <a:pt x="858" y="541"/>
                  </a:cubicBezTo>
                  <a:cubicBezTo>
                    <a:pt x="856" y="543"/>
                    <a:pt x="854" y="544"/>
                    <a:pt x="852" y="545"/>
                  </a:cubicBezTo>
                  <a:cubicBezTo>
                    <a:pt x="819" y="548"/>
                    <a:pt x="786" y="552"/>
                    <a:pt x="753" y="558"/>
                  </a:cubicBezTo>
                  <a:cubicBezTo>
                    <a:pt x="754" y="557"/>
                    <a:pt x="755" y="556"/>
                    <a:pt x="756" y="555"/>
                  </a:cubicBezTo>
                  <a:close/>
                  <a:moveTo>
                    <a:pt x="878" y="537"/>
                  </a:moveTo>
                  <a:cubicBezTo>
                    <a:pt x="878" y="537"/>
                    <a:pt x="878" y="537"/>
                    <a:pt x="878" y="537"/>
                  </a:cubicBezTo>
                  <a:cubicBezTo>
                    <a:pt x="884" y="535"/>
                    <a:pt x="890" y="532"/>
                    <a:pt x="896" y="530"/>
                  </a:cubicBezTo>
                  <a:cubicBezTo>
                    <a:pt x="901" y="528"/>
                    <a:pt x="906" y="526"/>
                    <a:pt x="911" y="523"/>
                  </a:cubicBezTo>
                  <a:cubicBezTo>
                    <a:pt x="914" y="528"/>
                    <a:pt x="917" y="532"/>
                    <a:pt x="920" y="537"/>
                  </a:cubicBezTo>
                  <a:cubicBezTo>
                    <a:pt x="921" y="539"/>
                    <a:pt x="922" y="540"/>
                    <a:pt x="923" y="542"/>
                  </a:cubicBezTo>
                  <a:cubicBezTo>
                    <a:pt x="912" y="542"/>
                    <a:pt x="901" y="542"/>
                    <a:pt x="891" y="543"/>
                  </a:cubicBezTo>
                  <a:cubicBezTo>
                    <a:pt x="882" y="543"/>
                    <a:pt x="873" y="544"/>
                    <a:pt x="864" y="544"/>
                  </a:cubicBezTo>
                  <a:cubicBezTo>
                    <a:pt x="868" y="542"/>
                    <a:pt x="873" y="539"/>
                    <a:pt x="878" y="537"/>
                  </a:cubicBezTo>
                  <a:close/>
                  <a:moveTo>
                    <a:pt x="933" y="542"/>
                  </a:moveTo>
                  <a:cubicBezTo>
                    <a:pt x="933" y="542"/>
                    <a:pt x="933" y="542"/>
                    <a:pt x="933" y="542"/>
                  </a:cubicBezTo>
                  <a:cubicBezTo>
                    <a:pt x="931" y="540"/>
                    <a:pt x="930" y="537"/>
                    <a:pt x="928" y="535"/>
                  </a:cubicBezTo>
                  <a:cubicBezTo>
                    <a:pt x="925" y="530"/>
                    <a:pt x="922" y="525"/>
                    <a:pt x="919" y="520"/>
                  </a:cubicBezTo>
                  <a:cubicBezTo>
                    <a:pt x="914" y="512"/>
                    <a:pt x="910" y="502"/>
                    <a:pt x="905" y="493"/>
                  </a:cubicBezTo>
                  <a:cubicBezTo>
                    <a:pt x="900" y="483"/>
                    <a:pt x="895" y="474"/>
                    <a:pt x="891" y="464"/>
                  </a:cubicBezTo>
                  <a:cubicBezTo>
                    <a:pt x="893" y="462"/>
                    <a:pt x="895" y="461"/>
                    <a:pt x="898" y="460"/>
                  </a:cubicBezTo>
                  <a:cubicBezTo>
                    <a:pt x="901" y="459"/>
                    <a:pt x="905" y="458"/>
                    <a:pt x="909" y="458"/>
                  </a:cubicBezTo>
                  <a:cubicBezTo>
                    <a:pt x="916" y="458"/>
                    <a:pt x="924" y="460"/>
                    <a:pt x="931" y="465"/>
                  </a:cubicBezTo>
                  <a:cubicBezTo>
                    <a:pt x="934" y="468"/>
                    <a:pt x="937" y="470"/>
                    <a:pt x="940" y="473"/>
                  </a:cubicBezTo>
                  <a:cubicBezTo>
                    <a:pt x="943" y="476"/>
                    <a:pt x="945" y="479"/>
                    <a:pt x="947" y="482"/>
                  </a:cubicBezTo>
                  <a:cubicBezTo>
                    <a:pt x="949" y="486"/>
                    <a:pt x="950" y="488"/>
                    <a:pt x="951" y="492"/>
                  </a:cubicBezTo>
                  <a:cubicBezTo>
                    <a:pt x="952" y="494"/>
                    <a:pt x="952" y="496"/>
                    <a:pt x="953" y="498"/>
                  </a:cubicBezTo>
                  <a:cubicBezTo>
                    <a:pt x="953" y="499"/>
                    <a:pt x="953" y="500"/>
                    <a:pt x="953" y="500"/>
                  </a:cubicBezTo>
                  <a:cubicBezTo>
                    <a:pt x="953" y="501"/>
                    <a:pt x="953" y="501"/>
                    <a:pt x="953" y="501"/>
                  </a:cubicBezTo>
                  <a:cubicBezTo>
                    <a:pt x="953" y="502"/>
                    <a:pt x="953" y="502"/>
                    <a:pt x="953" y="503"/>
                  </a:cubicBezTo>
                  <a:cubicBezTo>
                    <a:pt x="954" y="507"/>
                    <a:pt x="954" y="511"/>
                    <a:pt x="953" y="516"/>
                  </a:cubicBezTo>
                  <a:cubicBezTo>
                    <a:pt x="953" y="516"/>
                    <a:pt x="953" y="516"/>
                    <a:pt x="953" y="516"/>
                  </a:cubicBezTo>
                  <a:cubicBezTo>
                    <a:pt x="953" y="516"/>
                    <a:pt x="953" y="516"/>
                    <a:pt x="953" y="516"/>
                  </a:cubicBezTo>
                  <a:cubicBezTo>
                    <a:pt x="953" y="517"/>
                    <a:pt x="953" y="517"/>
                    <a:pt x="953" y="518"/>
                  </a:cubicBezTo>
                  <a:cubicBezTo>
                    <a:pt x="953" y="519"/>
                    <a:pt x="952" y="520"/>
                    <a:pt x="952" y="521"/>
                  </a:cubicBezTo>
                  <a:cubicBezTo>
                    <a:pt x="952" y="523"/>
                    <a:pt x="951" y="525"/>
                    <a:pt x="951" y="528"/>
                  </a:cubicBezTo>
                  <a:cubicBezTo>
                    <a:pt x="950" y="530"/>
                    <a:pt x="950" y="532"/>
                    <a:pt x="949" y="533"/>
                  </a:cubicBezTo>
                  <a:cubicBezTo>
                    <a:pt x="949" y="534"/>
                    <a:pt x="949" y="535"/>
                    <a:pt x="948" y="536"/>
                  </a:cubicBezTo>
                  <a:cubicBezTo>
                    <a:pt x="948" y="536"/>
                    <a:pt x="948" y="537"/>
                    <a:pt x="948" y="537"/>
                  </a:cubicBezTo>
                  <a:cubicBezTo>
                    <a:pt x="948" y="536"/>
                    <a:pt x="947" y="538"/>
                    <a:pt x="947" y="538"/>
                  </a:cubicBezTo>
                  <a:cubicBezTo>
                    <a:pt x="947" y="539"/>
                    <a:pt x="947" y="540"/>
                    <a:pt x="946" y="540"/>
                  </a:cubicBezTo>
                  <a:cubicBezTo>
                    <a:pt x="946" y="541"/>
                    <a:pt x="946" y="541"/>
                    <a:pt x="945" y="541"/>
                  </a:cubicBezTo>
                  <a:cubicBezTo>
                    <a:pt x="946" y="541"/>
                    <a:pt x="945" y="542"/>
                    <a:pt x="945" y="542"/>
                  </a:cubicBezTo>
                  <a:cubicBezTo>
                    <a:pt x="945" y="542"/>
                    <a:pt x="945" y="542"/>
                    <a:pt x="945" y="542"/>
                  </a:cubicBezTo>
                  <a:cubicBezTo>
                    <a:pt x="941" y="542"/>
                    <a:pt x="937" y="542"/>
                    <a:pt x="933" y="542"/>
                  </a:cubicBezTo>
                  <a:close/>
                  <a:moveTo>
                    <a:pt x="959" y="534"/>
                  </a:moveTo>
                  <a:cubicBezTo>
                    <a:pt x="959" y="534"/>
                    <a:pt x="959" y="534"/>
                    <a:pt x="959" y="534"/>
                  </a:cubicBezTo>
                  <a:cubicBezTo>
                    <a:pt x="959" y="533"/>
                    <a:pt x="960" y="532"/>
                    <a:pt x="960" y="530"/>
                  </a:cubicBezTo>
                  <a:cubicBezTo>
                    <a:pt x="960" y="529"/>
                    <a:pt x="961" y="528"/>
                    <a:pt x="961" y="528"/>
                  </a:cubicBezTo>
                  <a:cubicBezTo>
                    <a:pt x="962" y="526"/>
                    <a:pt x="962" y="525"/>
                    <a:pt x="963" y="524"/>
                  </a:cubicBezTo>
                  <a:cubicBezTo>
                    <a:pt x="964" y="523"/>
                    <a:pt x="965" y="521"/>
                    <a:pt x="966" y="521"/>
                  </a:cubicBezTo>
                  <a:cubicBezTo>
                    <a:pt x="965" y="521"/>
                    <a:pt x="966" y="520"/>
                    <a:pt x="966" y="520"/>
                  </a:cubicBezTo>
                  <a:cubicBezTo>
                    <a:pt x="967" y="519"/>
                    <a:pt x="967" y="519"/>
                    <a:pt x="968" y="518"/>
                  </a:cubicBezTo>
                  <a:cubicBezTo>
                    <a:pt x="969" y="517"/>
                    <a:pt x="969" y="516"/>
                    <a:pt x="970" y="515"/>
                  </a:cubicBezTo>
                  <a:cubicBezTo>
                    <a:pt x="972" y="513"/>
                    <a:pt x="974" y="511"/>
                    <a:pt x="976" y="510"/>
                  </a:cubicBezTo>
                  <a:cubicBezTo>
                    <a:pt x="980" y="507"/>
                    <a:pt x="984" y="504"/>
                    <a:pt x="986" y="501"/>
                  </a:cubicBezTo>
                  <a:cubicBezTo>
                    <a:pt x="987" y="501"/>
                    <a:pt x="988" y="501"/>
                    <a:pt x="988" y="500"/>
                  </a:cubicBezTo>
                  <a:cubicBezTo>
                    <a:pt x="991" y="499"/>
                    <a:pt x="993" y="498"/>
                    <a:pt x="996" y="496"/>
                  </a:cubicBezTo>
                  <a:cubicBezTo>
                    <a:pt x="997" y="495"/>
                    <a:pt x="998" y="495"/>
                    <a:pt x="999" y="494"/>
                  </a:cubicBezTo>
                  <a:cubicBezTo>
                    <a:pt x="999" y="496"/>
                    <a:pt x="999" y="498"/>
                    <a:pt x="999" y="500"/>
                  </a:cubicBezTo>
                  <a:cubicBezTo>
                    <a:pt x="1000" y="513"/>
                    <a:pt x="1003" y="527"/>
                    <a:pt x="1008" y="539"/>
                  </a:cubicBezTo>
                  <a:cubicBezTo>
                    <a:pt x="1008" y="540"/>
                    <a:pt x="1009" y="542"/>
                    <a:pt x="1009" y="543"/>
                  </a:cubicBezTo>
                  <a:cubicBezTo>
                    <a:pt x="991" y="543"/>
                    <a:pt x="974" y="542"/>
                    <a:pt x="956" y="542"/>
                  </a:cubicBezTo>
                  <a:cubicBezTo>
                    <a:pt x="957" y="540"/>
                    <a:pt x="958" y="537"/>
                    <a:pt x="959" y="534"/>
                  </a:cubicBezTo>
                  <a:close/>
                  <a:moveTo>
                    <a:pt x="1017" y="544"/>
                  </a:moveTo>
                  <a:cubicBezTo>
                    <a:pt x="1017" y="544"/>
                    <a:pt x="1017" y="544"/>
                    <a:pt x="1017" y="544"/>
                  </a:cubicBezTo>
                  <a:cubicBezTo>
                    <a:pt x="1017" y="543"/>
                    <a:pt x="1016" y="542"/>
                    <a:pt x="1016" y="542"/>
                  </a:cubicBezTo>
                  <a:cubicBezTo>
                    <a:pt x="1016" y="541"/>
                    <a:pt x="1016" y="541"/>
                    <a:pt x="1015" y="540"/>
                  </a:cubicBezTo>
                  <a:cubicBezTo>
                    <a:pt x="1015" y="540"/>
                    <a:pt x="1015" y="540"/>
                    <a:pt x="1015" y="539"/>
                  </a:cubicBezTo>
                  <a:cubicBezTo>
                    <a:pt x="1015" y="539"/>
                    <a:pt x="1015" y="539"/>
                    <a:pt x="1015" y="539"/>
                  </a:cubicBezTo>
                  <a:cubicBezTo>
                    <a:pt x="1015" y="539"/>
                    <a:pt x="1015" y="539"/>
                    <a:pt x="1015" y="539"/>
                  </a:cubicBezTo>
                  <a:cubicBezTo>
                    <a:pt x="1012" y="533"/>
                    <a:pt x="1011" y="527"/>
                    <a:pt x="1009" y="521"/>
                  </a:cubicBezTo>
                  <a:cubicBezTo>
                    <a:pt x="1008" y="514"/>
                    <a:pt x="1007" y="508"/>
                    <a:pt x="1007" y="502"/>
                  </a:cubicBezTo>
                  <a:cubicBezTo>
                    <a:pt x="1006" y="499"/>
                    <a:pt x="1006" y="495"/>
                    <a:pt x="1006" y="492"/>
                  </a:cubicBezTo>
                  <a:cubicBezTo>
                    <a:pt x="1006" y="491"/>
                    <a:pt x="1006" y="489"/>
                    <a:pt x="1006" y="488"/>
                  </a:cubicBezTo>
                  <a:cubicBezTo>
                    <a:pt x="1006" y="487"/>
                    <a:pt x="1006" y="487"/>
                    <a:pt x="1006" y="486"/>
                  </a:cubicBezTo>
                  <a:cubicBezTo>
                    <a:pt x="1006" y="486"/>
                    <a:pt x="1006" y="485"/>
                    <a:pt x="1006" y="485"/>
                  </a:cubicBezTo>
                  <a:cubicBezTo>
                    <a:pt x="1007" y="484"/>
                    <a:pt x="1007" y="484"/>
                    <a:pt x="1007" y="484"/>
                  </a:cubicBezTo>
                  <a:cubicBezTo>
                    <a:pt x="1007" y="482"/>
                    <a:pt x="1007" y="480"/>
                    <a:pt x="1008" y="478"/>
                  </a:cubicBezTo>
                  <a:cubicBezTo>
                    <a:pt x="1008" y="477"/>
                    <a:pt x="1009" y="477"/>
                    <a:pt x="1009" y="476"/>
                  </a:cubicBezTo>
                  <a:cubicBezTo>
                    <a:pt x="1013" y="473"/>
                    <a:pt x="1016" y="468"/>
                    <a:pt x="1018" y="463"/>
                  </a:cubicBezTo>
                  <a:cubicBezTo>
                    <a:pt x="1019" y="460"/>
                    <a:pt x="1019" y="456"/>
                    <a:pt x="1017" y="453"/>
                  </a:cubicBezTo>
                  <a:cubicBezTo>
                    <a:pt x="1019" y="451"/>
                    <a:pt x="1020" y="450"/>
                    <a:pt x="1022" y="448"/>
                  </a:cubicBezTo>
                  <a:cubicBezTo>
                    <a:pt x="1024" y="446"/>
                    <a:pt x="1026" y="445"/>
                    <a:pt x="1029" y="443"/>
                  </a:cubicBezTo>
                  <a:cubicBezTo>
                    <a:pt x="1034" y="439"/>
                    <a:pt x="1039" y="437"/>
                    <a:pt x="1046" y="436"/>
                  </a:cubicBezTo>
                  <a:cubicBezTo>
                    <a:pt x="1048" y="435"/>
                    <a:pt x="1049" y="435"/>
                    <a:pt x="1051" y="434"/>
                  </a:cubicBezTo>
                  <a:cubicBezTo>
                    <a:pt x="1052" y="434"/>
                    <a:pt x="1053" y="434"/>
                    <a:pt x="1053" y="434"/>
                  </a:cubicBezTo>
                  <a:cubicBezTo>
                    <a:pt x="1054" y="434"/>
                    <a:pt x="1054" y="434"/>
                    <a:pt x="1055" y="434"/>
                  </a:cubicBezTo>
                  <a:cubicBezTo>
                    <a:pt x="1055" y="434"/>
                    <a:pt x="1055" y="434"/>
                    <a:pt x="1056" y="434"/>
                  </a:cubicBezTo>
                  <a:cubicBezTo>
                    <a:pt x="1055" y="434"/>
                    <a:pt x="1055" y="434"/>
                    <a:pt x="1056" y="434"/>
                  </a:cubicBezTo>
                  <a:cubicBezTo>
                    <a:pt x="1055" y="434"/>
                    <a:pt x="1057" y="434"/>
                    <a:pt x="1057" y="434"/>
                  </a:cubicBezTo>
                  <a:cubicBezTo>
                    <a:pt x="1057" y="433"/>
                    <a:pt x="1058" y="433"/>
                    <a:pt x="1058" y="433"/>
                  </a:cubicBezTo>
                  <a:cubicBezTo>
                    <a:pt x="1059" y="433"/>
                    <a:pt x="1059" y="433"/>
                    <a:pt x="1060" y="433"/>
                  </a:cubicBezTo>
                  <a:cubicBezTo>
                    <a:pt x="1062" y="433"/>
                    <a:pt x="1064" y="432"/>
                    <a:pt x="1065" y="432"/>
                  </a:cubicBezTo>
                  <a:cubicBezTo>
                    <a:pt x="1069" y="432"/>
                    <a:pt x="1072" y="433"/>
                    <a:pt x="1075" y="433"/>
                  </a:cubicBezTo>
                  <a:cubicBezTo>
                    <a:pt x="1075" y="433"/>
                    <a:pt x="1075" y="434"/>
                    <a:pt x="1076" y="434"/>
                  </a:cubicBezTo>
                  <a:cubicBezTo>
                    <a:pt x="1076" y="434"/>
                    <a:pt x="1076" y="434"/>
                    <a:pt x="1077" y="434"/>
                  </a:cubicBezTo>
                  <a:cubicBezTo>
                    <a:pt x="1077" y="434"/>
                    <a:pt x="1078" y="434"/>
                    <a:pt x="1079" y="434"/>
                  </a:cubicBezTo>
                  <a:cubicBezTo>
                    <a:pt x="1080" y="434"/>
                    <a:pt x="1082" y="435"/>
                    <a:pt x="1083" y="435"/>
                  </a:cubicBezTo>
                  <a:cubicBezTo>
                    <a:pt x="1084" y="436"/>
                    <a:pt x="1085" y="436"/>
                    <a:pt x="1087" y="437"/>
                  </a:cubicBezTo>
                  <a:cubicBezTo>
                    <a:pt x="1086" y="437"/>
                    <a:pt x="1088" y="437"/>
                    <a:pt x="1088" y="437"/>
                  </a:cubicBezTo>
                  <a:cubicBezTo>
                    <a:pt x="1089" y="438"/>
                    <a:pt x="1090" y="438"/>
                    <a:pt x="1091" y="439"/>
                  </a:cubicBezTo>
                  <a:cubicBezTo>
                    <a:pt x="1094" y="441"/>
                    <a:pt x="1096" y="442"/>
                    <a:pt x="1099" y="445"/>
                  </a:cubicBezTo>
                  <a:cubicBezTo>
                    <a:pt x="1100" y="446"/>
                    <a:pt x="1102" y="447"/>
                    <a:pt x="1103" y="449"/>
                  </a:cubicBezTo>
                  <a:cubicBezTo>
                    <a:pt x="1103" y="449"/>
                    <a:pt x="1104" y="450"/>
                    <a:pt x="1105" y="451"/>
                  </a:cubicBezTo>
                  <a:cubicBezTo>
                    <a:pt x="1105" y="451"/>
                    <a:pt x="1105" y="451"/>
                    <a:pt x="1105" y="452"/>
                  </a:cubicBezTo>
                  <a:cubicBezTo>
                    <a:pt x="1106" y="452"/>
                    <a:pt x="1106" y="452"/>
                    <a:pt x="1106" y="452"/>
                  </a:cubicBezTo>
                  <a:cubicBezTo>
                    <a:pt x="1106" y="452"/>
                    <a:pt x="1106" y="452"/>
                    <a:pt x="1106" y="452"/>
                  </a:cubicBezTo>
                  <a:cubicBezTo>
                    <a:pt x="1108" y="455"/>
                    <a:pt x="1110" y="459"/>
                    <a:pt x="1111" y="462"/>
                  </a:cubicBezTo>
                  <a:cubicBezTo>
                    <a:pt x="1113" y="466"/>
                    <a:pt x="1114" y="468"/>
                    <a:pt x="1115" y="472"/>
                  </a:cubicBezTo>
                  <a:cubicBezTo>
                    <a:pt x="1116" y="476"/>
                    <a:pt x="1117" y="479"/>
                    <a:pt x="1118" y="483"/>
                  </a:cubicBezTo>
                  <a:cubicBezTo>
                    <a:pt x="1118" y="483"/>
                    <a:pt x="1118" y="484"/>
                    <a:pt x="1118" y="484"/>
                  </a:cubicBezTo>
                  <a:cubicBezTo>
                    <a:pt x="1118" y="485"/>
                    <a:pt x="1118" y="485"/>
                    <a:pt x="1118" y="485"/>
                  </a:cubicBezTo>
                  <a:cubicBezTo>
                    <a:pt x="1118" y="486"/>
                    <a:pt x="1118" y="487"/>
                    <a:pt x="1119" y="487"/>
                  </a:cubicBezTo>
                  <a:cubicBezTo>
                    <a:pt x="1119" y="489"/>
                    <a:pt x="1119" y="491"/>
                    <a:pt x="1119" y="493"/>
                  </a:cubicBezTo>
                  <a:cubicBezTo>
                    <a:pt x="1119" y="497"/>
                    <a:pt x="1119" y="501"/>
                    <a:pt x="1118" y="504"/>
                  </a:cubicBezTo>
                  <a:cubicBezTo>
                    <a:pt x="1118" y="504"/>
                    <a:pt x="1118" y="506"/>
                    <a:pt x="1118" y="506"/>
                  </a:cubicBezTo>
                  <a:cubicBezTo>
                    <a:pt x="1118" y="507"/>
                    <a:pt x="1118" y="508"/>
                    <a:pt x="1118" y="508"/>
                  </a:cubicBezTo>
                  <a:cubicBezTo>
                    <a:pt x="1117" y="510"/>
                    <a:pt x="1117" y="512"/>
                    <a:pt x="1116" y="514"/>
                  </a:cubicBezTo>
                  <a:cubicBezTo>
                    <a:pt x="1115" y="518"/>
                    <a:pt x="1114" y="522"/>
                    <a:pt x="1112" y="526"/>
                  </a:cubicBezTo>
                  <a:cubicBezTo>
                    <a:pt x="1111" y="530"/>
                    <a:pt x="1109" y="533"/>
                    <a:pt x="1108" y="536"/>
                  </a:cubicBezTo>
                  <a:cubicBezTo>
                    <a:pt x="1106" y="539"/>
                    <a:pt x="1104" y="542"/>
                    <a:pt x="1103" y="545"/>
                  </a:cubicBezTo>
                  <a:cubicBezTo>
                    <a:pt x="1101" y="545"/>
                    <a:pt x="1100" y="545"/>
                    <a:pt x="1098" y="545"/>
                  </a:cubicBezTo>
                  <a:cubicBezTo>
                    <a:pt x="1071" y="545"/>
                    <a:pt x="1044" y="544"/>
                    <a:pt x="1017" y="544"/>
                  </a:cubicBezTo>
                  <a:close/>
                  <a:moveTo>
                    <a:pt x="1116" y="540"/>
                  </a:moveTo>
                  <a:cubicBezTo>
                    <a:pt x="1116" y="540"/>
                    <a:pt x="1116" y="540"/>
                    <a:pt x="1116" y="540"/>
                  </a:cubicBezTo>
                  <a:cubicBezTo>
                    <a:pt x="1118" y="536"/>
                    <a:pt x="1120" y="531"/>
                    <a:pt x="1122" y="526"/>
                  </a:cubicBezTo>
                  <a:cubicBezTo>
                    <a:pt x="1123" y="525"/>
                    <a:pt x="1123" y="524"/>
                    <a:pt x="1123" y="523"/>
                  </a:cubicBezTo>
                  <a:cubicBezTo>
                    <a:pt x="1125" y="526"/>
                    <a:pt x="1126" y="530"/>
                    <a:pt x="1128" y="533"/>
                  </a:cubicBezTo>
                  <a:cubicBezTo>
                    <a:pt x="1130" y="536"/>
                    <a:pt x="1132" y="540"/>
                    <a:pt x="1135" y="543"/>
                  </a:cubicBezTo>
                  <a:cubicBezTo>
                    <a:pt x="1136" y="544"/>
                    <a:pt x="1136" y="544"/>
                    <a:pt x="1137" y="545"/>
                  </a:cubicBezTo>
                  <a:cubicBezTo>
                    <a:pt x="1129" y="545"/>
                    <a:pt x="1121" y="545"/>
                    <a:pt x="1113" y="545"/>
                  </a:cubicBezTo>
                  <a:cubicBezTo>
                    <a:pt x="1114" y="543"/>
                    <a:pt x="1115" y="542"/>
                    <a:pt x="1116" y="540"/>
                  </a:cubicBezTo>
                  <a:close/>
                  <a:moveTo>
                    <a:pt x="1150" y="544"/>
                  </a:moveTo>
                  <a:cubicBezTo>
                    <a:pt x="1150" y="544"/>
                    <a:pt x="1150" y="544"/>
                    <a:pt x="1150" y="544"/>
                  </a:cubicBezTo>
                  <a:cubicBezTo>
                    <a:pt x="1149" y="543"/>
                    <a:pt x="1147" y="542"/>
                    <a:pt x="1145" y="541"/>
                  </a:cubicBezTo>
                  <a:cubicBezTo>
                    <a:pt x="1144" y="540"/>
                    <a:pt x="1142" y="539"/>
                    <a:pt x="1141" y="538"/>
                  </a:cubicBezTo>
                  <a:cubicBezTo>
                    <a:pt x="1138" y="535"/>
                    <a:pt x="1136" y="532"/>
                    <a:pt x="1134" y="529"/>
                  </a:cubicBezTo>
                  <a:cubicBezTo>
                    <a:pt x="1132" y="525"/>
                    <a:pt x="1130" y="522"/>
                    <a:pt x="1129" y="518"/>
                  </a:cubicBezTo>
                  <a:cubicBezTo>
                    <a:pt x="1128" y="517"/>
                    <a:pt x="1127" y="515"/>
                    <a:pt x="1127" y="513"/>
                  </a:cubicBezTo>
                  <a:cubicBezTo>
                    <a:pt x="1126" y="513"/>
                    <a:pt x="1126" y="513"/>
                    <a:pt x="1126" y="513"/>
                  </a:cubicBezTo>
                  <a:cubicBezTo>
                    <a:pt x="1127" y="509"/>
                    <a:pt x="1128" y="505"/>
                    <a:pt x="1128" y="501"/>
                  </a:cubicBezTo>
                  <a:cubicBezTo>
                    <a:pt x="1129" y="485"/>
                    <a:pt x="1126" y="470"/>
                    <a:pt x="1119" y="456"/>
                  </a:cubicBezTo>
                  <a:cubicBezTo>
                    <a:pt x="1119" y="454"/>
                    <a:pt x="1119" y="451"/>
                    <a:pt x="1119" y="449"/>
                  </a:cubicBezTo>
                  <a:cubicBezTo>
                    <a:pt x="1120" y="445"/>
                    <a:pt x="1121" y="441"/>
                    <a:pt x="1122" y="438"/>
                  </a:cubicBezTo>
                  <a:cubicBezTo>
                    <a:pt x="1124" y="429"/>
                    <a:pt x="1127" y="422"/>
                    <a:pt x="1132" y="416"/>
                  </a:cubicBezTo>
                  <a:cubicBezTo>
                    <a:pt x="1135" y="410"/>
                    <a:pt x="1141" y="404"/>
                    <a:pt x="1148" y="400"/>
                  </a:cubicBezTo>
                  <a:cubicBezTo>
                    <a:pt x="1150" y="399"/>
                    <a:pt x="1151" y="398"/>
                    <a:pt x="1152" y="398"/>
                  </a:cubicBezTo>
                  <a:cubicBezTo>
                    <a:pt x="1154" y="397"/>
                    <a:pt x="1156" y="396"/>
                    <a:pt x="1158" y="396"/>
                  </a:cubicBezTo>
                  <a:cubicBezTo>
                    <a:pt x="1158" y="396"/>
                    <a:pt x="1158" y="396"/>
                    <a:pt x="1158" y="396"/>
                  </a:cubicBezTo>
                  <a:cubicBezTo>
                    <a:pt x="1158" y="396"/>
                    <a:pt x="1158" y="396"/>
                    <a:pt x="1158" y="396"/>
                  </a:cubicBezTo>
                  <a:cubicBezTo>
                    <a:pt x="1159" y="396"/>
                    <a:pt x="1159" y="396"/>
                    <a:pt x="1160" y="396"/>
                  </a:cubicBezTo>
                  <a:cubicBezTo>
                    <a:pt x="1161" y="396"/>
                    <a:pt x="1162" y="396"/>
                    <a:pt x="1163" y="396"/>
                  </a:cubicBezTo>
                  <a:cubicBezTo>
                    <a:pt x="1164" y="396"/>
                    <a:pt x="1164" y="396"/>
                    <a:pt x="1165" y="396"/>
                  </a:cubicBezTo>
                  <a:cubicBezTo>
                    <a:pt x="1166" y="396"/>
                    <a:pt x="1166" y="396"/>
                    <a:pt x="1167" y="396"/>
                  </a:cubicBezTo>
                  <a:cubicBezTo>
                    <a:pt x="1168" y="396"/>
                    <a:pt x="1168" y="396"/>
                    <a:pt x="1168" y="396"/>
                  </a:cubicBezTo>
                  <a:cubicBezTo>
                    <a:pt x="1174" y="397"/>
                    <a:pt x="1179" y="399"/>
                    <a:pt x="1183" y="401"/>
                  </a:cubicBezTo>
                  <a:cubicBezTo>
                    <a:pt x="1189" y="404"/>
                    <a:pt x="1193" y="408"/>
                    <a:pt x="1197" y="411"/>
                  </a:cubicBezTo>
                  <a:cubicBezTo>
                    <a:pt x="1202" y="415"/>
                    <a:pt x="1205" y="419"/>
                    <a:pt x="1208" y="424"/>
                  </a:cubicBezTo>
                  <a:cubicBezTo>
                    <a:pt x="1208" y="426"/>
                    <a:pt x="1209" y="429"/>
                    <a:pt x="1210" y="432"/>
                  </a:cubicBezTo>
                  <a:cubicBezTo>
                    <a:pt x="1206" y="434"/>
                    <a:pt x="1202" y="436"/>
                    <a:pt x="1199" y="438"/>
                  </a:cubicBezTo>
                  <a:cubicBezTo>
                    <a:pt x="1199" y="438"/>
                    <a:pt x="1199" y="438"/>
                    <a:pt x="1198" y="438"/>
                  </a:cubicBezTo>
                  <a:cubicBezTo>
                    <a:pt x="1198" y="438"/>
                    <a:pt x="1198" y="437"/>
                    <a:pt x="1197" y="437"/>
                  </a:cubicBezTo>
                  <a:cubicBezTo>
                    <a:pt x="1197" y="437"/>
                    <a:pt x="1196" y="437"/>
                    <a:pt x="1196" y="438"/>
                  </a:cubicBezTo>
                  <a:cubicBezTo>
                    <a:pt x="1195" y="438"/>
                    <a:pt x="1195" y="439"/>
                    <a:pt x="1195" y="439"/>
                  </a:cubicBezTo>
                  <a:cubicBezTo>
                    <a:pt x="1195" y="440"/>
                    <a:pt x="1195" y="440"/>
                    <a:pt x="1195" y="441"/>
                  </a:cubicBezTo>
                  <a:cubicBezTo>
                    <a:pt x="1193" y="442"/>
                    <a:pt x="1192" y="444"/>
                    <a:pt x="1190" y="445"/>
                  </a:cubicBezTo>
                  <a:cubicBezTo>
                    <a:pt x="1180" y="455"/>
                    <a:pt x="1174" y="468"/>
                    <a:pt x="1170" y="482"/>
                  </a:cubicBezTo>
                  <a:cubicBezTo>
                    <a:pt x="1165" y="495"/>
                    <a:pt x="1164" y="510"/>
                    <a:pt x="1164" y="524"/>
                  </a:cubicBezTo>
                  <a:cubicBezTo>
                    <a:pt x="1164" y="529"/>
                    <a:pt x="1165" y="534"/>
                    <a:pt x="1166" y="539"/>
                  </a:cubicBezTo>
                  <a:cubicBezTo>
                    <a:pt x="1166" y="540"/>
                    <a:pt x="1166" y="542"/>
                    <a:pt x="1167" y="544"/>
                  </a:cubicBezTo>
                  <a:cubicBezTo>
                    <a:pt x="1161" y="544"/>
                    <a:pt x="1156" y="544"/>
                    <a:pt x="1150" y="544"/>
                  </a:cubicBezTo>
                  <a:close/>
                  <a:moveTo>
                    <a:pt x="1221" y="307"/>
                  </a:moveTo>
                  <a:cubicBezTo>
                    <a:pt x="1221" y="307"/>
                    <a:pt x="1221" y="307"/>
                    <a:pt x="1221" y="307"/>
                  </a:cubicBezTo>
                  <a:cubicBezTo>
                    <a:pt x="1221" y="307"/>
                    <a:pt x="1221" y="307"/>
                    <a:pt x="1221" y="307"/>
                  </a:cubicBezTo>
                  <a:cubicBezTo>
                    <a:pt x="1221" y="307"/>
                    <a:pt x="1221" y="306"/>
                    <a:pt x="1222" y="306"/>
                  </a:cubicBezTo>
                  <a:cubicBezTo>
                    <a:pt x="1223" y="305"/>
                    <a:pt x="1224" y="304"/>
                    <a:pt x="1225" y="304"/>
                  </a:cubicBezTo>
                  <a:cubicBezTo>
                    <a:pt x="1227" y="303"/>
                    <a:pt x="1228" y="302"/>
                    <a:pt x="1229" y="302"/>
                  </a:cubicBezTo>
                  <a:cubicBezTo>
                    <a:pt x="1229" y="302"/>
                    <a:pt x="1230" y="301"/>
                    <a:pt x="1231" y="301"/>
                  </a:cubicBezTo>
                  <a:cubicBezTo>
                    <a:pt x="1231" y="301"/>
                    <a:pt x="1231" y="301"/>
                    <a:pt x="1232" y="300"/>
                  </a:cubicBezTo>
                  <a:cubicBezTo>
                    <a:pt x="1233" y="300"/>
                    <a:pt x="1234" y="300"/>
                    <a:pt x="1236" y="299"/>
                  </a:cubicBezTo>
                  <a:cubicBezTo>
                    <a:pt x="1236" y="299"/>
                    <a:pt x="1237" y="299"/>
                    <a:pt x="1238" y="299"/>
                  </a:cubicBezTo>
                  <a:cubicBezTo>
                    <a:pt x="1238" y="299"/>
                    <a:pt x="1238" y="299"/>
                    <a:pt x="1238" y="299"/>
                  </a:cubicBezTo>
                  <a:cubicBezTo>
                    <a:pt x="1238" y="299"/>
                    <a:pt x="1239" y="299"/>
                    <a:pt x="1239" y="299"/>
                  </a:cubicBezTo>
                  <a:cubicBezTo>
                    <a:pt x="1240" y="299"/>
                    <a:pt x="1242" y="299"/>
                    <a:pt x="1243" y="299"/>
                  </a:cubicBezTo>
                  <a:cubicBezTo>
                    <a:pt x="1244" y="299"/>
                    <a:pt x="1245" y="299"/>
                    <a:pt x="1245" y="299"/>
                  </a:cubicBezTo>
                  <a:cubicBezTo>
                    <a:pt x="1246" y="299"/>
                    <a:pt x="1246" y="299"/>
                    <a:pt x="1246" y="299"/>
                  </a:cubicBezTo>
                  <a:cubicBezTo>
                    <a:pt x="1246" y="299"/>
                    <a:pt x="1246" y="299"/>
                    <a:pt x="1247" y="299"/>
                  </a:cubicBezTo>
                  <a:cubicBezTo>
                    <a:pt x="1248" y="299"/>
                    <a:pt x="1250" y="300"/>
                    <a:pt x="1251" y="300"/>
                  </a:cubicBezTo>
                  <a:cubicBezTo>
                    <a:pt x="1252" y="300"/>
                    <a:pt x="1252" y="301"/>
                    <a:pt x="1253" y="301"/>
                  </a:cubicBezTo>
                  <a:cubicBezTo>
                    <a:pt x="1254" y="301"/>
                    <a:pt x="1254" y="301"/>
                    <a:pt x="1254" y="301"/>
                  </a:cubicBezTo>
                  <a:cubicBezTo>
                    <a:pt x="1254" y="301"/>
                    <a:pt x="1254" y="301"/>
                    <a:pt x="1255" y="302"/>
                  </a:cubicBezTo>
                  <a:cubicBezTo>
                    <a:pt x="1257" y="303"/>
                    <a:pt x="1260" y="305"/>
                    <a:pt x="1263" y="307"/>
                  </a:cubicBezTo>
                  <a:cubicBezTo>
                    <a:pt x="1263" y="307"/>
                    <a:pt x="1263" y="307"/>
                    <a:pt x="1263" y="307"/>
                  </a:cubicBezTo>
                  <a:cubicBezTo>
                    <a:pt x="1263" y="307"/>
                    <a:pt x="1263" y="307"/>
                    <a:pt x="1263" y="307"/>
                  </a:cubicBezTo>
                  <a:cubicBezTo>
                    <a:pt x="1264" y="307"/>
                    <a:pt x="1264" y="308"/>
                    <a:pt x="1264" y="308"/>
                  </a:cubicBezTo>
                  <a:cubicBezTo>
                    <a:pt x="1265" y="309"/>
                    <a:pt x="1266" y="310"/>
                    <a:pt x="1266" y="310"/>
                  </a:cubicBezTo>
                  <a:cubicBezTo>
                    <a:pt x="1267" y="311"/>
                    <a:pt x="1269" y="312"/>
                    <a:pt x="1270" y="314"/>
                  </a:cubicBezTo>
                  <a:cubicBezTo>
                    <a:pt x="1270" y="314"/>
                    <a:pt x="1271" y="315"/>
                    <a:pt x="1271" y="315"/>
                  </a:cubicBezTo>
                  <a:cubicBezTo>
                    <a:pt x="1271" y="315"/>
                    <a:pt x="1271" y="315"/>
                    <a:pt x="1271" y="315"/>
                  </a:cubicBezTo>
                  <a:cubicBezTo>
                    <a:pt x="1271" y="316"/>
                    <a:pt x="1271" y="316"/>
                    <a:pt x="1271" y="316"/>
                  </a:cubicBezTo>
                  <a:cubicBezTo>
                    <a:pt x="1272" y="316"/>
                    <a:pt x="1272" y="316"/>
                    <a:pt x="1272" y="316"/>
                  </a:cubicBezTo>
                  <a:cubicBezTo>
                    <a:pt x="1273" y="318"/>
                    <a:pt x="1274" y="319"/>
                    <a:pt x="1275" y="321"/>
                  </a:cubicBezTo>
                  <a:cubicBezTo>
                    <a:pt x="1275" y="322"/>
                    <a:pt x="1276" y="323"/>
                    <a:pt x="1277" y="324"/>
                  </a:cubicBezTo>
                  <a:cubicBezTo>
                    <a:pt x="1277" y="325"/>
                    <a:pt x="1277" y="325"/>
                    <a:pt x="1277" y="325"/>
                  </a:cubicBezTo>
                  <a:cubicBezTo>
                    <a:pt x="1277" y="326"/>
                    <a:pt x="1277" y="326"/>
                    <a:pt x="1277" y="326"/>
                  </a:cubicBezTo>
                  <a:cubicBezTo>
                    <a:pt x="1277" y="326"/>
                    <a:pt x="1278" y="327"/>
                    <a:pt x="1278" y="328"/>
                  </a:cubicBezTo>
                  <a:cubicBezTo>
                    <a:pt x="1279" y="331"/>
                    <a:pt x="1280" y="334"/>
                    <a:pt x="1280" y="337"/>
                  </a:cubicBezTo>
                  <a:cubicBezTo>
                    <a:pt x="1280" y="337"/>
                    <a:pt x="1280" y="338"/>
                    <a:pt x="1280" y="338"/>
                  </a:cubicBezTo>
                  <a:cubicBezTo>
                    <a:pt x="1280" y="338"/>
                    <a:pt x="1280" y="338"/>
                    <a:pt x="1280" y="338"/>
                  </a:cubicBezTo>
                  <a:cubicBezTo>
                    <a:pt x="1280" y="338"/>
                    <a:pt x="1280" y="338"/>
                    <a:pt x="1280" y="338"/>
                  </a:cubicBezTo>
                  <a:cubicBezTo>
                    <a:pt x="1280" y="339"/>
                    <a:pt x="1280" y="340"/>
                    <a:pt x="1280" y="341"/>
                  </a:cubicBezTo>
                  <a:cubicBezTo>
                    <a:pt x="1280" y="343"/>
                    <a:pt x="1280" y="344"/>
                    <a:pt x="1280" y="346"/>
                  </a:cubicBezTo>
                  <a:cubicBezTo>
                    <a:pt x="1280" y="349"/>
                    <a:pt x="1280" y="352"/>
                    <a:pt x="1280" y="355"/>
                  </a:cubicBezTo>
                  <a:cubicBezTo>
                    <a:pt x="1280" y="356"/>
                    <a:pt x="1280" y="356"/>
                    <a:pt x="1280" y="357"/>
                  </a:cubicBezTo>
                  <a:cubicBezTo>
                    <a:pt x="1280" y="357"/>
                    <a:pt x="1280" y="357"/>
                    <a:pt x="1280" y="357"/>
                  </a:cubicBezTo>
                  <a:cubicBezTo>
                    <a:pt x="1280" y="358"/>
                    <a:pt x="1280" y="358"/>
                    <a:pt x="1280" y="359"/>
                  </a:cubicBezTo>
                  <a:cubicBezTo>
                    <a:pt x="1280" y="361"/>
                    <a:pt x="1279" y="362"/>
                    <a:pt x="1279" y="364"/>
                  </a:cubicBezTo>
                  <a:cubicBezTo>
                    <a:pt x="1278" y="367"/>
                    <a:pt x="1277" y="370"/>
                    <a:pt x="1276" y="374"/>
                  </a:cubicBezTo>
                  <a:cubicBezTo>
                    <a:pt x="1276" y="375"/>
                    <a:pt x="1275" y="377"/>
                    <a:pt x="1275" y="378"/>
                  </a:cubicBezTo>
                  <a:cubicBezTo>
                    <a:pt x="1274" y="379"/>
                    <a:pt x="1274" y="380"/>
                    <a:pt x="1274" y="380"/>
                  </a:cubicBezTo>
                  <a:cubicBezTo>
                    <a:pt x="1274" y="381"/>
                    <a:pt x="1274" y="381"/>
                    <a:pt x="1274" y="381"/>
                  </a:cubicBezTo>
                  <a:cubicBezTo>
                    <a:pt x="1273" y="381"/>
                    <a:pt x="1273" y="382"/>
                    <a:pt x="1273" y="382"/>
                  </a:cubicBezTo>
                  <a:cubicBezTo>
                    <a:pt x="1272" y="385"/>
                    <a:pt x="1270" y="388"/>
                    <a:pt x="1269" y="391"/>
                  </a:cubicBezTo>
                  <a:cubicBezTo>
                    <a:pt x="1267" y="393"/>
                    <a:pt x="1266" y="395"/>
                    <a:pt x="1265" y="397"/>
                  </a:cubicBezTo>
                  <a:cubicBezTo>
                    <a:pt x="1264" y="398"/>
                    <a:pt x="1263" y="399"/>
                    <a:pt x="1263" y="400"/>
                  </a:cubicBezTo>
                  <a:cubicBezTo>
                    <a:pt x="1262" y="401"/>
                    <a:pt x="1262" y="401"/>
                    <a:pt x="1261" y="402"/>
                  </a:cubicBezTo>
                  <a:cubicBezTo>
                    <a:pt x="1261" y="402"/>
                    <a:pt x="1261" y="402"/>
                    <a:pt x="1261" y="403"/>
                  </a:cubicBezTo>
                  <a:cubicBezTo>
                    <a:pt x="1261" y="402"/>
                    <a:pt x="1261" y="403"/>
                    <a:pt x="1261" y="403"/>
                  </a:cubicBezTo>
                  <a:cubicBezTo>
                    <a:pt x="1258" y="407"/>
                    <a:pt x="1255" y="411"/>
                    <a:pt x="1251" y="414"/>
                  </a:cubicBezTo>
                  <a:cubicBezTo>
                    <a:pt x="1246" y="418"/>
                    <a:pt x="1240" y="422"/>
                    <a:pt x="1234" y="425"/>
                  </a:cubicBezTo>
                  <a:cubicBezTo>
                    <a:pt x="1231" y="426"/>
                    <a:pt x="1228" y="427"/>
                    <a:pt x="1224" y="428"/>
                  </a:cubicBezTo>
                  <a:cubicBezTo>
                    <a:pt x="1223" y="428"/>
                    <a:pt x="1221" y="428"/>
                    <a:pt x="1219" y="429"/>
                  </a:cubicBezTo>
                  <a:cubicBezTo>
                    <a:pt x="1219" y="429"/>
                    <a:pt x="1219" y="429"/>
                    <a:pt x="1218" y="429"/>
                  </a:cubicBezTo>
                  <a:cubicBezTo>
                    <a:pt x="1218" y="429"/>
                    <a:pt x="1218" y="428"/>
                    <a:pt x="1218" y="428"/>
                  </a:cubicBezTo>
                  <a:cubicBezTo>
                    <a:pt x="1217" y="424"/>
                    <a:pt x="1215" y="420"/>
                    <a:pt x="1213" y="416"/>
                  </a:cubicBezTo>
                  <a:cubicBezTo>
                    <a:pt x="1208" y="409"/>
                    <a:pt x="1202" y="403"/>
                    <a:pt x="1195" y="398"/>
                  </a:cubicBezTo>
                  <a:cubicBezTo>
                    <a:pt x="1193" y="396"/>
                    <a:pt x="1191" y="395"/>
                    <a:pt x="1189" y="394"/>
                  </a:cubicBezTo>
                  <a:cubicBezTo>
                    <a:pt x="1189" y="392"/>
                    <a:pt x="1189" y="391"/>
                    <a:pt x="1190" y="389"/>
                  </a:cubicBezTo>
                  <a:cubicBezTo>
                    <a:pt x="1190" y="386"/>
                    <a:pt x="1189" y="382"/>
                    <a:pt x="1189" y="379"/>
                  </a:cubicBezTo>
                  <a:cubicBezTo>
                    <a:pt x="1188" y="375"/>
                    <a:pt x="1187" y="371"/>
                    <a:pt x="1186" y="368"/>
                  </a:cubicBezTo>
                  <a:cubicBezTo>
                    <a:pt x="1187" y="364"/>
                    <a:pt x="1189" y="360"/>
                    <a:pt x="1190" y="357"/>
                  </a:cubicBezTo>
                  <a:cubicBezTo>
                    <a:pt x="1192" y="350"/>
                    <a:pt x="1194" y="346"/>
                    <a:pt x="1197" y="339"/>
                  </a:cubicBezTo>
                  <a:cubicBezTo>
                    <a:pt x="1200" y="333"/>
                    <a:pt x="1203" y="328"/>
                    <a:pt x="1207" y="322"/>
                  </a:cubicBezTo>
                  <a:cubicBezTo>
                    <a:pt x="1207" y="322"/>
                    <a:pt x="1208" y="321"/>
                    <a:pt x="1208" y="320"/>
                  </a:cubicBezTo>
                  <a:cubicBezTo>
                    <a:pt x="1208" y="320"/>
                    <a:pt x="1208" y="320"/>
                    <a:pt x="1209" y="320"/>
                  </a:cubicBezTo>
                  <a:cubicBezTo>
                    <a:pt x="1209" y="320"/>
                    <a:pt x="1209" y="319"/>
                    <a:pt x="1209" y="319"/>
                  </a:cubicBezTo>
                  <a:cubicBezTo>
                    <a:pt x="1210" y="318"/>
                    <a:pt x="1211" y="317"/>
                    <a:pt x="1212" y="315"/>
                  </a:cubicBezTo>
                  <a:cubicBezTo>
                    <a:pt x="1214" y="313"/>
                    <a:pt x="1217" y="311"/>
                    <a:pt x="1219" y="308"/>
                  </a:cubicBezTo>
                  <a:cubicBezTo>
                    <a:pt x="1219" y="308"/>
                    <a:pt x="1220" y="307"/>
                    <a:pt x="1221" y="307"/>
                  </a:cubicBezTo>
                  <a:close/>
                  <a:moveTo>
                    <a:pt x="1151" y="240"/>
                  </a:moveTo>
                  <a:cubicBezTo>
                    <a:pt x="1151" y="240"/>
                    <a:pt x="1151" y="240"/>
                    <a:pt x="1151" y="240"/>
                  </a:cubicBezTo>
                  <a:cubicBezTo>
                    <a:pt x="1151" y="240"/>
                    <a:pt x="1151" y="240"/>
                    <a:pt x="1151" y="240"/>
                  </a:cubicBezTo>
                  <a:cubicBezTo>
                    <a:pt x="1152" y="240"/>
                    <a:pt x="1152" y="240"/>
                    <a:pt x="1152" y="240"/>
                  </a:cubicBezTo>
                  <a:cubicBezTo>
                    <a:pt x="1152" y="240"/>
                    <a:pt x="1152" y="240"/>
                    <a:pt x="1153" y="239"/>
                  </a:cubicBezTo>
                  <a:cubicBezTo>
                    <a:pt x="1153" y="239"/>
                    <a:pt x="1154" y="238"/>
                    <a:pt x="1155" y="238"/>
                  </a:cubicBezTo>
                  <a:cubicBezTo>
                    <a:pt x="1157" y="237"/>
                    <a:pt x="1158" y="236"/>
                    <a:pt x="1160" y="235"/>
                  </a:cubicBezTo>
                  <a:cubicBezTo>
                    <a:pt x="1160" y="235"/>
                    <a:pt x="1160" y="235"/>
                    <a:pt x="1160" y="235"/>
                  </a:cubicBezTo>
                  <a:cubicBezTo>
                    <a:pt x="1161" y="235"/>
                    <a:pt x="1161" y="234"/>
                    <a:pt x="1161" y="234"/>
                  </a:cubicBezTo>
                  <a:cubicBezTo>
                    <a:pt x="1162" y="234"/>
                    <a:pt x="1163" y="234"/>
                    <a:pt x="1164" y="233"/>
                  </a:cubicBezTo>
                  <a:cubicBezTo>
                    <a:pt x="1166" y="233"/>
                    <a:pt x="1168" y="232"/>
                    <a:pt x="1170" y="232"/>
                  </a:cubicBezTo>
                  <a:cubicBezTo>
                    <a:pt x="1171" y="232"/>
                    <a:pt x="1173" y="232"/>
                    <a:pt x="1175" y="232"/>
                  </a:cubicBezTo>
                  <a:cubicBezTo>
                    <a:pt x="1176" y="231"/>
                    <a:pt x="1178" y="232"/>
                    <a:pt x="1180" y="232"/>
                  </a:cubicBezTo>
                  <a:cubicBezTo>
                    <a:pt x="1180" y="232"/>
                    <a:pt x="1181" y="232"/>
                    <a:pt x="1181" y="232"/>
                  </a:cubicBezTo>
                  <a:cubicBezTo>
                    <a:pt x="1181" y="232"/>
                    <a:pt x="1181" y="232"/>
                    <a:pt x="1181" y="232"/>
                  </a:cubicBezTo>
                  <a:cubicBezTo>
                    <a:pt x="1182" y="232"/>
                    <a:pt x="1183" y="232"/>
                    <a:pt x="1184" y="233"/>
                  </a:cubicBezTo>
                  <a:cubicBezTo>
                    <a:pt x="1185" y="233"/>
                    <a:pt x="1185" y="233"/>
                    <a:pt x="1186" y="233"/>
                  </a:cubicBezTo>
                  <a:cubicBezTo>
                    <a:pt x="1186" y="234"/>
                    <a:pt x="1187" y="234"/>
                    <a:pt x="1187" y="234"/>
                  </a:cubicBezTo>
                  <a:cubicBezTo>
                    <a:pt x="1186" y="234"/>
                    <a:pt x="1188" y="234"/>
                    <a:pt x="1188" y="234"/>
                  </a:cubicBezTo>
                  <a:cubicBezTo>
                    <a:pt x="1189" y="235"/>
                    <a:pt x="1191" y="236"/>
                    <a:pt x="1192" y="236"/>
                  </a:cubicBezTo>
                  <a:cubicBezTo>
                    <a:pt x="1192" y="237"/>
                    <a:pt x="1193" y="237"/>
                    <a:pt x="1193" y="238"/>
                  </a:cubicBezTo>
                  <a:cubicBezTo>
                    <a:pt x="1194" y="238"/>
                    <a:pt x="1194" y="238"/>
                    <a:pt x="1194" y="238"/>
                  </a:cubicBezTo>
                  <a:cubicBezTo>
                    <a:pt x="1194" y="238"/>
                    <a:pt x="1195" y="238"/>
                    <a:pt x="1195" y="239"/>
                  </a:cubicBezTo>
                  <a:cubicBezTo>
                    <a:pt x="1196" y="240"/>
                    <a:pt x="1197" y="241"/>
                    <a:pt x="1198" y="242"/>
                  </a:cubicBezTo>
                  <a:cubicBezTo>
                    <a:pt x="1199" y="243"/>
                    <a:pt x="1199" y="243"/>
                    <a:pt x="1200" y="244"/>
                  </a:cubicBezTo>
                  <a:cubicBezTo>
                    <a:pt x="1200" y="244"/>
                    <a:pt x="1200" y="244"/>
                    <a:pt x="1200" y="244"/>
                  </a:cubicBezTo>
                  <a:cubicBezTo>
                    <a:pt x="1200" y="244"/>
                    <a:pt x="1200" y="245"/>
                    <a:pt x="1201" y="245"/>
                  </a:cubicBezTo>
                  <a:cubicBezTo>
                    <a:pt x="1202" y="248"/>
                    <a:pt x="1204" y="251"/>
                    <a:pt x="1205" y="254"/>
                  </a:cubicBezTo>
                  <a:cubicBezTo>
                    <a:pt x="1206" y="254"/>
                    <a:pt x="1206" y="254"/>
                    <a:pt x="1206" y="255"/>
                  </a:cubicBezTo>
                  <a:cubicBezTo>
                    <a:pt x="1206" y="255"/>
                    <a:pt x="1206" y="255"/>
                    <a:pt x="1206" y="255"/>
                  </a:cubicBezTo>
                  <a:cubicBezTo>
                    <a:pt x="1206" y="256"/>
                    <a:pt x="1207" y="257"/>
                    <a:pt x="1207" y="257"/>
                  </a:cubicBezTo>
                  <a:cubicBezTo>
                    <a:pt x="1207" y="259"/>
                    <a:pt x="1208" y="261"/>
                    <a:pt x="1208" y="262"/>
                  </a:cubicBezTo>
                  <a:cubicBezTo>
                    <a:pt x="1209" y="266"/>
                    <a:pt x="1210" y="269"/>
                    <a:pt x="1210" y="272"/>
                  </a:cubicBezTo>
                  <a:cubicBezTo>
                    <a:pt x="1210" y="272"/>
                    <a:pt x="1210" y="272"/>
                    <a:pt x="1210" y="272"/>
                  </a:cubicBezTo>
                  <a:cubicBezTo>
                    <a:pt x="1210" y="272"/>
                    <a:pt x="1210" y="272"/>
                    <a:pt x="1210" y="272"/>
                  </a:cubicBezTo>
                  <a:cubicBezTo>
                    <a:pt x="1210" y="273"/>
                    <a:pt x="1210" y="273"/>
                    <a:pt x="1210" y="274"/>
                  </a:cubicBezTo>
                  <a:cubicBezTo>
                    <a:pt x="1211" y="274"/>
                    <a:pt x="1211" y="275"/>
                    <a:pt x="1211" y="276"/>
                  </a:cubicBezTo>
                  <a:cubicBezTo>
                    <a:pt x="1211" y="278"/>
                    <a:pt x="1211" y="280"/>
                    <a:pt x="1211" y="282"/>
                  </a:cubicBezTo>
                  <a:cubicBezTo>
                    <a:pt x="1211" y="287"/>
                    <a:pt x="1210" y="290"/>
                    <a:pt x="1209" y="295"/>
                  </a:cubicBezTo>
                  <a:cubicBezTo>
                    <a:pt x="1209" y="297"/>
                    <a:pt x="1208" y="299"/>
                    <a:pt x="1207" y="302"/>
                  </a:cubicBezTo>
                  <a:cubicBezTo>
                    <a:pt x="1207" y="304"/>
                    <a:pt x="1206" y="306"/>
                    <a:pt x="1206" y="309"/>
                  </a:cubicBezTo>
                  <a:cubicBezTo>
                    <a:pt x="1206" y="310"/>
                    <a:pt x="1206" y="310"/>
                    <a:pt x="1206" y="310"/>
                  </a:cubicBezTo>
                  <a:cubicBezTo>
                    <a:pt x="1199" y="318"/>
                    <a:pt x="1194" y="327"/>
                    <a:pt x="1189" y="337"/>
                  </a:cubicBezTo>
                  <a:cubicBezTo>
                    <a:pt x="1188" y="339"/>
                    <a:pt x="1188" y="341"/>
                    <a:pt x="1187" y="343"/>
                  </a:cubicBezTo>
                  <a:cubicBezTo>
                    <a:pt x="1184" y="346"/>
                    <a:pt x="1180" y="348"/>
                    <a:pt x="1177" y="351"/>
                  </a:cubicBezTo>
                  <a:cubicBezTo>
                    <a:pt x="1175" y="348"/>
                    <a:pt x="1172" y="346"/>
                    <a:pt x="1169" y="344"/>
                  </a:cubicBezTo>
                  <a:cubicBezTo>
                    <a:pt x="1166" y="342"/>
                    <a:pt x="1164" y="341"/>
                    <a:pt x="1161" y="339"/>
                  </a:cubicBezTo>
                  <a:cubicBezTo>
                    <a:pt x="1162" y="338"/>
                    <a:pt x="1164" y="336"/>
                    <a:pt x="1165" y="335"/>
                  </a:cubicBezTo>
                  <a:cubicBezTo>
                    <a:pt x="1174" y="326"/>
                    <a:pt x="1181" y="317"/>
                    <a:pt x="1188" y="307"/>
                  </a:cubicBezTo>
                  <a:cubicBezTo>
                    <a:pt x="1193" y="298"/>
                    <a:pt x="1197" y="288"/>
                    <a:pt x="1198" y="278"/>
                  </a:cubicBezTo>
                  <a:cubicBezTo>
                    <a:pt x="1199" y="280"/>
                    <a:pt x="1199" y="281"/>
                    <a:pt x="1200" y="282"/>
                  </a:cubicBezTo>
                  <a:cubicBezTo>
                    <a:pt x="1201" y="283"/>
                    <a:pt x="1202" y="283"/>
                    <a:pt x="1203" y="282"/>
                  </a:cubicBezTo>
                  <a:cubicBezTo>
                    <a:pt x="1203" y="282"/>
                    <a:pt x="1203" y="281"/>
                    <a:pt x="1204" y="280"/>
                  </a:cubicBezTo>
                  <a:cubicBezTo>
                    <a:pt x="1204" y="280"/>
                    <a:pt x="1204" y="279"/>
                    <a:pt x="1204" y="279"/>
                  </a:cubicBezTo>
                  <a:cubicBezTo>
                    <a:pt x="1204" y="277"/>
                    <a:pt x="1204" y="276"/>
                    <a:pt x="1204" y="275"/>
                  </a:cubicBezTo>
                  <a:cubicBezTo>
                    <a:pt x="1203" y="273"/>
                    <a:pt x="1203" y="270"/>
                    <a:pt x="1202" y="267"/>
                  </a:cubicBezTo>
                  <a:cubicBezTo>
                    <a:pt x="1201" y="262"/>
                    <a:pt x="1200" y="257"/>
                    <a:pt x="1198" y="252"/>
                  </a:cubicBezTo>
                  <a:cubicBezTo>
                    <a:pt x="1196" y="248"/>
                    <a:pt x="1193" y="243"/>
                    <a:pt x="1188" y="241"/>
                  </a:cubicBezTo>
                  <a:cubicBezTo>
                    <a:pt x="1184" y="238"/>
                    <a:pt x="1179" y="238"/>
                    <a:pt x="1174" y="239"/>
                  </a:cubicBezTo>
                  <a:cubicBezTo>
                    <a:pt x="1172" y="240"/>
                    <a:pt x="1173" y="244"/>
                    <a:pt x="1176" y="243"/>
                  </a:cubicBezTo>
                  <a:cubicBezTo>
                    <a:pt x="1180" y="242"/>
                    <a:pt x="1183" y="243"/>
                    <a:pt x="1186" y="245"/>
                  </a:cubicBezTo>
                  <a:cubicBezTo>
                    <a:pt x="1189" y="248"/>
                    <a:pt x="1192" y="252"/>
                    <a:pt x="1193" y="256"/>
                  </a:cubicBezTo>
                  <a:cubicBezTo>
                    <a:pt x="1195" y="260"/>
                    <a:pt x="1196" y="265"/>
                    <a:pt x="1197" y="270"/>
                  </a:cubicBezTo>
                  <a:cubicBezTo>
                    <a:pt x="1197" y="271"/>
                    <a:pt x="1198" y="273"/>
                    <a:pt x="1198" y="274"/>
                  </a:cubicBezTo>
                  <a:cubicBezTo>
                    <a:pt x="1198" y="274"/>
                    <a:pt x="1197" y="274"/>
                    <a:pt x="1197" y="274"/>
                  </a:cubicBezTo>
                  <a:cubicBezTo>
                    <a:pt x="1197" y="272"/>
                    <a:pt x="1196" y="271"/>
                    <a:pt x="1194" y="272"/>
                  </a:cubicBezTo>
                  <a:cubicBezTo>
                    <a:pt x="1189" y="273"/>
                    <a:pt x="1185" y="274"/>
                    <a:pt x="1181" y="275"/>
                  </a:cubicBezTo>
                  <a:cubicBezTo>
                    <a:pt x="1179" y="276"/>
                    <a:pt x="1176" y="276"/>
                    <a:pt x="1174" y="277"/>
                  </a:cubicBezTo>
                  <a:cubicBezTo>
                    <a:pt x="1172" y="277"/>
                    <a:pt x="1170" y="277"/>
                    <a:pt x="1168" y="278"/>
                  </a:cubicBezTo>
                  <a:cubicBezTo>
                    <a:pt x="1164" y="279"/>
                    <a:pt x="1159" y="279"/>
                    <a:pt x="1155" y="279"/>
                  </a:cubicBezTo>
                  <a:cubicBezTo>
                    <a:pt x="1151" y="279"/>
                    <a:pt x="1146" y="278"/>
                    <a:pt x="1142" y="277"/>
                  </a:cubicBezTo>
                  <a:cubicBezTo>
                    <a:pt x="1138" y="277"/>
                    <a:pt x="1134" y="276"/>
                    <a:pt x="1131" y="275"/>
                  </a:cubicBezTo>
                  <a:cubicBezTo>
                    <a:pt x="1135" y="262"/>
                    <a:pt x="1140" y="250"/>
                    <a:pt x="1151" y="240"/>
                  </a:cubicBezTo>
                  <a:close/>
                  <a:moveTo>
                    <a:pt x="944" y="166"/>
                  </a:moveTo>
                  <a:cubicBezTo>
                    <a:pt x="944" y="166"/>
                    <a:pt x="944" y="166"/>
                    <a:pt x="944" y="166"/>
                  </a:cubicBezTo>
                  <a:cubicBezTo>
                    <a:pt x="944" y="165"/>
                    <a:pt x="943" y="164"/>
                    <a:pt x="943" y="163"/>
                  </a:cubicBezTo>
                  <a:cubicBezTo>
                    <a:pt x="943" y="162"/>
                    <a:pt x="943" y="162"/>
                    <a:pt x="943" y="162"/>
                  </a:cubicBezTo>
                  <a:cubicBezTo>
                    <a:pt x="942" y="162"/>
                    <a:pt x="942" y="162"/>
                    <a:pt x="942" y="161"/>
                  </a:cubicBezTo>
                  <a:cubicBezTo>
                    <a:pt x="942" y="161"/>
                    <a:pt x="942" y="161"/>
                    <a:pt x="942" y="161"/>
                  </a:cubicBezTo>
                  <a:cubicBezTo>
                    <a:pt x="941" y="157"/>
                    <a:pt x="939" y="154"/>
                    <a:pt x="938" y="150"/>
                  </a:cubicBezTo>
                  <a:cubicBezTo>
                    <a:pt x="937" y="146"/>
                    <a:pt x="936" y="143"/>
                    <a:pt x="936" y="139"/>
                  </a:cubicBezTo>
                  <a:cubicBezTo>
                    <a:pt x="936" y="138"/>
                    <a:pt x="936" y="137"/>
                    <a:pt x="936" y="136"/>
                  </a:cubicBezTo>
                  <a:cubicBezTo>
                    <a:pt x="935" y="136"/>
                    <a:pt x="935" y="136"/>
                    <a:pt x="935" y="135"/>
                  </a:cubicBezTo>
                  <a:cubicBezTo>
                    <a:pt x="935" y="134"/>
                    <a:pt x="935" y="134"/>
                    <a:pt x="935" y="134"/>
                  </a:cubicBezTo>
                  <a:cubicBezTo>
                    <a:pt x="935" y="132"/>
                    <a:pt x="935" y="131"/>
                    <a:pt x="935" y="129"/>
                  </a:cubicBezTo>
                  <a:cubicBezTo>
                    <a:pt x="934" y="125"/>
                    <a:pt x="934" y="121"/>
                    <a:pt x="935" y="118"/>
                  </a:cubicBezTo>
                  <a:cubicBezTo>
                    <a:pt x="935" y="116"/>
                    <a:pt x="935" y="114"/>
                    <a:pt x="935" y="112"/>
                  </a:cubicBezTo>
                  <a:cubicBezTo>
                    <a:pt x="935" y="112"/>
                    <a:pt x="935" y="112"/>
                    <a:pt x="935" y="112"/>
                  </a:cubicBezTo>
                  <a:cubicBezTo>
                    <a:pt x="935" y="112"/>
                    <a:pt x="935" y="112"/>
                    <a:pt x="935" y="112"/>
                  </a:cubicBezTo>
                  <a:cubicBezTo>
                    <a:pt x="935" y="112"/>
                    <a:pt x="935" y="111"/>
                    <a:pt x="935" y="111"/>
                  </a:cubicBezTo>
                  <a:cubicBezTo>
                    <a:pt x="936" y="110"/>
                    <a:pt x="936" y="109"/>
                    <a:pt x="936" y="108"/>
                  </a:cubicBezTo>
                  <a:cubicBezTo>
                    <a:pt x="936" y="104"/>
                    <a:pt x="937" y="101"/>
                    <a:pt x="938" y="97"/>
                  </a:cubicBezTo>
                  <a:cubicBezTo>
                    <a:pt x="939" y="97"/>
                    <a:pt x="939" y="97"/>
                    <a:pt x="939" y="96"/>
                  </a:cubicBezTo>
                  <a:cubicBezTo>
                    <a:pt x="939" y="96"/>
                    <a:pt x="939" y="96"/>
                    <a:pt x="939" y="95"/>
                  </a:cubicBezTo>
                  <a:cubicBezTo>
                    <a:pt x="939" y="95"/>
                    <a:pt x="940" y="94"/>
                    <a:pt x="940" y="93"/>
                  </a:cubicBezTo>
                  <a:cubicBezTo>
                    <a:pt x="941" y="92"/>
                    <a:pt x="942" y="89"/>
                    <a:pt x="943" y="88"/>
                  </a:cubicBezTo>
                  <a:cubicBezTo>
                    <a:pt x="944" y="86"/>
                    <a:pt x="945" y="85"/>
                    <a:pt x="946" y="83"/>
                  </a:cubicBezTo>
                  <a:cubicBezTo>
                    <a:pt x="947" y="81"/>
                    <a:pt x="948" y="81"/>
                    <a:pt x="949" y="79"/>
                  </a:cubicBezTo>
                  <a:cubicBezTo>
                    <a:pt x="952" y="76"/>
                    <a:pt x="954" y="73"/>
                    <a:pt x="958" y="70"/>
                  </a:cubicBezTo>
                  <a:cubicBezTo>
                    <a:pt x="958" y="69"/>
                    <a:pt x="959" y="69"/>
                    <a:pt x="960" y="68"/>
                  </a:cubicBezTo>
                  <a:cubicBezTo>
                    <a:pt x="960" y="68"/>
                    <a:pt x="960" y="68"/>
                    <a:pt x="960" y="68"/>
                  </a:cubicBezTo>
                  <a:cubicBezTo>
                    <a:pt x="960" y="68"/>
                    <a:pt x="961" y="67"/>
                    <a:pt x="961" y="67"/>
                  </a:cubicBezTo>
                  <a:cubicBezTo>
                    <a:pt x="962" y="66"/>
                    <a:pt x="963" y="65"/>
                    <a:pt x="965" y="64"/>
                  </a:cubicBezTo>
                  <a:cubicBezTo>
                    <a:pt x="966" y="64"/>
                    <a:pt x="967" y="63"/>
                    <a:pt x="969" y="62"/>
                  </a:cubicBezTo>
                  <a:cubicBezTo>
                    <a:pt x="969" y="62"/>
                    <a:pt x="970" y="62"/>
                    <a:pt x="970" y="62"/>
                  </a:cubicBezTo>
                  <a:cubicBezTo>
                    <a:pt x="971" y="61"/>
                    <a:pt x="971" y="61"/>
                    <a:pt x="972" y="61"/>
                  </a:cubicBezTo>
                  <a:cubicBezTo>
                    <a:pt x="973" y="61"/>
                    <a:pt x="974" y="60"/>
                    <a:pt x="975" y="60"/>
                  </a:cubicBezTo>
                  <a:cubicBezTo>
                    <a:pt x="976" y="60"/>
                    <a:pt x="976" y="60"/>
                    <a:pt x="977" y="60"/>
                  </a:cubicBezTo>
                  <a:cubicBezTo>
                    <a:pt x="976" y="60"/>
                    <a:pt x="978" y="60"/>
                    <a:pt x="978" y="60"/>
                  </a:cubicBezTo>
                  <a:cubicBezTo>
                    <a:pt x="979" y="60"/>
                    <a:pt x="980" y="60"/>
                    <a:pt x="982" y="60"/>
                  </a:cubicBezTo>
                  <a:cubicBezTo>
                    <a:pt x="982" y="60"/>
                    <a:pt x="982" y="60"/>
                    <a:pt x="983" y="60"/>
                  </a:cubicBezTo>
                  <a:cubicBezTo>
                    <a:pt x="983" y="60"/>
                    <a:pt x="984" y="60"/>
                    <a:pt x="984" y="60"/>
                  </a:cubicBezTo>
                  <a:cubicBezTo>
                    <a:pt x="985" y="60"/>
                    <a:pt x="986" y="61"/>
                    <a:pt x="987" y="61"/>
                  </a:cubicBezTo>
                  <a:cubicBezTo>
                    <a:pt x="987" y="61"/>
                    <a:pt x="988" y="61"/>
                    <a:pt x="988" y="61"/>
                  </a:cubicBezTo>
                  <a:cubicBezTo>
                    <a:pt x="988" y="62"/>
                    <a:pt x="989" y="62"/>
                    <a:pt x="989" y="62"/>
                  </a:cubicBezTo>
                  <a:cubicBezTo>
                    <a:pt x="990" y="62"/>
                    <a:pt x="991" y="63"/>
                    <a:pt x="992" y="64"/>
                  </a:cubicBezTo>
                  <a:cubicBezTo>
                    <a:pt x="992" y="64"/>
                    <a:pt x="993" y="64"/>
                    <a:pt x="993" y="65"/>
                  </a:cubicBezTo>
                  <a:cubicBezTo>
                    <a:pt x="993" y="65"/>
                    <a:pt x="993" y="65"/>
                    <a:pt x="994" y="65"/>
                  </a:cubicBezTo>
                  <a:cubicBezTo>
                    <a:pt x="994" y="65"/>
                    <a:pt x="994" y="65"/>
                    <a:pt x="994" y="65"/>
                  </a:cubicBezTo>
                  <a:cubicBezTo>
                    <a:pt x="996" y="67"/>
                    <a:pt x="998" y="69"/>
                    <a:pt x="1000" y="71"/>
                  </a:cubicBezTo>
                  <a:cubicBezTo>
                    <a:pt x="1000" y="71"/>
                    <a:pt x="1000" y="71"/>
                    <a:pt x="1001" y="72"/>
                  </a:cubicBezTo>
                  <a:cubicBezTo>
                    <a:pt x="1001" y="72"/>
                    <a:pt x="1001" y="73"/>
                    <a:pt x="1002" y="73"/>
                  </a:cubicBezTo>
                  <a:cubicBezTo>
                    <a:pt x="1002" y="74"/>
                    <a:pt x="1003" y="75"/>
                    <a:pt x="1004" y="76"/>
                  </a:cubicBezTo>
                  <a:cubicBezTo>
                    <a:pt x="1005" y="78"/>
                    <a:pt x="1007" y="81"/>
                    <a:pt x="1008" y="83"/>
                  </a:cubicBezTo>
                  <a:cubicBezTo>
                    <a:pt x="1009" y="84"/>
                    <a:pt x="1009" y="86"/>
                    <a:pt x="1009" y="87"/>
                  </a:cubicBezTo>
                  <a:cubicBezTo>
                    <a:pt x="1010" y="88"/>
                    <a:pt x="1010" y="88"/>
                    <a:pt x="1010" y="89"/>
                  </a:cubicBezTo>
                  <a:cubicBezTo>
                    <a:pt x="1010" y="89"/>
                    <a:pt x="1011" y="89"/>
                    <a:pt x="1011" y="90"/>
                  </a:cubicBezTo>
                  <a:cubicBezTo>
                    <a:pt x="1011" y="91"/>
                    <a:pt x="1011" y="91"/>
                    <a:pt x="1011" y="91"/>
                  </a:cubicBezTo>
                  <a:cubicBezTo>
                    <a:pt x="1011" y="91"/>
                    <a:pt x="1011" y="91"/>
                    <a:pt x="1011" y="91"/>
                  </a:cubicBezTo>
                  <a:cubicBezTo>
                    <a:pt x="1013" y="96"/>
                    <a:pt x="1015" y="102"/>
                    <a:pt x="1016" y="108"/>
                  </a:cubicBezTo>
                  <a:cubicBezTo>
                    <a:pt x="1017" y="110"/>
                    <a:pt x="1018" y="113"/>
                    <a:pt x="1018" y="116"/>
                  </a:cubicBezTo>
                  <a:cubicBezTo>
                    <a:pt x="1018" y="117"/>
                    <a:pt x="1018" y="118"/>
                    <a:pt x="1019" y="120"/>
                  </a:cubicBezTo>
                  <a:cubicBezTo>
                    <a:pt x="1019" y="120"/>
                    <a:pt x="1019" y="121"/>
                    <a:pt x="1019" y="121"/>
                  </a:cubicBezTo>
                  <a:cubicBezTo>
                    <a:pt x="1019" y="122"/>
                    <a:pt x="1019" y="123"/>
                    <a:pt x="1019" y="124"/>
                  </a:cubicBezTo>
                  <a:cubicBezTo>
                    <a:pt x="1020" y="129"/>
                    <a:pt x="1020" y="134"/>
                    <a:pt x="1019" y="139"/>
                  </a:cubicBezTo>
                  <a:cubicBezTo>
                    <a:pt x="1019" y="140"/>
                    <a:pt x="1019" y="140"/>
                    <a:pt x="1019" y="141"/>
                  </a:cubicBezTo>
                  <a:cubicBezTo>
                    <a:pt x="1019" y="141"/>
                    <a:pt x="1019" y="141"/>
                    <a:pt x="1019" y="141"/>
                  </a:cubicBezTo>
                  <a:cubicBezTo>
                    <a:pt x="1019" y="141"/>
                    <a:pt x="1019" y="141"/>
                    <a:pt x="1019" y="141"/>
                  </a:cubicBezTo>
                  <a:cubicBezTo>
                    <a:pt x="1019" y="143"/>
                    <a:pt x="1018" y="145"/>
                    <a:pt x="1018" y="148"/>
                  </a:cubicBezTo>
                  <a:cubicBezTo>
                    <a:pt x="1017" y="149"/>
                    <a:pt x="1017" y="151"/>
                    <a:pt x="1016" y="153"/>
                  </a:cubicBezTo>
                  <a:cubicBezTo>
                    <a:pt x="1016" y="154"/>
                    <a:pt x="1016" y="155"/>
                    <a:pt x="1015" y="156"/>
                  </a:cubicBezTo>
                  <a:cubicBezTo>
                    <a:pt x="1015" y="156"/>
                    <a:pt x="1015" y="157"/>
                    <a:pt x="1015" y="157"/>
                  </a:cubicBezTo>
                  <a:cubicBezTo>
                    <a:pt x="1015" y="157"/>
                    <a:pt x="1015" y="158"/>
                    <a:pt x="1014" y="158"/>
                  </a:cubicBezTo>
                  <a:cubicBezTo>
                    <a:pt x="1013" y="161"/>
                    <a:pt x="1011" y="165"/>
                    <a:pt x="1009" y="167"/>
                  </a:cubicBezTo>
                  <a:cubicBezTo>
                    <a:pt x="1009" y="167"/>
                    <a:pt x="1009" y="167"/>
                    <a:pt x="1009" y="167"/>
                  </a:cubicBezTo>
                  <a:cubicBezTo>
                    <a:pt x="1009" y="168"/>
                    <a:pt x="1009" y="168"/>
                    <a:pt x="1009" y="168"/>
                  </a:cubicBezTo>
                  <a:cubicBezTo>
                    <a:pt x="1009" y="168"/>
                    <a:pt x="1008" y="168"/>
                    <a:pt x="1008" y="169"/>
                  </a:cubicBezTo>
                  <a:cubicBezTo>
                    <a:pt x="1008" y="169"/>
                    <a:pt x="1007" y="170"/>
                    <a:pt x="1006" y="171"/>
                  </a:cubicBezTo>
                  <a:cubicBezTo>
                    <a:pt x="1005" y="172"/>
                    <a:pt x="1004" y="173"/>
                    <a:pt x="1002" y="175"/>
                  </a:cubicBezTo>
                  <a:cubicBezTo>
                    <a:pt x="1001" y="176"/>
                    <a:pt x="1000" y="177"/>
                    <a:pt x="999" y="177"/>
                  </a:cubicBezTo>
                  <a:cubicBezTo>
                    <a:pt x="999" y="178"/>
                    <a:pt x="999" y="178"/>
                    <a:pt x="998" y="178"/>
                  </a:cubicBezTo>
                  <a:cubicBezTo>
                    <a:pt x="998" y="179"/>
                    <a:pt x="998" y="179"/>
                    <a:pt x="998" y="179"/>
                  </a:cubicBezTo>
                  <a:cubicBezTo>
                    <a:pt x="997" y="179"/>
                    <a:pt x="997" y="180"/>
                    <a:pt x="996" y="180"/>
                  </a:cubicBezTo>
                  <a:cubicBezTo>
                    <a:pt x="995" y="181"/>
                    <a:pt x="995" y="181"/>
                    <a:pt x="995" y="181"/>
                  </a:cubicBezTo>
                  <a:cubicBezTo>
                    <a:pt x="982" y="186"/>
                    <a:pt x="969" y="187"/>
                    <a:pt x="956" y="188"/>
                  </a:cubicBezTo>
                  <a:cubicBezTo>
                    <a:pt x="953" y="182"/>
                    <a:pt x="949" y="176"/>
                    <a:pt x="947" y="171"/>
                  </a:cubicBezTo>
                  <a:cubicBezTo>
                    <a:pt x="946" y="169"/>
                    <a:pt x="945" y="167"/>
                    <a:pt x="944" y="166"/>
                  </a:cubicBezTo>
                  <a:close/>
                  <a:moveTo>
                    <a:pt x="997" y="191"/>
                  </a:moveTo>
                  <a:cubicBezTo>
                    <a:pt x="997" y="191"/>
                    <a:pt x="997" y="191"/>
                    <a:pt x="997" y="191"/>
                  </a:cubicBezTo>
                  <a:cubicBezTo>
                    <a:pt x="1008" y="188"/>
                    <a:pt x="1019" y="183"/>
                    <a:pt x="1029" y="178"/>
                  </a:cubicBezTo>
                  <a:cubicBezTo>
                    <a:pt x="1036" y="173"/>
                    <a:pt x="1044" y="168"/>
                    <a:pt x="1051" y="163"/>
                  </a:cubicBezTo>
                  <a:cubicBezTo>
                    <a:pt x="1062" y="152"/>
                    <a:pt x="1070" y="138"/>
                    <a:pt x="1074" y="123"/>
                  </a:cubicBezTo>
                  <a:cubicBezTo>
                    <a:pt x="1076" y="115"/>
                    <a:pt x="1077" y="107"/>
                    <a:pt x="1077" y="99"/>
                  </a:cubicBezTo>
                  <a:cubicBezTo>
                    <a:pt x="1079" y="107"/>
                    <a:pt x="1081" y="114"/>
                    <a:pt x="1082" y="123"/>
                  </a:cubicBezTo>
                  <a:cubicBezTo>
                    <a:pt x="1085" y="140"/>
                    <a:pt x="1085" y="159"/>
                    <a:pt x="1084" y="176"/>
                  </a:cubicBezTo>
                  <a:cubicBezTo>
                    <a:pt x="1083" y="188"/>
                    <a:pt x="1082" y="200"/>
                    <a:pt x="1079" y="211"/>
                  </a:cubicBezTo>
                  <a:cubicBezTo>
                    <a:pt x="1076" y="225"/>
                    <a:pt x="1072" y="237"/>
                    <a:pt x="1068" y="250"/>
                  </a:cubicBezTo>
                  <a:cubicBezTo>
                    <a:pt x="1067" y="253"/>
                    <a:pt x="1068" y="255"/>
                    <a:pt x="1070" y="256"/>
                  </a:cubicBezTo>
                  <a:cubicBezTo>
                    <a:pt x="1099" y="277"/>
                    <a:pt x="1135" y="293"/>
                    <a:pt x="1171" y="287"/>
                  </a:cubicBezTo>
                  <a:cubicBezTo>
                    <a:pt x="1178" y="286"/>
                    <a:pt x="1185" y="284"/>
                    <a:pt x="1191" y="281"/>
                  </a:cubicBezTo>
                  <a:cubicBezTo>
                    <a:pt x="1191" y="281"/>
                    <a:pt x="1190" y="282"/>
                    <a:pt x="1190" y="283"/>
                  </a:cubicBezTo>
                  <a:cubicBezTo>
                    <a:pt x="1190" y="284"/>
                    <a:pt x="1190" y="284"/>
                    <a:pt x="1190" y="284"/>
                  </a:cubicBezTo>
                  <a:cubicBezTo>
                    <a:pt x="1189" y="284"/>
                    <a:pt x="1189" y="285"/>
                    <a:pt x="1189" y="285"/>
                  </a:cubicBezTo>
                  <a:cubicBezTo>
                    <a:pt x="1188" y="288"/>
                    <a:pt x="1186" y="291"/>
                    <a:pt x="1185" y="294"/>
                  </a:cubicBezTo>
                  <a:cubicBezTo>
                    <a:pt x="1183" y="297"/>
                    <a:pt x="1181" y="300"/>
                    <a:pt x="1179" y="303"/>
                  </a:cubicBezTo>
                  <a:cubicBezTo>
                    <a:pt x="1178" y="305"/>
                    <a:pt x="1177" y="306"/>
                    <a:pt x="1176" y="308"/>
                  </a:cubicBezTo>
                  <a:cubicBezTo>
                    <a:pt x="1175" y="310"/>
                    <a:pt x="1174" y="311"/>
                    <a:pt x="1173" y="312"/>
                  </a:cubicBezTo>
                  <a:cubicBezTo>
                    <a:pt x="1163" y="325"/>
                    <a:pt x="1151" y="336"/>
                    <a:pt x="1138" y="347"/>
                  </a:cubicBezTo>
                  <a:cubicBezTo>
                    <a:pt x="1137" y="347"/>
                    <a:pt x="1137" y="347"/>
                    <a:pt x="1137" y="347"/>
                  </a:cubicBezTo>
                  <a:cubicBezTo>
                    <a:pt x="1137" y="347"/>
                    <a:pt x="1136" y="348"/>
                    <a:pt x="1136" y="348"/>
                  </a:cubicBezTo>
                  <a:cubicBezTo>
                    <a:pt x="1135" y="349"/>
                    <a:pt x="1134" y="349"/>
                    <a:pt x="1133" y="350"/>
                  </a:cubicBezTo>
                  <a:cubicBezTo>
                    <a:pt x="1132" y="351"/>
                    <a:pt x="1130" y="353"/>
                    <a:pt x="1129" y="354"/>
                  </a:cubicBezTo>
                  <a:cubicBezTo>
                    <a:pt x="1125" y="356"/>
                    <a:pt x="1122" y="359"/>
                    <a:pt x="1118" y="361"/>
                  </a:cubicBezTo>
                  <a:cubicBezTo>
                    <a:pt x="1111" y="365"/>
                    <a:pt x="1105" y="370"/>
                    <a:pt x="1098" y="374"/>
                  </a:cubicBezTo>
                  <a:cubicBezTo>
                    <a:pt x="1085" y="382"/>
                    <a:pt x="1072" y="389"/>
                    <a:pt x="1058" y="394"/>
                  </a:cubicBezTo>
                  <a:cubicBezTo>
                    <a:pt x="1038" y="402"/>
                    <a:pt x="1018" y="407"/>
                    <a:pt x="997" y="408"/>
                  </a:cubicBezTo>
                  <a:cubicBezTo>
                    <a:pt x="981" y="409"/>
                    <a:pt x="964" y="408"/>
                    <a:pt x="948" y="405"/>
                  </a:cubicBezTo>
                  <a:cubicBezTo>
                    <a:pt x="948" y="405"/>
                    <a:pt x="948" y="405"/>
                    <a:pt x="948" y="404"/>
                  </a:cubicBezTo>
                  <a:cubicBezTo>
                    <a:pt x="948" y="403"/>
                    <a:pt x="945" y="401"/>
                    <a:pt x="944" y="403"/>
                  </a:cubicBezTo>
                  <a:cubicBezTo>
                    <a:pt x="944" y="404"/>
                    <a:pt x="943" y="404"/>
                    <a:pt x="943" y="404"/>
                  </a:cubicBezTo>
                  <a:cubicBezTo>
                    <a:pt x="941" y="404"/>
                    <a:pt x="939" y="404"/>
                    <a:pt x="936" y="403"/>
                  </a:cubicBezTo>
                  <a:cubicBezTo>
                    <a:pt x="922" y="399"/>
                    <a:pt x="908" y="395"/>
                    <a:pt x="893" y="391"/>
                  </a:cubicBezTo>
                  <a:cubicBezTo>
                    <a:pt x="886" y="389"/>
                    <a:pt x="879" y="387"/>
                    <a:pt x="871" y="386"/>
                  </a:cubicBezTo>
                  <a:cubicBezTo>
                    <a:pt x="865" y="384"/>
                    <a:pt x="859" y="383"/>
                    <a:pt x="852" y="383"/>
                  </a:cubicBezTo>
                  <a:cubicBezTo>
                    <a:pt x="852" y="382"/>
                    <a:pt x="852" y="381"/>
                    <a:pt x="851" y="381"/>
                  </a:cubicBezTo>
                  <a:cubicBezTo>
                    <a:pt x="851" y="381"/>
                    <a:pt x="851" y="381"/>
                    <a:pt x="851" y="381"/>
                  </a:cubicBezTo>
                  <a:cubicBezTo>
                    <a:pt x="853" y="381"/>
                    <a:pt x="854" y="381"/>
                    <a:pt x="856" y="381"/>
                  </a:cubicBezTo>
                  <a:cubicBezTo>
                    <a:pt x="857" y="380"/>
                    <a:pt x="858" y="378"/>
                    <a:pt x="858" y="377"/>
                  </a:cubicBezTo>
                  <a:cubicBezTo>
                    <a:pt x="857" y="367"/>
                    <a:pt x="853" y="358"/>
                    <a:pt x="852" y="349"/>
                  </a:cubicBezTo>
                  <a:cubicBezTo>
                    <a:pt x="851" y="348"/>
                    <a:pt x="851" y="347"/>
                    <a:pt x="851" y="347"/>
                  </a:cubicBezTo>
                  <a:cubicBezTo>
                    <a:pt x="851" y="346"/>
                    <a:pt x="851" y="346"/>
                    <a:pt x="851" y="346"/>
                  </a:cubicBezTo>
                  <a:cubicBezTo>
                    <a:pt x="851" y="346"/>
                    <a:pt x="851" y="345"/>
                    <a:pt x="851" y="345"/>
                  </a:cubicBezTo>
                  <a:cubicBezTo>
                    <a:pt x="851" y="343"/>
                    <a:pt x="850" y="342"/>
                    <a:pt x="850" y="339"/>
                  </a:cubicBezTo>
                  <a:cubicBezTo>
                    <a:pt x="850" y="338"/>
                    <a:pt x="850" y="337"/>
                    <a:pt x="850" y="335"/>
                  </a:cubicBezTo>
                  <a:cubicBezTo>
                    <a:pt x="852" y="335"/>
                    <a:pt x="854" y="334"/>
                    <a:pt x="856" y="333"/>
                  </a:cubicBezTo>
                  <a:cubicBezTo>
                    <a:pt x="859" y="331"/>
                    <a:pt x="862" y="329"/>
                    <a:pt x="865" y="326"/>
                  </a:cubicBezTo>
                  <a:cubicBezTo>
                    <a:pt x="871" y="322"/>
                    <a:pt x="878" y="320"/>
                    <a:pt x="882" y="314"/>
                  </a:cubicBezTo>
                  <a:cubicBezTo>
                    <a:pt x="884" y="310"/>
                    <a:pt x="881" y="306"/>
                    <a:pt x="878" y="306"/>
                  </a:cubicBezTo>
                  <a:cubicBezTo>
                    <a:pt x="870" y="306"/>
                    <a:pt x="863" y="305"/>
                    <a:pt x="855" y="304"/>
                  </a:cubicBezTo>
                  <a:cubicBezTo>
                    <a:pt x="853" y="304"/>
                    <a:pt x="850" y="304"/>
                    <a:pt x="847" y="304"/>
                  </a:cubicBezTo>
                  <a:cubicBezTo>
                    <a:pt x="846" y="304"/>
                    <a:pt x="844" y="304"/>
                    <a:pt x="843" y="304"/>
                  </a:cubicBezTo>
                  <a:cubicBezTo>
                    <a:pt x="843" y="304"/>
                    <a:pt x="843" y="304"/>
                    <a:pt x="843" y="304"/>
                  </a:cubicBezTo>
                  <a:cubicBezTo>
                    <a:pt x="842" y="301"/>
                    <a:pt x="842" y="299"/>
                    <a:pt x="841" y="297"/>
                  </a:cubicBezTo>
                  <a:cubicBezTo>
                    <a:pt x="841" y="293"/>
                    <a:pt x="839" y="290"/>
                    <a:pt x="838" y="286"/>
                  </a:cubicBezTo>
                  <a:cubicBezTo>
                    <a:pt x="836" y="278"/>
                    <a:pt x="834" y="270"/>
                    <a:pt x="832" y="262"/>
                  </a:cubicBezTo>
                  <a:cubicBezTo>
                    <a:pt x="832" y="261"/>
                    <a:pt x="830" y="259"/>
                    <a:pt x="829" y="259"/>
                  </a:cubicBezTo>
                  <a:cubicBezTo>
                    <a:pt x="827" y="258"/>
                    <a:pt x="825" y="259"/>
                    <a:pt x="824" y="261"/>
                  </a:cubicBezTo>
                  <a:cubicBezTo>
                    <a:pt x="819" y="267"/>
                    <a:pt x="815" y="274"/>
                    <a:pt x="812" y="282"/>
                  </a:cubicBezTo>
                  <a:cubicBezTo>
                    <a:pt x="809" y="288"/>
                    <a:pt x="806" y="295"/>
                    <a:pt x="804" y="302"/>
                  </a:cubicBezTo>
                  <a:cubicBezTo>
                    <a:pt x="802" y="302"/>
                    <a:pt x="799" y="302"/>
                    <a:pt x="797" y="302"/>
                  </a:cubicBezTo>
                  <a:cubicBezTo>
                    <a:pt x="794" y="302"/>
                    <a:pt x="791" y="302"/>
                    <a:pt x="788" y="301"/>
                  </a:cubicBezTo>
                  <a:cubicBezTo>
                    <a:pt x="782" y="301"/>
                    <a:pt x="776" y="300"/>
                    <a:pt x="770" y="299"/>
                  </a:cubicBezTo>
                  <a:cubicBezTo>
                    <a:pt x="767" y="298"/>
                    <a:pt x="763" y="302"/>
                    <a:pt x="765" y="306"/>
                  </a:cubicBezTo>
                  <a:cubicBezTo>
                    <a:pt x="769" y="312"/>
                    <a:pt x="775" y="315"/>
                    <a:pt x="780" y="320"/>
                  </a:cubicBezTo>
                  <a:cubicBezTo>
                    <a:pt x="782" y="323"/>
                    <a:pt x="785" y="326"/>
                    <a:pt x="787" y="328"/>
                  </a:cubicBezTo>
                  <a:cubicBezTo>
                    <a:pt x="788" y="329"/>
                    <a:pt x="789" y="331"/>
                    <a:pt x="790" y="332"/>
                  </a:cubicBezTo>
                  <a:cubicBezTo>
                    <a:pt x="790" y="333"/>
                    <a:pt x="789" y="333"/>
                    <a:pt x="789" y="334"/>
                  </a:cubicBezTo>
                  <a:cubicBezTo>
                    <a:pt x="788" y="335"/>
                    <a:pt x="787" y="337"/>
                    <a:pt x="786" y="338"/>
                  </a:cubicBezTo>
                  <a:cubicBezTo>
                    <a:pt x="783" y="342"/>
                    <a:pt x="781" y="345"/>
                    <a:pt x="778" y="348"/>
                  </a:cubicBezTo>
                  <a:cubicBezTo>
                    <a:pt x="772" y="354"/>
                    <a:pt x="767" y="361"/>
                    <a:pt x="764" y="369"/>
                  </a:cubicBezTo>
                  <a:cubicBezTo>
                    <a:pt x="763" y="373"/>
                    <a:pt x="767" y="375"/>
                    <a:pt x="770" y="375"/>
                  </a:cubicBezTo>
                  <a:cubicBezTo>
                    <a:pt x="775" y="374"/>
                    <a:pt x="780" y="373"/>
                    <a:pt x="785" y="370"/>
                  </a:cubicBezTo>
                  <a:cubicBezTo>
                    <a:pt x="785" y="371"/>
                    <a:pt x="785" y="371"/>
                    <a:pt x="785" y="371"/>
                  </a:cubicBezTo>
                  <a:cubicBezTo>
                    <a:pt x="784" y="371"/>
                    <a:pt x="783" y="373"/>
                    <a:pt x="783" y="373"/>
                  </a:cubicBezTo>
                  <a:cubicBezTo>
                    <a:pt x="783" y="374"/>
                    <a:pt x="783" y="374"/>
                    <a:pt x="783" y="375"/>
                  </a:cubicBezTo>
                  <a:cubicBezTo>
                    <a:pt x="780" y="379"/>
                    <a:pt x="778" y="384"/>
                    <a:pt x="776" y="388"/>
                  </a:cubicBezTo>
                  <a:cubicBezTo>
                    <a:pt x="776" y="389"/>
                    <a:pt x="775" y="390"/>
                    <a:pt x="775" y="391"/>
                  </a:cubicBezTo>
                  <a:cubicBezTo>
                    <a:pt x="771" y="391"/>
                    <a:pt x="767" y="392"/>
                    <a:pt x="763" y="393"/>
                  </a:cubicBezTo>
                  <a:cubicBezTo>
                    <a:pt x="760" y="394"/>
                    <a:pt x="756" y="395"/>
                    <a:pt x="753" y="397"/>
                  </a:cubicBezTo>
                  <a:cubicBezTo>
                    <a:pt x="745" y="400"/>
                    <a:pt x="738" y="404"/>
                    <a:pt x="732" y="409"/>
                  </a:cubicBezTo>
                  <a:cubicBezTo>
                    <a:pt x="726" y="413"/>
                    <a:pt x="721" y="418"/>
                    <a:pt x="716" y="424"/>
                  </a:cubicBezTo>
                  <a:cubicBezTo>
                    <a:pt x="716" y="424"/>
                    <a:pt x="716" y="424"/>
                    <a:pt x="716" y="424"/>
                  </a:cubicBezTo>
                  <a:cubicBezTo>
                    <a:pt x="716" y="424"/>
                    <a:pt x="716" y="423"/>
                    <a:pt x="716" y="423"/>
                  </a:cubicBezTo>
                  <a:cubicBezTo>
                    <a:pt x="718" y="418"/>
                    <a:pt x="719" y="413"/>
                    <a:pt x="720" y="408"/>
                  </a:cubicBezTo>
                  <a:cubicBezTo>
                    <a:pt x="721" y="397"/>
                    <a:pt x="722" y="386"/>
                    <a:pt x="722" y="376"/>
                  </a:cubicBezTo>
                  <a:cubicBezTo>
                    <a:pt x="721" y="355"/>
                    <a:pt x="715" y="336"/>
                    <a:pt x="711" y="316"/>
                  </a:cubicBezTo>
                  <a:cubicBezTo>
                    <a:pt x="707" y="300"/>
                    <a:pt x="704" y="284"/>
                    <a:pt x="697" y="268"/>
                  </a:cubicBezTo>
                  <a:cubicBezTo>
                    <a:pt x="691" y="255"/>
                    <a:pt x="683" y="243"/>
                    <a:pt x="671" y="234"/>
                  </a:cubicBezTo>
                  <a:cubicBezTo>
                    <a:pt x="669" y="233"/>
                    <a:pt x="668" y="232"/>
                    <a:pt x="666" y="231"/>
                  </a:cubicBezTo>
                  <a:cubicBezTo>
                    <a:pt x="666" y="230"/>
                    <a:pt x="666" y="230"/>
                    <a:pt x="666" y="230"/>
                  </a:cubicBezTo>
                  <a:cubicBezTo>
                    <a:pt x="667" y="230"/>
                    <a:pt x="667" y="229"/>
                    <a:pt x="668" y="229"/>
                  </a:cubicBezTo>
                  <a:cubicBezTo>
                    <a:pt x="686" y="194"/>
                    <a:pt x="712" y="162"/>
                    <a:pt x="748" y="148"/>
                  </a:cubicBezTo>
                  <a:cubicBezTo>
                    <a:pt x="766" y="141"/>
                    <a:pt x="785" y="139"/>
                    <a:pt x="804" y="143"/>
                  </a:cubicBezTo>
                  <a:cubicBezTo>
                    <a:pt x="825" y="147"/>
                    <a:pt x="843" y="159"/>
                    <a:pt x="862" y="170"/>
                  </a:cubicBezTo>
                  <a:cubicBezTo>
                    <a:pt x="871" y="176"/>
                    <a:pt x="881" y="181"/>
                    <a:pt x="891" y="186"/>
                  </a:cubicBezTo>
                  <a:cubicBezTo>
                    <a:pt x="902" y="190"/>
                    <a:pt x="913" y="193"/>
                    <a:pt x="925" y="195"/>
                  </a:cubicBezTo>
                  <a:cubicBezTo>
                    <a:pt x="949" y="199"/>
                    <a:pt x="974" y="198"/>
                    <a:pt x="997" y="191"/>
                  </a:cubicBezTo>
                  <a:close/>
                  <a:moveTo>
                    <a:pt x="887" y="120"/>
                  </a:moveTo>
                  <a:cubicBezTo>
                    <a:pt x="887" y="120"/>
                    <a:pt x="887" y="120"/>
                    <a:pt x="887" y="120"/>
                  </a:cubicBezTo>
                  <a:cubicBezTo>
                    <a:pt x="888" y="121"/>
                    <a:pt x="888" y="121"/>
                    <a:pt x="888" y="121"/>
                  </a:cubicBezTo>
                  <a:cubicBezTo>
                    <a:pt x="888" y="121"/>
                    <a:pt x="889" y="121"/>
                    <a:pt x="889" y="121"/>
                  </a:cubicBezTo>
                  <a:cubicBezTo>
                    <a:pt x="891" y="121"/>
                    <a:pt x="893" y="122"/>
                    <a:pt x="894" y="123"/>
                  </a:cubicBezTo>
                  <a:cubicBezTo>
                    <a:pt x="896" y="123"/>
                    <a:pt x="897" y="124"/>
                    <a:pt x="899" y="125"/>
                  </a:cubicBezTo>
                  <a:cubicBezTo>
                    <a:pt x="900" y="126"/>
                    <a:pt x="902" y="127"/>
                    <a:pt x="903" y="128"/>
                  </a:cubicBezTo>
                  <a:cubicBezTo>
                    <a:pt x="903" y="128"/>
                    <a:pt x="903" y="128"/>
                    <a:pt x="904" y="128"/>
                  </a:cubicBezTo>
                  <a:cubicBezTo>
                    <a:pt x="904" y="128"/>
                    <a:pt x="904" y="128"/>
                    <a:pt x="904" y="128"/>
                  </a:cubicBezTo>
                  <a:cubicBezTo>
                    <a:pt x="905" y="129"/>
                    <a:pt x="905" y="129"/>
                    <a:pt x="906" y="130"/>
                  </a:cubicBezTo>
                  <a:cubicBezTo>
                    <a:pt x="907" y="131"/>
                    <a:pt x="908" y="132"/>
                    <a:pt x="909" y="133"/>
                  </a:cubicBezTo>
                  <a:cubicBezTo>
                    <a:pt x="910" y="134"/>
                    <a:pt x="910" y="134"/>
                    <a:pt x="910" y="135"/>
                  </a:cubicBezTo>
                  <a:cubicBezTo>
                    <a:pt x="911" y="135"/>
                    <a:pt x="911" y="135"/>
                    <a:pt x="911" y="135"/>
                  </a:cubicBezTo>
                  <a:cubicBezTo>
                    <a:pt x="911" y="136"/>
                    <a:pt x="911" y="136"/>
                    <a:pt x="911" y="136"/>
                  </a:cubicBezTo>
                  <a:cubicBezTo>
                    <a:pt x="912" y="137"/>
                    <a:pt x="913" y="138"/>
                    <a:pt x="913" y="140"/>
                  </a:cubicBezTo>
                  <a:cubicBezTo>
                    <a:pt x="916" y="145"/>
                    <a:pt x="918" y="149"/>
                    <a:pt x="919" y="156"/>
                  </a:cubicBezTo>
                  <a:cubicBezTo>
                    <a:pt x="919" y="155"/>
                    <a:pt x="919" y="157"/>
                    <a:pt x="919" y="157"/>
                  </a:cubicBezTo>
                  <a:cubicBezTo>
                    <a:pt x="919" y="157"/>
                    <a:pt x="919" y="158"/>
                    <a:pt x="919" y="159"/>
                  </a:cubicBezTo>
                  <a:cubicBezTo>
                    <a:pt x="919" y="160"/>
                    <a:pt x="919" y="162"/>
                    <a:pt x="919" y="163"/>
                  </a:cubicBezTo>
                  <a:cubicBezTo>
                    <a:pt x="919" y="166"/>
                    <a:pt x="918" y="168"/>
                    <a:pt x="917" y="171"/>
                  </a:cubicBezTo>
                  <a:cubicBezTo>
                    <a:pt x="917" y="172"/>
                    <a:pt x="917" y="172"/>
                    <a:pt x="917" y="172"/>
                  </a:cubicBezTo>
                  <a:cubicBezTo>
                    <a:pt x="917" y="172"/>
                    <a:pt x="917" y="172"/>
                    <a:pt x="917" y="172"/>
                  </a:cubicBezTo>
                  <a:cubicBezTo>
                    <a:pt x="917" y="173"/>
                    <a:pt x="916" y="174"/>
                    <a:pt x="916" y="174"/>
                  </a:cubicBezTo>
                  <a:cubicBezTo>
                    <a:pt x="916" y="175"/>
                    <a:pt x="915" y="175"/>
                    <a:pt x="915" y="176"/>
                  </a:cubicBezTo>
                  <a:cubicBezTo>
                    <a:pt x="915" y="176"/>
                    <a:pt x="915" y="176"/>
                    <a:pt x="915" y="176"/>
                  </a:cubicBezTo>
                  <a:cubicBezTo>
                    <a:pt x="914" y="176"/>
                    <a:pt x="914" y="177"/>
                    <a:pt x="914" y="177"/>
                  </a:cubicBezTo>
                  <a:cubicBezTo>
                    <a:pt x="913" y="178"/>
                    <a:pt x="913" y="178"/>
                    <a:pt x="912" y="179"/>
                  </a:cubicBezTo>
                  <a:cubicBezTo>
                    <a:pt x="912" y="179"/>
                    <a:pt x="912" y="179"/>
                    <a:pt x="912" y="179"/>
                  </a:cubicBezTo>
                  <a:cubicBezTo>
                    <a:pt x="912" y="179"/>
                    <a:pt x="912" y="179"/>
                    <a:pt x="912" y="179"/>
                  </a:cubicBezTo>
                  <a:cubicBezTo>
                    <a:pt x="911" y="179"/>
                    <a:pt x="911" y="179"/>
                    <a:pt x="911" y="180"/>
                  </a:cubicBezTo>
                  <a:cubicBezTo>
                    <a:pt x="911" y="180"/>
                    <a:pt x="910" y="181"/>
                    <a:pt x="909" y="181"/>
                  </a:cubicBezTo>
                  <a:cubicBezTo>
                    <a:pt x="909" y="181"/>
                    <a:pt x="908" y="181"/>
                    <a:pt x="907" y="181"/>
                  </a:cubicBezTo>
                  <a:cubicBezTo>
                    <a:pt x="908" y="179"/>
                    <a:pt x="909" y="177"/>
                    <a:pt x="909" y="175"/>
                  </a:cubicBezTo>
                  <a:cubicBezTo>
                    <a:pt x="910" y="170"/>
                    <a:pt x="910" y="166"/>
                    <a:pt x="910" y="161"/>
                  </a:cubicBezTo>
                  <a:cubicBezTo>
                    <a:pt x="911" y="159"/>
                    <a:pt x="906" y="158"/>
                    <a:pt x="906" y="161"/>
                  </a:cubicBezTo>
                  <a:cubicBezTo>
                    <a:pt x="905" y="165"/>
                    <a:pt x="905" y="168"/>
                    <a:pt x="904" y="172"/>
                  </a:cubicBezTo>
                  <a:cubicBezTo>
                    <a:pt x="904" y="174"/>
                    <a:pt x="903" y="176"/>
                    <a:pt x="903" y="177"/>
                  </a:cubicBezTo>
                  <a:cubicBezTo>
                    <a:pt x="902" y="178"/>
                    <a:pt x="902" y="178"/>
                    <a:pt x="902" y="179"/>
                  </a:cubicBezTo>
                  <a:cubicBezTo>
                    <a:pt x="899" y="178"/>
                    <a:pt x="896" y="177"/>
                    <a:pt x="893" y="176"/>
                  </a:cubicBezTo>
                  <a:cubicBezTo>
                    <a:pt x="884" y="171"/>
                    <a:pt x="874" y="166"/>
                    <a:pt x="864" y="160"/>
                  </a:cubicBezTo>
                  <a:cubicBezTo>
                    <a:pt x="862" y="159"/>
                    <a:pt x="860" y="157"/>
                    <a:pt x="857" y="156"/>
                  </a:cubicBezTo>
                  <a:cubicBezTo>
                    <a:pt x="857" y="155"/>
                    <a:pt x="857" y="154"/>
                    <a:pt x="857" y="153"/>
                  </a:cubicBezTo>
                  <a:cubicBezTo>
                    <a:pt x="857" y="149"/>
                    <a:pt x="857" y="147"/>
                    <a:pt x="858" y="143"/>
                  </a:cubicBezTo>
                  <a:cubicBezTo>
                    <a:pt x="860" y="137"/>
                    <a:pt x="863" y="131"/>
                    <a:pt x="868" y="127"/>
                  </a:cubicBezTo>
                  <a:cubicBezTo>
                    <a:pt x="873" y="123"/>
                    <a:pt x="878" y="120"/>
                    <a:pt x="885" y="120"/>
                  </a:cubicBezTo>
                  <a:cubicBezTo>
                    <a:pt x="886" y="120"/>
                    <a:pt x="886" y="120"/>
                    <a:pt x="887" y="120"/>
                  </a:cubicBezTo>
                  <a:close/>
                  <a:moveTo>
                    <a:pt x="818" y="97"/>
                  </a:moveTo>
                  <a:cubicBezTo>
                    <a:pt x="818" y="97"/>
                    <a:pt x="818" y="97"/>
                    <a:pt x="818" y="97"/>
                  </a:cubicBezTo>
                  <a:cubicBezTo>
                    <a:pt x="818" y="96"/>
                    <a:pt x="818" y="96"/>
                    <a:pt x="818" y="96"/>
                  </a:cubicBezTo>
                  <a:cubicBezTo>
                    <a:pt x="819" y="96"/>
                    <a:pt x="819" y="96"/>
                    <a:pt x="819" y="96"/>
                  </a:cubicBezTo>
                  <a:cubicBezTo>
                    <a:pt x="821" y="94"/>
                    <a:pt x="823" y="93"/>
                    <a:pt x="826" y="92"/>
                  </a:cubicBezTo>
                  <a:cubicBezTo>
                    <a:pt x="827" y="91"/>
                    <a:pt x="827" y="91"/>
                    <a:pt x="827" y="91"/>
                  </a:cubicBezTo>
                  <a:cubicBezTo>
                    <a:pt x="828" y="91"/>
                    <a:pt x="828" y="91"/>
                    <a:pt x="829" y="91"/>
                  </a:cubicBezTo>
                  <a:cubicBezTo>
                    <a:pt x="830" y="90"/>
                    <a:pt x="831" y="89"/>
                    <a:pt x="832" y="89"/>
                  </a:cubicBezTo>
                  <a:cubicBezTo>
                    <a:pt x="834" y="89"/>
                    <a:pt x="835" y="88"/>
                    <a:pt x="836" y="88"/>
                  </a:cubicBezTo>
                  <a:cubicBezTo>
                    <a:pt x="837" y="88"/>
                    <a:pt x="837" y="88"/>
                    <a:pt x="838" y="88"/>
                  </a:cubicBezTo>
                  <a:cubicBezTo>
                    <a:pt x="838" y="88"/>
                    <a:pt x="838" y="88"/>
                    <a:pt x="838" y="88"/>
                  </a:cubicBezTo>
                  <a:cubicBezTo>
                    <a:pt x="839" y="88"/>
                    <a:pt x="839" y="88"/>
                    <a:pt x="839" y="88"/>
                  </a:cubicBezTo>
                  <a:cubicBezTo>
                    <a:pt x="842" y="87"/>
                    <a:pt x="844" y="87"/>
                    <a:pt x="847" y="87"/>
                  </a:cubicBezTo>
                  <a:cubicBezTo>
                    <a:pt x="847" y="87"/>
                    <a:pt x="848" y="88"/>
                    <a:pt x="849" y="88"/>
                  </a:cubicBezTo>
                  <a:cubicBezTo>
                    <a:pt x="849" y="88"/>
                    <a:pt x="849" y="88"/>
                    <a:pt x="849" y="88"/>
                  </a:cubicBezTo>
                  <a:cubicBezTo>
                    <a:pt x="849" y="88"/>
                    <a:pt x="849" y="88"/>
                    <a:pt x="850" y="88"/>
                  </a:cubicBezTo>
                  <a:cubicBezTo>
                    <a:pt x="851" y="88"/>
                    <a:pt x="852" y="88"/>
                    <a:pt x="853" y="89"/>
                  </a:cubicBezTo>
                  <a:cubicBezTo>
                    <a:pt x="854" y="89"/>
                    <a:pt x="856" y="89"/>
                    <a:pt x="857" y="90"/>
                  </a:cubicBezTo>
                  <a:cubicBezTo>
                    <a:pt x="857" y="90"/>
                    <a:pt x="857" y="90"/>
                    <a:pt x="857" y="90"/>
                  </a:cubicBezTo>
                  <a:cubicBezTo>
                    <a:pt x="857" y="90"/>
                    <a:pt x="857" y="90"/>
                    <a:pt x="857" y="90"/>
                  </a:cubicBezTo>
                  <a:cubicBezTo>
                    <a:pt x="858" y="91"/>
                    <a:pt x="859" y="91"/>
                    <a:pt x="859" y="91"/>
                  </a:cubicBezTo>
                  <a:cubicBezTo>
                    <a:pt x="860" y="92"/>
                    <a:pt x="861" y="92"/>
                    <a:pt x="862" y="93"/>
                  </a:cubicBezTo>
                  <a:cubicBezTo>
                    <a:pt x="862" y="93"/>
                    <a:pt x="862" y="93"/>
                    <a:pt x="862" y="93"/>
                  </a:cubicBezTo>
                  <a:cubicBezTo>
                    <a:pt x="862" y="93"/>
                    <a:pt x="862" y="93"/>
                    <a:pt x="862" y="94"/>
                  </a:cubicBezTo>
                  <a:cubicBezTo>
                    <a:pt x="863" y="94"/>
                    <a:pt x="863" y="94"/>
                    <a:pt x="863" y="95"/>
                  </a:cubicBezTo>
                  <a:cubicBezTo>
                    <a:pt x="864" y="95"/>
                    <a:pt x="864" y="95"/>
                    <a:pt x="864" y="96"/>
                  </a:cubicBezTo>
                  <a:cubicBezTo>
                    <a:pt x="865" y="96"/>
                    <a:pt x="865" y="96"/>
                    <a:pt x="865" y="96"/>
                  </a:cubicBezTo>
                  <a:cubicBezTo>
                    <a:pt x="865" y="97"/>
                    <a:pt x="866" y="97"/>
                    <a:pt x="866" y="98"/>
                  </a:cubicBezTo>
                  <a:cubicBezTo>
                    <a:pt x="866" y="99"/>
                    <a:pt x="866" y="99"/>
                    <a:pt x="867" y="100"/>
                  </a:cubicBezTo>
                  <a:cubicBezTo>
                    <a:pt x="867" y="100"/>
                    <a:pt x="867" y="100"/>
                    <a:pt x="867" y="101"/>
                  </a:cubicBezTo>
                  <a:cubicBezTo>
                    <a:pt x="867" y="101"/>
                    <a:pt x="867" y="101"/>
                    <a:pt x="868" y="102"/>
                  </a:cubicBezTo>
                  <a:cubicBezTo>
                    <a:pt x="868" y="103"/>
                    <a:pt x="868" y="104"/>
                    <a:pt x="868" y="105"/>
                  </a:cubicBezTo>
                  <a:cubicBezTo>
                    <a:pt x="868" y="105"/>
                    <a:pt x="868" y="105"/>
                    <a:pt x="868" y="105"/>
                  </a:cubicBezTo>
                  <a:cubicBezTo>
                    <a:pt x="868" y="105"/>
                    <a:pt x="868" y="105"/>
                    <a:pt x="868" y="105"/>
                  </a:cubicBezTo>
                  <a:cubicBezTo>
                    <a:pt x="868" y="106"/>
                    <a:pt x="868" y="106"/>
                    <a:pt x="868" y="107"/>
                  </a:cubicBezTo>
                  <a:cubicBezTo>
                    <a:pt x="868" y="108"/>
                    <a:pt x="868" y="109"/>
                    <a:pt x="868" y="110"/>
                  </a:cubicBezTo>
                  <a:cubicBezTo>
                    <a:pt x="868" y="111"/>
                    <a:pt x="868" y="112"/>
                    <a:pt x="868" y="114"/>
                  </a:cubicBezTo>
                  <a:cubicBezTo>
                    <a:pt x="869" y="114"/>
                    <a:pt x="869" y="115"/>
                    <a:pt x="869" y="115"/>
                  </a:cubicBezTo>
                  <a:cubicBezTo>
                    <a:pt x="867" y="117"/>
                    <a:pt x="865" y="118"/>
                    <a:pt x="863" y="120"/>
                  </a:cubicBezTo>
                  <a:cubicBezTo>
                    <a:pt x="862" y="118"/>
                    <a:pt x="862" y="117"/>
                    <a:pt x="861" y="115"/>
                  </a:cubicBezTo>
                  <a:cubicBezTo>
                    <a:pt x="860" y="111"/>
                    <a:pt x="858" y="108"/>
                    <a:pt x="856" y="104"/>
                  </a:cubicBezTo>
                  <a:cubicBezTo>
                    <a:pt x="851" y="98"/>
                    <a:pt x="844" y="93"/>
                    <a:pt x="836" y="94"/>
                  </a:cubicBezTo>
                  <a:cubicBezTo>
                    <a:pt x="833" y="94"/>
                    <a:pt x="833" y="98"/>
                    <a:pt x="836" y="98"/>
                  </a:cubicBezTo>
                  <a:cubicBezTo>
                    <a:pt x="843" y="97"/>
                    <a:pt x="848" y="102"/>
                    <a:pt x="852" y="108"/>
                  </a:cubicBezTo>
                  <a:cubicBezTo>
                    <a:pt x="853" y="111"/>
                    <a:pt x="855" y="114"/>
                    <a:pt x="856" y="117"/>
                  </a:cubicBezTo>
                  <a:cubicBezTo>
                    <a:pt x="856" y="119"/>
                    <a:pt x="857" y="121"/>
                    <a:pt x="857" y="123"/>
                  </a:cubicBezTo>
                  <a:cubicBezTo>
                    <a:pt x="857" y="124"/>
                    <a:pt x="858" y="125"/>
                    <a:pt x="858" y="126"/>
                  </a:cubicBezTo>
                  <a:cubicBezTo>
                    <a:pt x="854" y="131"/>
                    <a:pt x="852" y="138"/>
                    <a:pt x="851" y="144"/>
                  </a:cubicBezTo>
                  <a:cubicBezTo>
                    <a:pt x="850" y="147"/>
                    <a:pt x="850" y="149"/>
                    <a:pt x="850" y="151"/>
                  </a:cubicBezTo>
                  <a:cubicBezTo>
                    <a:pt x="838" y="145"/>
                    <a:pt x="827" y="139"/>
                    <a:pt x="814" y="135"/>
                  </a:cubicBezTo>
                  <a:cubicBezTo>
                    <a:pt x="815" y="133"/>
                    <a:pt x="816" y="131"/>
                    <a:pt x="817" y="129"/>
                  </a:cubicBezTo>
                  <a:cubicBezTo>
                    <a:pt x="818" y="124"/>
                    <a:pt x="819" y="119"/>
                    <a:pt x="819" y="114"/>
                  </a:cubicBezTo>
                  <a:cubicBezTo>
                    <a:pt x="820" y="108"/>
                    <a:pt x="819" y="102"/>
                    <a:pt x="818" y="97"/>
                  </a:cubicBezTo>
                  <a:cubicBezTo>
                    <a:pt x="818" y="97"/>
                    <a:pt x="818" y="97"/>
                    <a:pt x="818" y="97"/>
                  </a:cubicBezTo>
                  <a:close/>
                  <a:moveTo>
                    <a:pt x="754" y="52"/>
                  </a:moveTo>
                  <a:cubicBezTo>
                    <a:pt x="754" y="52"/>
                    <a:pt x="754" y="52"/>
                    <a:pt x="754" y="52"/>
                  </a:cubicBezTo>
                  <a:cubicBezTo>
                    <a:pt x="754" y="52"/>
                    <a:pt x="755" y="52"/>
                    <a:pt x="755" y="52"/>
                  </a:cubicBezTo>
                  <a:cubicBezTo>
                    <a:pt x="755" y="52"/>
                    <a:pt x="756" y="52"/>
                    <a:pt x="756" y="52"/>
                  </a:cubicBezTo>
                  <a:cubicBezTo>
                    <a:pt x="758" y="52"/>
                    <a:pt x="759" y="52"/>
                    <a:pt x="761" y="52"/>
                  </a:cubicBezTo>
                  <a:cubicBezTo>
                    <a:pt x="762" y="52"/>
                    <a:pt x="763" y="52"/>
                    <a:pt x="763" y="52"/>
                  </a:cubicBezTo>
                  <a:cubicBezTo>
                    <a:pt x="764" y="52"/>
                    <a:pt x="764" y="52"/>
                    <a:pt x="764" y="52"/>
                  </a:cubicBezTo>
                  <a:cubicBezTo>
                    <a:pt x="765" y="52"/>
                    <a:pt x="765" y="52"/>
                    <a:pt x="765" y="52"/>
                  </a:cubicBezTo>
                  <a:cubicBezTo>
                    <a:pt x="765" y="52"/>
                    <a:pt x="765" y="52"/>
                    <a:pt x="765" y="52"/>
                  </a:cubicBezTo>
                  <a:cubicBezTo>
                    <a:pt x="769" y="53"/>
                    <a:pt x="772" y="54"/>
                    <a:pt x="775" y="55"/>
                  </a:cubicBezTo>
                  <a:cubicBezTo>
                    <a:pt x="776" y="55"/>
                    <a:pt x="776" y="55"/>
                    <a:pt x="776" y="55"/>
                  </a:cubicBezTo>
                  <a:cubicBezTo>
                    <a:pt x="777" y="55"/>
                    <a:pt x="777" y="55"/>
                    <a:pt x="777" y="55"/>
                  </a:cubicBezTo>
                  <a:cubicBezTo>
                    <a:pt x="777" y="56"/>
                    <a:pt x="777" y="56"/>
                    <a:pt x="777" y="56"/>
                  </a:cubicBezTo>
                  <a:cubicBezTo>
                    <a:pt x="778" y="56"/>
                    <a:pt x="778" y="56"/>
                    <a:pt x="779" y="57"/>
                  </a:cubicBezTo>
                  <a:cubicBezTo>
                    <a:pt x="781" y="58"/>
                    <a:pt x="782" y="58"/>
                    <a:pt x="784" y="60"/>
                  </a:cubicBezTo>
                  <a:cubicBezTo>
                    <a:pt x="785" y="61"/>
                    <a:pt x="787" y="62"/>
                    <a:pt x="788" y="63"/>
                  </a:cubicBezTo>
                  <a:cubicBezTo>
                    <a:pt x="788" y="63"/>
                    <a:pt x="788" y="63"/>
                    <a:pt x="788" y="63"/>
                  </a:cubicBezTo>
                  <a:cubicBezTo>
                    <a:pt x="788" y="63"/>
                    <a:pt x="789" y="64"/>
                    <a:pt x="789" y="64"/>
                  </a:cubicBezTo>
                  <a:cubicBezTo>
                    <a:pt x="790" y="65"/>
                    <a:pt x="791" y="65"/>
                    <a:pt x="791" y="66"/>
                  </a:cubicBezTo>
                  <a:cubicBezTo>
                    <a:pt x="793" y="68"/>
                    <a:pt x="795" y="70"/>
                    <a:pt x="797" y="72"/>
                  </a:cubicBezTo>
                  <a:cubicBezTo>
                    <a:pt x="797" y="72"/>
                    <a:pt x="797" y="72"/>
                    <a:pt x="798" y="73"/>
                  </a:cubicBezTo>
                  <a:cubicBezTo>
                    <a:pt x="798" y="73"/>
                    <a:pt x="798" y="73"/>
                    <a:pt x="798" y="73"/>
                  </a:cubicBezTo>
                  <a:cubicBezTo>
                    <a:pt x="799" y="74"/>
                    <a:pt x="799" y="74"/>
                    <a:pt x="799" y="75"/>
                  </a:cubicBezTo>
                  <a:cubicBezTo>
                    <a:pt x="800" y="76"/>
                    <a:pt x="801" y="77"/>
                    <a:pt x="802" y="78"/>
                  </a:cubicBezTo>
                  <a:cubicBezTo>
                    <a:pt x="803" y="81"/>
                    <a:pt x="804" y="83"/>
                    <a:pt x="806" y="86"/>
                  </a:cubicBezTo>
                  <a:cubicBezTo>
                    <a:pt x="806" y="86"/>
                    <a:pt x="806" y="86"/>
                    <a:pt x="806" y="86"/>
                  </a:cubicBezTo>
                  <a:cubicBezTo>
                    <a:pt x="806" y="87"/>
                    <a:pt x="806" y="87"/>
                    <a:pt x="806" y="88"/>
                  </a:cubicBezTo>
                  <a:cubicBezTo>
                    <a:pt x="806" y="88"/>
                    <a:pt x="807" y="89"/>
                    <a:pt x="807" y="90"/>
                  </a:cubicBezTo>
                  <a:cubicBezTo>
                    <a:pt x="807" y="92"/>
                    <a:pt x="808" y="93"/>
                    <a:pt x="808" y="95"/>
                  </a:cubicBezTo>
                  <a:cubicBezTo>
                    <a:pt x="810" y="102"/>
                    <a:pt x="811" y="109"/>
                    <a:pt x="810" y="116"/>
                  </a:cubicBezTo>
                  <a:cubicBezTo>
                    <a:pt x="810" y="120"/>
                    <a:pt x="809" y="124"/>
                    <a:pt x="808" y="127"/>
                  </a:cubicBezTo>
                  <a:cubicBezTo>
                    <a:pt x="807" y="129"/>
                    <a:pt x="806" y="130"/>
                    <a:pt x="806" y="132"/>
                  </a:cubicBezTo>
                  <a:cubicBezTo>
                    <a:pt x="805" y="132"/>
                    <a:pt x="805" y="133"/>
                    <a:pt x="805" y="133"/>
                  </a:cubicBezTo>
                  <a:cubicBezTo>
                    <a:pt x="805" y="133"/>
                    <a:pt x="805" y="133"/>
                    <a:pt x="805" y="133"/>
                  </a:cubicBezTo>
                  <a:cubicBezTo>
                    <a:pt x="786" y="130"/>
                    <a:pt x="765" y="132"/>
                    <a:pt x="747" y="139"/>
                  </a:cubicBezTo>
                  <a:cubicBezTo>
                    <a:pt x="742" y="141"/>
                    <a:pt x="738" y="143"/>
                    <a:pt x="733" y="146"/>
                  </a:cubicBezTo>
                  <a:cubicBezTo>
                    <a:pt x="733" y="145"/>
                    <a:pt x="732" y="145"/>
                    <a:pt x="732" y="144"/>
                  </a:cubicBezTo>
                  <a:cubicBezTo>
                    <a:pt x="731" y="143"/>
                    <a:pt x="730" y="141"/>
                    <a:pt x="730" y="140"/>
                  </a:cubicBezTo>
                  <a:cubicBezTo>
                    <a:pt x="729" y="139"/>
                    <a:pt x="728" y="137"/>
                    <a:pt x="728" y="136"/>
                  </a:cubicBezTo>
                  <a:cubicBezTo>
                    <a:pt x="727" y="135"/>
                    <a:pt x="727" y="135"/>
                    <a:pt x="727" y="134"/>
                  </a:cubicBezTo>
                  <a:cubicBezTo>
                    <a:pt x="727" y="134"/>
                    <a:pt x="726" y="133"/>
                    <a:pt x="726" y="133"/>
                  </a:cubicBezTo>
                  <a:cubicBezTo>
                    <a:pt x="726" y="133"/>
                    <a:pt x="726" y="132"/>
                    <a:pt x="726" y="132"/>
                  </a:cubicBezTo>
                  <a:cubicBezTo>
                    <a:pt x="725" y="129"/>
                    <a:pt x="724" y="125"/>
                    <a:pt x="723" y="122"/>
                  </a:cubicBezTo>
                  <a:cubicBezTo>
                    <a:pt x="722" y="120"/>
                    <a:pt x="722" y="118"/>
                    <a:pt x="722" y="117"/>
                  </a:cubicBezTo>
                  <a:cubicBezTo>
                    <a:pt x="722" y="116"/>
                    <a:pt x="721" y="115"/>
                    <a:pt x="721" y="114"/>
                  </a:cubicBezTo>
                  <a:cubicBezTo>
                    <a:pt x="721" y="114"/>
                    <a:pt x="721" y="114"/>
                    <a:pt x="721" y="113"/>
                  </a:cubicBezTo>
                  <a:cubicBezTo>
                    <a:pt x="721" y="113"/>
                    <a:pt x="721" y="112"/>
                    <a:pt x="721" y="112"/>
                  </a:cubicBezTo>
                  <a:cubicBezTo>
                    <a:pt x="720" y="105"/>
                    <a:pt x="720" y="98"/>
                    <a:pt x="721" y="91"/>
                  </a:cubicBezTo>
                  <a:cubicBezTo>
                    <a:pt x="721" y="91"/>
                    <a:pt x="721" y="91"/>
                    <a:pt x="721" y="91"/>
                  </a:cubicBezTo>
                  <a:cubicBezTo>
                    <a:pt x="721" y="91"/>
                    <a:pt x="721" y="91"/>
                    <a:pt x="721" y="91"/>
                  </a:cubicBezTo>
                  <a:cubicBezTo>
                    <a:pt x="721" y="90"/>
                    <a:pt x="721" y="90"/>
                    <a:pt x="721" y="89"/>
                  </a:cubicBezTo>
                  <a:cubicBezTo>
                    <a:pt x="721" y="88"/>
                    <a:pt x="721" y="88"/>
                    <a:pt x="722" y="87"/>
                  </a:cubicBezTo>
                  <a:cubicBezTo>
                    <a:pt x="722" y="85"/>
                    <a:pt x="722" y="83"/>
                    <a:pt x="723" y="82"/>
                  </a:cubicBezTo>
                  <a:cubicBezTo>
                    <a:pt x="723" y="80"/>
                    <a:pt x="724" y="79"/>
                    <a:pt x="724" y="77"/>
                  </a:cubicBezTo>
                  <a:cubicBezTo>
                    <a:pt x="724" y="77"/>
                    <a:pt x="725" y="77"/>
                    <a:pt x="725" y="76"/>
                  </a:cubicBezTo>
                  <a:cubicBezTo>
                    <a:pt x="725" y="76"/>
                    <a:pt x="725" y="76"/>
                    <a:pt x="725" y="76"/>
                  </a:cubicBezTo>
                  <a:cubicBezTo>
                    <a:pt x="725" y="76"/>
                    <a:pt x="725" y="76"/>
                    <a:pt x="725" y="76"/>
                  </a:cubicBezTo>
                  <a:cubicBezTo>
                    <a:pt x="725" y="75"/>
                    <a:pt x="726" y="74"/>
                    <a:pt x="726" y="73"/>
                  </a:cubicBezTo>
                  <a:cubicBezTo>
                    <a:pt x="727" y="72"/>
                    <a:pt x="727" y="71"/>
                    <a:pt x="728" y="69"/>
                  </a:cubicBezTo>
                  <a:cubicBezTo>
                    <a:pt x="729" y="69"/>
                    <a:pt x="729" y="68"/>
                    <a:pt x="729" y="68"/>
                  </a:cubicBezTo>
                  <a:cubicBezTo>
                    <a:pt x="730" y="68"/>
                    <a:pt x="730" y="67"/>
                    <a:pt x="730" y="67"/>
                  </a:cubicBezTo>
                  <a:cubicBezTo>
                    <a:pt x="730" y="67"/>
                    <a:pt x="730" y="66"/>
                    <a:pt x="731" y="66"/>
                  </a:cubicBezTo>
                  <a:cubicBezTo>
                    <a:pt x="733" y="64"/>
                    <a:pt x="735" y="62"/>
                    <a:pt x="737" y="60"/>
                  </a:cubicBezTo>
                  <a:cubicBezTo>
                    <a:pt x="738" y="58"/>
                    <a:pt x="740" y="57"/>
                    <a:pt x="742" y="57"/>
                  </a:cubicBezTo>
                  <a:cubicBezTo>
                    <a:pt x="744" y="55"/>
                    <a:pt x="745" y="55"/>
                    <a:pt x="746" y="54"/>
                  </a:cubicBezTo>
                  <a:cubicBezTo>
                    <a:pt x="748" y="54"/>
                    <a:pt x="750" y="53"/>
                    <a:pt x="751" y="53"/>
                  </a:cubicBezTo>
                  <a:cubicBezTo>
                    <a:pt x="752" y="53"/>
                    <a:pt x="753" y="53"/>
                    <a:pt x="754" y="52"/>
                  </a:cubicBezTo>
                  <a:close/>
                  <a:moveTo>
                    <a:pt x="673" y="49"/>
                  </a:moveTo>
                  <a:cubicBezTo>
                    <a:pt x="673" y="49"/>
                    <a:pt x="673" y="49"/>
                    <a:pt x="673" y="49"/>
                  </a:cubicBezTo>
                  <a:cubicBezTo>
                    <a:pt x="674" y="45"/>
                    <a:pt x="675" y="41"/>
                    <a:pt x="677" y="38"/>
                  </a:cubicBezTo>
                  <a:cubicBezTo>
                    <a:pt x="678" y="34"/>
                    <a:pt x="680" y="32"/>
                    <a:pt x="682" y="29"/>
                  </a:cubicBezTo>
                  <a:cubicBezTo>
                    <a:pt x="683" y="28"/>
                    <a:pt x="685" y="27"/>
                    <a:pt x="686" y="26"/>
                  </a:cubicBezTo>
                  <a:cubicBezTo>
                    <a:pt x="686" y="25"/>
                    <a:pt x="686" y="25"/>
                    <a:pt x="686" y="25"/>
                  </a:cubicBezTo>
                  <a:cubicBezTo>
                    <a:pt x="687" y="25"/>
                    <a:pt x="687" y="25"/>
                    <a:pt x="687" y="25"/>
                  </a:cubicBezTo>
                  <a:cubicBezTo>
                    <a:pt x="688" y="24"/>
                    <a:pt x="689" y="24"/>
                    <a:pt x="689" y="23"/>
                  </a:cubicBezTo>
                  <a:cubicBezTo>
                    <a:pt x="690" y="23"/>
                    <a:pt x="690" y="22"/>
                    <a:pt x="691" y="22"/>
                  </a:cubicBezTo>
                  <a:cubicBezTo>
                    <a:pt x="691" y="22"/>
                    <a:pt x="691" y="22"/>
                    <a:pt x="691" y="22"/>
                  </a:cubicBezTo>
                  <a:cubicBezTo>
                    <a:pt x="691" y="22"/>
                    <a:pt x="691" y="22"/>
                    <a:pt x="691" y="22"/>
                  </a:cubicBezTo>
                  <a:cubicBezTo>
                    <a:pt x="692" y="22"/>
                    <a:pt x="692" y="22"/>
                    <a:pt x="692" y="22"/>
                  </a:cubicBezTo>
                  <a:cubicBezTo>
                    <a:pt x="694" y="21"/>
                    <a:pt x="696" y="21"/>
                    <a:pt x="697" y="20"/>
                  </a:cubicBezTo>
                  <a:cubicBezTo>
                    <a:pt x="697" y="20"/>
                    <a:pt x="698" y="20"/>
                    <a:pt x="698" y="20"/>
                  </a:cubicBezTo>
                  <a:cubicBezTo>
                    <a:pt x="698" y="20"/>
                    <a:pt x="699" y="20"/>
                    <a:pt x="699" y="20"/>
                  </a:cubicBezTo>
                  <a:cubicBezTo>
                    <a:pt x="700" y="20"/>
                    <a:pt x="701" y="20"/>
                    <a:pt x="703" y="20"/>
                  </a:cubicBezTo>
                  <a:cubicBezTo>
                    <a:pt x="704" y="20"/>
                    <a:pt x="705" y="20"/>
                    <a:pt x="706" y="20"/>
                  </a:cubicBezTo>
                  <a:cubicBezTo>
                    <a:pt x="706" y="20"/>
                    <a:pt x="706" y="20"/>
                    <a:pt x="707" y="20"/>
                  </a:cubicBezTo>
                  <a:cubicBezTo>
                    <a:pt x="707" y="20"/>
                    <a:pt x="708" y="20"/>
                    <a:pt x="708" y="20"/>
                  </a:cubicBezTo>
                  <a:cubicBezTo>
                    <a:pt x="710" y="21"/>
                    <a:pt x="713" y="22"/>
                    <a:pt x="714" y="22"/>
                  </a:cubicBezTo>
                  <a:cubicBezTo>
                    <a:pt x="715" y="23"/>
                    <a:pt x="715" y="23"/>
                    <a:pt x="715" y="23"/>
                  </a:cubicBezTo>
                  <a:cubicBezTo>
                    <a:pt x="715" y="23"/>
                    <a:pt x="715" y="23"/>
                    <a:pt x="715" y="23"/>
                  </a:cubicBezTo>
                  <a:cubicBezTo>
                    <a:pt x="715" y="23"/>
                    <a:pt x="716" y="23"/>
                    <a:pt x="716" y="23"/>
                  </a:cubicBezTo>
                  <a:cubicBezTo>
                    <a:pt x="717" y="24"/>
                    <a:pt x="719" y="24"/>
                    <a:pt x="720" y="25"/>
                  </a:cubicBezTo>
                  <a:cubicBezTo>
                    <a:pt x="721" y="26"/>
                    <a:pt x="722" y="26"/>
                    <a:pt x="722" y="27"/>
                  </a:cubicBezTo>
                  <a:cubicBezTo>
                    <a:pt x="723" y="27"/>
                    <a:pt x="723" y="28"/>
                    <a:pt x="724" y="28"/>
                  </a:cubicBezTo>
                  <a:cubicBezTo>
                    <a:pt x="724" y="28"/>
                    <a:pt x="724" y="28"/>
                    <a:pt x="724" y="29"/>
                  </a:cubicBezTo>
                  <a:cubicBezTo>
                    <a:pt x="724" y="29"/>
                    <a:pt x="725" y="29"/>
                    <a:pt x="725" y="29"/>
                  </a:cubicBezTo>
                  <a:cubicBezTo>
                    <a:pt x="727" y="31"/>
                    <a:pt x="729" y="33"/>
                    <a:pt x="731" y="35"/>
                  </a:cubicBezTo>
                  <a:cubicBezTo>
                    <a:pt x="733" y="38"/>
                    <a:pt x="735" y="39"/>
                    <a:pt x="736" y="42"/>
                  </a:cubicBezTo>
                  <a:cubicBezTo>
                    <a:pt x="738" y="44"/>
                    <a:pt x="738" y="46"/>
                    <a:pt x="739" y="48"/>
                  </a:cubicBezTo>
                  <a:cubicBezTo>
                    <a:pt x="734" y="50"/>
                    <a:pt x="730" y="54"/>
                    <a:pt x="726" y="58"/>
                  </a:cubicBezTo>
                  <a:cubicBezTo>
                    <a:pt x="721" y="63"/>
                    <a:pt x="718" y="69"/>
                    <a:pt x="716" y="75"/>
                  </a:cubicBezTo>
                  <a:cubicBezTo>
                    <a:pt x="711" y="88"/>
                    <a:pt x="711" y="103"/>
                    <a:pt x="713" y="116"/>
                  </a:cubicBezTo>
                  <a:cubicBezTo>
                    <a:pt x="714" y="123"/>
                    <a:pt x="716" y="129"/>
                    <a:pt x="718" y="135"/>
                  </a:cubicBezTo>
                  <a:cubicBezTo>
                    <a:pt x="719" y="137"/>
                    <a:pt x="720" y="139"/>
                    <a:pt x="721" y="140"/>
                  </a:cubicBezTo>
                  <a:cubicBezTo>
                    <a:pt x="720" y="140"/>
                    <a:pt x="720" y="141"/>
                    <a:pt x="719" y="141"/>
                  </a:cubicBezTo>
                  <a:cubicBezTo>
                    <a:pt x="719" y="141"/>
                    <a:pt x="719" y="141"/>
                    <a:pt x="719" y="141"/>
                  </a:cubicBezTo>
                  <a:cubicBezTo>
                    <a:pt x="719" y="141"/>
                    <a:pt x="719" y="141"/>
                    <a:pt x="719" y="141"/>
                  </a:cubicBezTo>
                  <a:cubicBezTo>
                    <a:pt x="717" y="141"/>
                    <a:pt x="716" y="141"/>
                    <a:pt x="715" y="141"/>
                  </a:cubicBezTo>
                  <a:cubicBezTo>
                    <a:pt x="714" y="141"/>
                    <a:pt x="714" y="141"/>
                    <a:pt x="714" y="141"/>
                  </a:cubicBezTo>
                  <a:cubicBezTo>
                    <a:pt x="714" y="141"/>
                    <a:pt x="714" y="140"/>
                    <a:pt x="713" y="140"/>
                  </a:cubicBezTo>
                  <a:cubicBezTo>
                    <a:pt x="712" y="140"/>
                    <a:pt x="711" y="140"/>
                    <a:pt x="710" y="139"/>
                  </a:cubicBezTo>
                  <a:cubicBezTo>
                    <a:pt x="710" y="139"/>
                    <a:pt x="710" y="139"/>
                    <a:pt x="709" y="139"/>
                  </a:cubicBezTo>
                  <a:cubicBezTo>
                    <a:pt x="709" y="139"/>
                    <a:pt x="709" y="139"/>
                    <a:pt x="709" y="139"/>
                  </a:cubicBezTo>
                  <a:cubicBezTo>
                    <a:pt x="709" y="139"/>
                    <a:pt x="708" y="139"/>
                    <a:pt x="708" y="138"/>
                  </a:cubicBezTo>
                  <a:cubicBezTo>
                    <a:pt x="707" y="138"/>
                    <a:pt x="706" y="137"/>
                    <a:pt x="705" y="137"/>
                  </a:cubicBezTo>
                  <a:cubicBezTo>
                    <a:pt x="702" y="135"/>
                    <a:pt x="701" y="134"/>
                    <a:pt x="699" y="132"/>
                  </a:cubicBezTo>
                  <a:cubicBezTo>
                    <a:pt x="695" y="129"/>
                    <a:pt x="692" y="125"/>
                    <a:pt x="689" y="121"/>
                  </a:cubicBezTo>
                  <a:cubicBezTo>
                    <a:pt x="689" y="120"/>
                    <a:pt x="688" y="118"/>
                    <a:pt x="687" y="117"/>
                  </a:cubicBezTo>
                  <a:cubicBezTo>
                    <a:pt x="685" y="106"/>
                    <a:pt x="681" y="96"/>
                    <a:pt x="676" y="86"/>
                  </a:cubicBezTo>
                  <a:cubicBezTo>
                    <a:pt x="675" y="82"/>
                    <a:pt x="674" y="78"/>
                    <a:pt x="673" y="74"/>
                  </a:cubicBezTo>
                  <a:cubicBezTo>
                    <a:pt x="671" y="66"/>
                    <a:pt x="671" y="57"/>
                    <a:pt x="673" y="49"/>
                  </a:cubicBezTo>
                  <a:close/>
                  <a:moveTo>
                    <a:pt x="568" y="99"/>
                  </a:moveTo>
                  <a:cubicBezTo>
                    <a:pt x="568" y="99"/>
                    <a:pt x="568" y="99"/>
                    <a:pt x="568" y="99"/>
                  </a:cubicBezTo>
                  <a:cubicBezTo>
                    <a:pt x="568" y="98"/>
                    <a:pt x="568" y="98"/>
                    <a:pt x="568" y="98"/>
                  </a:cubicBezTo>
                  <a:cubicBezTo>
                    <a:pt x="568" y="98"/>
                    <a:pt x="568" y="97"/>
                    <a:pt x="568" y="97"/>
                  </a:cubicBezTo>
                  <a:cubicBezTo>
                    <a:pt x="568" y="96"/>
                    <a:pt x="568" y="96"/>
                    <a:pt x="569" y="95"/>
                  </a:cubicBezTo>
                  <a:cubicBezTo>
                    <a:pt x="569" y="93"/>
                    <a:pt x="569" y="91"/>
                    <a:pt x="570" y="89"/>
                  </a:cubicBezTo>
                  <a:cubicBezTo>
                    <a:pt x="570" y="87"/>
                    <a:pt x="571" y="85"/>
                    <a:pt x="571" y="83"/>
                  </a:cubicBezTo>
                  <a:cubicBezTo>
                    <a:pt x="572" y="83"/>
                    <a:pt x="572" y="82"/>
                    <a:pt x="572" y="81"/>
                  </a:cubicBezTo>
                  <a:cubicBezTo>
                    <a:pt x="573" y="80"/>
                    <a:pt x="573" y="80"/>
                    <a:pt x="573" y="80"/>
                  </a:cubicBezTo>
                  <a:cubicBezTo>
                    <a:pt x="573" y="80"/>
                    <a:pt x="573" y="79"/>
                    <a:pt x="573" y="79"/>
                  </a:cubicBezTo>
                  <a:cubicBezTo>
                    <a:pt x="575" y="75"/>
                    <a:pt x="577" y="72"/>
                    <a:pt x="579" y="69"/>
                  </a:cubicBezTo>
                  <a:cubicBezTo>
                    <a:pt x="579" y="68"/>
                    <a:pt x="580" y="68"/>
                    <a:pt x="580" y="67"/>
                  </a:cubicBezTo>
                  <a:cubicBezTo>
                    <a:pt x="581" y="66"/>
                    <a:pt x="581" y="66"/>
                    <a:pt x="581" y="66"/>
                  </a:cubicBezTo>
                  <a:cubicBezTo>
                    <a:pt x="581" y="66"/>
                    <a:pt x="581" y="66"/>
                    <a:pt x="582" y="65"/>
                  </a:cubicBezTo>
                  <a:cubicBezTo>
                    <a:pt x="583" y="64"/>
                    <a:pt x="584" y="63"/>
                    <a:pt x="585" y="61"/>
                  </a:cubicBezTo>
                  <a:cubicBezTo>
                    <a:pt x="590" y="56"/>
                    <a:pt x="596" y="53"/>
                    <a:pt x="602" y="51"/>
                  </a:cubicBezTo>
                  <a:cubicBezTo>
                    <a:pt x="603" y="50"/>
                    <a:pt x="605" y="50"/>
                    <a:pt x="606" y="49"/>
                  </a:cubicBezTo>
                  <a:cubicBezTo>
                    <a:pt x="607" y="49"/>
                    <a:pt x="608" y="49"/>
                    <a:pt x="609" y="49"/>
                  </a:cubicBezTo>
                  <a:cubicBezTo>
                    <a:pt x="610" y="49"/>
                    <a:pt x="610" y="49"/>
                    <a:pt x="610" y="49"/>
                  </a:cubicBezTo>
                  <a:cubicBezTo>
                    <a:pt x="610" y="49"/>
                    <a:pt x="611" y="49"/>
                    <a:pt x="611" y="49"/>
                  </a:cubicBezTo>
                  <a:cubicBezTo>
                    <a:pt x="613" y="49"/>
                    <a:pt x="615" y="49"/>
                    <a:pt x="616" y="49"/>
                  </a:cubicBezTo>
                  <a:cubicBezTo>
                    <a:pt x="618" y="49"/>
                    <a:pt x="620" y="49"/>
                    <a:pt x="621" y="49"/>
                  </a:cubicBezTo>
                  <a:cubicBezTo>
                    <a:pt x="629" y="51"/>
                    <a:pt x="636" y="54"/>
                    <a:pt x="642" y="58"/>
                  </a:cubicBezTo>
                  <a:cubicBezTo>
                    <a:pt x="648" y="63"/>
                    <a:pt x="654" y="68"/>
                    <a:pt x="659" y="74"/>
                  </a:cubicBezTo>
                  <a:cubicBezTo>
                    <a:pt x="661" y="77"/>
                    <a:pt x="663" y="80"/>
                    <a:pt x="665" y="84"/>
                  </a:cubicBezTo>
                  <a:cubicBezTo>
                    <a:pt x="667" y="87"/>
                    <a:pt x="669" y="91"/>
                    <a:pt x="670" y="95"/>
                  </a:cubicBezTo>
                  <a:cubicBezTo>
                    <a:pt x="673" y="101"/>
                    <a:pt x="676" y="109"/>
                    <a:pt x="677" y="116"/>
                  </a:cubicBezTo>
                  <a:cubicBezTo>
                    <a:pt x="680" y="129"/>
                    <a:pt x="680" y="141"/>
                    <a:pt x="678" y="152"/>
                  </a:cubicBezTo>
                  <a:cubicBezTo>
                    <a:pt x="677" y="159"/>
                    <a:pt x="675" y="165"/>
                    <a:pt x="673" y="170"/>
                  </a:cubicBezTo>
                  <a:cubicBezTo>
                    <a:pt x="672" y="173"/>
                    <a:pt x="671" y="176"/>
                    <a:pt x="670" y="179"/>
                  </a:cubicBezTo>
                  <a:cubicBezTo>
                    <a:pt x="670" y="179"/>
                    <a:pt x="670" y="180"/>
                    <a:pt x="669" y="181"/>
                  </a:cubicBezTo>
                  <a:cubicBezTo>
                    <a:pt x="669" y="180"/>
                    <a:pt x="669" y="180"/>
                    <a:pt x="669" y="180"/>
                  </a:cubicBezTo>
                  <a:cubicBezTo>
                    <a:pt x="664" y="174"/>
                    <a:pt x="658" y="170"/>
                    <a:pt x="651" y="170"/>
                  </a:cubicBezTo>
                  <a:cubicBezTo>
                    <a:pt x="647" y="170"/>
                    <a:pt x="644" y="171"/>
                    <a:pt x="641" y="172"/>
                  </a:cubicBezTo>
                  <a:cubicBezTo>
                    <a:pt x="640" y="173"/>
                    <a:pt x="639" y="174"/>
                    <a:pt x="637" y="176"/>
                  </a:cubicBezTo>
                  <a:cubicBezTo>
                    <a:pt x="637" y="176"/>
                    <a:pt x="637" y="176"/>
                    <a:pt x="637" y="176"/>
                  </a:cubicBezTo>
                  <a:cubicBezTo>
                    <a:pt x="636" y="176"/>
                    <a:pt x="635" y="177"/>
                    <a:pt x="635" y="177"/>
                  </a:cubicBezTo>
                  <a:cubicBezTo>
                    <a:pt x="633" y="178"/>
                    <a:pt x="632" y="180"/>
                    <a:pt x="630" y="181"/>
                  </a:cubicBezTo>
                  <a:cubicBezTo>
                    <a:pt x="628" y="185"/>
                    <a:pt x="626" y="188"/>
                    <a:pt x="625" y="192"/>
                  </a:cubicBezTo>
                  <a:cubicBezTo>
                    <a:pt x="624" y="199"/>
                    <a:pt x="626" y="207"/>
                    <a:pt x="632" y="213"/>
                  </a:cubicBezTo>
                  <a:cubicBezTo>
                    <a:pt x="632" y="213"/>
                    <a:pt x="633" y="214"/>
                    <a:pt x="634" y="214"/>
                  </a:cubicBezTo>
                  <a:cubicBezTo>
                    <a:pt x="632" y="214"/>
                    <a:pt x="631" y="214"/>
                    <a:pt x="630" y="213"/>
                  </a:cubicBezTo>
                  <a:cubicBezTo>
                    <a:pt x="626" y="212"/>
                    <a:pt x="624" y="211"/>
                    <a:pt x="621" y="210"/>
                  </a:cubicBezTo>
                  <a:cubicBezTo>
                    <a:pt x="618" y="208"/>
                    <a:pt x="615" y="207"/>
                    <a:pt x="613" y="205"/>
                  </a:cubicBezTo>
                  <a:cubicBezTo>
                    <a:pt x="610" y="203"/>
                    <a:pt x="608" y="201"/>
                    <a:pt x="605" y="199"/>
                  </a:cubicBezTo>
                  <a:cubicBezTo>
                    <a:pt x="603" y="197"/>
                    <a:pt x="600" y="195"/>
                    <a:pt x="598" y="193"/>
                  </a:cubicBezTo>
                  <a:cubicBezTo>
                    <a:pt x="596" y="190"/>
                    <a:pt x="594" y="188"/>
                    <a:pt x="591" y="185"/>
                  </a:cubicBezTo>
                  <a:cubicBezTo>
                    <a:pt x="591" y="183"/>
                    <a:pt x="591" y="183"/>
                    <a:pt x="589" y="181"/>
                  </a:cubicBezTo>
                  <a:cubicBezTo>
                    <a:pt x="588" y="180"/>
                    <a:pt x="587" y="178"/>
                    <a:pt x="586" y="177"/>
                  </a:cubicBezTo>
                  <a:cubicBezTo>
                    <a:pt x="583" y="171"/>
                    <a:pt x="579" y="165"/>
                    <a:pt x="577" y="159"/>
                  </a:cubicBezTo>
                  <a:cubicBezTo>
                    <a:pt x="576" y="158"/>
                    <a:pt x="576" y="158"/>
                    <a:pt x="576" y="158"/>
                  </a:cubicBezTo>
                  <a:cubicBezTo>
                    <a:pt x="576" y="158"/>
                    <a:pt x="576" y="158"/>
                    <a:pt x="576" y="158"/>
                  </a:cubicBezTo>
                  <a:cubicBezTo>
                    <a:pt x="576" y="158"/>
                    <a:pt x="576" y="157"/>
                    <a:pt x="576" y="157"/>
                  </a:cubicBezTo>
                  <a:cubicBezTo>
                    <a:pt x="576" y="156"/>
                    <a:pt x="575" y="155"/>
                    <a:pt x="575" y="155"/>
                  </a:cubicBezTo>
                  <a:cubicBezTo>
                    <a:pt x="574" y="152"/>
                    <a:pt x="574" y="151"/>
                    <a:pt x="573" y="149"/>
                  </a:cubicBezTo>
                  <a:cubicBezTo>
                    <a:pt x="572" y="146"/>
                    <a:pt x="571" y="142"/>
                    <a:pt x="570" y="139"/>
                  </a:cubicBezTo>
                  <a:cubicBezTo>
                    <a:pt x="569" y="136"/>
                    <a:pt x="569" y="132"/>
                    <a:pt x="568" y="129"/>
                  </a:cubicBezTo>
                  <a:cubicBezTo>
                    <a:pt x="568" y="128"/>
                    <a:pt x="568" y="128"/>
                    <a:pt x="568" y="127"/>
                  </a:cubicBezTo>
                  <a:cubicBezTo>
                    <a:pt x="568" y="127"/>
                    <a:pt x="568" y="127"/>
                    <a:pt x="568" y="127"/>
                  </a:cubicBezTo>
                  <a:cubicBezTo>
                    <a:pt x="568" y="127"/>
                    <a:pt x="568" y="127"/>
                    <a:pt x="568" y="127"/>
                  </a:cubicBezTo>
                  <a:cubicBezTo>
                    <a:pt x="568" y="126"/>
                    <a:pt x="568" y="125"/>
                    <a:pt x="568" y="125"/>
                  </a:cubicBezTo>
                  <a:cubicBezTo>
                    <a:pt x="568" y="123"/>
                    <a:pt x="567" y="121"/>
                    <a:pt x="567" y="119"/>
                  </a:cubicBezTo>
                  <a:cubicBezTo>
                    <a:pt x="567" y="112"/>
                    <a:pt x="567" y="105"/>
                    <a:pt x="568" y="99"/>
                  </a:cubicBezTo>
                  <a:close/>
                  <a:moveTo>
                    <a:pt x="517" y="117"/>
                  </a:moveTo>
                  <a:cubicBezTo>
                    <a:pt x="517" y="117"/>
                    <a:pt x="517" y="117"/>
                    <a:pt x="517" y="117"/>
                  </a:cubicBezTo>
                  <a:cubicBezTo>
                    <a:pt x="516" y="117"/>
                    <a:pt x="516" y="117"/>
                    <a:pt x="516" y="117"/>
                  </a:cubicBezTo>
                  <a:cubicBezTo>
                    <a:pt x="516" y="117"/>
                    <a:pt x="515" y="117"/>
                    <a:pt x="515" y="117"/>
                  </a:cubicBezTo>
                  <a:cubicBezTo>
                    <a:pt x="513" y="117"/>
                    <a:pt x="511" y="117"/>
                    <a:pt x="509" y="117"/>
                  </a:cubicBezTo>
                  <a:cubicBezTo>
                    <a:pt x="508" y="117"/>
                    <a:pt x="508" y="117"/>
                    <a:pt x="508" y="117"/>
                  </a:cubicBezTo>
                  <a:cubicBezTo>
                    <a:pt x="508" y="117"/>
                    <a:pt x="508" y="117"/>
                    <a:pt x="508" y="117"/>
                  </a:cubicBezTo>
                  <a:cubicBezTo>
                    <a:pt x="507" y="117"/>
                    <a:pt x="506" y="117"/>
                    <a:pt x="505" y="116"/>
                  </a:cubicBezTo>
                  <a:cubicBezTo>
                    <a:pt x="504" y="116"/>
                    <a:pt x="502" y="116"/>
                    <a:pt x="501" y="115"/>
                  </a:cubicBezTo>
                  <a:cubicBezTo>
                    <a:pt x="500" y="115"/>
                    <a:pt x="499" y="114"/>
                    <a:pt x="497" y="114"/>
                  </a:cubicBezTo>
                  <a:cubicBezTo>
                    <a:pt x="498" y="114"/>
                    <a:pt x="496" y="113"/>
                    <a:pt x="496" y="113"/>
                  </a:cubicBezTo>
                  <a:cubicBezTo>
                    <a:pt x="495" y="113"/>
                    <a:pt x="495" y="113"/>
                    <a:pt x="494" y="112"/>
                  </a:cubicBezTo>
                  <a:cubicBezTo>
                    <a:pt x="493" y="112"/>
                    <a:pt x="492" y="111"/>
                    <a:pt x="491" y="110"/>
                  </a:cubicBezTo>
                  <a:cubicBezTo>
                    <a:pt x="490" y="110"/>
                    <a:pt x="490" y="109"/>
                    <a:pt x="489" y="109"/>
                  </a:cubicBezTo>
                  <a:cubicBezTo>
                    <a:pt x="489" y="109"/>
                    <a:pt x="489" y="109"/>
                    <a:pt x="489" y="109"/>
                  </a:cubicBezTo>
                  <a:cubicBezTo>
                    <a:pt x="489" y="108"/>
                    <a:pt x="488" y="108"/>
                    <a:pt x="488" y="108"/>
                  </a:cubicBezTo>
                  <a:cubicBezTo>
                    <a:pt x="486" y="106"/>
                    <a:pt x="484" y="104"/>
                    <a:pt x="482" y="102"/>
                  </a:cubicBezTo>
                  <a:cubicBezTo>
                    <a:pt x="482" y="102"/>
                    <a:pt x="481" y="101"/>
                    <a:pt x="481" y="101"/>
                  </a:cubicBezTo>
                  <a:cubicBezTo>
                    <a:pt x="481" y="100"/>
                    <a:pt x="481" y="100"/>
                    <a:pt x="481" y="100"/>
                  </a:cubicBezTo>
                  <a:cubicBezTo>
                    <a:pt x="481" y="100"/>
                    <a:pt x="481" y="100"/>
                    <a:pt x="481" y="100"/>
                  </a:cubicBezTo>
                  <a:cubicBezTo>
                    <a:pt x="480" y="100"/>
                    <a:pt x="480" y="100"/>
                    <a:pt x="480" y="100"/>
                  </a:cubicBezTo>
                  <a:cubicBezTo>
                    <a:pt x="479" y="98"/>
                    <a:pt x="478" y="97"/>
                    <a:pt x="478" y="96"/>
                  </a:cubicBezTo>
                  <a:cubicBezTo>
                    <a:pt x="476" y="93"/>
                    <a:pt x="475" y="91"/>
                    <a:pt x="474" y="88"/>
                  </a:cubicBezTo>
                  <a:cubicBezTo>
                    <a:pt x="473" y="88"/>
                    <a:pt x="473" y="87"/>
                    <a:pt x="473" y="87"/>
                  </a:cubicBezTo>
                  <a:cubicBezTo>
                    <a:pt x="473" y="87"/>
                    <a:pt x="473" y="87"/>
                    <a:pt x="473" y="87"/>
                  </a:cubicBezTo>
                  <a:cubicBezTo>
                    <a:pt x="473" y="86"/>
                    <a:pt x="473" y="85"/>
                    <a:pt x="472" y="85"/>
                  </a:cubicBezTo>
                  <a:cubicBezTo>
                    <a:pt x="472" y="83"/>
                    <a:pt x="471" y="82"/>
                    <a:pt x="471" y="80"/>
                  </a:cubicBezTo>
                  <a:cubicBezTo>
                    <a:pt x="470" y="78"/>
                    <a:pt x="469" y="75"/>
                    <a:pt x="469" y="72"/>
                  </a:cubicBezTo>
                  <a:cubicBezTo>
                    <a:pt x="469" y="71"/>
                    <a:pt x="469" y="71"/>
                    <a:pt x="469" y="70"/>
                  </a:cubicBezTo>
                  <a:cubicBezTo>
                    <a:pt x="468" y="70"/>
                    <a:pt x="468" y="69"/>
                    <a:pt x="468" y="69"/>
                  </a:cubicBezTo>
                  <a:cubicBezTo>
                    <a:pt x="468" y="69"/>
                    <a:pt x="468" y="69"/>
                    <a:pt x="468" y="69"/>
                  </a:cubicBezTo>
                  <a:cubicBezTo>
                    <a:pt x="468" y="67"/>
                    <a:pt x="468" y="65"/>
                    <a:pt x="468" y="64"/>
                  </a:cubicBezTo>
                  <a:cubicBezTo>
                    <a:pt x="468" y="61"/>
                    <a:pt x="468" y="57"/>
                    <a:pt x="468" y="54"/>
                  </a:cubicBezTo>
                  <a:cubicBezTo>
                    <a:pt x="468" y="53"/>
                    <a:pt x="468" y="52"/>
                    <a:pt x="468" y="50"/>
                  </a:cubicBezTo>
                  <a:cubicBezTo>
                    <a:pt x="468" y="49"/>
                    <a:pt x="468" y="49"/>
                    <a:pt x="468" y="48"/>
                  </a:cubicBezTo>
                  <a:cubicBezTo>
                    <a:pt x="468" y="48"/>
                    <a:pt x="468" y="48"/>
                    <a:pt x="468" y="47"/>
                  </a:cubicBezTo>
                  <a:cubicBezTo>
                    <a:pt x="468" y="47"/>
                    <a:pt x="469" y="47"/>
                    <a:pt x="469" y="46"/>
                  </a:cubicBezTo>
                  <a:cubicBezTo>
                    <a:pt x="469" y="41"/>
                    <a:pt x="471" y="35"/>
                    <a:pt x="473" y="30"/>
                  </a:cubicBezTo>
                  <a:cubicBezTo>
                    <a:pt x="473" y="29"/>
                    <a:pt x="473" y="29"/>
                    <a:pt x="473" y="29"/>
                  </a:cubicBezTo>
                  <a:cubicBezTo>
                    <a:pt x="474" y="29"/>
                    <a:pt x="474" y="29"/>
                    <a:pt x="474" y="28"/>
                  </a:cubicBezTo>
                  <a:cubicBezTo>
                    <a:pt x="474" y="27"/>
                    <a:pt x="474" y="27"/>
                    <a:pt x="475" y="26"/>
                  </a:cubicBezTo>
                  <a:cubicBezTo>
                    <a:pt x="475" y="25"/>
                    <a:pt x="476" y="24"/>
                    <a:pt x="476" y="23"/>
                  </a:cubicBezTo>
                  <a:cubicBezTo>
                    <a:pt x="478" y="21"/>
                    <a:pt x="480" y="20"/>
                    <a:pt x="482" y="18"/>
                  </a:cubicBezTo>
                  <a:cubicBezTo>
                    <a:pt x="483" y="17"/>
                    <a:pt x="485" y="16"/>
                    <a:pt x="486" y="16"/>
                  </a:cubicBezTo>
                  <a:cubicBezTo>
                    <a:pt x="487" y="15"/>
                    <a:pt x="487" y="15"/>
                    <a:pt x="488" y="15"/>
                  </a:cubicBezTo>
                  <a:cubicBezTo>
                    <a:pt x="489" y="14"/>
                    <a:pt x="489" y="14"/>
                    <a:pt x="490" y="14"/>
                  </a:cubicBezTo>
                  <a:cubicBezTo>
                    <a:pt x="497" y="11"/>
                    <a:pt x="504" y="12"/>
                    <a:pt x="511" y="15"/>
                  </a:cubicBezTo>
                  <a:cubicBezTo>
                    <a:pt x="517" y="18"/>
                    <a:pt x="523" y="22"/>
                    <a:pt x="529" y="28"/>
                  </a:cubicBezTo>
                  <a:cubicBezTo>
                    <a:pt x="532" y="31"/>
                    <a:pt x="533" y="33"/>
                    <a:pt x="536" y="37"/>
                  </a:cubicBezTo>
                  <a:cubicBezTo>
                    <a:pt x="537" y="38"/>
                    <a:pt x="538" y="40"/>
                    <a:pt x="538" y="42"/>
                  </a:cubicBezTo>
                  <a:cubicBezTo>
                    <a:pt x="539" y="43"/>
                    <a:pt x="539" y="43"/>
                    <a:pt x="540" y="44"/>
                  </a:cubicBezTo>
                  <a:cubicBezTo>
                    <a:pt x="540" y="45"/>
                    <a:pt x="540" y="45"/>
                    <a:pt x="540" y="46"/>
                  </a:cubicBezTo>
                  <a:cubicBezTo>
                    <a:pt x="540" y="46"/>
                    <a:pt x="541" y="46"/>
                    <a:pt x="541" y="47"/>
                  </a:cubicBezTo>
                  <a:cubicBezTo>
                    <a:pt x="541" y="46"/>
                    <a:pt x="541" y="46"/>
                    <a:pt x="541" y="47"/>
                  </a:cubicBezTo>
                  <a:cubicBezTo>
                    <a:pt x="542" y="50"/>
                    <a:pt x="543" y="54"/>
                    <a:pt x="544" y="58"/>
                  </a:cubicBezTo>
                  <a:cubicBezTo>
                    <a:pt x="544" y="60"/>
                    <a:pt x="545" y="62"/>
                    <a:pt x="545" y="64"/>
                  </a:cubicBezTo>
                  <a:cubicBezTo>
                    <a:pt x="545" y="65"/>
                    <a:pt x="545" y="65"/>
                    <a:pt x="545" y="65"/>
                  </a:cubicBezTo>
                  <a:cubicBezTo>
                    <a:pt x="545" y="65"/>
                    <a:pt x="545" y="66"/>
                    <a:pt x="545" y="66"/>
                  </a:cubicBezTo>
                  <a:cubicBezTo>
                    <a:pt x="545" y="67"/>
                    <a:pt x="545" y="68"/>
                    <a:pt x="545" y="70"/>
                  </a:cubicBezTo>
                  <a:cubicBezTo>
                    <a:pt x="545" y="71"/>
                    <a:pt x="545" y="73"/>
                    <a:pt x="545" y="75"/>
                  </a:cubicBezTo>
                  <a:cubicBezTo>
                    <a:pt x="545" y="76"/>
                    <a:pt x="545" y="77"/>
                    <a:pt x="545" y="77"/>
                  </a:cubicBezTo>
                  <a:cubicBezTo>
                    <a:pt x="545" y="78"/>
                    <a:pt x="545" y="78"/>
                    <a:pt x="545" y="79"/>
                  </a:cubicBezTo>
                  <a:cubicBezTo>
                    <a:pt x="545" y="79"/>
                    <a:pt x="545" y="79"/>
                    <a:pt x="545" y="79"/>
                  </a:cubicBezTo>
                  <a:cubicBezTo>
                    <a:pt x="545" y="79"/>
                    <a:pt x="545" y="79"/>
                    <a:pt x="545" y="79"/>
                  </a:cubicBezTo>
                  <a:cubicBezTo>
                    <a:pt x="544" y="83"/>
                    <a:pt x="544" y="86"/>
                    <a:pt x="543" y="90"/>
                  </a:cubicBezTo>
                  <a:cubicBezTo>
                    <a:pt x="542" y="91"/>
                    <a:pt x="542" y="92"/>
                    <a:pt x="542" y="93"/>
                  </a:cubicBezTo>
                  <a:cubicBezTo>
                    <a:pt x="542" y="93"/>
                    <a:pt x="541" y="93"/>
                    <a:pt x="541" y="94"/>
                  </a:cubicBezTo>
                  <a:cubicBezTo>
                    <a:pt x="541" y="94"/>
                    <a:pt x="541" y="94"/>
                    <a:pt x="541" y="94"/>
                  </a:cubicBezTo>
                  <a:cubicBezTo>
                    <a:pt x="541" y="96"/>
                    <a:pt x="540" y="97"/>
                    <a:pt x="539" y="99"/>
                  </a:cubicBezTo>
                  <a:cubicBezTo>
                    <a:pt x="538" y="100"/>
                    <a:pt x="538" y="102"/>
                    <a:pt x="537" y="103"/>
                  </a:cubicBezTo>
                  <a:cubicBezTo>
                    <a:pt x="536" y="104"/>
                    <a:pt x="536" y="104"/>
                    <a:pt x="536" y="104"/>
                  </a:cubicBezTo>
                  <a:cubicBezTo>
                    <a:pt x="536" y="104"/>
                    <a:pt x="536" y="105"/>
                    <a:pt x="535" y="105"/>
                  </a:cubicBezTo>
                  <a:cubicBezTo>
                    <a:pt x="535" y="105"/>
                    <a:pt x="534" y="106"/>
                    <a:pt x="534" y="107"/>
                  </a:cubicBezTo>
                  <a:cubicBezTo>
                    <a:pt x="533" y="108"/>
                    <a:pt x="532" y="109"/>
                    <a:pt x="530" y="110"/>
                  </a:cubicBezTo>
                  <a:cubicBezTo>
                    <a:pt x="530" y="110"/>
                    <a:pt x="530" y="111"/>
                    <a:pt x="529" y="111"/>
                  </a:cubicBezTo>
                  <a:cubicBezTo>
                    <a:pt x="529" y="111"/>
                    <a:pt x="529" y="111"/>
                    <a:pt x="529" y="111"/>
                  </a:cubicBezTo>
                  <a:cubicBezTo>
                    <a:pt x="528" y="112"/>
                    <a:pt x="528" y="112"/>
                    <a:pt x="527" y="113"/>
                  </a:cubicBezTo>
                  <a:cubicBezTo>
                    <a:pt x="526" y="114"/>
                    <a:pt x="524" y="114"/>
                    <a:pt x="523" y="115"/>
                  </a:cubicBezTo>
                  <a:cubicBezTo>
                    <a:pt x="523" y="115"/>
                    <a:pt x="523" y="115"/>
                    <a:pt x="523" y="115"/>
                  </a:cubicBezTo>
                  <a:cubicBezTo>
                    <a:pt x="523" y="115"/>
                    <a:pt x="523" y="115"/>
                    <a:pt x="522" y="115"/>
                  </a:cubicBezTo>
                  <a:cubicBezTo>
                    <a:pt x="522" y="115"/>
                    <a:pt x="522" y="115"/>
                    <a:pt x="521" y="116"/>
                  </a:cubicBezTo>
                  <a:cubicBezTo>
                    <a:pt x="520" y="116"/>
                    <a:pt x="520" y="116"/>
                    <a:pt x="519" y="116"/>
                  </a:cubicBezTo>
                  <a:cubicBezTo>
                    <a:pt x="518" y="117"/>
                    <a:pt x="517" y="117"/>
                    <a:pt x="517" y="117"/>
                  </a:cubicBezTo>
                  <a:close/>
                  <a:moveTo>
                    <a:pt x="534" y="119"/>
                  </a:moveTo>
                  <a:cubicBezTo>
                    <a:pt x="534" y="119"/>
                    <a:pt x="534" y="119"/>
                    <a:pt x="534" y="119"/>
                  </a:cubicBezTo>
                  <a:cubicBezTo>
                    <a:pt x="536" y="121"/>
                    <a:pt x="538" y="123"/>
                    <a:pt x="539" y="124"/>
                  </a:cubicBezTo>
                  <a:cubicBezTo>
                    <a:pt x="540" y="124"/>
                    <a:pt x="540" y="125"/>
                    <a:pt x="541" y="125"/>
                  </a:cubicBezTo>
                  <a:cubicBezTo>
                    <a:pt x="541" y="126"/>
                    <a:pt x="541" y="127"/>
                    <a:pt x="541" y="127"/>
                  </a:cubicBezTo>
                  <a:cubicBezTo>
                    <a:pt x="541" y="127"/>
                    <a:pt x="541" y="127"/>
                    <a:pt x="541" y="127"/>
                  </a:cubicBezTo>
                  <a:cubicBezTo>
                    <a:pt x="541" y="128"/>
                    <a:pt x="541" y="128"/>
                    <a:pt x="541" y="128"/>
                  </a:cubicBezTo>
                  <a:cubicBezTo>
                    <a:pt x="541" y="128"/>
                    <a:pt x="541" y="129"/>
                    <a:pt x="540" y="130"/>
                  </a:cubicBezTo>
                  <a:cubicBezTo>
                    <a:pt x="540" y="131"/>
                    <a:pt x="538" y="131"/>
                    <a:pt x="537" y="132"/>
                  </a:cubicBezTo>
                  <a:cubicBezTo>
                    <a:pt x="536" y="132"/>
                    <a:pt x="534" y="132"/>
                    <a:pt x="532" y="132"/>
                  </a:cubicBezTo>
                  <a:cubicBezTo>
                    <a:pt x="530" y="132"/>
                    <a:pt x="528" y="132"/>
                    <a:pt x="526" y="132"/>
                  </a:cubicBezTo>
                  <a:cubicBezTo>
                    <a:pt x="526" y="131"/>
                    <a:pt x="526" y="129"/>
                    <a:pt x="525" y="127"/>
                  </a:cubicBezTo>
                  <a:cubicBezTo>
                    <a:pt x="525" y="126"/>
                    <a:pt x="525" y="126"/>
                    <a:pt x="525" y="125"/>
                  </a:cubicBezTo>
                  <a:cubicBezTo>
                    <a:pt x="529" y="124"/>
                    <a:pt x="531" y="121"/>
                    <a:pt x="534" y="119"/>
                  </a:cubicBezTo>
                  <a:close/>
                  <a:moveTo>
                    <a:pt x="501" y="209"/>
                  </a:moveTo>
                  <a:cubicBezTo>
                    <a:pt x="501" y="209"/>
                    <a:pt x="501" y="209"/>
                    <a:pt x="501" y="209"/>
                  </a:cubicBezTo>
                  <a:cubicBezTo>
                    <a:pt x="499" y="206"/>
                    <a:pt x="498" y="203"/>
                    <a:pt x="496" y="201"/>
                  </a:cubicBezTo>
                  <a:cubicBezTo>
                    <a:pt x="496" y="200"/>
                    <a:pt x="496" y="200"/>
                    <a:pt x="496" y="200"/>
                  </a:cubicBezTo>
                  <a:cubicBezTo>
                    <a:pt x="496" y="199"/>
                    <a:pt x="496" y="199"/>
                    <a:pt x="496" y="199"/>
                  </a:cubicBezTo>
                  <a:cubicBezTo>
                    <a:pt x="496" y="199"/>
                    <a:pt x="496" y="199"/>
                    <a:pt x="496" y="199"/>
                  </a:cubicBezTo>
                  <a:cubicBezTo>
                    <a:pt x="495" y="199"/>
                    <a:pt x="495" y="198"/>
                    <a:pt x="495" y="197"/>
                  </a:cubicBezTo>
                  <a:cubicBezTo>
                    <a:pt x="494" y="196"/>
                    <a:pt x="494" y="194"/>
                    <a:pt x="493" y="193"/>
                  </a:cubicBezTo>
                  <a:cubicBezTo>
                    <a:pt x="493" y="191"/>
                    <a:pt x="493" y="190"/>
                    <a:pt x="493" y="189"/>
                  </a:cubicBezTo>
                  <a:cubicBezTo>
                    <a:pt x="493" y="188"/>
                    <a:pt x="493" y="188"/>
                    <a:pt x="492" y="188"/>
                  </a:cubicBezTo>
                  <a:cubicBezTo>
                    <a:pt x="492" y="187"/>
                    <a:pt x="492" y="187"/>
                    <a:pt x="492" y="187"/>
                  </a:cubicBezTo>
                  <a:cubicBezTo>
                    <a:pt x="492" y="186"/>
                    <a:pt x="492" y="185"/>
                    <a:pt x="492" y="185"/>
                  </a:cubicBezTo>
                  <a:cubicBezTo>
                    <a:pt x="492" y="181"/>
                    <a:pt x="492" y="178"/>
                    <a:pt x="492" y="175"/>
                  </a:cubicBezTo>
                  <a:cubicBezTo>
                    <a:pt x="492" y="174"/>
                    <a:pt x="492" y="174"/>
                    <a:pt x="492" y="173"/>
                  </a:cubicBezTo>
                  <a:cubicBezTo>
                    <a:pt x="492" y="173"/>
                    <a:pt x="493" y="173"/>
                    <a:pt x="493" y="172"/>
                  </a:cubicBezTo>
                  <a:cubicBezTo>
                    <a:pt x="493" y="172"/>
                    <a:pt x="493" y="172"/>
                    <a:pt x="493" y="171"/>
                  </a:cubicBezTo>
                  <a:cubicBezTo>
                    <a:pt x="493" y="170"/>
                    <a:pt x="493" y="168"/>
                    <a:pt x="494" y="167"/>
                  </a:cubicBezTo>
                  <a:cubicBezTo>
                    <a:pt x="494" y="165"/>
                    <a:pt x="495" y="164"/>
                    <a:pt x="495" y="163"/>
                  </a:cubicBezTo>
                  <a:cubicBezTo>
                    <a:pt x="495" y="162"/>
                    <a:pt x="495" y="162"/>
                    <a:pt x="496" y="161"/>
                  </a:cubicBezTo>
                  <a:cubicBezTo>
                    <a:pt x="496" y="160"/>
                    <a:pt x="496" y="160"/>
                    <a:pt x="496" y="160"/>
                  </a:cubicBezTo>
                  <a:cubicBezTo>
                    <a:pt x="496" y="160"/>
                    <a:pt x="496" y="159"/>
                    <a:pt x="497" y="159"/>
                  </a:cubicBezTo>
                  <a:cubicBezTo>
                    <a:pt x="497" y="158"/>
                    <a:pt x="498" y="157"/>
                    <a:pt x="499" y="155"/>
                  </a:cubicBezTo>
                  <a:cubicBezTo>
                    <a:pt x="499" y="155"/>
                    <a:pt x="499" y="154"/>
                    <a:pt x="500" y="154"/>
                  </a:cubicBezTo>
                  <a:cubicBezTo>
                    <a:pt x="500" y="153"/>
                    <a:pt x="500" y="153"/>
                    <a:pt x="500" y="152"/>
                  </a:cubicBezTo>
                  <a:cubicBezTo>
                    <a:pt x="500" y="152"/>
                    <a:pt x="500" y="152"/>
                    <a:pt x="500" y="152"/>
                  </a:cubicBezTo>
                  <a:cubicBezTo>
                    <a:pt x="501" y="152"/>
                    <a:pt x="501" y="152"/>
                    <a:pt x="501" y="152"/>
                  </a:cubicBezTo>
                  <a:cubicBezTo>
                    <a:pt x="502" y="150"/>
                    <a:pt x="504" y="149"/>
                    <a:pt x="505" y="147"/>
                  </a:cubicBezTo>
                  <a:cubicBezTo>
                    <a:pt x="506" y="147"/>
                    <a:pt x="506" y="146"/>
                    <a:pt x="506" y="146"/>
                  </a:cubicBezTo>
                  <a:cubicBezTo>
                    <a:pt x="506" y="146"/>
                    <a:pt x="506" y="146"/>
                    <a:pt x="506" y="146"/>
                  </a:cubicBezTo>
                  <a:cubicBezTo>
                    <a:pt x="507" y="146"/>
                    <a:pt x="507" y="146"/>
                    <a:pt x="507" y="146"/>
                  </a:cubicBezTo>
                  <a:cubicBezTo>
                    <a:pt x="508" y="145"/>
                    <a:pt x="509" y="144"/>
                    <a:pt x="510" y="144"/>
                  </a:cubicBezTo>
                  <a:cubicBezTo>
                    <a:pt x="511" y="143"/>
                    <a:pt x="512" y="143"/>
                    <a:pt x="513" y="142"/>
                  </a:cubicBezTo>
                  <a:cubicBezTo>
                    <a:pt x="513" y="142"/>
                    <a:pt x="513" y="142"/>
                    <a:pt x="513" y="142"/>
                  </a:cubicBezTo>
                  <a:cubicBezTo>
                    <a:pt x="513" y="142"/>
                    <a:pt x="514" y="142"/>
                    <a:pt x="514" y="142"/>
                  </a:cubicBezTo>
                  <a:cubicBezTo>
                    <a:pt x="515" y="142"/>
                    <a:pt x="515" y="142"/>
                    <a:pt x="516" y="141"/>
                  </a:cubicBezTo>
                  <a:cubicBezTo>
                    <a:pt x="518" y="141"/>
                    <a:pt x="520" y="140"/>
                    <a:pt x="522" y="139"/>
                  </a:cubicBezTo>
                  <a:cubicBezTo>
                    <a:pt x="523" y="139"/>
                    <a:pt x="523" y="139"/>
                    <a:pt x="524" y="138"/>
                  </a:cubicBezTo>
                  <a:cubicBezTo>
                    <a:pt x="530" y="139"/>
                    <a:pt x="539" y="139"/>
                    <a:pt x="543" y="135"/>
                  </a:cubicBezTo>
                  <a:cubicBezTo>
                    <a:pt x="544" y="135"/>
                    <a:pt x="545" y="135"/>
                    <a:pt x="546" y="136"/>
                  </a:cubicBezTo>
                  <a:cubicBezTo>
                    <a:pt x="548" y="136"/>
                    <a:pt x="550" y="137"/>
                    <a:pt x="552" y="138"/>
                  </a:cubicBezTo>
                  <a:cubicBezTo>
                    <a:pt x="553" y="138"/>
                    <a:pt x="555" y="139"/>
                    <a:pt x="557" y="140"/>
                  </a:cubicBezTo>
                  <a:cubicBezTo>
                    <a:pt x="558" y="141"/>
                    <a:pt x="560" y="144"/>
                    <a:pt x="563" y="144"/>
                  </a:cubicBezTo>
                  <a:cubicBezTo>
                    <a:pt x="566" y="158"/>
                    <a:pt x="572" y="171"/>
                    <a:pt x="579" y="182"/>
                  </a:cubicBezTo>
                  <a:cubicBezTo>
                    <a:pt x="576" y="182"/>
                    <a:pt x="573" y="181"/>
                    <a:pt x="571" y="181"/>
                  </a:cubicBezTo>
                  <a:cubicBezTo>
                    <a:pt x="567" y="181"/>
                    <a:pt x="563" y="182"/>
                    <a:pt x="559" y="183"/>
                  </a:cubicBezTo>
                  <a:cubicBezTo>
                    <a:pt x="555" y="185"/>
                    <a:pt x="550" y="187"/>
                    <a:pt x="548" y="191"/>
                  </a:cubicBezTo>
                  <a:cubicBezTo>
                    <a:pt x="548" y="191"/>
                    <a:pt x="548" y="192"/>
                    <a:pt x="548" y="192"/>
                  </a:cubicBezTo>
                  <a:cubicBezTo>
                    <a:pt x="544" y="193"/>
                    <a:pt x="541" y="196"/>
                    <a:pt x="541" y="199"/>
                  </a:cubicBezTo>
                  <a:cubicBezTo>
                    <a:pt x="539" y="200"/>
                    <a:pt x="538" y="201"/>
                    <a:pt x="537" y="203"/>
                  </a:cubicBezTo>
                  <a:cubicBezTo>
                    <a:pt x="536" y="204"/>
                    <a:pt x="536" y="205"/>
                    <a:pt x="536" y="207"/>
                  </a:cubicBezTo>
                  <a:cubicBezTo>
                    <a:pt x="529" y="206"/>
                    <a:pt x="523" y="209"/>
                    <a:pt x="518" y="212"/>
                  </a:cubicBezTo>
                  <a:cubicBezTo>
                    <a:pt x="515" y="213"/>
                    <a:pt x="512" y="215"/>
                    <a:pt x="509" y="217"/>
                  </a:cubicBezTo>
                  <a:cubicBezTo>
                    <a:pt x="509" y="217"/>
                    <a:pt x="509" y="217"/>
                    <a:pt x="509" y="217"/>
                  </a:cubicBezTo>
                  <a:cubicBezTo>
                    <a:pt x="508" y="216"/>
                    <a:pt x="508" y="216"/>
                    <a:pt x="507" y="216"/>
                  </a:cubicBezTo>
                  <a:cubicBezTo>
                    <a:pt x="507" y="216"/>
                    <a:pt x="507" y="215"/>
                    <a:pt x="507" y="215"/>
                  </a:cubicBezTo>
                  <a:cubicBezTo>
                    <a:pt x="507" y="215"/>
                    <a:pt x="507" y="215"/>
                    <a:pt x="507" y="215"/>
                  </a:cubicBezTo>
                  <a:cubicBezTo>
                    <a:pt x="506" y="214"/>
                    <a:pt x="506" y="214"/>
                    <a:pt x="505" y="213"/>
                  </a:cubicBezTo>
                  <a:cubicBezTo>
                    <a:pt x="505" y="213"/>
                    <a:pt x="505" y="213"/>
                    <a:pt x="505" y="213"/>
                  </a:cubicBezTo>
                  <a:cubicBezTo>
                    <a:pt x="505" y="213"/>
                    <a:pt x="505" y="213"/>
                    <a:pt x="505" y="213"/>
                  </a:cubicBezTo>
                  <a:cubicBezTo>
                    <a:pt x="504" y="212"/>
                    <a:pt x="503" y="212"/>
                    <a:pt x="503" y="211"/>
                  </a:cubicBezTo>
                  <a:cubicBezTo>
                    <a:pt x="502" y="211"/>
                    <a:pt x="502" y="210"/>
                    <a:pt x="502" y="210"/>
                  </a:cubicBezTo>
                  <a:cubicBezTo>
                    <a:pt x="502" y="211"/>
                    <a:pt x="501" y="209"/>
                    <a:pt x="501" y="209"/>
                  </a:cubicBezTo>
                  <a:close/>
                  <a:moveTo>
                    <a:pt x="499" y="239"/>
                  </a:moveTo>
                  <a:cubicBezTo>
                    <a:pt x="499" y="239"/>
                    <a:pt x="499" y="239"/>
                    <a:pt x="499" y="239"/>
                  </a:cubicBezTo>
                  <a:cubicBezTo>
                    <a:pt x="502" y="232"/>
                    <a:pt x="508" y="228"/>
                    <a:pt x="513" y="224"/>
                  </a:cubicBezTo>
                  <a:cubicBezTo>
                    <a:pt x="519" y="220"/>
                    <a:pt x="525" y="216"/>
                    <a:pt x="532" y="215"/>
                  </a:cubicBezTo>
                  <a:cubicBezTo>
                    <a:pt x="532" y="215"/>
                    <a:pt x="532" y="215"/>
                    <a:pt x="532" y="215"/>
                  </a:cubicBezTo>
                  <a:cubicBezTo>
                    <a:pt x="533" y="215"/>
                    <a:pt x="533" y="215"/>
                    <a:pt x="534" y="215"/>
                  </a:cubicBezTo>
                  <a:cubicBezTo>
                    <a:pt x="534" y="215"/>
                    <a:pt x="534" y="215"/>
                    <a:pt x="535" y="215"/>
                  </a:cubicBezTo>
                  <a:cubicBezTo>
                    <a:pt x="535" y="215"/>
                    <a:pt x="535" y="215"/>
                    <a:pt x="535" y="215"/>
                  </a:cubicBezTo>
                  <a:cubicBezTo>
                    <a:pt x="536" y="215"/>
                    <a:pt x="536" y="215"/>
                    <a:pt x="537" y="216"/>
                  </a:cubicBezTo>
                  <a:cubicBezTo>
                    <a:pt x="537" y="216"/>
                    <a:pt x="537" y="216"/>
                    <a:pt x="537" y="216"/>
                  </a:cubicBezTo>
                  <a:cubicBezTo>
                    <a:pt x="537" y="216"/>
                    <a:pt x="537" y="216"/>
                    <a:pt x="538" y="216"/>
                  </a:cubicBezTo>
                  <a:cubicBezTo>
                    <a:pt x="536" y="219"/>
                    <a:pt x="534" y="222"/>
                    <a:pt x="533" y="225"/>
                  </a:cubicBezTo>
                  <a:cubicBezTo>
                    <a:pt x="533" y="226"/>
                    <a:pt x="533" y="227"/>
                    <a:pt x="532" y="229"/>
                  </a:cubicBezTo>
                  <a:cubicBezTo>
                    <a:pt x="532" y="229"/>
                    <a:pt x="532" y="229"/>
                    <a:pt x="532" y="229"/>
                  </a:cubicBezTo>
                  <a:cubicBezTo>
                    <a:pt x="530" y="229"/>
                    <a:pt x="528" y="229"/>
                    <a:pt x="526" y="229"/>
                  </a:cubicBezTo>
                  <a:cubicBezTo>
                    <a:pt x="523" y="230"/>
                    <a:pt x="519" y="230"/>
                    <a:pt x="516" y="232"/>
                  </a:cubicBezTo>
                  <a:cubicBezTo>
                    <a:pt x="515" y="233"/>
                    <a:pt x="515" y="235"/>
                    <a:pt x="517" y="235"/>
                  </a:cubicBezTo>
                  <a:cubicBezTo>
                    <a:pt x="520" y="235"/>
                    <a:pt x="523" y="234"/>
                    <a:pt x="526" y="234"/>
                  </a:cubicBezTo>
                  <a:cubicBezTo>
                    <a:pt x="528" y="234"/>
                    <a:pt x="529" y="234"/>
                    <a:pt x="531" y="234"/>
                  </a:cubicBezTo>
                  <a:cubicBezTo>
                    <a:pt x="531" y="234"/>
                    <a:pt x="531" y="234"/>
                    <a:pt x="531" y="234"/>
                  </a:cubicBezTo>
                  <a:cubicBezTo>
                    <a:pt x="531" y="235"/>
                    <a:pt x="531" y="236"/>
                    <a:pt x="531" y="237"/>
                  </a:cubicBezTo>
                  <a:cubicBezTo>
                    <a:pt x="530" y="245"/>
                    <a:pt x="531" y="254"/>
                    <a:pt x="532" y="262"/>
                  </a:cubicBezTo>
                  <a:cubicBezTo>
                    <a:pt x="535" y="279"/>
                    <a:pt x="543" y="294"/>
                    <a:pt x="553" y="307"/>
                  </a:cubicBezTo>
                  <a:cubicBezTo>
                    <a:pt x="562" y="320"/>
                    <a:pt x="574" y="331"/>
                    <a:pt x="588" y="338"/>
                  </a:cubicBezTo>
                  <a:cubicBezTo>
                    <a:pt x="588" y="339"/>
                    <a:pt x="587" y="341"/>
                    <a:pt x="587" y="342"/>
                  </a:cubicBezTo>
                  <a:cubicBezTo>
                    <a:pt x="586" y="343"/>
                    <a:pt x="586" y="344"/>
                    <a:pt x="585" y="345"/>
                  </a:cubicBezTo>
                  <a:cubicBezTo>
                    <a:pt x="585" y="346"/>
                    <a:pt x="584" y="346"/>
                    <a:pt x="584" y="347"/>
                  </a:cubicBezTo>
                  <a:cubicBezTo>
                    <a:pt x="583" y="348"/>
                    <a:pt x="584" y="347"/>
                    <a:pt x="583" y="348"/>
                  </a:cubicBezTo>
                  <a:cubicBezTo>
                    <a:pt x="582" y="349"/>
                    <a:pt x="581" y="350"/>
                    <a:pt x="580" y="351"/>
                  </a:cubicBezTo>
                  <a:cubicBezTo>
                    <a:pt x="580" y="351"/>
                    <a:pt x="580" y="351"/>
                    <a:pt x="580" y="351"/>
                  </a:cubicBezTo>
                  <a:cubicBezTo>
                    <a:pt x="580" y="351"/>
                    <a:pt x="580" y="351"/>
                    <a:pt x="579" y="351"/>
                  </a:cubicBezTo>
                  <a:cubicBezTo>
                    <a:pt x="579" y="352"/>
                    <a:pt x="578" y="352"/>
                    <a:pt x="578" y="352"/>
                  </a:cubicBezTo>
                  <a:cubicBezTo>
                    <a:pt x="578" y="352"/>
                    <a:pt x="578" y="352"/>
                    <a:pt x="578" y="352"/>
                  </a:cubicBezTo>
                  <a:cubicBezTo>
                    <a:pt x="577" y="352"/>
                    <a:pt x="577" y="352"/>
                    <a:pt x="577" y="353"/>
                  </a:cubicBezTo>
                  <a:cubicBezTo>
                    <a:pt x="573" y="347"/>
                    <a:pt x="569" y="342"/>
                    <a:pt x="565" y="338"/>
                  </a:cubicBezTo>
                  <a:cubicBezTo>
                    <a:pt x="554" y="328"/>
                    <a:pt x="540" y="322"/>
                    <a:pt x="526" y="320"/>
                  </a:cubicBezTo>
                  <a:cubicBezTo>
                    <a:pt x="524" y="320"/>
                    <a:pt x="522" y="320"/>
                    <a:pt x="519" y="320"/>
                  </a:cubicBezTo>
                  <a:cubicBezTo>
                    <a:pt x="519" y="310"/>
                    <a:pt x="517" y="301"/>
                    <a:pt x="515" y="292"/>
                  </a:cubicBezTo>
                  <a:cubicBezTo>
                    <a:pt x="513" y="283"/>
                    <a:pt x="509" y="275"/>
                    <a:pt x="505" y="267"/>
                  </a:cubicBezTo>
                  <a:cubicBezTo>
                    <a:pt x="502" y="262"/>
                    <a:pt x="499" y="258"/>
                    <a:pt x="495" y="254"/>
                  </a:cubicBezTo>
                  <a:cubicBezTo>
                    <a:pt x="496" y="249"/>
                    <a:pt x="497" y="243"/>
                    <a:pt x="499" y="239"/>
                  </a:cubicBezTo>
                  <a:close/>
                  <a:moveTo>
                    <a:pt x="431" y="230"/>
                  </a:moveTo>
                  <a:cubicBezTo>
                    <a:pt x="431" y="230"/>
                    <a:pt x="431" y="230"/>
                    <a:pt x="431" y="230"/>
                  </a:cubicBezTo>
                  <a:cubicBezTo>
                    <a:pt x="432" y="230"/>
                    <a:pt x="432" y="230"/>
                    <a:pt x="433" y="230"/>
                  </a:cubicBezTo>
                  <a:cubicBezTo>
                    <a:pt x="434" y="230"/>
                    <a:pt x="434" y="230"/>
                    <a:pt x="434" y="230"/>
                  </a:cubicBezTo>
                  <a:cubicBezTo>
                    <a:pt x="434" y="230"/>
                    <a:pt x="435" y="229"/>
                    <a:pt x="435" y="229"/>
                  </a:cubicBezTo>
                  <a:cubicBezTo>
                    <a:pt x="437" y="229"/>
                    <a:pt x="439" y="229"/>
                    <a:pt x="440" y="229"/>
                  </a:cubicBezTo>
                  <a:cubicBezTo>
                    <a:pt x="441" y="229"/>
                    <a:pt x="442" y="229"/>
                    <a:pt x="443" y="230"/>
                  </a:cubicBezTo>
                  <a:cubicBezTo>
                    <a:pt x="443" y="230"/>
                    <a:pt x="443" y="230"/>
                    <a:pt x="443" y="230"/>
                  </a:cubicBezTo>
                  <a:cubicBezTo>
                    <a:pt x="443" y="230"/>
                    <a:pt x="443" y="230"/>
                    <a:pt x="444" y="230"/>
                  </a:cubicBezTo>
                  <a:cubicBezTo>
                    <a:pt x="445" y="230"/>
                    <a:pt x="447" y="230"/>
                    <a:pt x="449" y="231"/>
                  </a:cubicBezTo>
                  <a:cubicBezTo>
                    <a:pt x="451" y="231"/>
                    <a:pt x="452" y="232"/>
                    <a:pt x="454" y="232"/>
                  </a:cubicBezTo>
                  <a:cubicBezTo>
                    <a:pt x="454" y="233"/>
                    <a:pt x="455" y="233"/>
                    <a:pt x="456" y="233"/>
                  </a:cubicBezTo>
                  <a:cubicBezTo>
                    <a:pt x="456" y="233"/>
                    <a:pt x="456" y="234"/>
                    <a:pt x="457" y="234"/>
                  </a:cubicBezTo>
                  <a:cubicBezTo>
                    <a:pt x="457" y="234"/>
                    <a:pt x="458" y="234"/>
                    <a:pt x="458" y="234"/>
                  </a:cubicBezTo>
                  <a:cubicBezTo>
                    <a:pt x="461" y="236"/>
                    <a:pt x="465" y="238"/>
                    <a:pt x="467" y="240"/>
                  </a:cubicBezTo>
                  <a:cubicBezTo>
                    <a:pt x="471" y="242"/>
                    <a:pt x="473" y="243"/>
                    <a:pt x="475" y="246"/>
                  </a:cubicBezTo>
                  <a:cubicBezTo>
                    <a:pt x="478" y="249"/>
                    <a:pt x="481" y="251"/>
                    <a:pt x="484" y="254"/>
                  </a:cubicBezTo>
                  <a:cubicBezTo>
                    <a:pt x="486" y="256"/>
                    <a:pt x="488" y="259"/>
                    <a:pt x="491" y="262"/>
                  </a:cubicBezTo>
                  <a:cubicBezTo>
                    <a:pt x="491" y="262"/>
                    <a:pt x="491" y="263"/>
                    <a:pt x="491" y="263"/>
                  </a:cubicBezTo>
                  <a:cubicBezTo>
                    <a:pt x="491" y="263"/>
                    <a:pt x="491" y="263"/>
                    <a:pt x="492" y="264"/>
                  </a:cubicBezTo>
                  <a:cubicBezTo>
                    <a:pt x="492" y="264"/>
                    <a:pt x="492" y="265"/>
                    <a:pt x="493" y="266"/>
                  </a:cubicBezTo>
                  <a:cubicBezTo>
                    <a:pt x="494" y="267"/>
                    <a:pt x="495" y="269"/>
                    <a:pt x="496" y="270"/>
                  </a:cubicBezTo>
                  <a:cubicBezTo>
                    <a:pt x="500" y="277"/>
                    <a:pt x="503" y="285"/>
                    <a:pt x="506" y="293"/>
                  </a:cubicBezTo>
                  <a:cubicBezTo>
                    <a:pt x="508" y="301"/>
                    <a:pt x="510" y="310"/>
                    <a:pt x="511" y="319"/>
                  </a:cubicBezTo>
                  <a:cubicBezTo>
                    <a:pt x="501" y="319"/>
                    <a:pt x="492" y="321"/>
                    <a:pt x="483" y="323"/>
                  </a:cubicBezTo>
                  <a:cubicBezTo>
                    <a:pt x="476" y="325"/>
                    <a:pt x="469" y="328"/>
                    <a:pt x="463" y="331"/>
                  </a:cubicBezTo>
                  <a:cubicBezTo>
                    <a:pt x="460" y="333"/>
                    <a:pt x="456" y="334"/>
                    <a:pt x="453" y="336"/>
                  </a:cubicBezTo>
                  <a:cubicBezTo>
                    <a:pt x="450" y="338"/>
                    <a:pt x="447" y="340"/>
                    <a:pt x="444" y="343"/>
                  </a:cubicBezTo>
                  <a:cubicBezTo>
                    <a:pt x="444" y="343"/>
                    <a:pt x="444" y="343"/>
                    <a:pt x="443" y="343"/>
                  </a:cubicBezTo>
                  <a:cubicBezTo>
                    <a:pt x="442" y="343"/>
                    <a:pt x="441" y="342"/>
                    <a:pt x="439" y="342"/>
                  </a:cubicBezTo>
                  <a:cubicBezTo>
                    <a:pt x="438" y="341"/>
                    <a:pt x="437" y="339"/>
                    <a:pt x="436" y="339"/>
                  </a:cubicBezTo>
                  <a:cubicBezTo>
                    <a:pt x="434" y="336"/>
                    <a:pt x="432" y="334"/>
                    <a:pt x="429" y="331"/>
                  </a:cubicBezTo>
                  <a:cubicBezTo>
                    <a:pt x="425" y="326"/>
                    <a:pt x="421" y="321"/>
                    <a:pt x="417" y="314"/>
                  </a:cubicBezTo>
                  <a:cubicBezTo>
                    <a:pt x="415" y="311"/>
                    <a:pt x="413" y="308"/>
                    <a:pt x="412" y="304"/>
                  </a:cubicBezTo>
                  <a:cubicBezTo>
                    <a:pt x="410" y="301"/>
                    <a:pt x="409" y="298"/>
                    <a:pt x="407" y="295"/>
                  </a:cubicBezTo>
                  <a:cubicBezTo>
                    <a:pt x="406" y="291"/>
                    <a:pt x="405" y="288"/>
                    <a:pt x="404" y="285"/>
                  </a:cubicBezTo>
                  <a:cubicBezTo>
                    <a:pt x="403" y="283"/>
                    <a:pt x="403" y="281"/>
                    <a:pt x="403" y="280"/>
                  </a:cubicBezTo>
                  <a:cubicBezTo>
                    <a:pt x="403" y="279"/>
                    <a:pt x="402" y="278"/>
                    <a:pt x="402" y="277"/>
                  </a:cubicBezTo>
                  <a:cubicBezTo>
                    <a:pt x="402" y="276"/>
                    <a:pt x="402" y="276"/>
                    <a:pt x="402" y="276"/>
                  </a:cubicBezTo>
                  <a:cubicBezTo>
                    <a:pt x="402" y="275"/>
                    <a:pt x="402" y="275"/>
                    <a:pt x="402" y="275"/>
                  </a:cubicBezTo>
                  <a:cubicBezTo>
                    <a:pt x="402" y="271"/>
                    <a:pt x="402" y="268"/>
                    <a:pt x="402" y="265"/>
                  </a:cubicBezTo>
                  <a:cubicBezTo>
                    <a:pt x="402" y="264"/>
                    <a:pt x="402" y="263"/>
                    <a:pt x="402" y="263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2" y="261"/>
                    <a:pt x="402" y="261"/>
                    <a:pt x="402" y="261"/>
                  </a:cubicBezTo>
                  <a:cubicBezTo>
                    <a:pt x="403" y="259"/>
                    <a:pt x="403" y="257"/>
                    <a:pt x="404" y="256"/>
                  </a:cubicBezTo>
                  <a:cubicBezTo>
                    <a:pt x="405" y="253"/>
                    <a:pt x="405" y="251"/>
                    <a:pt x="407" y="247"/>
                  </a:cubicBezTo>
                  <a:cubicBezTo>
                    <a:pt x="408" y="247"/>
                    <a:pt x="408" y="246"/>
                    <a:pt x="409" y="245"/>
                  </a:cubicBezTo>
                  <a:cubicBezTo>
                    <a:pt x="409" y="244"/>
                    <a:pt x="409" y="244"/>
                    <a:pt x="409" y="244"/>
                  </a:cubicBezTo>
                  <a:cubicBezTo>
                    <a:pt x="410" y="244"/>
                    <a:pt x="410" y="244"/>
                    <a:pt x="410" y="244"/>
                  </a:cubicBezTo>
                  <a:cubicBezTo>
                    <a:pt x="411" y="242"/>
                    <a:pt x="412" y="241"/>
                    <a:pt x="414" y="239"/>
                  </a:cubicBezTo>
                  <a:cubicBezTo>
                    <a:pt x="417" y="237"/>
                    <a:pt x="419" y="235"/>
                    <a:pt x="422" y="233"/>
                  </a:cubicBezTo>
                  <a:cubicBezTo>
                    <a:pt x="423" y="233"/>
                    <a:pt x="424" y="232"/>
                    <a:pt x="424" y="232"/>
                  </a:cubicBezTo>
                  <a:cubicBezTo>
                    <a:pt x="424" y="232"/>
                    <a:pt x="425" y="232"/>
                    <a:pt x="425" y="232"/>
                  </a:cubicBezTo>
                  <a:cubicBezTo>
                    <a:pt x="425" y="232"/>
                    <a:pt x="425" y="232"/>
                    <a:pt x="425" y="232"/>
                  </a:cubicBezTo>
                  <a:cubicBezTo>
                    <a:pt x="425" y="232"/>
                    <a:pt x="426" y="232"/>
                    <a:pt x="426" y="231"/>
                  </a:cubicBezTo>
                  <a:cubicBezTo>
                    <a:pt x="428" y="231"/>
                    <a:pt x="429" y="230"/>
                    <a:pt x="431" y="230"/>
                  </a:cubicBezTo>
                  <a:close/>
                  <a:moveTo>
                    <a:pt x="389" y="180"/>
                  </a:moveTo>
                  <a:cubicBezTo>
                    <a:pt x="389" y="180"/>
                    <a:pt x="389" y="180"/>
                    <a:pt x="389" y="180"/>
                  </a:cubicBezTo>
                  <a:cubicBezTo>
                    <a:pt x="391" y="180"/>
                    <a:pt x="393" y="180"/>
                    <a:pt x="395" y="179"/>
                  </a:cubicBezTo>
                  <a:cubicBezTo>
                    <a:pt x="396" y="179"/>
                    <a:pt x="397" y="178"/>
                    <a:pt x="397" y="178"/>
                  </a:cubicBezTo>
                  <a:cubicBezTo>
                    <a:pt x="398" y="178"/>
                    <a:pt x="398" y="177"/>
                    <a:pt x="398" y="177"/>
                  </a:cubicBezTo>
                  <a:cubicBezTo>
                    <a:pt x="399" y="178"/>
                    <a:pt x="401" y="178"/>
                    <a:pt x="401" y="176"/>
                  </a:cubicBezTo>
                  <a:cubicBezTo>
                    <a:pt x="404" y="166"/>
                    <a:pt x="410" y="157"/>
                    <a:pt x="416" y="149"/>
                  </a:cubicBezTo>
                  <a:cubicBezTo>
                    <a:pt x="418" y="152"/>
                    <a:pt x="420" y="157"/>
                    <a:pt x="422" y="160"/>
                  </a:cubicBezTo>
                  <a:cubicBezTo>
                    <a:pt x="423" y="163"/>
                    <a:pt x="424" y="165"/>
                    <a:pt x="425" y="168"/>
                  </a:cubicBezTo>
                  <a:cubicBezTo>
                    <a:pt x="426" y="169"/>
                    <a:pt x="426" y="170"/>
                    <a:pt x="427" y="171"/>
                  </a:cubicBezTo>
                  <a:cubicBezTo>
                    <a:pt x="427" y="172"/>
                    <a:pt x="428" y="172"/>
                    <a:pt x="428" y="173"/>
                  </a:cubicBezTo>
                  <a:cubicBezTo>
                    <a:pt x="429" y="173"/>
                    <a:pt x="429" y="173"/>
                    <a:pt x="429" y="173"/>
                  </a:cubicBezTo>
                  <a:cubicBezTo>
                    <a:pt x="429" y="173"/>
                    <a:pt x="429" y="173"/>
                    <a:pt x="429" y="174"/>
                  </a:cubicBezTo>
                  <a:cubicBezTo>
                    <a:pt x="430" y="175"/>
                    <a:pt x="433" y="175"/>
                    <a:pt x="434" y="176"/>
                  </a:cubicBezTo>
                  <a:cubicBezTo>
                    <a:pt x="437" y="176"/>
                    <a:pt x="439" y="177"/>
                    <a:pt x="441" y="177"/>
                  </a:cubicBezTo>
                  <a:cubicBezTo>
                    <a:pt x="443" y="177"/>
                    <a:pt x="445" y="178"/>
                    <a:pt x="448" y="179"/>
                  </a:cubicBezTo>
                  <a:cubicBezTo>
                    <a:pt x="448" y="179"/>
                    <a:pt x="449" y="179"/>
                    <a:pt x="449" y="179"/>
                  </a:cubicBezTo>
                  <a:cubicBezTo>
                    <a:pt x="449" y="179"/>
                    <a:pt x="450" y="179"/>
                    <a:pt x="450" y="179"/>
                  </a:cubicBezTo>
                  <a:cubicBezTo>
                    <a:pt x="450" y="179"/>
                    <a:pt x="450" y="179"/>
                    <a:pt x="450" y="179"/>
                  </a:cubicBezTo>
                  <a:cubicBezTo>
                    <a:pt x="450" y="180"/>
                    <a:pt x="450" y="180"/>
                    <a:pt x="450" y="180"/>
                  </a:cubicBezTo>
                  <a:cubicBezTo>
                    <a:pt x="450" y="180"/>
                    <a:pt x="450" y="180"/>
                    <a:pt x="450" y="181"/>
                  </a:cubicBezTo>
                  <a:cubicBezTo>
                    <a:pt x="450" y="181"/>
                    <a:pt x="449" y="182"/>
                    <a:pt x="449" y="181"/>
                  </a:cubicBezTo>
                  <a:cubicBezTo>
                    <a:pt x="448" y="183"/>
                    <a:pt x="446" y="185"/>
                    <a:pt x="444" y="187"/>
                  </a:cubicBezTo>
                  <a:cubicBezTo>
                    <a:pt x="441" y="190"/>
                    <a:pt x="436" y="192"/>
                    <a:pt x="435" y="197"/>
                  </a:cubicBezTo>
                  <a:cubicBezTo>
                    <a:pt x="435" y="198"/>
                    <a:pt x="436" y="199"/>
                    <a:pt x="437" y="199"/>
                  </a:cubicBezTo>
                  <a:cubicBezTo>
                    <a:pt x="437" y="201"/>
                    <a:pt x="437" y="203"/>
                    <a:pt x="438" y="205"/>
                  </a:cubicBezTo>
                  <a:cubicBezTo>
                    <a:pt x="438" y="207"/>
                    <a:pt x="438" y="209"/>
                    <a:pt x="438" y="210"/>
                  </a:cubicBezTo>
                  <a:cubicBezTo>
                    <a:pt x="435" y="209"/>
                    <a:pt x="432" y="207"/>
                    <a:pt x="429" y="205"/>
                  </a:cubicBezTo>
                  <a:cubicBezTo>
                    <a:pt x="424" y="202"/>
                    <a:pt x="419" y="200"/>
                    <a:pt x="415" y="200"/>
                  </a:cubicBezTo>
                  <a:cubicBezTo>
                    <a:pt x="410" y="200"/>
                    <a:pt x="406" y="203"/>
                    <a:pt x="402" y="205"/>
                  </a:cubicBezTo>
                  <a:cubicBezTo>
                    <a:pt x="402" y="205"/>
                    <a:pt x="402" y="205"/>
                    <a:pt x="402" y="205"/>
                  </a:cubicBezTo>
                  <a:cubicBezTo>
                    <a:pt x="401" y="206"/>
                    <a:pt x="400" y="206"/>
                    <a:pt x="400" y="207"/>
                  </a:cubicBezTo>
                  <a:cubicBezTo>
                    <a:pt x="399" y="208"/>
                    <a:pt x="398" y="209"/>
                    <a:pt x="396" y="210"/>
                  </a:cubicBezTo>
                  <a:cubicBezTo>
                    <a:pt x="396" y="209"/>
                    <a:pt x="396" y="209"/>
                    <a:pt x="397" y="209"/>
                  </a:cubicBezTo>
                  <a:cubicBezTo>
                    <a:pt x="397" y="207"/>
                    <a:pt x="398" y="206"/>
                    <a:pt x="398" y="204"/>
                  </a:cubicBezTo>
                  <a:cubicBezTo>
                    <a:pt x="398" y="203"/>
                    <a:pt x="399" y="202"/>
                    <a:pt x="399" y="201"/>
                  </a:cubicBezTo>
                  <a:cubicBezTo>
                    <a:pt x="400" y="201"/>
                    <a:pt x="401" y="199"/>
                    <a:pt x="400" y="198"/>
                  </a:cubicBezTo>
                  <a:cubicBezTo>
                    <a:pt x="400" y="196"/>
                    <a:pt x="397" y="194"/>
                    <a:pt x="395" y="192"/>
                  </a:cubicBezTo>
                  <a:cubicBezTo>
                    <a:pt x="393" y="191"/>
                    <a:pt x="392" y="189"/>
                    <a:pt x="390" y="187"/>
                  </a:cubicBezTo>
                  <a:cubicBezTo>
                    <a:pt x="388" y="185"/>
                    <a:pt x="386" y="182"/>
                    <a:pt x="384" y="180"/>
                  </a:cubicBezTo>
                  <a:cubicBezTo>
                    <a:pt x="386" y="180"/>
                    <a:pt x="387" y="180"/>
                    <a:pt x="389" y="180"/>
                  </a:cubicBezTo>
                  <a:close/>
                  <a:moveTo>
                    <a:pt x="332" y="257"/>
                  </a:moveTo>
                  <a:cubicBezTo>
                    <a:pt x="332" y="257"/>
                    <a:pt x="332" y="257"/>
                    <a:pt x="332" y="257"/>
                  </a:cubicBezTo>
                  <a:cubicBezTo>
                    <a:pt x="332" y="254"/>
                    <a:pt x="333" y="251"/>
                    <a:pt x="334" y="248"/>
                  </a:cubicBezTo>
                  <a:cubicBezTo>
                    <a:pt x="334" y="247"/>
                    <a:pt x="335" y="245"/>
                    <a:pt x="335" y="243"/>
                  </a:cubicBezTo>
                  <a:cubicBezTo>
                    <a:pt x="336" y="243"/>
                    <a:pt x="336" y="242"/>
                    <a:pt x="336" y="241"/>
                  </a:cubicBezTo>
                  <a:cubicBezTo>
                    <a:pt x="336" y="241"/>
                    <a:pt x="336" y="241"/>
                    <a:pt x="337" y="240"/>
                  </a:cubicBezTo>
                  <a:cubicBezTo>
                    <a:pt x="337" y="239"/>
                    <a:pt x="337" y="239"/>
                    <a:pt x="337" y="239"/>
                  </a:cubicBezTo>
                  <a:cubicBezTo>
                    <a:pt x="338" y="236"/>
                    <a:pt x="340" y="233"/>
                    <a:pt x="341" y="230"/>
                  </a:cubicBezTo>
                  <a:cubicBezTo>
                    <a:pt x="344" y="224"/>
                    <a:pt x="348" y="219"/>
                    <a:pt x="352" y="213"/>
                  </a:cubicBezTo>
                  <a:cubicBezTo>
                    <a:pt x="354" y="211"/>
                    <a:pt x="356" y="209"/>
                    <a:pt x="359" y="206"/>
                  </a:cubicBezTo>
                  <a:cubicBezTo>
                    <a:pt x="359" y="206"/>
                    <a:pt x="360" y="206"/>
                    <a:pt x="360" y="205"/>
                  </a:cubicBezTo>
                  <a:cubicBezTo>
                    <a:pt x="360" y="205"/>
                    <a:pt x="361" y="205"/>
                    <a:pt x="361" y="205"/>
                  </a:cubicBezTo>
                  <a:cubicBezTo>
                    <a:pt x="362" y="204"/>
                    <a:pt x="362" y="204"/>
                    <a:pt x="362" y="204"/>
                  </a:cubicBezTo>
                  <a:cubicBezTo>
                    <a:pt x="363" y="203"/>
                    <a:pt x="365" y="202"/>
                    <a:pt x="366" y="202"/>
                  </a:cubicBezTo>
                  <a:cubicBezTo>
                    <a:pt x="367" y="201"/>
                    <a:pt x="368" y="201"/>
                    <a:pt x="368" y="200"/>
                  </a:cubicBezTo>
                  <a:cubicBezTo>
                    <a:pt x="369" y="200"/>
                    <a:pt x="369" y="200"/>
                    <a:pt x="369" y="200"/>
                  </a:cubicBezTo>
                  <a:cubicBezTo>
                    <a:pt x="369" y="200"/>
                    <a:pt x="370" y="199"/>
                    <a:pt x="370" y="199"/>
                  </a:cubicBezTo>
                  <a:cubicBezTo>
                    <a:pt x="372" y="199"/>
                    <a:pt x="374" y="198"/>
                    <a:pt x="376" y="198"/>
                  </a:cubicBezTo>
                  <a:cubicBezTo>
                    <a:pt x="376" y="198"/>
                    <a:pt x="376" y="198"/>
                    <a:pt x="377" y="198"/>
                  </a:cubicBezTo>
                  <a:cubicBezTo>
                    <a:pt x="377" y="198"/>
                    <a:pt x="377" y="198"/>
                    <a:pt x="378" y="198"/>
                  </a:cubicBezTo>
                  <a:cubicBezTo>
                    <a:pt x="379" y="197"/>
                    <a:pt x="380" y="197"/>
                    <a:pt x="381" y="197"/>
                  </a:cubicBezTo>
                  <a:cubicBezTo>
                    <a:pt x="381" y="197"/>
                    <a:pt x="382" y="198"/>
                    <a:pt x="382" y="198"/>
                  </a:cubicBezTo>
                  <a:cubicBezTo>
                    <a:pt x="383" y="198"/>
                    <a:pt x="383" y="198"/>
                    <a:pt x="383" y="198"/>
                  </a:cubicBezTo>
                  <a:cubicBezTo>
                    <a:pt x="384" y="198"/>
                    <a:pt x="386" y="198"/>
                    <a:pt x="387" y="198"/>
                  </a:cubicBezTo>
                  <a:cubicBezTo>
                    <a:pt x="388" y="198"/>
                    <a:pt x="389" y="197"/>
                    <a:pt x="390" y="196"/>
                  </a:cubicBezTo>
                  <a:cubicBezTo>
                    <a:pt x="391" y="197"/>
                    <a:pt x="391" y="197"/>
                    <a:pt x="391" y="197"/>
                  </a:cubicBezTo>
                  <a:cubicBezTo>
                    <a:pt x="392" y="198"/>
                    <a:pt x="393" y="199"/>
                    <a:pt x="394" y="200"/>
                  </a:cubicBezTo>
                  <a:cubicBezTo>
                    <a:pt x="394" y="201"/>
                    <a:pt x="394" y="201"/>
                    <a:pt x="394" y="202"/>
                  </a:cubicBezTo>
                  <a:cubicBezTo>
                    <a:pt x="393" y="203"/>
                    <a:pt x="393" y="205"/>
                    <a:pt x="392" y="206"/>
                  </a:cubicBezTo>
                  <a:cubicBezTo>
                    <a:pt x="391" y="209"/>
                    <a:pt x="390" y="212"/>
                    <a:pt x="389" y="214"/>
                  </a:cubicBezTo>
                  <a:cubicBezTo>
                    <a:pt x="387" y="213"/>
                    <a:pt x="386" y="212"/>
                    <a:pt x="384" y="211"/>
                  </a:cubicBezTo>
                  <a:cubicBezTo>
                    <a:pt x="382" y="209"/>
                    <a:pt x="378" y="207"/>
                    <a:pt x="375" y="207"/>
                  </a:cubicBezTo>
                  <a:cubicBezTo>
                    <a:pt x="374" y="207"/>
                    <a:pt x="373" y="208"/>
                    <a:pt x="374" y="209"/>
                  </a:cubicBezTo>
                  <a:cubicBezTo>
                    <a:pt x="376" y="211"/>
                    <a:pt x="379" y="213"/>
                    <a:pt x="381" y="214"/>
                  </a:cubicBezTo>
                  <a:cubicBezTo>
                    <a:pt x="384" y="217"/>
                    <a:pt x="387" y="219"/>
                    <a:pt x="389" y="221"/>
                  </a:cubicBezTo>
                  <a:cubicBezTo>
                    <a:pt x="391" y="223"/>
                    <a:pt x="393" y="226"/>
                    <a:pt x="394" y="229"/>
                  </a:cubicBezTo>
                  <a:cubicBezTo>
                    <a:pt x="395" y="230"/>
                    <a:pt x="396" y="232"/>
                    <a:pt x="396" y="233"/>
                  </a:cubicBezTo>
                  <a:cubicBezTo>
                    <a:pt x="397" y="235"/>
                    <a:pt x="397" y="237"/>
                    <a:pt x="399" y="238"/>
                  </a:cubicBezTo>
                  <a:cubicBezTo>
                    <a:pt x="400" y="238"/>
                    <a:pt x="400" y="238"/>
                    <a:pt x="401" y="237"/>
                  </a:cubicBezTo>
                  <a:cubicBezTo>
                    <a:pt x="402" y="236"/>
                    <a:pt x="402" y="234"/>
                    <a:pt x="401" y="232"/>
                  </a:cubicBezTo>
                  <a:cubicBezTo>
                    <a:pt x="401" y="230"/>
                    <a:pt x="400" y="228"/>
                    <a:pt x="399" y="226"/>
                  </a:cubicBezTo>
                  <a:cubicBezTo>
                    <a:pt x="397" y="224"/>
                    <a:pt x="396" y="221"/>
                    <a:pt x="394" y="219"/>
                  </a:cubicBezTo>
                  <a:cubicBezTo>
                    <a:pt x="397" y="217"/>
                    <a:pt x="400" y="215"/>
                    <a:pt x="403" y="213"/>
                  </a:cubicBezTo>
                  <a:cubicBezTo>
                    <a:pt x="403" y="212"/>
                    <a:pt x="403" y="212"/>
                    <a:pt x="403" y="212"/>
                  </a:cubicBezTo>
                  <a:cubicBezTo>
                    <a:pt x="404" y="213"/>
                    <a:pt x="405" y="213"/>
                    <a:pt x="405" y="213"/>
                  </a:cubicBezTo>
                  <a:cubicBezTo>
                    <a:pt x="407" y="216"/>
                    <a:pt x="409" y="217"/>
                    <a:pt x="411" y="219"/>
                  </a:cubicBezTo>
                  <a:cubicBezTo>
                    <a:pt x="413" y="221"/>
                    <a:pt x="415" y="223"/>
                    <a:pt x="417" y="225"/>
                  </a:cubicBezTo>
                  <a:cubicBezTo>
                    <a:pt x="417" y="225"/>
                    <a:pt x="417" y="225"/>
                    <a:pt x="418" y="226"/>
                  </a:cubicBezTo>
                  <a:cubicBezTo>
                    <a:pt x="410" y="230"/>
                    <a:pt x="403" y="236"/>
                    <a:pt x="399" y="244"/>
                  </a:cubicBezTo>
                  <a:cubicBezTo>
                    <a:pt x="394" y="253"/>
                    <a:pt x="393" y="262"/>
                    <a:pt x="393" y="271"/>
                  </a:cubicBezTo>
                  <a:cubicBezTo>
                    <a:pt x="389" y="272"/>
                    <a:pt x="385" y="277"/>
                    <a:pt x="382" y="281"/>
                  </a:cubicBezTo>
                  <a:cubicBezTo>
                    <a:pt x="381" y="283"/>
                    <a:pt x="379" y="285"/>
                    <a:pt x="378" y="288"/>
                  </a:cubicBezTo>
                  <a:cubicBezTo>
                    <a:pt x="377" y="289"/>
                    <a:pt x="377" y="291"/>
                    <a:pt x="376" y="292"/>
                  </a:cubicBezTo>
                  <a:cubicBezTo>
                    <a:pt x="371" y="290"/>
                    <a:pt x="367" y="288"/>
                    <a:pt x="361" y="288"/>
                  </a:cubicBezTo>
                  <a:cubicBezTo>
                    <a:pt x="360" y="288"/>
                    <a:pt x="358" y="288"/>
                    <a:pt x="357" y="288"/>
                  </a:cubicBezTo>
                  <a:cubicBezTo>
                    <a:pt x="356" y="288"/>
                    <a:pt x="356" y="287"/>
                    <a:pt x="356" y="287"/>
                  </a:cubicBezTo>
                  <a:cubicBezTo>
                    <a:pt x="355" y="284"/>
                    <a:pt x="353" y="282"/>
                    <a:pt x="352" y="280"/>
                  </a:cubicBezTo>
                  <a:cubicBezTo>
                    <a:pt x="348" y="274"/>
                    <a:pt x="344" y="269"/>
                    <a:pt x="339" y="266"/>
                  </a:cubicBezTo>
                  <a:cubicBezTo>
                    <a:pt x="337" y="264"/>
                    <a:pt x="334" y="262"/>
                    <a:pt x="331" y="261"/>
                  </a:cubicBezTo>
                  <a:cubicBezTo>
                    <a:pt x="331" y="259"/>
                    <a:pt x="331" y="258"/>
                    <a:pt x="332" y="257"/>
                  </a:cubicBezTo>
                  <a:close/>
                  <a:moveTo>
                    <a:pt x="317" y="270"/>
                  </a:moveTo>
                  <a:cubicBezTo>
                    <a:pt x="317" y="270"/>
                    <a:pt x="317" y="270"/>
                    <a:pt x="317" y="270"/>
                  </a:cubicBezTo>
                  <a:cubicBezTo>
                    <a:pt x="318" y="270"/>
                    <a:pt x="318" y="269"/>
                    <a:pt x="318" y="269"/>
                  </a:cubicBezTo>
                  <a:cubicBezTo>
                    <a:pt x="319" y="269"/>
                    <a:pt x="319" y="269"/>
                    <a:pt x="319" y="269"/>
                  </a:cubicBezTo>
                  <a:cubicBezTo>
                    <a:pt x="319" y="269"/>
                    <a:pt x="319" y="269"/>
                    <a:pt x="319" y="269"/>
                  </a:cubicBezTo>
                  <a:cubicBezTo>
                    <a:pt x="319" y="268"/>
                    <a:pt x="319" y="268"/>
                    <a:pt x="319" y="268"/>
                  </a:cubicBezTo>
                  <a:cubicBezTo>
                    <a:pt x="319" y="268"/>
                    <a:pt x="320" y="268"/>
                    <a:pt x="320" y="268"/>
                  </a:cubicBezTo>
                  <a:cubicBezTo>
                    <a:pt x="320" y="268"/>
                    <a:pt x="321" y="267"/>
                    <a:pt x="321" y="267"/>
                  </a:cubicBezTo>
                  <a:cubicBezTo>
                    <a:pt x="322" y="267"/>
                    <a:pt x="322" y="267"/>
                    <a:pt x="322" y="267"/>
                  </a:cubicBezTo>
                  <a:cubicBezTo>
                    <a:pt x="322" y="267"/>
                    <a:pt x="322" y="267"/>
                    <a:pt x="322" y="267"/>
                  </a:cubicBezTo>
                  <a:cubicBezTo>
                    <a:pt x="323" y="267"/>
                    <a:pt x="323" y="267"/>
                    <a:pt x="324" y="267"/>
                  </a:cubicBezTo>
                  <a:cubicBezTo>
                    <a:pt x="324" y="267"/>
                    <a:pt x="324" y="267"/>
                    <a:pt x="324" y="267"/>
                  </a:cubicBezTo>
                  <a:cubicBezTo>
                    <a:pt x="324" y="267"/>
                    <a:pt x="324" y="267"/>
                    <a:pt x="324" y="267"/>
                  </a:cubicBezTo>
                  <a:cubicBezTo>
                    <a:pt x="325" y="267"/>
                    <a:pt x="326" y="267"/>
                    <a:pt x="326" y="268"/>
                  </a:cubicBezTo>
                  <a:cubicBezTo>
                    <a:pt x="327" y="268"/>
                    <a:pt x="327" y="268"/>
                    <a:pt x="328" y="268"/>
                  </a:cubicBezTo>
                  <a:cubicBezTo>
                    <a:pt x="328" y="268"/>
                    <a:pt x="328" y="268"/>
                    <a:pt x="328" y="268"/>
                  </a:cubicBezTo>
                  <a:cubicBezTo>
                    <a:pt x="328" y="268"/>
                    <a:pt x="329" y="268"/>
                    <a:pt x="329" y="268"/>
                  </a:cubicBezTo>
                  <a:cubicBezTo>
                    <a:pt x="331" y="270"/>
                    <a:pt x="333" y="271"/>
                    <a:pt x="336" y="273"/>
                  </a:cubicBezTo>
                  <a:cubicBezTo>
                    <a:pt x="336" y="273"/>
                    <a:pt x="336" y="273"/>
                    <a:pt x="336" y="273"/>
                  </a:cubicBezTo>
                  <a:cubicBezTo>
                    <a:pt x="336" y="273"/>
                    <a:pt x="336" y="273"/>
                    <a:pt x="336" y="273"/>
                  </a:cubicBezTo>
                  <a:cubicBezTo>
                    <a:pt x="337" y="274"/>
                    <a:pt x="338" y="274"/>
                    <a:pt x="338" y="275"/>
                  </a:cubicBezTo>
                  <a:cubicBezTo>
                    <a:pt x="339" y="276"/>
                    <a:pt x="340" y="277"/>
                    <a:pt x="341" y="278"/>
                  </a:cubicBezTo>
                  <a:cubicBezTo>
                    <a:pt x="343" y="280"/>
                    <a:pt x="345" y="282"/>
                    <a:pt x="346" y="285"/>
                  </a:cubicBezTo>
                  <a:cubicBezTo>
                    <a:pt x="348" y="286"/>
                    <a:pt x="349" y="288"/>
                    <a:pt x="350" y="289"/>
                  </a:cubicBezTo>
                  <a:cubicBezTo>
                    <a:pt x="346" y="291"/>
                    <a:pt x="343" y="292"/>
                    <a:pt x="340" y="294"/>
                  </a:cubicBezTo>
                  <a:cubicBezTo>
                    <a:pt x="333" y="299"/>
                    <a:pt x="328" y="306"/>
                    <a:pt x="325" y="314"/>
                  </a:cubicBezTo>
                  <a:cubicBezTo>
                    <a:pt x="323" y="319"/>
                    <a:pt x="322" y="325"/>
                    <a:pt x="323" y="330"/>
                  </a:cubicBezTo>
                  <a:cubicBezTo>
                    <a:pt x="321" y="330"/>
                    <a:pt x="320" y="330"/>
                    <a:pt x="319" y="330"/>
                  </a:cubicBezTo>
                  <a:cubicBezTo>
                    <a:pt x="313" y="331"/>
                    <a:pt x="305" y="331"/>
                    <a:pt x="298" y="331"/>
                  </a:cubicBezTo>
                  <a:cubicBezTo>
                    <a:pt x="303" y="312"/>
                    <a:pt x="309" y="291"/>
                    <a:pt x="316" y="271"/>
                  </a:cubicBezTo>
                  <a:cubicBezTo>
                    <a:pt x="316" y="271"/>
                    <a:pt x="317" y="271"/>
                    <a:pt x="317" y="270"/>
                  </a:cubicBezTo>
                  <a:close/>
                  <a:moveTo>
                    <a:pt x="49" y="736"/>
                  </a:moveTo>
                  <a:cubicBezTo>
                    <a:pt x="49" y="736"/>
                    <a:pt x="49" y="736"/>
                    <a:pt x="49" y="736"/>
                  </a:cubicBezTo>
                  <a:cubicBezTo>
                    <a:pt x="42" y="726"/>
                    <a:pt x="35" y="713"/>
                    <a:pt x="29" y="701"/>
                  </a:cubicBezTo>
                  <a:cubicBezTo>
                    <a:pt x="24" y="690"/>
                    <a:pt x="21" y="675"/>
                    <a:pt x="18" y="662"/>
                  </a:cubicBezTo>
                  <a:cubicBezTo>
                    <a:pt x="17" y="655"/>
                    <a:pt x="16" y="649"/>
                    <a:pt x="16" y="642"/>
                  </a:cubicBezTo>
                  <a:cubicBezTo>
                    <a:pt x="15" y="635"/>
                    <a:pt x="15" y="628"/>
                    <a:pt x="15" y="620"/>
                  </a:cubicBezTo>
                  <a:cubicBezTo>
                    <a:pt x="16" y="604"/>
                    <a:pt x="18" y="588"/>
                    <a:pt x="21" y="572"/>
                  </a:cubicBezTo>
                  <a:cubicBezTo>
                    <a:pt x="27" y="538"/>
                    <a:pt x="39" y="506"/>
                    <a:pt x="52" y="474"/>
                  </a:cubicBezTo>
                  <a:cubicBezTo>
                    <a:pt x="80" y="411"/>
                    <a:pt x="118" y="351"/>
                    <a:pt x="159" y="297"/>
                  </a:cubicBezTo>
                  <a:cubicBezTo>
                    <a:pt x="181" y="269"/>
                    <a:pt x="205" y="243"/>
                    <a:pt x="232" y="221"/>
                  </a:cubicBezTo>
                  <a:cubicBezTo>
                    <a:pt x="259" y="198"/>
                    <a:pt x="288" y="178"/>
                    <a:pt x="317" y="159"/>
                  </a:cubicBezTo>
                  <a:cubicBezTo>
                    <a:pt x="323" y="155"/>
                    <a:pt x="330" y="150"/>
                    <a:pt x="336" y="145"/>
                  </a:cubicBezTo>
                  <a:cubicBezTo>
                    <a:pt x="330" y="175"/>
                    <a:pt x="320" y="205"/>
                    <a:pt x="312" y="235"/>
                  </a:cubicBezTo>
                  <a:cubicBezTo>
                    <a:pt x="301" y="269"/>
                    <a:pt x="291" y="303"/>
                    <a:pt x="281" y="337"/>
                  </a:cubicBezTo>
                  <a:cubicBezTo>
                    <a:pt x="280" y="342"/>
                    <a:pt x="284" y="348"/>
                    <a:pt x="289" y="347"/>
                  </a:cubicBezTo>
                  <a:cubicBezTo>
                    <a:pt x="353" y="343"/>
                    <a:pt x="420" y="346"/>
                    <a:pt x="481" y="371"/>
                  </a:cubicBezTo>
                  <a:cubicBezTo>
                    <a:pt x="482" y="371"/>
                    <a:pt x="484" y="373"/>
                    <a:pt x="486" y="373"/>
                  </a:cubicBezTo>
                  <a:cubicBezTo>
                    <a:pt x="428" y="388"/>
                    <a:pt x="374" y="419"/>
                    <a:pt x="322" y="449"/>
                  </a:cubicBezTo>
                  <a:cubicBezTo>
                    <a:pt x="295" y="464"/>
                    <a:pt x="268" y="479"/>
                    <a:pt x="243" y="497"/>
                  </a:cubicBezTo>
                  <a:cubicBezTo>
                    <a:pt x="223" y="509"/>
                    <a:pt x="205" y="523"/>
                    <a:pt x="189" y="539"/>
                  </a:cubicBezTo>
                  <a:cubicBezTo>
                    <a:pt x="185" y="538"/>
                    <a:pt x="181" y="536"/>
                    <a:pt x="177" y="535"/>
                  </a:cubicBezTo>
                  <a:cubicBezTo>
                    <a:pt x="176" y="535"/>
                    <a:pt x="175" y="535"/>
                    <a:pt x="175" y="534"/>
                  </a:cubicBezTo>
                  <a:cubicBezTo>
                    <a:pt x="170" y="529"/>
                    <a:pt x="163" y="524"/>
                    <a:pt x="155" y="523"/>
                  </a:cubicBezTo>
                  <a:cubicBezTo>
                    <a:pt x="154" y="523"/>
                    <a:pt x="154" y="523"/>
                    <a:pt x="153" y="523"/>
                  </a:cubicBezTo>
                  <a:cubicBezTo>
                    <a:pt x="153" y="523"/>
                    <a:pt x="153" y="523"/>
                    <a:pt x="152" y="522"/>
                  </a:cubicBezTo>
                  <a:cubicBezTo>
                    <a:pt x="151" y="521"/>
                    <a:pt x="150" y="522"/>
                    <a:pt x="149" y="523"/>
                  </a:cubicBezTo>
                  <a:cubicBezTo>
                    <a:pt x="144" y="524"/>
                    <a:pt x="139" y="526"/>
                    <a:pt x="134" y="529"/>
                  </a:cubicBezTo>
                  <a:cubicBezTo>
                    <a:pt x="127" y="533"/>
                    <a:pt x="121" y="538"/>
                    <a:pt x="115" y="544"/>
                  </a:cubicBezTo>
                  <a:cubicBezTo>
                    <a:pt x="113" y="546"/>
                    <a:pt x="110" y="549"/>
                    <a:pt x="108" y="551"/>
                  </a:cubicBezTo>
                  <a:cubicBezTo>
                    <a:pt x="107" y="553"/>
                    <a:pt x="106" y="554"/>
                    <a:pt x="105" y="556"/>
                  </a:cubicBezTo>
                  <a:cubicBezTo>
                    <a:pt x="103" y="558"/>
                    <a:pt x="102" y="560"/>
                    <a:pt x="101" y="562"/>
                  </a:cubicBezTo>
                  <a:cubicBezTo>
                    <a:pt x="100" y="562"/>
                    <a:pt x="100" y="563"/>
                    <a:pt x="101" y="564"/>
                  </a:cubicBezTo>
                  <a:cubicBezTo>
                    <a:pt x="92" y="577"/>
                    <a:pt x="84" y="593"/>
                    <a:pt x="78" y="608"/>
                  </a:cubicBezTo>
                  <a:cubicBezTo>
                    <a:pt x="70" y="635"/>
                    <a:pt x="67" y="664"/>
                    <a:pt x="67" y="692"/>
                  </a:cubicBezTo>
                  <a:cubicBezTo>
                    <a:pt x="68" y="706"/>
                    <a:pt x="69" y="721"/>
                    <a:pt x="72" y="735"/>
                  </a:cubicBezTo>
                  <a:cubicBezTo>
                    <a:pt x="74" y="745"/>
                    <a:pt x="77" y="756"/>
                    <a:pt x="82" y="765"/>
                  </a:cubicBezTo>
                  <a:cubicBezTo>
                    <a:pt x="81" y="764"/>
                    <a:pt x="79" y="763"/>
                    <a:pt x="78" y="762"/>
                  </a:cubicBezTo>
                  <a:cubicBezTo>
                    <a:pt x="67" y="756"/>
                    <a:pt x="58" y="747"/>
                    <a:pt x="49" y="736"/>
                  </a:cubicBezTo>
                  <a:close/>
                  <a:moveTo>
                    <a:pt x="146" y="789"/>
                  </a:moveTo>
                  <a:cubicBezTo>
                    <a:pt x="146" y="789"/>
                    <a:pt x="146" y="789"/>
                    <a:pt x="146" y="789"/>
                  </a:cubicBezTo>
                  <a:cubicBezTo>
                    <a:pt x="155" y="782"/>
                    <a:pt x="163" y="772"/>
                    <a:pt x="169" y="761"/>
                  </a:cubicBezTo>
                  <a:cubicBezTo>
                    <a:pt x="174" y="752"/>
                    <a:pt x="179" y="740"/>
                    <a:pt x="183" y="730"/>
                  </a:cubicBezTo>
                  <a:cubicBezTo>
                    <a:pt x="184" y="736"/>
                    <a:pt x="186" y="742"/>
                    <a:pt x="186" y="749"/>
                  </a:cubicBezTo>
                  <a:cubicBezTo>
                    <a:pt x="187" y="762"/>
                    <a:pt x="184" y="775"/>
                    <a:pt x="181" y="788"/>
                  </a:cubicBezTo>
                  <a:cubicBezTo>
                    <a:pt x="181" y="789"/>
                    <a:pt x="180" y="789"/>
                    <a:pt x="180" y="789"/>
                  </a:cubicBezTo>
                  <a:cubicBezTo>
                    <a:pt x="173" y="789"/>
                    <a:pt x="167" y="789"/>
                    <a:pt x="160" y="789"/>
                  </a:cubicBezTo>
                  <a:cubicBezTo>
                    <a:pt x="160" y="788"/>
                    <a:pt x="160" y="788"/>
                    <a:pt x="158" y="788"/>
                  </a:cubicBezTo>
                  <a:cubicBezTo>
                    <a:pt x="156" y="788"/>
                    <a:pt x="154" y="789"/>
                    <a:pt x="152" y="789"/>
                  </a:cubicBezTo>
                  <a:cubicBezTo>
                    <a:pt x="152" y="789"/>
                    <a:pt x="152" y="789"/>
                    <a:pt x="152" y="789"/>
                  </a:cubicBezTo>
                  <a:cubicBezTo>
                    <a:pt x="152" y="789"/>
                    <a:pt x="152" y="789"/>
                    <a:pt x="152" y="789"/>
                  </a:cubicBezTo>
                  <a:cubicBezTo>
                    <a:pt x="149" y="790"/>
                    <a:pt x="147" y="789"/>
                    <a:pt x="145" y="789"/>
                  </a:cubicBezTo>
                  <a:cubicBezTo>
                    <a:pt x="145" y="789"/>
                    <a:pt x="146" y="789"/>
                    <a:pt x="146" y="789"/>
                  </a:cubicBezTo>
                  <a:close/>
                  <a:moveTo>
                    <a:pt x="85" y="808"/>
                  </a:moveTo>
                  <a:cubicBezTo>
                    <a:pt x="85" y="808"/>
                    <a:pt x="85" y="808"/>
                    <a:pt x="85" y="808"/>
                  </a:cubicBezTo>
                  <a:cubicBezTo>
                    <a:pt x="93" y="807"/>
                    <a:pt x="100" y="807"/>
                    <a:pt x="107" y="806"/>
                  </a:cubicBezTo>
                  <a:cubicBezTo>
                    <a:pt x="116" y="805"/>
                    <a:pt x="125" y="804"/>
                    <a:pt x="134" y="802"/>
                  </a:cubicBezTo>
                  <a:cubicBezTo>
                    <a:pt x="135" y="802"/>
                    <a:pt x="136" y="803"/>
                    <a:pt x="137" y="803"/>
                  </a:cubicBezTo>
                  <a:cubicBezTo>
                    <a:pt x="138" y="803"/>
                    <a:pt x="140" y="803"/>
                    <a:pt x="141" y="803"/>
                  </a:cubicBezTo>
                  <a:cubicBezTo>
                    <a:pt x="141" y="803"/>
                    <a:pt x="142" y="803"/>
                    <a:pt x="142" y="803"/>
                  </a:cubicBezTo>
                  <a:cubicBezTo>
                    <a:pt x="146" y="804"/>
                    <a:pt x="149" y="806"/>
                    <a:pt x="153" y="808"/>
                  </a:cubicBezTo>
                  <a:cubicBezTo>
                    <a:pt x="161" y="812"/>
                    <a:pt x="169" y="816"/>
                    <a:pt x="176" y="820"/>
                  </a:cubicBezTo>
                  <a:cubicBezTo>
                    <a:pt x="185" y="825"/>
                    <a:pt x="193" y="830"/>
                    <a:pt x="201" y="835"/>
                  </a:cubicBezTo>
                  <a:cubicBezTo>
                    <a:pt x="205" y="838"/>
                    <a:pt x="209" y="841"/>
                    <a:pt x="213" y="844"/>
                  </a:cubicBezTo>
                  <a:cubicBezTo>
                    <a:pt x="216" y="846"/>
                    <a:pt x="219" y="849"/>
                    <a:pt x="222" y="851"/>
                  </a:cubicBezTo>
                  <a:cubicBezTo>
                    <a:pt x="219" y="856"/>
                    <a:pt x="215" y="861"/>
                    <a:pt x="211" y="866"/>
                  </a:cubicBezTo>
                  <a:cubicBezTo>
                    <a:pt x="205" y="876"/>
                    <a:pt x="199" y="886"/>
                    <a:pt x="194" y="896"/>
                  </a:cubicBezTo>
                  <a:cubicBezTo>
                    <a:pt x="191" y="892"/>
                    <a:pt x="188" y="888"/>
                    <a:pt x="185" y="884"/>
                  </a:cubicBezTo>
                  <a:cubicBezTo>
                    <a:pt x="182" y="881"/>
                    <a:pt x="179" y="877"/>
                    <a:pt x="175" y="874"/>
                  </a:cubicBezTo>
                  <a:cubicBezTo>
                    <a:pt x="169" y="867"/>
                    <a:pt x="161" y="861"/>
                    <a:pt x="154" y="855"/>
                  </a:cubicBezTo>
                  <a:cubicBezTo>
                    <a:pt x="144" y="846"/>
                    <a:pt x="133" y="837"/>
                    <a:pt x="122" y="829"/>
                  </a:cubicBezTo>
                  <a:cubicBezTo>
                    <a:pt x="113" y="823"/>
                    <a:pt x="103" y="817"/>
                    <a:pt x="93" y="812"/>
                  </a:cubicBezTo>
                  <a:cubicBezTo>
                    <a:pt x="90" y="811"/>
                    <a:pt x="87" y="810"/>
                    <a:pt x="84" y="808"/>
                  </a:cubicBezTo>
                  <a:cubicBezTo>
                    <a:pt x="84" y="808"/>
                    <a:pt x="85" y="808"/>
                    <a:pt x="85" y="808"/>
                  </a:cubicBezTo>
                  <a:close/>
                  <a:moveTo>
                    <a:pt x="169" y="922"/>
                  </a:moveTo>
                  <a:cubicBezTo>
                    <a:pt x="169" y="922"/>
                    <a:pt x="169" y="922"/>
                    <a:pt x="169" y="922"/>
                  </a:cubicBezTo>
                  <a:cubicBezTo>
                    <a:pt x="164" y="918"/>
                    <a:pt x="158" y="914"/>
                    <a:pt x="152" y="909"/>
                  </a:cubicBezTo>
                  <a:cubicBezTo>
                    <a:pt x="146" y="905"/>
                    <a:pt x="140" y="899"/>
                    <a:pt x="133" y="895"/>
                  </a:cubicBezTo>
                  <a:cubicBezTo>
                    <a:pt x="130" y="892"/>
                    <a:pt x="126" y="890"/>
                    <a:pt x="123" y="888"/>
                  </a:cubicBezTo>
                  <a:cubicBezTo>
                    <a:pt x="122" y="888"/>
                    <a:pt x="121" y="887"/>
                    <a:pt x="120" y="887"/>
                  </a:cubicBezTo>
                  <a:cubicBezTo>
                    <a:pt x="118" y="882"/>
                    <a:pt x="116" y="877"/>
                    <a:pt x="113" y="871"/>
                  </a:cubicBezTo>
                  <a:cubicBezTo>
                    <a:pt x="108" y="859"/>
                    <a:pt x="101" y="847"/>
                    <a:pt x="94" y="836"/>
                  </a:cubicBezTo>
                  <a:cubicBezTo>
                    <a:pt x="87" y="827"/>
                    <a:pt x="80" y="819"/>
                    <a:pt x="71" y="812"/>
                  </a:cubicBezTo>
                  <a:cubicBezTo>
                    <a:pt x="71" y="812"/>
                    <a:pt x="71" y="812"/>
                    <a:pt x="71" y="812"/>
                  </a:cubicBezTo>
                  <a:cubicBezTo>
                    <a:pt x="70" y="811"/>
                    <a:pt x="70" y="811"/>
                    <a:pt x="69" y="810"/>
                  </a:cubicBezTo>
                  <a:cubicBezTo>
                    <a:pt x="69" y="810"/>
                    <a:pt x="69" y="810"/>
                    <a:pt x="69" y="810"/>
                  </a:cubicBezTo>
                  <a:cubicBezTo>
                    <a:pt x="71" y="810"/>
                    <a:pt x="73" y="810"/>
                    <a:pt x="75" y="811"/>
                  </a:cubicBezTo>
                  <a:cubicBezTo>
                    <a:pt x="78" y="811"/>
                    <a:pt x="80" y="812"/>
                    <a:pt x="83" y="813"/>
                  </a:cubicBezTo>
                  <a:cubicBezTo>
                    <a:pt x="90" y="815"/>
                    <a:pt x="96" y="818"/>
                    <a:pt x="101" y="821"/>
                  </a:cubicBezTo>
                  <a:cubicBezTo>
                    <a:pt x="113" y="828"/>
                    <a:pt x="124" y="837"/>
                    <a:pt x="135" y="846"/>
                  </a:cubicBezTo>
                  <a:cubicBezTo>
                    <a:pt x="144" y="853"/>
                    <a:pt x="153" y="860"/>
                    <a:pt x="162" y="867"/>
                  </a:cubicBezTo>
                  <a:cubicBezTo>
                    <a:pt x="167" y="872"/>
                    <a:pt x="172" y="877"/>
                    <a:pt x="176" y="882"/>
                  </a:cubicBezTo>
                  <a:cubicBezTo>
                    <a:pt x="179" y="885"/>
                    <a:pt x="181" y="887"/>
                    <a:pt x="183" y="890"/>
                  </a:cubicBezTo>
                  <a:cubicBezTo>
                    <a:pt x="186" y="893"/>
                    <a:pt x="188" y="896"/>
                    <a:pt x="190" y="899"/>
                  </a:cubicBezTo>
                  <a:cubicBezTo>
                    <a:pt x="191" y="899"/>
                    <a:pt x="191" y="899"/>
                    <a:pt x="192" y="899"/>
                  </a:cubicBezTo>
                  <a:cubicBezTo>
                    <a:pt x="187" y="908"/>
                    <a:pt x="183" y="916"/>
                    <a:pt x="179" y="925"/>
                  </a:cubicBezTo>
                  <a:cubicBezTo>
                    <a:pt x="178" y="926"/>
                    <a:pt x="177" y="926"/>
                    <a:pt x="176" y="927"/>
                  </a:cubicBezTo>
                  <a:cubicBezTo>
                    <a:pt x="176" y="928"/>
                    <a:pt x="176" y="928"/>
                    <a:pt x="176" y="928"/>
                  </a:cubicBezTo>
                  <a:cubicBezTo>
                    <a:pt x="173" y="926"/>
                    <a:pt x="172" y="924"/>
                    <a:pt x="169" y="922"/>
                  </a:cubicBezTo>
                  <a:close/>
                  <a:moveTo>
                    <a:pt x="103" y="972"/>
                  </a:moveTo>
                  <a:cubicBezTo>
                    <a:pt x="103" y="972"/>
                    <a:pt x="103" y="972"/>
                    <a:pt x="103" y="972"/>
                  </a:cubicBezTo>
                  <a:cubicBezTo>
                    <a:pt x="103" y="972"/>
                    <a:pt x="103" y="972"/>
                    <a:pt x="103" y="972"/>
                  </a:cubicBezTo>
                  <a:cubicBezTo>
                    <a:pt x="104" y="972"/>
                    <a:pt x="104" y="972"/>
                    <a:pt x="103" y="972"/>
                  </a:cubicBezTo>
                  <a:close/>
                  <a:moveTo>
                    <a:pt x="107" y="973"/>
                  </a:moveTo>
                  <a:cubicBezTo>
                    <a:pt x="107" y="973"/>
                    <a:pt x="107" y="973"/>
                    <a:pt x="107" y="973"/>
                  </a:cubicBezTo>
                  <a:cubicBezTo>
                    <a:pt x="106" y="973"/>
                    <a:pt x="106" y="973"/>
                    <a:pt x="106" y="973"/>
                  </a:cubicBezTo>
                  <a:cubicBezTo>
                    <a:pt x="106" y="973"/>
                    <a:pt x="106" y="973"/>
                    <a:pt x="106" y="973"/>
                  </a:cubicBezTo>
                  <a:cubicBezTo>
                    <a:pt x="105" y="973"/>
                    <a:pt x="105" y="973"/>
                    <a:pt x="104" y="972"/>
                  </a:cubicBezTo>
                  <a:cubicBezTo>
                    <a:pt x="104" y="972"/>
                    <a:pt x="104" y="972"/>
                    <a:pt x="103" y="972"/>
                  </a:cubicBezTo>
                  <a:cubicBezTo>
                    <a:pt x="103" y="972"/>
                    <a:pt x="103" y="972"/>
                    <a:pt x="103" y="972"/>
                  </a:cubicBezTo>
                  <a:cubicBezTo>
                    <a:pt x="102" y="971"/>
                    <a:pt x="100" y="971"/>
                    <a:pt x="99" y="970"/>
                  </a:cubicBezTo>
                  <a:cubicBezTo>
                    <a:pt x="99" y="969"/>
                    <a:pt x="99" y="969"/>
                    <a:pt x="99" y="969"/>
                  </a:cubicBezTo>
                  <a:cubicBezTo>
                    <a:pt x="99" y="969"/>
                    <a:pt x="98" y="969"/>
                    <a:pt x="98" y="969"/>
                  </a:cubicBezTo>
                  <a:cubicBezTo>
                    <a:pt x="98" y="968"/>
                    <a:pt x="97" y="968"/>
                    <a:pt x="97" y="967"/>
                  </a:cubicBezTo>
                  <a:cubicBezTo>
                    <a:pt x="95" y="966"/>
                    <a:pt x="94" y="964"/>
                    <a:pt x="93" y="963"/>
                  </a:cubicBezTo>
                  <a:cubicBezTo>
                    <a:pt x="92" y="962"/>
                    <a:pt x="92" y="961"/>
                    <a:pt x="91" y="960"/>
                  </a:cubicBezTo>
                  <a:cubicBezTo>
                    <a:pt x="91" y="960"/>
                    <a:pt x="91" y="960"/>
                    <a:pt x="91" y="960"/>
                  </a:cubicBezTo>
                  <a:cubicBezTo>
                    <a:pt x="91" y="960"/>
                    <a:pt x="91" y="960"/>
                    <a:pt x="91" y="960"/>
                  </a:cubicBezTo>
                  <a:cubicBezTo>
                    <a:pt x="90" y="959"/>
                    <a:pt x="90" y="959"/>
                    <a:pt x="90" y="958"/>
                  </a:cubicBezTo>
                  <a:cubicBezTo>
                    <a:pt x="87" y="955"/>
                    <a:pt x="84" y="951"/>
                    <a:pt x="82" y="947"/>
                  </a:cubicBezTo>
                  <a:cubicBezTo>
                    <a:pt x="80" y="942"/>
                    <a:pt x="77" y="938"/>
                    <a:pt x="75" y="933"/>
                  </a:cubicBezTo>
                  <a:cubicBezTo>
                    <a:pt x="74" y="930"/>
                    <a:pt x="73" y="928"/>
                    <a:pt x="72" y="926"/>
                  </a:cubicBezTo>
                  <a:cubicBezTo>
                    <a:pt x="72" y="924"/>
                    <a:pt x="71" y="923"/>
                    <a:pt x="71" y="922"/>
                  </a:cubicBezTo>
                  <a:cubicBezTo>
                    <a:pt x="70" y="921"/>
                    <a:pt x="70" y="921"/>
                    <a:pt x="70" y="920"/>
                  </a:cubicBezTo>
                  <a:cubicBezTo>
                    <a:pt x="70" y="920"/>
                    <a:pt x="70" y="920"/>
                    <a:pt x="70" y="920"/>
                  </a:cubicBezTo>
                  <a:cubicBezTo>
                    <a:pt x="70" y="919"/>
                    <a:pt x="69" y="919"/>
                    <a:pt x="69" y="919"/>
                  </a:cubicBezTo>
                  <a:cubicBezTo>
                    <a:pt x="61" y="899"/>
                    <a:pt x="55" y="879"/>
                    <a:pt x="49" y="858"/>
                  </a:cubicBezTo>
                  <a:cubicBezTo>
                    <a:pt x="49" y="858"/>
                    <a:pt x="49" y="858"/>
                    <a:pt x="49" y="858"/>
                  </a:cubicBezTo>
                  <a:cubicBezTo>
                    <a:pt x="50" y="860"/>
                    <a:pt x="52" y="862"/>
                    <a:pt x="53" y="863"/>
                  </a:cubicBezTo>
                  <a:cubicBezTo>
                    <a:pt x="54" y="865"/>
                    <a:pt x="54" y="866"/>
                    <a:pt x="55" y="868"/>
                  </a:cubicBezTo>
                  <a:cubicBezTo>
                    <a:pt x="62" y="886"/>
                    <a:pt x="70" y="905"/>
                    <a:pt x="79" y="921"/>
                  </a:cubicBezTo>
                  <a:cubicBezTo>
                    <a:pt x="85" y="931"/>
                    <a:pt x="91" y="941"/>
                    <a:pt x="98" y="950"/>
                  </a:cubicBezTo>
                  <a:cubicBezTo>
                    <a:pt x="103" y="957"/>
                    <a:pt x="110" y="963"/>
                    <a:pt x="119" y="964"/>
                  </a:cubicBezTo>
                  <a:cubicBezTo>
                    <a:pt x="118" y="965"/>
                    <a:pt x="118" y="966"/>
                    <a:pt x="117" y="967"/>
                  </a:cubicBezTo>
                  <a:cubicBezTo>
                    <a:pt x="117" y="967"/>
                    <a:pt x="116" y="968"/>
                    <a:pt x="116" y="968"/>
                  </a:cubicBezTo>
                  <a:cubicBezTo>
                    <a:pt x="116" y="968"/>
                    <a:pt x="116" y="968"/>
                    <a:pt x="115" y="969"/>
                  </a:cubicBezTo>
                  <a:cubicBezTo>
                    <a:pt x="115" y="969"/>
                    <a:pt x="114" y="970"/>
                    <a:pt x="113" y="971"/>
                  </a:cubicBezTo>
                  <a:cubicBezTo>
                    <a:pt x="113" y="971"/>
                    <a:pt x="113" y="971"/>
                    <a:pt x="113" y="971"/>
                  </a:cubicBezTo>
                  <a:cubicBezTo>
                    <a:pt x="113" y="971"/>
                    <a:pt x="113" y="971"/>
                    <a:pt x="113" y="971"/>
                  </a:cubicBezTo>
                  <a:cubicBezTo>
                    <a:pt x="113" y="971"/>
                    <a:pt x="113" y="971"/>
                    <a:pt x="112" y="971"/>
                  </a:cubicBezTo>
                  <a:cubicBezTo>
                    <a:pt x="112" y="972"/>
                    <a:pt x="111" y="972"/>
                    <a:pt x="110" y="972"/>
                  </a:cubicBezTo>
                  <a:cubicBezTo>
                    <a:pt x="110" y="972"/>
                    <a:pt x="110" y="972"/>
                    <a:pt x="110" y="972"/>
                  </a:cubicBezTo>
                  <a:cubicBezTo>
                    <a:pt x="110" y="973"/>
                    <a:pt x="110" y="973"/>
                    <a:pt x="110" y="973"/>
                  </a:cubicBezTo>
                  <a:cubicBezTo>
                    <a:pt x="109" y="973"/>
                    <a:pt x="109" y="973"/>
                    <a:pt x="109" y="973"/>
                  </a:cubicBezTo>
                  <a:cubicBezTo>
                    <a:pt x="108" y="973"/>
                    <a:pt x="108" y="973"/>
                    <a:pt x="108" y="973"/>
                  </a:cubicBezTo>
                  <a:cubicBezTo>
                    <a:pt x="108" y="973"/>
                    <a:pt x="107" y="973"/>
                    <a:pt x="107" y="973"/>
                  </a:cubicBezTo>
                  <a:close/>
                  <a:moveTo>
                    <a:pt x="136" y="960"/>
                  </a:moveTo>
                  <a:cubicBezTo>
                    <a:pt x="136" y="960"/>
                    <a:pt x="136" y="960"/>
                    <a:pt x="136" y="960"/>
                  </a:cubicBezTo>
                  <a:cubicBezTo>
                    <a:pt x="133" y="961"/>
                    <a:pt x="131" y="963"/>
                    <a:pt x="128" y="965"/>
                  </a:cubicBezTo>
                  <a:cubicBezTo>
                    <a:pt x="129" y="961"/>
                    <a:pt x="130" y="958"/>
                    <a:pt x="131" y="955"/>
                  </a:cubicBezTo>
                  <a:cubicBezTo>
                    <a:pt x="134" y="941"/>
                    <a:pt x="131" y="926"/>
                    <a:pt x="127" y="912"/>
                  </a:cubicBezTo>
                  <a:cubicBezTo>
                    <a:pt x="126" y="905"/>
                    <a:pt x="123" y="897"/>
                    <a:pt x="121" y="890"/>
                  </a:cubicBezTo>
                  <a:cubicBezTo>
                    <a:pt x="121" y="890"/>
                    <a:pt x="121" y="890"/>
                    <a:pt x="121" y="890"/>
                  </a:cubicBezTo>
                  <a:cubicBezTo>
                    <a:pt x="124" y="892"/>
                    <a:pt x="128" y="895"/>
                    <a:pt x="131" y="897"/>
                  </a:cubicBezTo>
                  <a:cubicBezTo>
                    <a:pt x="138" y="902"/>
                    <a:pt x="144" y="907"/>
                    <a:pt x="149" y="912"/>
                  </a:cubicBezTo>
                  <a:cubicBezTo>
                    <a:pt x="155" y="916"/>
                    <a:pt x="161" y="920"/>
                    <a:pt x="166" y="925"/>
                  </a:cubicBezTo>
                  <a:cubicBezTo>
                    <a:pt x="168" y="926"/>
                    <a:pt x="171" y="929"/>
                    <a:pt x="172" y="931"/>
                  </a:cubicBezTo>
                  <a:cubicBezTo>
                    <a:pt x="168" y="936"/>
                    <a:pt x="162" y="940"/>
                    <a:pt x="157" y="945"/>
                  </a:cubicBezTo>
                  <a:cubicBezTo>
                    <a:pt x="150" y="950"/>
                    <a:pt x="143" y="955"/>
                    <a:pt x="136" y="960"/>
                  </a:cubicBezTo>
                  <a:close/>
                  <a:moveTo>
                    <a:pt x="232" y="1345"/>
                  </a:moveTo>
                  <a:cubicBezTo>
                    <a:pt x="232" y="1345"/>
                    <a:pt x="232" y="1345"/>
                    <a:pt x="232" y="1345"/>
                  </a:cubicBezTo>
                  <a:cubicBezTo>
                    <a:pt x="233" y="1345"/>
                    <a:pt x="232" y="1345"/>
                    <a:pt x="232" y="1345"/>
                  </a:cubicBezTo>
                  <a:close/>
                  <a:moveTo>
                    <a:pt x="286" y="1358"/>
                  </a:moveTo>
                  <a:cubicBezTo>
                    <a:pt x="286" y="1358"/>
                    <a:pt x="286" y="1358"/>
                    <a:pt x="286" y="1358"/>
                  </a:cubicBezTo>
                  <a:cubicBezTo>
                    <a:pt x="285" y="1358"/>
                    <a:pt x="284" y="1358"/>
                    <a:pt x="282" y="1358"/>
                  </a:cubicBezTo>
                  <a:cubicBezTo>
                    <a:pt x="282" y="1358"/>
                    <a:pt x="282" y="1358"/>
                    <a:pt x="282" y="1358"/>
                  </a:cubicBezTo>
                  <a:cubicBezTo>
                    <a:pt x="282" y="1358"/>
                    <a:pt x="282" y="1358"/>
                    <a:pt x="282" y="1358"/>
                  </a:cubicBezTo>
                  <a:cubicBezTo>
                    <a:pt x="281" y="1357"/>
                    <a:pt x="281" y="1357"/>
                    <a:pt x="280" y="1357"/>
                  </a:cubicBezTo>
                  <a:cubicBezTo>
                    <a:pt x="277" y="1357"/>
                    <a:pt x="275" y="1356"/>
                    <a:pt x="272" y="1356"/>
                  </a:cubicBezTo>
                  <a:cubicBezTo>
                    <a:pt x="268" y="1355"/>
                    <a:pt x="264" y="1355"/>
                    <a:pt x="260" y="1354"/>
                  </a:cubicBezTo>
                  <a:cubicBezTo>
                    <a:pt x="252" y="1352"/>
                    <a:pt x="245" y="1350"/>
                    <a:pt x="238" y="1347"/>
                  </a:cubicBezTo>
                  <a:cubicBezTo>
                    <a:pt x="236" y="1346"/>
                    <a:pt x="234" y="1346"/>
                    <a:pt x="233" y="1345"/>
                  </a:cubicBezTo>
                  <a:cubicBezTo>
                    <a:pt x="232" y="1345"/>
                    <a:pt x="232" y="1345"/>
                    <a:pt x="232" y="1344"/>
                  </a:cubicBezTo>
                  <a:cubicBezTo>
                    <a:pt x="232" y="1344"/>
                    <a:pt x="232" y="1344"/>
                    <a:pt x="232" y="1344"/>
                  </a:cubicBezTo>
                  <a:cubicBezTo>
                    <a:pt x="231" y="1344"/>
                    <a:pt x="230" y="1343"/>
                    <a:pt x="229" y="1343"/>
                  </a:cubicBezTo>
                  <a:cubicBezTo>
                    <a:pt x="225" y="1341"/>
                    <a:pt x="222" y="1339"/>
                    <a:pt x="219" y="1337"/>
                  </a:cubicBezTo>
                  <a:cubicBezTo>
                    <a:pt x="212" y="1334"/>
                    <a:pt x="206" y="1330"/>
                    <a:pt x="199" y="1325"/>
                  </a:cubicBezTo>
                  <a:cubicBezTo>
                    <a:pt x="198" y="1324"/>
                    <a:pt x="196" y="1323"/>
                    <a:pt x="195" y="1322"/>
                  </a:cubicBezTo>
                  <a:cubicBezTo>
                    <a:pt x="195" y="1322"/>
                    <a:pt x="195" y="1322"/>
                    <a:pt x="195" y="1322"/>
                  </a:cubicBezTo>
                  <a:cubicBezTo>
                    <a:pt x="195" y="1322"/>
                    <a:pt x="195" y="1322"/>
                    <a:pt x="194" y="1321"/>
                  </a:cubicBezTo>
                  <a:cubicBezTo>
                    <a:pt x="194" y="1321"/>
                    <a:pt x="193" y="1320"/>
                    <a:pt x="192" y="1319"/>
                  </a:cubicBezTo>
                  <a:cubicBezTo>
                    <a:pt x="189" y="1317"/>
                    <a:pt x="186" y="1315"/>
                    <a:pt x="183" y="1312"/>
                  </a:cubicBezTo>
                  <a:cubicBezTo>
                    <a:pt x="178" y="1306"/>
                    <a:pt x="173" y="1301"/>
                    <a:pt x="168" y="1295"/>
                  </a:cubicBezTo>
                  <a:cubicBezTo>
                    <a:pt x="167" y="1294"/>
                    <a:pt x="166" y="1292"/>
                    <a:pt x="165" y="1291"/>
                  </a:cubicBezTo>
                  <a:cubicBezTo>
                    <a:pt x="165" y="1291"/>
                    <a:pt x="164" y="1290"/>
                    <a:pt x="164" y="1290"/>
                  </a:cubicBezTo>
                  <a:cubicBezTo>
                    <a:pt x="164" y="1289"/>
                    <a:pt x="163" y="1288"/>
                    <a:pt x="162" y="1287"/>
                  </a:cubicBezTo>
                  <a:cubicBezTo>
                    <a:pt x="160" y="1284"/>
                    <a:pt x="158" y="1281"/>
                    <a:pt x="156" y="1277"/>
                  </a:cubicBezTo>
                  <a:cubicBezTo>
                    <a:pt x="152" y="1270"/>
                    <a:pt x="148" y="1264"/>
                    <a:pt x="145" y="1257"/>
                  </a:cubicBezTo>
                  <a:cubicBezTo>
                    <a:pt x="144" y="1255"/>
                    <a:pt x="143" y="1253"/>
                    <a:pt x="142" y="1252"/>
                  </a:cubicBezTo>
                  <a:cubicBezTo>
                    <a:pt x="142" y="1251"/>
                    <a:pt x="142" y="1250"/>
                    <a:pt x="141" y="1249"/>
                  </a:cubicBezTo>
                  <a:cubicBezTo>
                    <a:pt x="141" y="1249"/>
                    <a:pt x="141" y="1249"/>
                    <a:pt x="141" y="1249"/>
                  </a:cubicBezTo>
                  <a:cubicBezTo>
                    <a:pt x="141" y="1249"/>
                    <a:pt x="141" y="1249"/>
                    <a:pt x="141" y="1249"/>
                  </a:cubicBezTo>
                  <a:cubicBezTo>
                    <a:pt x="141" y="1248"/>
                    <a:pt x="141" y="1248"/>
                    <a:pt x="141" y="1247"/>
                  </a:cubicBezTo>
                  <a:cubicBezTo>
                    <a:pt x="139" y="1243"/>
                    <a:pt x="138" y="1239"/>
                    <a:pt x="136" y="1235"/>
                  </a:cubicBezTo>
                  <a:cubicBezTo>
                    <a:pt x="135" y="1230"/>
                    <a:pt x="133" y="1225"/>
                    <a:pt x="132" y="1220"/>
                  </a:cubicBezTo>
                  <a:cubicBezTo>
                    <a:pt x="132" y="1217"/>
                    <a:pt x="131" y="1215"/>
                    <a:pt x="131" y="1212"/>
                  </a:cubicBezTo>
                  <a:cubicBezTo>
                    <a:pt x="130" y="1211"/>
                    <a:pt x="130" y="1209"/>
                    <a:pt x="130" y="1208"/>
                  </a:cubicBezTo>
                  <a:cubicBezTo>
                    <a:pt x="130" y="1208"/>
                    <a:pt x="130" y="1206"/>
                    <a:pt x="130" y="1207"/>
                  </a:cubicBezTo>
                  <a:cubicBezTo>
                    <a:pt x="130" y="1206"/>
                    <a:pt x="130" y="1205"/>
                    <a:pt x="129" y="1204"/>
                  </a:cubicBezTo>
                  <a:cubicBezTo>
                    <a:pt x="129" y="1204"/>
                    <a:pt x="129" y="1204"/>
                    <a:pt x="129" y="1204"/>
                  </a:cubicBezTo>
                  <a:cubicBezTo>
                    <a:pt x="129" y="1203"/>
                    <a:pt x="129" y="1202"/>
                    <a:pt x="129" y="1202"/>
                  </a:cubicBezTo>
                  <a:cubicBezTo>
                    <a:pt x="129" y="1201"/>
                    <a:pt x="129" y="1199"/>
                    <a:pt x="129" y="1198"/>
                  </a:cubicBezTo>
                  <a:cubicBezTo>
                    <a:pt x="129" y="1196"/>
                    <a:pt x="128" y="1194"/>
                    <a:pt x="128" y="1191"/>
                  </a:cubicBezTo>
                  <a:cubicBezTo>
                    <a:pt x="128" y="1187"/>
                    <a:pt x="128" y="1182"/>
                    <a:pt x="128" y="1177"/>
                  </a:cubicBezTo>
                  <a:cubicBezTo>
                    <a:pt x="128" y="1168"/>
                    <a:pt x="128" y="1159"/>
                    <a:pt x="129" y="1149"/>
                  </a:cubicBezTo>
                  <a:cubicBezTo>
                    <a:pt x="130" y="1140"/>
                    <a:pt x="132" y="1131"/>
                    <a:pt x="134" y="1122"/>
                  </a:cubicBezTo>
                  <a:cubicBezTo>
                    <a:pt x="134" y="1122"/>
                    <a:pt x="134" y="1121"/>
                    <a:pt x="134" y="1120"/>
                  </a:cubicBezTo>
                  <a:cubicBezTo>
                    <a:pt x="141" y="1094"/>
                    <a:pt x="147" y="1067"/>
                    <a:pt x="154" y="1040"/>
                  </a:cubicBezTo>
                  <a:cubicBezTo>
                    <a:pt x="162" y="1010"/>
                    <a:pt x="172" y="980"/>
                    <a:pt x="183" y="951"/>
                  </a:cubicBezTo>
                  <a:cubicBezTo>
                    <a:pt x="195" y="922"/>
                    <a:pt x="210" y="894"/>
                    <a:pt x="227" y="869"/>
                  </a:cubicBezTo>
                  <a:cubicBezTo>
                    <a:pt x="246" y="842"/>
                    <a:pt x="268" y="818"/>
                    <a:pt x="291" y="796"/>
                  </a:cubicBezTo>
                  <a:cubicBezTo>
                    <a:pt x="388" y="708"/>
                    <a:pt x="504" y="644"/>
                    <a:pt x="627" y="604"/>
                  </a:cubicBezTo>
                  <a:cubicBezTo>
                    <a:pt x="689" y="584"/>
                    <a:pt x="752" y="571"/>
                    <a:pt x="816" y="564"/>
                  </a:cubicBezTo>
                  <a:cubicBezTo>
                    <a:pt x="883" y="556"/>
                    <a:pt x="949" y="556"/>
                    <a:pt x="1016" y="557"/>
                  </a:cubicBezTo>
                  <a:cubicBezTo>
                    <a:pt x="1065" y="558"/>
                    <a:pt x="1114" y="558"/>
                    <a:pt x="1163" y="554"/>
                  </a:cubicBezTo>
                  <a:cubicBezTo>
                    <a:pt x="1187" y="552"/>
                    <a:pt x="1211" y="548"/>
                    <a:pt x="1234" y="543"/>
                  </a:cubicBezTo>
                  <a:cubicBezTo>
                    <a:pt x="1242" y="542"/>
                    <a:pt x="1250" y="540"/>
                    <a:pt x="1258" y="538"/>
                  </a:cubicBezTo>
                  <a:cubicBezTo>
                    <a:pt x="1258" y="540"/>
                    <a:pt x="1260" y="541"/>
                    <a:pt x="1262" y="540"/>
                  </a:cubicBezTo>
                  <a:cubicBezTo>
                    <a:pt x="1263" y="540"/>
                    <a:pt x="1264" y="539"/>
                    <a:pt x="1265" y="538"/>
                  </a:cubicBezTo>
                  <a:cubicBezTo>
                    <a:pt x="1266" y="538"/>
                    <a:pt x="1266" y="537"/>
                    <a:pt x="1267" y="536"/>
                  </a:cubicBezTo>
                  <a:cubicBezTo>
                    <a:pt x="1267" y="536"/>
                    <a:pt x="1267" y="536"/>
                    <a:pt x="1267" y="536"/>
                  </a:cubicBezTo>
                  <a:cubicBezTo>
                    <a:pt x="1272" y="535"/>
                    <a:pt x="1276" y="533"/>
                    <a:pt x="1280" y="532"/>
                  </a:cubicBezTo>
                  <a:cubicBezTo>
                    <a:pt x="1281" y="532"/>
                    <a:pt x="1281" y="532"/>
                    <a:pt x="1282" y="532"/>
                  </a:cubicBezTo>
                  <a:cubicBezTo>
                    <a:pt x="1285" y="532"/>
                    <a:pt x="1288" y="531"/>
                    <a:pt x="1292" y="530"/>
                  </a:cubicBezTo>
                  <a:cubicBezTo>
                    <a:pt x="1297" y="529"/>
                    <a:pt x="1302" y="527"/>
                    <a:pt x="1305" y="523"/>
                  </a:cubicBezTo>
                  <a:cubicBezTo>
                    <a:pt x="1306" y="523"/>
                    <a:pt x="1306" y="523"/>
                    <a:pt x="1306" y="523"/>
                  </a:cubicBezTo>
                  <a:cubicBezTo>
                    <a:pt x="1307" y="523"/>
                    <a:pt x="1307" y="522"/>
                    <a:pt x="1308" y="521"/>
                  </a:cubicBezTo>
                  <a:cubicBezTo>
                    <a:pt x="1317" y="510"/>
                    <a:pt x="1303" y="497"/>
                    <a:pt x="1295" y="489"/>
                  </a:cubicBezTo>
                  <a:cubicBezTo>
                    <a:pt x="1292" y="486"/>
                    <a:pt x="1289" y="484"/>
                    <a:pt x="1286" y="482"/>
                  </a:cubicBezTo>
                  <a:cubicBezTo>
                    <a:pt x="1285" y="481"/>
                    <a:pt x="1284" y="481"/>
                    <a:pt x="1284" y="480"/>
                  </a:cubicBezTo>
                  <a:cubicBezTo>
                    <a:pt x="1283" y="479"/>
                    <a:pt x="1283" y="477"/>
                    <a:pt x="1283" y="475"/>
                  </a:cubicBezTo>
                  <a:cubicBezTo>
                    <a:pt x="1283" y="475"/>
                    <a:pt x="1283" y="475"/>
                    <a:pt x="1284" y="476"/>
                  </a:cubicBezTo>
                  <a:cubicBezTo>
                    <a:pt x="1289" y="477"/>
                    <a:pt x="1294" y="479"/>
                    <a:pt x="1298" y="481"/>
                  </a:cubicBezTo>
                  <a:cubicBezTo>
                    <a:pt x="1303" y="484"/>
                    <a:pt x="1308" y="486"/>
                    <a:pt x="1312" y="489"/>
                  </a:cubicBezTo>
                  <a:cubicBezTo>
                    <a:pt x="1314" y="490"/>
                    <a:pt x="1316" y="491"/>
                    <a:pt x="1319" y="492"/>
                  </a:cubicBezTo>
                  <a:cubicBezTo>
                    <a:pt x="1321" y="493"/>
                    <a:pt x="1323" y="495"/>
                    <a:pt x="1325" y="495"/>
                  </a:cubicBezTo>
                  <a:cubicBezTo>
                    <a:pt x="1326" y="495"/>
                    <a:pt x="1326" y="495"/>
                    <a:pt x="1326" y="495"/>
                  </a:cubicBezTo>
                  <a:cubicBezTo>
                    <a:pt x="1328" y="495"/>
                    <a:pt x="1329" y="497"/>
                    <a:pt x="1331" y="498"/>
                  </a:cubicBezTo>
                  <a:cubicBezTo>
                    <a:pt x="1344" y="504"/>
                    <a:pt x="1356" y="511"/>
                    <a:pt x="1369" y="518"/>
                  </a:cubicBezTo>
                  <a:cubicBezTo>
                    <a:pt x="1375" y="522"/>
                    <a:pt x="1381" y="526"/>
                    <a:pt x="1386" y="531"/>
                  </a:cubicBezTo>
                  <a:cubicBezTo>
                    <a:pt x="1387" y="531"/>
                    <a:pt x="1388" y="532"/>
                    <a:pt x="1389" y="532"/>
                  </a:cubicBezTo>
                  <a:cubicBezTo>
                    <a:pt x="1389" y="533"/>
                    <a:pt x="1389" y="533"/>
                    <a:pt x="1389" y="533"/>
                  </a:cubicBezTo>
                  <a:cubicBezTo>
                    <a:pt x="1389" y="533"/>
                    <a:pt x="1389" y="533"/>
                    <a:pt x="1389" y="533"/>
                  </a:cubicBezTo>
                  <a:cubicBezTo>
                    <a:pt x="1389" y="533"/>
                    <a:pt x="1389" y="533"/>
                    <a:pt x="1390" y="533"/>
                  </a:cubicBezTo>
                  <a:cubicBezTo>
                    <a:pt x="1391" y="535"/>
                    <a:pt x="1393" y="536"/>
                    <a:pt x="1394" y="537"/>
                  </a:cubicBezTo>
                  <a:cubicBezTo>
                    <a:pt x="1396" y="539"/>
                    <a:pt x="1399" y="541"/>
                    <a:pt x="1401" y="544"/>
                  </a:cubicBezTo>
                  <a:cubicBezTo>
                    <a:pt x="1403" y="546"/>
                    <a:pt x="1405" y="548"/>
                    <a:pt x="1407" y="551"/>
                  </a:cubicBezTo>
                  <a:cubicBezTo>
                    <a:pt x="1407" y="551"/>
                    <a:pt x="1408" y="552"/>
                    <a:pt x="1408" y="552"/>
                  </a:cubicBezTo>
                  <a:cubicBezTo>
                    <a:pt x="1409" y="553"/>
                    <a:pt x="1409" y="554"/>
                    <a:pt x="1409" y="554"/>
                  </a:cubicBezTo>
                  <a:cubicBezTo>
                    <a:pt x="1410" y="556"/>
                    <a:pt x="1411" y="557"/>
                    <a:pt x="1412" y="558"/>
                  </a:cubicBezTo>
                  <a:cubicBezTo>
                    <a:pt x="1413" y="560"/>
                    <a:pt x="1414" y="562"/>
                    <a:pt x="1414" y="563"/>
                  </a:cubicBezTo>
                  <a:cubicBezTo>
                    <a:pt x="1415" y="564"/>
                    <a:pt x="1415" y="564"/>
                    <a:pt x="1415" y="565"/>
                  </a:cubicBezTo>
                  <a:cubicBezTo>
                    <a:pt x="1416" y="565"/>
                    <a:pt x="1416" y="566"/>
                    <a:pt x="1416" y="566"/>
                  </a:cubicBezTo>
                  <a:cubicBezTo>
                    <a:pt x="1416" y="566"/>
                    <a:pt x="1416" y="566"/>
                    <a:pt x="1416" y="566"/>
                  </a:cubicBezTo>
                  <a:cubicBezTo>
                    <a:pt x="1416" y="566"/>
                    <a:pt x="1416" y="566"/>
                    <a:pt x="1416" y="566"/>
                  </a:cubicBezTo>
                  <a:cubicBezTo>
                    <a:pt x="1417" y="569"/>
                    <a:pt x="1418" y="572"/>
                    <a:pt x="1419" y="576"/>
                  </a:cubicBezTo>
                  <a:cubicBezTo>
                    <a:pt x="1419" y="577"/>
                    <a:pt x="1419" y="579"/>
                    <a:pt x="1420" y="580"/>
                  </a:cubicBezTo>
                  <a:cubicBezTo>
                    <a:pt x="1420" y="580"/>
                    <a:pt x="1420" y="581"/>
                    <a:pt x="1420" y="581"/>
                  </a:cubicBezTo>
                  <a:cubicBezTo>
                    <a:pt x="1420" y="582"/>
                    <a:pt x="1420" y="583"/>
                    <a:pt x="1420" y="584"/>
                  </a:cubicBezTo>
                  <a:cubicBezTo>
                    <a:pt x="1420" y="587"/>
                    <a:pt x="1421" y="591"/>
                    <a:pt x="1421" y="594"/>
                  </a:cubicBezTo>
                  <a:cubicBezTo>
                    <a:pt x="1420" y="597"/>
                    <a:pt x="1420" y="601"/>
                    <a:pt x="1420" y="604"/>
                  </a:cubicBezTo>
                  <a:cubicBezTo>
                    <a:pt x="1420" y="604"/>
                    <a:pt x="1420" y="604"/>
                    <a:pt x="1420" y="605"/>
                  </a:cubicBezTo>
                  <a:cubicBezTo>
                    <a:pt x="1420" y="606"/>
                    <a:pt x="1420" y="606"/>
                    <a:pt x="1419" y="607"/>
                  </a:cubicBezTo>
                  <a:cubicBezTo>
                    <a:pt x="1419" y="609"/>
                    <a:pt x="1419" y="611"/>
                    <a:pt x="1418" y="612"/>
                  </a:cubicBezTo>
                  <a:cubicBezTo>
                    <a:pt x="1417" y="619"/>
                    <a:pt x="1415" y="626"/>
                    <a:pt x="1412" y="633"/>
                  </a:cubicBezTo>
                  <a:cubicBezTo>
                    <a:pt x="1412" y="634"/>
                    <a:pt x="1412" y="634"/>
                    <a:pt x="1411" y="635"/>
                  </a:cubicBezTo>
                  <a:cubicBezTo>
                    <a:pt x="1411" y="636"/>
                    <a:pt x="1411" y="636"/>
                    <a:pt x="1411" y="636"/>
                  </a:cubicBezTo>
                  <a:cubicBezTo>
                    <a:pt x="1411" y="636"/>
                    <a:pt x="1411" y="636"/>
                    <a:pt x="1411" y="636"/>
                  </a:cubicBezTo>
                  <a:cubicBezTo>
                    <a:pt x="1410" y="638"/>
                    <a:pt x="1409" y="640"/>
                    <a:pt x="1408" y="642"/>
                  </a:cubicBezTo>
                  <a:cubicBezTo>
                    <a:pt x="1407" y="645"/>
                    <a:pt x="1405" y="648"/>
                    <a:pt x="1403" y="651"/>
                  </a:cubicBezTo>
                  <a:cubicBezTo>
                    <a:pt x="1400" y="659"/>
                    <a:pt x="1396" y="665"/>
                    <a:pt x="1392" y="672"/>
                  </a:cubicBezTo>
                  <a:cubicBezTo>
                    <a:pt x="1390" y="675"/>
                    <a:pt x="1388" y="678"/>
                    <a:pt x="1385" y="681"/>
                  </a:cubicBezTo>
                  <a:cubicBezTo>
                    <a:pt x="1384" y="683"/>
                    <a:pt x="1383" y="685"/>
                    <a:pt x="1382" y="686"/>
                  </a:cubicBezTo>
                  <a:cubicBezTo>
                    <a:pt x="1382" y="687"/>
                    <a:pt x="1381" y="688"/>
                    <a:pt x="1380" y="688"/>
                  </a:cubicBezTo>
                  <a:cubicBezTo>
                    <a:pt x="1380" y="688"/>
                    <a:pt x="1380" y="688"/>
                    <a:pt x="1380" y="689"/>
                  </a:cubicBezTo>
                  <a:cubicBezTo>
                    <a:pt x="1380" y="689"/>
                    <a:pt x="1380" y="689"/>
                    <a:pt x="1379" y="690"/>
                  </a:cubicBezTo>
                  <a:cubicBezTo>
                    <a:pt x="1370" y="702"/>
                    <a:pt x="1360" y="713"/>
                    <a:pt x="1350" y="725"/>
                  </a:cubicBezTo>
                  <a:cubicBezTo>
                    <a:pt x="1340" y="735"/>
                    <a:pt x="1330" y="744"/>
                    <a:pt x="1320" y="753"/>
                  </a:cubicBezTo>
                  <a:cubicBezTo>
                    <a:pt x="1318" y="755"/>
                    <a:pt x="1316" y="757"/>
                    <a:pt x="1313" y="759"/>
                  </a:cubicBezTo>
                  <a:cubicBezTo>
                    <a:pt x="1311" y="760"/>
                    <a:pt x="1309" y="761"/>
                    <a:pt x="1307" y="763"/>
                  </a:cubicBezTo>
                  <a:cubicBezTo>
                    <a:pt x="1303" y="765"/>
                    <a:pt x="1298" y="768"/>
                    <a:pt x="1294" y="770"/>
                  </a:cubicBezTo>
                  <a:cubicBezTo>
                    <a:pt x="1292" y="771"/>
                    <a:pt x="1289" y="772"/>
                    <a:pt x="1287" y="773"/>
                  </a:cubicBezTo>
                  <a:cubicBezTo>
                    <a:pt x="1286" y="773"/>
                    <a:pt x="1285" y="774"/>
                    <a:pt x="1284" y="774"/>
                  </a:cubicBezTo>
                  <a:cubicBezTo>
                    <a:pt x="1283" y="775"/>
                    <a:pt x="1283" y="775"/>
                    <a:pt x="1282" y="775"/>
                  </a:cubicBezTo>
                  <a:cubicBezTo>
                    <a:pt x="1282" y="775"/>
                    <a:pt x="1282" y="775"/>
                    <a:pt x="1282" y="775"/>
                  </a:cubicBezTo>
                  <a:cubicBezTo>
                    <a:pt x="1282" y="775"/>
                    <a:pt x="1281" y="775"/>
                    <a:pt x="1281" y="776"/>
                  </a:cubicBezTo>
                  <a:cubicBezTo>
                    <a:pt x="1272" y="780"/>
                    <a:pt x="1262" y="783"/>
                    <a:pt x="1253" y="786"/>
                  </a:cubicBezTo>
                  <a:cubicBezTo>
                    <a:pt x="1243" y="789"/>
                    <a:pt x="1233" y="790"/>
                    <a:pt x="1223" y="792"/>
                  </a:cubicBezTo>
                  <a:cubicBezTo>
                    <a:pt x="1218" y="793"/>
                    <a:pt x="1212" y="794"/>
                    <a:pt x="1207" y="795"/>
                  </a:cubicBezTo>
                  <a:cubicBezTo>
                    <a:pt x="1205" y="795"/>
                    <a:pt x="1202" y="796"/>
                    <a:pt x="1199" y="797"/>
                  </a:cubicBezTo>
                  <a:cubicBezTo>
                    <a:pt x="1198" y="797"/>
                    <a:pt x="1197" y="798"/>
                    <a:pt x="1196" y="798"/>
                  </a:cubicBezTo>
                  <a:cubicBezTo>
                    <a:pt x="1196" y="798"/>
                    <a:pt x="1195" y="798"/>
                    <a:pt x="1194" y="798"/>
                  </a:cubicBezTo>
                  <a:cubicBezTo>
                    <a:pt x="1194" y="798"/>
                    <a:pt x="1194" y="798"/>
                    <a:pt x="1193" y="798"/>
                  </a:cubicBezTo>
                  <a:cubicBezTo>
                    <a:pt x="1159" y="803"/>
                    <a:pt x="1125" y="808"/>
                    <a:pt x="1091" y="815"/>
                  </a:cubicBezTo>
                  <a:cubicBezTo>
                    <a:pt x="1023" y="827"/>
                    <a:pt x="956" y="842"/>
                    <a:pt x="889" y="859"/>
                  </a:cubicBezTo>
                  <a:cubicBezTo>
                    <a:pt x="825" y="875"/>
                    <a:pt x="763" y="895"/>
                    <a:pt x="703" y="921"/>
                  </a:cubicBezTo>
                  <a:cubicBezTo>
                    <a:pt x="703" y="921"/>
                    <a:pt x="702" y="921"/>
                    <a:pt x="702" y="921"/>
                  </a:cubicBezTo>
                  <a:cubicBezTo>
                    <a:pt x="701" y="920"/>
                    <a:pt x="700" y="921"/>
                    <a:pt x="700" y="922"/>
                  </a:cubicBezTo>
                  <a:cubicBezTo>
                    <a:pt x="649" y="944"/>
                    <a:pt x="599" y="970"/>
                    <a:pt x="551" y="998"/>
                  </a:cubicBezTo>
                  <a:cubicBezTo>
                    <a:pt x="498" y="1029"/>
                    <a:pt x="447" y="1063"/>
                    <a:pt x="398" y="1101"/>
                  </a:cubicBezTo>
                  <a:cubicBezTo>
                    <a:pt x="374" y="1119"/>
                    <a:pt x="350" y="1139"/>
                    <a:pt x="327" y="1159"/>
                  </a:cubicBezTo>
                  <a:cubicBezTo>
                    <a:pt x="307" y="1177"/>
                    <a:pt x="286" y="1194"/>
                    <a:pt x="267" y="1214"/>
                  </a:cubicBezTo>
                  <a:cubicBezTo>
                    <a:pt x="245" y="1236"/>
                    <a:pt x="227" y="1262"/>
                    <a:pt x="220" y="1293"/>
                  </a:cubicBezTo>
                  <a:cubicBezTo>
                    <a:pt x="219" y="1295"/>
                    <a:pt x="220" y="1296"/>
                    <a:pt x="221" y="1297"/>
                  </a:cubicBezTo>
                  <a:cubicBezTo>
                    <a:pt x="220" y="1299"/>
                    <a:pt x="221" y="1300"/>
                    <a:pt x="221" y="1301"/>
                  </a:cubicBezTo>
                  <a:cubicBezTo>
                    <a:pt x="223" y="1304"/>
                    <a:pt x="225" y="1307"/>
                    <a:pt x="227" y="1310"/>
                  </a:cubicBezTo>
                  <a:cubicBezTo>
                    <a:pt x="229" y="1313"/>
                    <a:pt x="231" y="1316"/>
                    <a:pt x="233" y="1318"/>
                  </a:cubicBezTo>
                  <a:cubicBezTo>
                    <a:pt x="234" y="1319"/>
                    <a:pt x="236" y="1319"/>
                    <a:pt x="237" y="1318"/>
                  </a:cubicBezTo>
                  <a:cubicBezTo>
                    <a:pt x="237" y="1318"/>
                    <a:pt x="237" y="1318"/>
                    <a:pt x="237" y="1319"/>
                  </a:cubicBezTo>
                  <a:cubicBezTo>
                    <a:pt x="237" y="1319"/>
                    <a:pt x="238" y="1319"/>
                    <a:pt x="238" y="1319"/>
                  </a:cubicBezTo>
                  <a:cubicBezTo>
                    <a:pt x="238" y="1321"/>
                    <a:pt x="238" y="1322"/>
                    <a:pt x="238" y="1323"/>
                  </a:cubicBezTo>
                  <a:cubicBezTo>
                    <a:pt x="238" y="1326"/>
                    <a:pt x="241" y="1328"/>
                    <a:pt x="244" y="1327"/>
                  </a:cubicBezTo>
                  <a:cubicBezTo>
                    <a:pt x="245" y="1327"/>
                    <a:pt x="245" y="1327"/>
                    <a:pt x="245" y="1327"/>
                  </a:cubicBezTo>
                  <a:cubicBezTo>
                    <a:pt x="251" y="1333"/>
                    <a:pt x="259" y="1338"/>
                    <a:pt x="266" y="1343"/>
                  </a:cubicBezTo>
                  <a:cubicBezTo>
                    <a:pt x="274" y="1347"/>
                    <a:pt x="283" y="1351"/>
                    <a:pt x="291" y="1355"/>
                  </a:cubicBezTo>
                  <a:cubicBezTo>
                    <a:pt x="297" y="1357"/>
                    <a:pt x="303" y="1359"/>
                    <a:pt x="309" y="1360"/>
                  </a:cubicBezTo>
                  <a:cubicBezTo>
                    <a:pt x="301" y="1360"/>
                    <a:pt x="294" y="1359"/>
                    <a:pt x="286" y="1358"/>
                  </a:cubicBezTo>
                  <a:close/>
                  <a:moveTo>
                    <a:pt x="1313" y="972"/>
                  </a:moveTo>
                  <a:cubicBezTo>
                    <a:pt x="1313" y="972"/>
                    <a:pt x="1313" y="972"/>
                    <a:pt x="1313" y="972"/>
                  </a:cubicBezTo>
                  <a:cubicBezTo>
                    <a:pt x="1313" y="972"/>
                    <a:pt x="1313" y="972"/>
                    <a:pt x="1313" y="972"/>
                  </a:cubicBezTo>
                  <a:cubicBezTo>
                    <a:pt x="1313" y="972"/>
                    <a:pt x="1313" y="972"/>
                    <a:pt x="1313" y="973"/>
                  </a:cubicBezTo>
                  <a:cubicBezTo>
                    <a:pt x="1312" y="974"/>
                    <a:pt x="1312" y="976"/>
                    <a:pt x="1312" y="978"/>
                  </a:cubicBezTo>
                  <a:cubicBezTo>
                    <a:pt x="1311" y="978"/>
                    <a:pt x="1311" y="979"/>
                    <a:pt x="1311" y="980"/>
                  </a:cubicBezTo>
                  <a:cubicBezTo>
                    <a:pt x="1311" y="980"/>
                    <a:pt x="1310" y="981"/>
                    <a:pt x="1310" y="981"/>
                  </a:cubicBezTo>
                  <a:cubicBezTo>
                    <a:pt x="1310" y="982"/>
                    <a:pt x="1310" y="982"/>
                    <a:pt x="1310" y="982"/>
                  </a:cubicBezTo>
                  <a:cubicBezTo>
                    <a:pt x="1308" y="986"/>
                    <a:pt x="1307" y="989"/>
                    <a:pt x="1305" y="991"/>
                  </a:cubicBezTo>
                  <a:cubicBezTo>
                    <a:pt x="1304" y="992"/>
                    <a:pt x="1304" y="992"/>
                    <a:pt x="1304" y="992"/>
                  </a:cubicBezTo>
                  <a:cubicBezTo>
                    <a:pt x="1304" y="993"/>
                    <a:pt x="1304" y="993"/>
                    <a:pt x="1304" y="993"/>
                  </a:cubicBezTo>
                  <a:cubicBezTo>
                    <a:pt x="1303" y="994"/>
                    <a:pt x="1302" y="995"/>
                    <a:pt x="1302" y="996"/>
                  </a:cubicBezTo>
                  <a:cubicBezTo>
                    <a:pt x="1301" y="996"/>
                    <a:pt x="1300" y="997"/>
                    <a:pt x="1300" y="997"/>
                  </a:cubicBezTo>
                  <a:cubicBezTo>
                    <a:pt x="1299" y="998"/>
                    <a:pt x="1299" y="998"/>
                    <a:pt x="1299" y="998"/>
                  </a:cubicBezTo>
                  <a:cubicBezTo>
                    <a:pt x="1299" y="998"/>
                    <a:pt x="1298" y="998"/>
                    <a:pt x="1298" y="999"/>
                  </a:cubicBezTo>
                  <a:cubicBezTo>
                    <a:pt x="1297" y="1000"/>
                    <a:pt x="1295" y="1000"/>
                    <a:pt x="1294" y="1001"/>
                  </a:cubicBezTo>
                  <a:cubicBezTo>
                    <a:pt x="1293" y="1001"/>
                    <a:pt x="1293" y="1001"/>
                    <a:pt x="1293" y="1001"/>
                  </a:cubicBezTo>
                  <a:cubicBezTo>
                    <a:pt x="1293" y="1001"/>
                    <a:pt x="1292" y="1002"/>
                    <a:pt x="1292" y="1002"/>
                  </a:cubicBezTo>
                  <a:cubicBezTo>
                    <a:pt x="1291" y="1002"/>
                    <a:pt x="1290" y="1002"/>
                    <a:pt x="1289" y="1003"/>
                  </a:cubicBezTo>
                  <a:cubicBezTo>
                    <a:pt x="1288" y="1003"/>
                    <a:pt x="1286" y="1004"/>
                    <a:pt x="1285" y="1004"/>
                  </a:cubicBezTo>
                  <a:cubicBezTo>
                    <a:pt x="1284" y="1004"/>
                    <a:pt x="1284" y="1004"/>
                    <a:pt x="1284" y="1004"/>
                  </a:cubicBezTo>
                  <a:cubicBezTo>
                    <a:pt x="1283" y="1004"/>
                    <a:pt x="1283" y="1004"/>
                    <a:pt x="1283" y="1004"/>
                  </a:cubicBezTo>
                  <a:cubicBezTo>
                    <a:pt x="1282" y="1004"/>
                    <a:pt x="1281" y="1004"/>
                    <a:pt x="1280" y="1004"/>
                  </a:cubicBezTo>
                  <a:cubicBezTo>
                    <a:pt x="1277" y="1004"/>
                    <a:pt x="1273" y="1004"/>
                    <a:pt x="1270" y="1004"/>
                  </a:cubicBezTo>
                  <a:cubicBezTo>
                    <a:pt x="1270" y="1004"/>
                    <a:pt x="1269" y="1004"/>
                    <a:pt x="1269" y="1004"/>
                  </a:cubicBezTo>
                  <a:cubicBezTo>
                    <a:pt x="1268" y="1004"/>
                    <a:pt x="1268" y="1004"/>
                    <a:pt x="1268" y="1004"/>
                  </a:cubicBezTo>
                  <a:cubicBezTo>
                    <a:pt x="1267" y="1004"/>
                    <a:pt x="1266" y="1003"/>
                    <a:pt x="1265" y="1003"/>
                  </a:cubicBezTo>
                  <a:cubicBezTo>
                    <a:pt x="1264" y="1003"/>
                    <a:pt x="1262" y="1002"/>
                    <a:pt x="1260" y="1002"/>
                  </a:cubicBezTo>
                  <a:cubicBezTo>
                    <a:pt x="1251" y="1000"/>
                    <a:pt x="1243" y="997"/>
                    <a:pt x="1234" y="993"/>
                  </a:cubicBezTo>
                  <a:cubicBezTo>
                    <a:pt x="1216" y="987"/>
                    <a:pt x="1198" y="978"/>
                    <a:pt x="1180" y="969"/>
                  </a:cubicBezTo>
                  <a:cubicBezTo>
                    <a:pt x="1164" y="961"/>
                    <a:pt x="1149" y="952"/>
                    <a:pt x="1134" y="943"/>
                  </a:cubicBezTo>
                  <a:cubicBezTo>
                    <a:pt x="1134" y="942"/>
                    <a:pt x="1134" y="941"/>
                    <a:pt x="1134" y="941"/>
                  </a:cubicBezTo>
                  <a:cubicBezTo>
                    <a:pt x="1135" y="938"/>
                    <a:pt x="1132" y="937"/>
                    <a:pt x="1130" y="939"/>
                  </a:cubicBezTo>
                  <a:cubicBezTo>
                    <a:pt x="1130" y="939"/>
                    <a:pt x="1130" y="940"/>
                    <a:pt x="1130" y="940"/>
                  </a:cubicBezTo>
                  <a:cubicBezTo>
                    <a:pt x="1122" y="935"/>
                    <a:pt x="1115" y="930"/>
                    <a:pt x="1108" y="925"/>
                  </a:cubicBezTo>
                  <a:cubicBezTo>
                    <a:pt x="1105" y="922"/>
                    <a:pt x="1101" y="919"/>
                    <a:pt x="1097" y="917"/>
                  </a:cubicBezTo>
                  <a:cubicBezTo>
                    <a:pt x="1095" y="915"/>
                    <a:pt x="1092" y="913"/>
                    <a:pt x="1089" y="911"/>
                  </a:cubicBezTo>
                  <a:cubicBezTo>
                    <a:pt x="1091" y="909"/>
                    <a:pt x="1093" y="907"/>
                    <a:pt x="1094" y="905"/>
                  </a:cubicBezTo>
                  <a:cubicBezTo>
                    <a:pt x="1095" y="903"/>
                    <a:pt x="1097" y="900"/>
                    <a:pt x="1098" y="898"/>
                  </a:cubicBezTo>
                  <a:cubicBezTo>
                    <a:pt x="1099" y="899"/>
                    <a:pt x="1101" y="901"/>
                    <a:pt x="1102" y="902"/>
                  </a:cubicBezTo>
                  <a:cubicBezTo>
                    <a:pt x="1106" y="906"/>
                    <a:pt x="1109" y="909"/>
                    <a:pt x="1113" y="912"/>
                  </a:cubicBezTo>
                  <a:cubicBezTo>
                    <a:pt x="1121" y="918"/>
                    <a:pt x="1128" y="923"/>
                    <a:pt x="1136" y="928"/>
                  </a:cubicBezTo>
                  <a:cubicBezTo>
                    <a:pt x="1152" y="939"/>
                    <a:pt x="1169" y="948"/>
                    <a:pt x="1185" y="956"/>
                  </a:cubicBezTo>
                  <a:cubicBezTo>
                    <a:pt x="1197" y="962"/>
                    <a:pt x="1207" y="970"/>
                    <a:pt x="1217" y="976"/>
                  </a:cubicBezTo>
                  <a:cubicBezTo>
                    <a:pt x="1229" y="983"/>
                    <a:pt x="1242" y="989"/>
                    <a:pt x="1255" y="992"/>
                  </a:cubicBezTo>
                  <a:cubicBezTo>
                    <a:pt x="1261" y="993"/>
                    <a:pt x="1267" y="993"/>
                    <a:pt x="1274" y="992"/>
                  </a:cubicBezTo>
                  <a:cubicBezTo>
                    <a:pt x="1280" y="991"/>
                    <a:pt x="1285" y="987"/>
                    <a:pt x="1290" y="983"/>
                  </a:cubicBezTo>
                  <a:cubicBezTo>
                    <a:pt x="1296" y="977"/>
                    <a:pt x="1299" y="969"/>
                    <a:pt x="1299" y="959"/>
                  </a:cubicBezTo>
                  <a:cubicBezTo>
                    <a:pt x="1299" y="957"/>
                    <a:pt x="1299" y="954"/>
                    <a:pt x="1298" y="952"/>
                  </a:cubicBezTo>
                  <a:cubicBezTo>
                    <a:pt x="1301" y="955"/>
                    <a:pt x="1303" y="958"/>
                    <a:pt x="1305" y="960"/>
                  </a:cubicBezTo>
                  <a:cubicBezTo>
                    <a:pt x="1307" y="963"/>
                    <a:pt x="1309" y="966"/>
                    <a:pt x="1311" y="968"/>
                  </a:cubicBezTo>
                  <a:cubicBezTo>
                    <a:pt x="1312" y="969"/>
                    <a:pt x="1312" y="969"/>
                    <a:pt x="1313" y="970"/>
                  </a:cubicBezTo>
                  <a:cubicBezTo>
                    <a:pt x="1313" y="970"/>
                    <a:pt x="1313" y="970"/>
                    <a:pt x="1313" y="971"/>
                  </a:cubicBezTo>
                  <a:cubicBezTo>
                    <a:pt x="1313" y="971"/>
                    <a:pt x="1313" y="971"/>
                    <a:pt x="1313" y="972"/>
                  </a:cubicBezTo>
                  <a:close/>
                  <a:moveTo>
                    <a:pt x="1158" y="1047"/>
                  </a:moveTo>
                  <a:cubicBezTo>
                    <a:pt x="1158" y="1047"/>
                    <a:pt x="1158" y="1047"/>
                    <a:pt x="1158" y="1047"/>
                  </a:cubicBezTo>
                  <a:cubicBezTo>
                    <a:pt x="1154" y="1050"/>
                    <a:pt x="1148" y="1053"/>
                    <a:pt x="1142" y="1054"/>
                  </a:cubicBezTo>
                  <a:cubicBezTo>
                    <a:pt x="1145" y="1049"/>
                    <a:pt x="1149" y="1045"/>
                    <a:pt x="1153" y="1042"/>
                  </a:cubicBezTo>
                  <a:cubicBezTo>
                    <a:pt x="1154" y="1041"/>
                    <a:pt x="1155" y="1039"/>
                    <a:pt x="1153" y="1037"/>
                  </a:cubicBezTo>
                  <a:cubicBezTo>
                    <a:pt x="1150" y="1034"/>
                    <a:pt x="1146" y="1031"/>
                    <a:pt x="1142" y="1029"/>
                  </a:cubicBezTo>
                  <a:cubicBezTo>
                    <a:pt x="1144" y="1029"/>
                    <a:pt x="1145" y="1028"/>
                    <a:pt x="1146" y="1028"/>
                  </a:cubicBezTo>
                  <a:cubicBezTo>
                    <a:pt x="1148" y="1028"/>
                    <a:pt x="1150" y="1028"/>
                    <a:pt x="1152" y="1028"/>
                  </a:cubicBezTo>
                  <a:cubicBezTo>
                    <a:pt x="1152" y="1028"/>
                    <a:pt x="1153" y="1028"/>
                    <a:pt x="1154" y="1028"/>
                  </a:cubicBezTo>
                  <a:cubicBezTo>
                    <a:pt x="1155" y="1028"/>
                    <a:pt x="1156" y="1028"/>
                    <a:pt x="1157" y="1027"/>
                  </a:cubicBezTo>
                  <a:cubicBezTo>
                    <a:pt x="1157" y="1027"/>
                    <a:pt x="1158" y="1028"/>
                    <a:pt x="1158" y="1027"/>
                  </a:cubicBezTo>
                  <a:cubicBezTo>
                    <a:pt x="1158" y="1026"/>
                    <a:pt x="1158" y="1026"/>
                    <a:pt x="1158" y="1026"/>
                  </a:cubicBezTo>
                  <a:cubicBezTo>
                    <a:pt x="1159" y="1026"/>
                    <a:pt x="1159" y="1026"/>
                    <a:pt x="1159" y="1026"/>
                  </a:cubicBezTo>
                  <a:cubicBezTo>
                    <a:pt x="1160" y="1025"/>
                    <a:pt x="1161" y="1024"/>
                    <a:pt x="1161" y="1023"/>
                  </a:cubicBezTo>
                  <a:cubicBezTo>
                    <a:pt x="1162" y="1021"/>
                    <a:pt x="1164" y="1020"/>
                    <a:pt x="1165" y="1018"/>
                  </a:cubicBezTo>
                  <a:cubicBezTo>
                    <a:pt x="1167" y="1015"/>
                    <a:pt x="1168" y="1013"/>
                    <a:pt x="1171" y="1010"/>
                  </a:cubicBezTo>
                  <a:cubicBezTo>
                    <a:pt x="1172" y="1013"/>
                    <a:pt x="1173" y="1015"/>
                    <a:pt x="1174" y="1017"/>
                  </a:cubicBezTo>
                  <a:cubicBezTo>
                    <a:pt x="1175" y="1019"/>
                    <a:pt x="1176" y="1021"/>
                    <a:pt x="1177" y="1023"/>
                  </a:cubicBezTo>
                  <a:cubicBezTo>
                    <a:pt x="1178" y="1024"/>
                    <a:pt x="1178" y="1027"/>
                    <a:pt x="1179" y="1029"/>
                  </a:cubicBezTo>
                  <a:cubicBezTo>
                    <a:pt x="1180" y="1030"/>
                    <a:pt x="1182" y="1030"/>
                    <a:pt x="1183" y="1029"/>
                  </a:cubicBezTo>
                  <a:cubicBezTo>
                    <a:pt x="1185" y="1030"/>
                    <a:pt x="1188" y="1031"/>
                    <a:pt x="1191" y="1031"/>
                  </a:cubicBezTo>
                  <a:cubicBezTo>
                    <a:pt x="1193" y="1032"/>
                    <a:pt x="1195" y="1033"/>
                    <a:pt x="1197" y="1033"/>
                  </a:cubicBezTo>
                  <a:cubicBezTo>
                    <a:pt x="1195" y="1034"/>
                    <a:pt x="1193" y="1036"/>
                    <a:pt x="1191" y="1037"/>
                  </a:cubicBezTo>
                  <a:cubicBezTo>
                    <a:pt x="1189" y="1038"/>
                    <a:pt x="1188" y="1040"/>
                    <a:pt x="1186" y="1041"/>
                  </a:cubicBezTo>
                  <a:cubicBezTo>
                    <a:pt x="1184" y="1041"/>
                    <a:pt x="1183" y="1042"/>
                    <a:pt x="1183" y="1044"/>
                  </a:cubicBezTo>
                  <a:cubicBezTo>
                    <a:pt x="1183" y="1045"/>
                    <a:pt x="1183" y="1045"/>
                    <a:pt x="1183" y="1046"/>
                  </a:cubicBezTo>
                  <a:cubicBezTo>
                    <a:pt x="1182" y="1046"/>
                    <a:pt x="1182" y="1047"/>
                    <a:pt x="1182" y="1048"/>
                  </a:cubicBezTo>
                  <a:cubicBezTo>
                    <a:pt x="1182" y="1048"/>
                    <a:pt x="1182" y="1049"/>
                    <a:pt x="1183" y="1049"/>
                  </a:cubicBezTo>
                  <a:cubicBezTo>
                    <a:pt x="1183" y="1052"/>
                    <a:pt x="1183" y="1055"/>
                    <a:pt x="1183" y="1058"/>
                  </a:cubicBezTo>
                  <a:cubicBezTo>
                    <a:pt x="1176" y="1055"/>
                    <a:pt x="1167" y="1054"/>
                    <a:pt x="1162" y="1047"/>
                  </a:cubicBezTo>
                  <a:cubicBezTo>
                    <a:pt x="1161" y="1046"/>
                    <a:pt x="1159" y="1046"/>
                    <a:pt x="1158" y="1047"/>
                  </a:cubicBezTo>
                  <a:close/>
                  <a:moveTo>
                    <a:pt x="1182" y="1078"/>
                  </a:moveTo>
                  <a:cubicBezTo>
                    <a:pt x="1182" y="1078"/>
                    <a:pt x="1182" y="1078"/>
                    <a:pt x="1182" y="1078"/>
                  </a:cubicBezTo>
                  <a:cubicBezTo>
                    <a:pt x="1183" y="1081"/>
                    <a:pt x="1183" y="1084"/>
                    <a:pt x="1183" y="1087"/>
                  </a:cubicBezTo>
                  <a:cubicBezTo>
                    <a:pt x="1183" y="1088"/>
                    <a:pt x="1183" y="1090"/>
                    <a:pt x="1183" y="1091"/>
                  </a:cubicBezTo>
                  <a:cubicBezTo>
                    <a:pt x="1181" y="1087"/>
                    <a:pt x="1177" y="1084"/>
                    <a:pt x="1174" y="1081"/>
                  </a:cubicBezTo>
                  <a:cubicBezTo>
                    <a:pt x="1177" y="1080"/>
                    <a:pt x="1180" y="1079"/>
                    <a:pt x="1182" y="1078"/>
                  </a:cubicBezTo>
                  <a:close/>
                  <a:moveTo>
                    <a:pt x="1202" y="1069"/>
                  </a:moveTo>
                  <a:cubicBezTo>
                    <a:pt x="1202" y="1069"/>
                    <a:pt x="1202" y="1069"/>
                    <a:pt x="1202" y="1069"/>
                  </a:cubicBezTo>
                  <a:cubicBezTo>
                    <a:pt x="1204" y="1076"/>
                    <a:pt x="1205" y="1083"/>
                    <a:pt x="1206" y="1090"/>
                  </a:cubicBezTo>
                  <a:cubicBezTo>
                    <a:pt x="1206" y="1094"/>
                    <a:pt x="1206" y="1099"/>
                    <a:pt x="1206" y="1103"/>
                  </a:cubicBezTo>
                  <a:cubicBezTo>
                    <a:pt x="1206" y="1105"/>
                    <a:pt x="1205" y="1107"/>
                    <a:pt x="1205" y="1109"/>
                  </a:cubicBezTo>
                  <a:cubicBezTo>
                    <a:pt x="1205" y="1111"/>
                    <a:pt x="1204" y="1113"/>
                    <a:pt x="1205" y="1115"/>
                  </a:cubicBezTo>
                  <a:cubicBezTo>
                    <a:pt x="1204" y="1115"/>
                    <a:pt x="1204" y="1116"/>
                    <a:pt x="1203" y="1116"/>
                  </a:cubicBezTo>
                  <a:cubicBezTo>
                    <a:pt x="1203" y="1115"/>
                    <a:pt x="1203" y="1115"/>
                    <a:pt x="1203" y="1115"/>
                  </a:cubicBezTo>
                  <a:cubicBezTo>
                    <a:pt x="1203" y="1111"/>
                    <a:pt x="1199" y="1108"/>
                    <a:pt x="1197" y="1105"/>
                  </a:cubicBezTo>
                  <a:cubicBezTo>
                    <a:pt x="1194" y="1102"/>
                    <a:pt x="1191" y="1099"/>
                    <a:pt x="1189" y="1096"/>
                  </a:cubicBezTo>
                  <a:cubicBezTo>
                    <a:pt x="1189" y="1094"/>
                    <a:pt x="1189" y="1091"/>
                    <a:pt x="1189" y="1088"/>
                  </a:cubicBezTo>
                  <a:cubicBezTo>
                    <a:pt x="1189" y="1084"/>
                    <a:pt x="1188" y="1079"/>
                    <a:pt x="1187" y="1076"/>
                  </a:cubicBezTo>
                  <a:cubicBezTo>
                    <a:pt x="1187" y="1075"/>
                    <a:pt x="1188" y="1075"/>
                    <a:pt x="1188" y="1075"/>
                  </a:cubicBezTo>
                  <a:cubicBezTo>
                    <a:pt x="1193" y="1073"/>
                    <a:pt x="1197" y="1071"/>
                    <a:pt x="1202" y="1069"/>
                  </a:cubicBezTo>
                  <a:close/>
                  <a:moveTo>
                    <a:pt x="1233" y="1081"/>
                  </a:moveTo>
                  <a:cubicBezTo>
                    <a:pt x="1233" y="1081"/>
                    <a:pt x="1233" y="1081"/>
                    <a:pt x="1233" y="1081"/>
                  </a:cubicBezTo>
                  <a:cubicBezTo>
                    <a:pt x="1233" y="1080"/>
                    <a:pt x="1233" y="1078"/>
                    <a:pt x="1233" y="1077"/>
                  </a:cubicBezTo>
                  <a:cubicBezTo>
                    <a:pt x="1232" y="1076"/>
                    <a:pt x="1232" y="1076"/>
                    <a:pt x="1232" y="1076"/>
                  </a:cubicBezTo>
                  <a:cubicBezTo>
                    <a:pt x="1233" y="1076"/>
                    <a:pt x="1233" y="1076"/>
                    <a:pt x="1233" y="1076"/>
                  </a:cubicBezTo>
                  <a:cubicBezTo>
                    <a:pt x="1233" y="1077"/>
                    <a:pt x="1233" y="1078"/>
                    <a:pt x="1233" y="1078"/>
                  </a:cubicBezTo>
                  <a:cubicBezTo>
                    <a:pt x="1233" y="1079"/>
                    <a:pt x="1233" y="1080"/>
                    <a:pt x="1234" y="1081"/>
                  </a:cubicBezTo>
                  <a:cubicBezTo>
                    <a:pt x="1233" y="1081"/>
                    <a:pt x="1233" y="1081"/>
                    <a:pt x="1233" y="1081"/>
                  </a:cubicBezTo>
                  <a:close/>
                  <a:moveTo>
                    <a:pt x="1228" y="1060"/>
                  </a:moveTo>
                  <a:cubicBezTo>
                    <a:pt x="1228" y="1060"/>
                    <a:pt x="1228" y="1060"/>
                    <a:pt x="1228" y="1060"/>
                  </a:cubicBezTo>
                  <a:cubicBezTo>
                    <a:pt x="1228" y="1060"/>
                    <a:pt x="1228" y="1060"/>
                    <a:pt x="1228" y="1060"/>
                  </a:cubicBezTo>
                  <a:cubicBezTo>
                    <a:pt x="1228" y="1060"/>
                    <a:pt x="1228" y="1060"/>
                    <a:pt x="1228" y="1060"/>
                  </a:cubicBezTo>
                  <a:cubicBezTo>
                    <a:pt x="1228" y="1060"/>
                    <a:pt x="1228" y="1060"/>
                    <a:pt x="1228" y="1060"/>
                  </a:cubicBezTo>
                  <a:close/>
                  <a:moveTo>
                    <a:pt x="1223" y="1061"/>
                  </a:moveTo>
                  <a:cubicBezTo>
                    <a:pt x="1223" y="1061"/>
                    <a:pt x="1223" y="1061"/>
                    <a:pt x="1223" y="1061"/>
                  </a:cubicBezTo>
                  <a:cubicBezTo>
                    <a:pt x="1225" y="1066"/>
                    <a:pt x="1226" y="1071"/>
                    <a:pt x="1227" y="1077"/>
                  </a:cubicBezTo>
                  <a:cubicBezTo>
                    <a:pt x="1227" y="1080"/>
                    <a:pt x="1227" y="1084"/>
                    <a:pt x="1227" y="1087"/>
                  </a:cubicBezTo>
                  <a:cubicBezTo>
                    <a:pt x="1227" y="1088"/>
                    <a:pt x="1227" y="1090"/>
                    <a:pt x="1227" y="1091"/>
                  </a:cubicBezTo>
                  <a:cubicBezTo>
                    <a:pt x="1227" y="1091"/>
                    <a:pt x="1226" y="1092"/>
                    <a:pt x="1226" y="1092"/>
                  </a:cubicBezTo>
                  <a:cubicBezTo>
                    <a:pt x="1226" y="1092"/>
                    <a:pt x="1226" y="1092"/>
                    <a:pt x="1226" y="1092"/>
                  </a:cubicBezTo>
                  <a:cubicBezTo>
                    <a:pt x="1226" y="1092"/>
                    <a:pt x="1226" y="1092"/>
                    <a:pt x="1226" y="1092"/>
                  </a:cubicBezTo>
                  <a:cubicBezTo>
                    <a:pt x="1224" y="1094"/>
                    <a:pt x="1223" y="1096"/>
                    <a:pt x="1221" y="1098"/>
                  </a:cubicBezTo>
                  <a:cubicBezTo>
                    <a:pt x="1218" y="1102"/>
                    <a:pt x="1214" y="1106"/>
                    <a:pt x="1210" y="1109"/>
                  </a:cubicBezTo>
                  <a:cubicBezTo>
                    <a:pt x="1210" y="1108"/>
                    <a:pt x="1211" y="1106"/>
                    <a:pt x="1211" y="1105"/>
                  </a:cubicBezTo>
                  <a:cubicBezTo>
                    <a:pt x="1211" y="1100"/>
                    <a:pt x="1211" y="1095"/>
                    <a:pt x="1210" y="1091"/>
                  </a:cubicBezTo>
                  <a:cubicBezTo>
                    <a:pt x="1210" y="1083"/>
                    <a:pt x="1208" y="1075"/>
                    <a:pt x="1207" y="1068"/>
                  </a:cubicBezTo>
                  <a:cubicBezTo>
                    <a:pt x="1207" y="1067"/>
                    <a:pt x="1207" y="1067"/>
                    <a:pt x="1208" y="1067"/>
                  </a:cubicBezTo>
                  <a:cubicBezTo>
                    <a:pt x="1213" y="1065"/>
                    <a:pt x="1218" y="1063"/>
                    <a:pt x="1223" y="1061"/>
                  </a:cubicBezTo>
                  <a:close/>
                  <a:moveTo>
                    <a:pt x="1118" y="1120"/>
                  </a:moveTo>
                  <a:cubicBezTo>
                    <a:pt x="1118" y="1120"/>
                    <a:pt x="1118" y="1120"/>
                    <a:pt x="1118" y="1120"/>
                  </a:cubicBezTo>
                  <a:cubicBezTo>
                    <a:pt x="1119" y="1120"/>
                    <a:pt x="1119" y="1120"/>
                    <a:pt x="1119" y="1120"/>
                  </a:cubicBezTo>
                  <a:cubicBezTo>
                    <a:pt x="1121" y="1120"/>
                    <a:pt x="1123" y="1121"/>
                    <a:pt x="1125" y="1122"/>
                  </a:cubicBezTo>
                  <a:cubicBezTo>
                    <a:pt x="1127" y="1123"/>
                    <a:pt x="1128" y="1124"/>
                    <a:pt x="1129" y="1126"/>
                  </a:cubicBezTo>
                  <a:cubicBezTo>
                    <a:pt x="1130" y="1127"/>
                    <a:pt x="1130" y="1130"/>
                    <a:pt x="1130" y="1131"/>
                  </a:cubicBezTo>
                  <a:cubicBezTo>
                    <a:pt x="1131" y="1134"/>
                    <a:pt x="1131" y="1136"/>
                    <a:pt x="1130" y="1139"/>
                  </a:cubicBezTo>
                  <a:cubicBezTo>
                    <a:pt x="1130" y="1144"/>
                    <a:pt x="1129" y="1149"/>
                    <a:pt x="1128" y="1155"/>
                  </a:cubicBezTo>
                  <a:cubicBezTo>
                    <a:pt x="1127" y="1156"/>
                    <a:pt x="1127" y="1156"/>
                    <a:pt x="1127" y="1157"/>
                  </a:cubicBezTo>
                  <a:cubicBezTo>
                    <a:pt x="1127" y="1155"/>
                    <a:pt x="1127" y="1153"/>
                    <a:pt x="1128" y="1151"/>
                  </a:cubicBezTo>
                  <a:cubicBezTo>
                    <a:pt x="1128" y="1147"/>
                    <a:pt x="1128" y="1144"/>
                    <a:pt x="1128" y="1140"/>
                  </a:cubicBezTo>
                  <a:cubicBezTo>
                    <a:pt x="1128" y="1136"/>
                    <a:pt x="1127" y="1133"/>
                    <a:pt x="1127" y="1129"/>
                  </a:cubicBezTo>
                  <a:cubicBezTo>
                    <a:pt x="1127" y="1128"/>
                    <a:pt x="1127" y="1128"/>
                    <a:pt x="1126" y="1127"/>
                  </a:cubicBezTo>
                  <a:cubicBezTo>
                    <a:pt x="1126" y="1127"/>
                    <a:pt x="1126" y="1126"/>
                    <a:pt x="1125" y="1126"/>
                  </a:cubicBezTo>
                  <a:cubicBezTo>
                    <a:pt x="1122" y="1125"/>
                    <a:pt x="1118" y="1128"/>
                    <a:pt x="1116" y="1129"/>
                  </a:cubicBezTo>
                  <a:cubicBezTo>
                    <a:pt x="1113" y="1130"/>
                    <a:pt x="1110" y="1132"/>
                    <a:pt x="1108" y="1133"/>
                  </a:cubicBezTo>
                  <a:cubicBezTo>
                    <a:pt x="1104" y="1136"/>
                    <a:pt x="1100" y="1139"/>
                    <a:pt x="1097" y="1143"/>
                  </a:cubicBezTo>
                  <a:cubicBezTo>
                    <a:pt x="1097" y="1142"/>
                    <a:pt x="1098" y="1141"/>
                    <a:pt x="1098" y="1141"/>
                  </a:cubicBezTo>
                  <a:cubicBezTo>
                    <a:pt x="1101" y="1135"/>
                    <a:pt x="1104" y="1130"/>
                    <a:pt x="1108" y="1126"/>
                  </a:cubicBezTo>
                  <a:cubicBezTo>
                    <a:pt x="1109" y="1124"/>
                    <a:pt x="1111" y="1123"/>
                    <a:pt x="1114" y="1122"/>
                  </a:cubicBezTo>
                  <a:cubicBezTo>
                    <a:pt x="1115" y="1120"/>
                    <a:pt x="1117" y="1120"/>
                    <a:pt x="1118" y="1120"/>
                  </a:cubicBezTo>
                  <a:close/>
                  <a:moveTo>
                    <a:pt x="1089" y="1180"/>
                  </a:moveTo>
                  <a:cubicBezTo>
                    <a:pt x="1089" y="1180"/>
                    <a:pt x="1089" y="1180"/>
                    <a:pt x="1089" y="1180"/>
                  </a:cubicBezTo>
                  <a:cubicBezTo>
                    <a:pt x="1090" y="1177"/>
                    <a:pt x="1090" y="1173"/>
                    <a:pt x="1091" y="1170"/>
                  </a:cubicBezTo>
                  <a:cubicBezTo>
                    <a:pt x="1092" y="1166"/>
                    <a:pt x="1094" y="1162"/>
                    <a:pt x="1095" y="1159"/>
                  </a:cubicBezTo>
                  <a:cubicBezTo>
                    <a:pt x="1096" y="1158"/>
                    <a:pt x="1096" y="1157"/>
                    <a:pt x="1097" y="1157"/>
                  </a:cubicBezTo>
                  <a:cubicBezTo>
                    <a:pt x="1097" y="1156"/>
                    <a:pt x="1098" y="1154"/>
                    <a:pt x="1099" y="1153"/>
                  </a:cubicBezTo>
                  <a:cubicBezTo>
                    <a:pt x="1101" y="1150"/>
                    <a:pt x="1104" y="1148"/>
                    <a:pt x="1107" y="1146"/>
                  </a:cubicBezTo>
                  <a:cubicBezTo>
                    <a:pt x="1109" y="1144"/>
                    <a:pt x="1111" y="1142"/>
                    <a:pt x="1114" y="1141"/>
                  </a:cubicBezTo>
                  <a:cubicBezTo>
                    <a:pt x="1116" y="1140"/>
                    <a:pt x="1118" y="1139"/>
                    <a:pt x="1120" y="1139"/>
                  </a:cubicBezTo>
                  <a:cubicBezTo>
                    <a:pt x="1121" y="1140"/>
                    <a:pt x="1121" y="1141"/>
                    <a:pt x="1121" y="1142"/>
                  </a:cubicBezTo>
                  <a:cubicBezTo>
                    <a:pt x="1122" y="1143"/>
                    <a:pt x="1122" y="1144"/>
                    <a:pt x="1123" y="1145"/>
                  </a:cubicBezTo>
                  <a:cubicBezTo>
                    <a:pt x="1123" y="1147"/>
                    <a:pt x="1122" y="1149"/>
                    <a:pt x="1122" y="1151"/>
                  </a:cubicBezTo>
                  <a:cubicBezTo>
                    <a:pt x="1122" y="1155"/>
                    <a:pt x="1122" y="1158"/>
                    <a:pt x="1121" y="1162"/>
                  </a:cubicBezTo>
                  <a:cubicBezTo>
                    <a:pt x="1121" y="1164"/>
                    <a:pt x="1119" y="1168"/>
                    <a:pt x="1121" y="1171"/>
                  </a:cubicBezTo>
                  <a:cubicBezTo>
                    <a:pt x="1112" y="1175"/>
                    <a:pt x="1103" y="1179"/>
                    <a:pt x="1094" y="1184"/>
                  </a:cubicBezTo>
                  <a:cubicBezTo>
                    <a:pt x="1092" y="1184"/>
                    <a:pt x="1091" y="1185"/>
                    <a:pt x="1090" y="1185"/>
                  </a:cubicBezTo>
                  <a:cubicBezTo>
                    <a:pt x="1089" y="1185"/>
                    <a:pt x="1089" y="1185"/>
                    <a:pt x="1089" y="1185"/>
                  </a:cubicBezTo>
                  <a:cubicBezTo>
                    <a:pt x="1089" y="1186"/>
                    <a:pt x="1089" y="1186"/>
                    <a:pt x="1089" y="1186"/>
                  </a:cubicBezTo>
                  <a:cubicBezTo>
                    <a:pt x="1089" y="1184"/>
                    <a:pt x="1089" y="1182"/>
                    <a:pt x="1089" y="1180"/>
                  </a:cubicBezTo>
                  <a:close/>
                  <a:moveTo>
                    <a:pt x="1131" y="1161"/>
                  </a:moveTo>
                  <a:cubicBezTo>
                    <a:pt x="1131" y="1161"/>
                    <a:pt x="1131" y="1161"/>
                    <a:pt x="1131" y="1161"/>
                  </a:cubicBezTo>
                  <a:cubicBezTo>
                    <a:pt x="1132" y="1156"/>
                    <a:pt x="1133" y="1150"/>
                    <a:pt x="1134" y="1144"/>
                  </a:cubicBezTo>
                  <a:cubicBezTo>
                    <a:pt x="1135" y="1136"/>
                    <a:pt x="1136" y="1123"/>
                    <a:pt x="1127" y="1118"/>
                  </a:cubicBezTo>
                  <a:cubicBezTo>
                    <a:pt x="1126" y="1118"/>
                    <a:pt x="1124" y="1117"/>
                    <a:pt x="1122" y="1117"/>
                  </a:cubicBezTo>
                  <a:cubicBezTo>
                    <a:pt x="1122" y="1117"/>
                    <a:pt x="1122" y="1117"/>
                    <a:pt x="1122" y="1117"/>
                  </a:cubicBezTo>
                  <a:cubicBezTo>
                    <a:pt x="1119" y="1117"/>
                    <a:pt x="1116" y="1118"/>
                    <a:pt x="1113" y="1119"/>
                  </a:cubicBezTo>
                  <a:cubicBezTo>
                    <a:pt x="1111" y="1120"/>
                    <a:pt x="1108" y="1122"/>
                    <a:pt x="1107" y="1123"/>
                  </a:cubicBezTo>
                  <a:cubicBezTo>
                    <a:pt x="1102" y="1127"/>
                    <a:pt x="1099" y="1132"/>
                    <a:pt x="1096" y="1137"/>
                  </a:cubicBezTo>
                  <a:cubicBezTo>
                    <a:pt x="1093" y="1143"/>
                    <a:pt x="1091" y="1149"/>
                    <a:pt x="1089" y="1156"/>
                  </a:cubicBezTo>
                  <a:cubicBezTo>
                    <a:pt x="1089" y="1158"/>
                    <a:pt x="1088" y="1161"/>
                    <a:pt x="1088" y="1163"/>
                  </a:cubicBezTo>
                  <a:cubicBezTo>
                    <a:pt x="1088" y="1165"/>
                    <a:pt x="1087" y="1166"/>
                    <a:pt x="1087" y="1168"/>
                  </a:cubicBezTo>
                  <a:cubicBezTo>
                    <a:pt x="1086" y="1172"/>
                    <a:pt x="1086" y="1176"/>
                    <a:pt x="1085" y="1180"/>
                  </a:cubicBezTo>
                  <a:cubicBezTo>
                    <a:pt x="1085" y="1182"/>
                    <a:pt x="1085" y="1185"/>
                    <a:pt x="1085" y="1187"/>
                  </a:cubicBezTo>
                  <a:cubicBezTo>
                    <a:pt x="1083" y="1188"/>
                    <a:pt x="1081" y="1189"/>
                    <a:pt x="1078" y="1190"/>
                  </a:cubicBezTo>
                  <a:cubicBezTo>
                    <a:pt x="1073" y="1192"/>
                    <a:pt x="1067" y="1195"/>
                    <a:pt x="1061" y="1197"/>
                  </a:cubicBezTo>
                  <a:cubicBezTo>
                    <a:pt x="1056" y="1199"/>
                    <a:pt x="1050" y="1201"/>
                    <a:pt x="1044" y="1203"/>
                  </a:cubicBezTo>
                  <a:cubicBezTo>
                    <a:pt x="1045" y="1203"/>
                    <a:pt x="1045" y="1202"/>
                    <a:pt x="1044" y="1201"/>
                  </a:cubicBezTo>
                  <a:cubicBezTo>
                    <a:pt x="1042" y="1199"/>
                    <a:pt x="1040" y="1198"/>
                    <a:pt x="1038" y="1197"/>
                  </a:cubicBezTo>
                  <a:cubicBezTo>
                    <a:pt x="1036" y="1196"/>
                    <a:pt x="1034" y="1195"/>
                    <a:pt x="1031" y="1194"/>
                  </a:cubicBezTo>
                  <a:cubicBezTo>
                    <a:pt x="1027" y="1191"/>
                    <a:pt x="1022" y="1189"/>
                    <a:pt x="1017" y="1187"/>
                  </a:cubicBezTo>
                  <a:cubicBezTo>
                    <a:pt x="1008" y="1183"/>
                    <a:pt x="998" y="1180"/>
                    <a:pt x="988" y="1179"/>
                  </a:cubicBezTo>
                  <a:cubicBezTo>
                    <a:pt x="978" y="1177"/>
                    <a:pt x="969" y="1177"/>
                    <a:pt x="959" y="1179"/>
                  </a:cubicBezTo>
                  <a:cubicBezTo>
                    <a:pt x="949" y="1180"/>
                    <a:pt x="939" y="1184"/>
                    <a:pt x="930" y="1189"/>
                  </a:cubicBezTo>
                  <a:cubicBezTo>
                    <a:pt x="930" y="1189"/>
                    <a:pt x="930" y="1189"/>
                    <a:pt x="930" y="1189"/>
                  </a:cubicBezTo>
                  <a:cubicBezTo>
                    <a:pt x="927" y="1188"/>
                    <a:pt x="924" y="1188"/>
                    <a:pt x="922" y="1188"/>
                  </a:cubicBezTo>
                  <a:cubicBezTo>
                    <a:pt x="915" y="1188"/>
                    <a:pt x="908" y="1189"/>
                    <a:pt x="901" y="1191"/>
                  </a:cubicBezTo>
                  <a:cubicBezTo>
                    <a:pt x="898" y="1192"/>
                    <a:pt x="894" y="1194"/>
                    <a:pt x="891" y="1196"/>
                  </a:cubicBezTo>
                  <a:cubicBezTo>
                    <a:pt x="887" y="1198"/>
                    <a:pt x="884" y="1200"/>
                    <a:pt x="881" y="1202"/>
                  </a:cubicBezTo>
                  <a:cubicBezTo>
                    <a:pt x="881" y="1198"/>
                    <a:pt x="882" y="1193"/>
                    <a:pt x="882" y="1188"/>
                  </a:cubicBezTo>
                  <a:cubicBezTo>
                    <a:pt x="882" y="1189"/>
                    <a:pt x="882" y="1189"/>
                    <a:pt x="882" y="1189"/>
                  </a:cubicBezTo>
                  <a:cubicBezTo>
                    <a:pt x="887" y="1190"/>
                    <a:pt x="894" y="1187"/>
                    <a:pt x="899" y="1184"/>
                  </a:cubicBezTo>
                  <a:cubicBezTo>
                    <a:pt x="902" y="1183"/>
                    <a:pt x="901" y="1179"/>
                    <a:pt x="899" y="1178"/>
                  </a:cubicBezTo>
                  <a:cubicBezTo>
                    <a:pt x="897" y="1176"/>
                    <a:pt x="895" y="1174"/>
                    <a:pt x="893" y="1173"/>
                  </a:cubicBezTo>
                  <a:cubicBezTo>
                    <a:pt x="891" y="1171"/>
                    <a:pt x="889" y="1169"/>
                    <a:pt x="887" y="1166"/>
                  </a:cubicBezTo>
                  <a:cubicBezTo>
                    <a:pt x="886" y="1164"/>
                    <a:pt x="884" y="1161"/>
                    <a:pt x="882" y="1158"/>
                  </a:cubicBezTo>
                  <a:cubicBezTo>
                    <a:pt x="884" y="1159"/>
                    <a:pt x="886" y="1160"/>
                    <a:pt x="887" y="1161"/>
                  </a:cubicBezTo>
                  <a:cubicBezTo>
                    <a:pt x="892" y="1164"/>
                    <a:pt x="896" y="1165"/>
                    <a:pt x="900" y="1167"/>
                  </a:cubicBezTo>
                  <a:cubicBezTo>
                    <a:pt x="910" y="1170"/>
                    <a:pt x="920" y="1172"/>
                    <a:pt x="930" y="1173"/>
                  </a:cubicBezTo>
                  <a:cubicBezTo>
                    <a:pt x="950" y="1174"/>
                    <a:pt x="970" y="1170"/>
                    <a:pt x="990" y="1168"/>
                  </a:cubicBezTo>
                  <a:cubicBezTo>
                    <a:pt x="996" y="1167"/>
                    <a:pt x="1001" y="1167"/>
                    <a:pt x="1007" y="1167"/>
                  </a:cubicBezTo>
                  <a:cubicBezTo>
                    <a:pt x="1009" y="1167"/>
                    <a:pt x="1012" y="1168"/>
                    <a:pt x="1016" y="1168"/>
                  </a:cubicBezTo>
                  <a:cubicBezTo>
                    <a:pt x="1017" y="1168"/>
                    <a:pt x="1019" y="1168"/>
                    <a:pt x="1020" y="1168"/>
                  </a:cubicBezTo>
                  <a:cubicBezTo>
                    <a:pt x="1021" y="1169"/>
                    <a:pt x="1021" y="1169"/>
                    <a:pt x="1021" y="1169"/>
                  </a:cubicBezTo>
                  <a:cubicBezTo>
                    <a:pt x="1021" y="1169"/>
                    <a:pt x="1022" y="1169"/>
                    <a:pt x="1022" y="1169"/>
                  </a:cubicBezTo>
                  <a:cubicBezTo>
                    <a:pt x="1023" y="1169"/>
                    <a:pt x="1024" y="1169"/>
                    <a:pt x="1025" y="1169"/>
                  </a:cubicBezTo>
                  <a:cubicBezTo>
                    <a:pt x="1028" y="1170"/>
                    <a:pt x="1031" y="1170"/>
                    <a:pt x="1034" y="1171"/>
                  </a:cubicBezTo>
                  <a:cubicBezTo>
                    <a:pt x="1035" y="1172"/>
                    <a:pt x="1037" y="1172"/>
                    <a:pt x="1038" y="1173"/>
                  </a:cubicBezTo>
                  <a:cubicBezTo>
                    <a:pt x="1039" y="1173"/>
                    <a:pt x="1039" y="1173"/>
                    <a:pt x="1040" y="1173"/>
                  </a:cubicBezTo>
                  <a:cubicBezTo>
                    <a:pt x="1040" y="1174"/>
                    <a:pt x="1041" y="1174"/>
                    <a:pt x="1041" y="1174"/>
                  </a:cubicBezTo>
                  <a:cubicBezTo>
                    <a:pt x="1041" y="1174"/>
                    <a:pt x="1042" y="1174"/>
                    <a:pt x="1042" y="1174"/>
                  </a:cubicBezTo>
                  <a:cubicBezTo>
                    <a:pt x="1045" y="1175"/>
                    <a:pt x="1047" y="1177"/>
                    <a:pt x="1049" y="1178"/>
                  </a:cubicBezTo>
                  <a:cubicBezTo>
                    <a:pt x="1049" y="1179"/>
                    <a:pt x="1050" y="1179"/>
                    <a:pt x="1050" y="1179"/>
                  </a:cubicBezTo>
                  <a:cubicBezTo>
                    <a:pt x="1050" y="1179"/>
                    <a:pt x="1050" y="1179"/>
                    <a:pt x="1050" y="1179"/>
                  </a:cubicBezTo>
                  <a:cubicBezTo>
                    <a:pt x="1051" y="1180"/>
                    <a:pt x="1051" y="1180"/>
                    <a:pt x="1052" y="1181"/>
                  </a:cubicBezTo>
                  <a:cubicBezTo>
                    <a:pt x="1053" y="1181"/>
                    <a:pt x="1054" y="1183"/>
                    <a:pt x="1054" y="1184"/>
                  </a:cubicBezTo>
                  <a:cubicBezTo>
                    <a:pt x="1054" y="1183"/>
                    <a:pt x="1055" y="1184"/>
                    <a:pt x="1055" y="1185"/>
                  </a:cubicBezTo>
                  <a:cubicBezTo>
                    <a:pt x="1056" y="1185"/>
                    <a:pt x="1056" y="1185"/>
                    <a:pt x="1056" y="1185"/>
                  </a:cubicBezTo>
                  <a:cubicBezTo>
                    <a:pt x="1056" y="1186"/>
                    <a:pt x="1057" y="1186"/>
                    <a:pt x="1057" y="1187"/>
                  </a:cubicBezTo>
                  <a:cubicBezTo>
                    <a:pt x="1058" y="1188"/>
                    <a:pt x="1059" y="1188"/>
                    <a:pt x="1060" y="1187"/>
                  </a:cubicBezTo>
                  <a:cubicBezTo>
                    <a:pt x="1061" y="1187"/>
                    <a:pt x="1062" y="1187"/>
                    <a:pt x="1062" y="1186"/>
                  </a:cubicBezTo>
                  <a:cubicBezTo>
                    <a:pt x="1063" y="1185"/>
                    <a:pt x="1064" y="1184"/>
                    <a:pt x="1064" y="1183"/>
                  </a:cubicBezTo>
                  <a:cubicBezTo>
                    <a:pt x="1064" y="1181"/>
                    <a:pt x="1065" y="1180"/>
                    <a:pt x="1065" y="1178"/>
                  </a:cubicBezTo>
                  <a:cubicBezTo>
                    <a:pt x="1066" y="1176"/>
                    <a:pt x="1066" y="1173"/>
                    <a:pt x="1067" y="1170"/>
                  </a:cubicBezTo>
                  <a:cubicBezTo>
                    <a:pt x="1067" y="1166"/>
                    <a:pt x="1068" y="1161"/>
                    <a:pt x="1069" y="1156"/>
                  </a:cubicBezTo>
                  <a:cubicBezTo>
                    <a:pt x="1070" y="1155"/>
                    <a:pt x="1070" y="1153"/>
                    <a:pt x="1071" y="1152"/>
                  </a:cubicBezTo>
                  <a:cubicBezTo>
                    <a:pt x="1071" y="1152"/>
                    <a:pt x="1071" y="1152"/>
                    <a:pt x="1071" y="1151"/>
                  </a:cubicBezTo>
                  <a:cubicBezTo>
                    <a:pt x="1071" y="1151"/>
                    <a:pt x="1071" y="1151"/>
                    <a:pt x="1071" y="1151"/>
                  </a:cubicBezTo>
                  <a:cubicBezTo>
                    <a:pt x="1071" y="1151"/>
                    <a:pt x="1071" y="1151"/>
                    <a:pt x="1071" y="1150"/>
                  </a:cubicBezTo>
                  <a:cubicBezTo>
                    <a:pt x="1071" y="1150"/>
                    <a:pt x="1072" y="1149"/>
                    <a:pt x="1072" y="1148"/>
                  </a:cubicBezTo>
                  <a:cubicBezTo>
                    <a:pt x="1073" y="1147"/>
                    <a:pt x="1073" y="1146"/>
                    <a:pt x="1074" y="1145"/>
                  </a:cubicBezTo>
                  <a:cubicBezTo>
                    <a:pt x="1075" y="1144"/>
                    <a:pt x="1075" y="1144"/>
                    <a:pt x="1075" y="1143"/>
                  </a:cubicBezTo>
                  <a:cubicBezTo>
                    <a:pt x="1076" y="1143"/>
                    <a:pt x="1076" y="1143"/>
                    <a:pt x="1076" y="1142"/>
                  </a:cubicBezTo>
                  <a:cubicBezTo>
                    <a:pt x="1076" y="1142"/>
                    <a:pt x="1076" y="1142"/>
                    <a:pt x="1076" y="1142"/>
                  </a:cubicBezTo>
                  <a:cubicBezTo>
                    <a:pt x="1076" y="1142"/>
                    <a:pt x="1076" y="1142"/>
                    <a:pt x="1076" y="1142"/>
                  </a:cubicBezTo>
                  <a:cubicBezTo>
                    <a:pt x="1083" y="1132"/>
                    <a:pt x="1093" y="1125"/>
                    <a:pt x="1102" y="1117"/>
                  </a:cubicBezTo>
                  <a:cubicBezTo>
                    <a:pt x="1109" y="1111"/>
                    <a:pt x="1115" y="1104"/>
                    <a:pt x="1120" y="1097"/>
                  </a:cubicBezTo>
                  <a:cubicBezTo>
                    <a:pt x="1122" y="1093"/>
                    <a:pt x="1123" y="1090"/>
                    <a:pt x="1124" y="1086"/>
                  </a:cubicBezTo>
                  <a:cubicBezTo>
                    <a:pt x="1125" y="1090"/>
                    <a:pt x="1126" y="1095"/>
                    <a:pt x="1126" y="1099"/>
                  </a:cubicBezTo>
                  <a:cubicBezTo>
                    <a:pt x="1126" y="1101"/>
                    <a:pt x="1129" y="1102"/>
                    <a:pt x="1131" y="1101"/>
                  </a:cubicBezTo>
                  <a:cubicBezTo>
                    <a:pt x="1134" y="1099"/>
                    <a:pt x="1136" y="1096"/>
                    <a:pt x="1139" y="1093"/>
                  </a:cubicBezTo>
                  <a:cubicBezTo>
                    <a:pt x="1139" y="1091"/>
                    <a:pt x="1140" y="1090"/>
                    <a:pt x="1140" y="1089"/>
                  </a:cubicBezTo>
                  <a:cubicBezTo>
                    <a:pt x="1141" y="1090"/>
                    <a:pt x="1141" y="1090"/>
                    <a:pt x="1141" y="1091"/>
                  </a:cubicBezTo>
                  <a:cubicBezTo>
                    <a:pt x="1142" y="1094"/>
                    <a:pt x="1143" y="1097"/>
                    <a:pt x="1144" y="1100"/>
                  </a:cubicBezTo>
                  <a:cubicBezTo>
                    <a:pt x="1145" y="1107"/>
                    <a:pt x="1146" y="1114"/>
                    <a:pt x="1146" y="1122"/>
                  </a:cubicBezTo>
                  <a:cubicBezTo>
                    <a:pt x="1146" y="1130"/>
                    <a:pt x="1145" y="1137"/>
                    <a:pt x="1144" y="1144"/>
                  </a:cubicBezTo>
                  <a:cubicBezTo>
                    <a:pt x="1143" y="1147"/>
                    <a:pt x="1142" y="1150"/>
                    <a:pt x="1141" y="1154"/>
                  </a:cubicBezTo>
                  <a:cubicBezTo>
                    <a:pt x="1140" y="1156"/>
                    <a:pt x="1139" y="1158"/>
                    <a:pt x="1139" y="1161"/>
                  </a:cubicBezTo>
                  <a:cubicBezTo>
                    <a:pt x="1136" y="1163"/>
                    <a:pt x="1132" y="1164"/>
                    <a:pt x="1129" y="1166"/>
                  </a:cubicBezTo>
                  <a:cubicBezTo>
                    <a:pt x="1130" y="1164"/>
                    <a:pt x="1130" y="1163"/>
                    <a:pt x="1131" y="1161"/>
                  </a:cubicBezTo>
                  <a:close/>
                  <a:moveTo>
                    <a:pt x="1026" y="1289"/>
                  </a:moveTo>
                  <a:cubicBezTo>
                    <a:pt x="1026" y="1289"/>
                    <a:pt x="1026" y="1289"/>
                    <a:pt x="1026" y="1289"/>
                  </a:cubicBezTo>
                  <a:cubicBezTo>
                    <a:pt x="1027" y="1289"/>
                    <a:pt x="1029" y="1289"/>
                    <a:pt x="1031" y="1289"/>
                  </a:cubicBezTo>
                  <a:cubicBezTo>
                    <a:pt x="1031" y="1289"/>
                    <a:pt x="1032" y="1289"/>
                    <a:pt x="1032" y="1289"/>
                  </a:cubicBezTo>
                  <a:cubicBezTo>
                    <a:pt x="1033" y="1289"/>
                    <a:pt x="1033" y="1289"/>
                    <a:pt x="1033" y="1289"/>
                  </a:cubicBezTo>
                  <a:cubicBezTo>
                    <a:pt x="1033" y="1289"/>
                    <a:pt x="1034" y="1290"/>
                    <a:pt x="1034" y="1290"/>
                  </a:cubicBezTo>
                  <a:cubicBezTo>
                    <a:pt x="1035" y="1290"/>
                    <a:pt x="1036" y="1290"/>
                    <a:pt x="1037" y="1291"/>
                  </a:cubicBezTo>
                  <a:cubicBezTo>
                    <a:pt x="1038" y="1291"/>
                    <a:pt x="1038" y="1291"/>
                    <a:pt x="1038" y="1291"/>
                  </a:cubicBezTo>
                  <a:cubicBezTo>
                    <a:pt x="1039" y="1291"/>
                    <a:pt x="1039" y="1292"/>
                    <a:pt x="1040" y="1292"/>
                  </a:cubicBezTo>
                  <a:cubicBezTo>
                    <a:pt x="1041" y="1293"/>
                    <a:pt x="1041" y="1293"/>
                    <a:pt x="1041" y="1293"/>
                  </a:cubicBezTo>
                  <a:cubicBezTo>
                    <a:pt x="1041" y="1293"/>
                    <a:pt x="1041" y="1293"/>
                    <a:pt x="1042" y="1293"/>
                  </a:cubicBezTo>
                  <a:cubicBezTo>
                    <a:pt x="1042" y="1294"/>
                    <a:pt x="1042" y="1294"/>
                    <a:pt x="1043" y="1295"/>
                  </a:cubicBezTo>
                  <a:cubicBezTo>
                    <a:pt x="1043" y="1295"/>
                    <a:pt x="1043" y="1295"/>
                    <a:pt x="1043" y="1295"/>
                  </a:cubicBezTo>
                  <a:cubicBezTo>
                    <a:pt x="1043" y="1295"/>
                    <a:pt x="1043" y="1295"/>
                    <a:pt x="1043" y="1295"/>
                  </a:cubicBezTo>
                  <a:cubicBezTo>
                    <a:pt x="1044" y="1296"/>
                    <a:pt x="1044" y="1297"/>
                    <a:pt x="1045" y="1298"/>
                  </a:cubicBezTo>
                  <a:cubicBezTo>
                    <a:pt x="1045" y="1298"/>
                    <a:pt x="1045" y="1298"/>
                    <a:pt x="1045" y="1298"/>
                  </a:cubicBezTo>
                  <a:cubicBezTo>
                    <a:pt x="1045" y="1298"/>
                    <a:pt x="1045" y="1298"/>
                    <a:pt x="1045" y="1298"/>
                  </a:cubicBezTo>
                  <a:cubicBezTo>
                    <a:pt x="1045" y="1299"/>
                    <a:pt x="1045" y="1299"/>
                    <a:pt x="1045" y="1300"/>
                  </a:cubicBezTo>
                  <a:cubicBezTo>
                    <a:pt x="1046" y="1301"/>
                    <a:pt x="1046" y="1301"/>
                    <a:pt x="1046" y="1302"/>
                  </a:cubicBezTo>
                  <a:cubicBezTo>
                    <a:pt x="1046" y="1302"/>
                    <a:pt x="1046" y="1302"/>
                    <a:pt x="1046" y="1303"/>
                  </a:cubicBezTo>
                  <a:cubicBezTo>
                    <a:pt x="1046" y="1304"/>
                    <a:pt x="1046" y="1305"/>
                    <a:pt x="1046" y="1306"/>
                  </a:cubicBezTo>
                  <a:cubicBezTo>
                    <a:pt x="1046" y="1306"/>
                    <a:pt x="1046" y="1307"/>
                    <a:pt x="1046" y="1307"/>
                  </a:cubicBezTo>
                  <a:cubicBezTo>
                    <a:pt x="1046" y="1308"/>
                    <a:pt x="1046" y="1308"/>
                    <a:pt x="1046" y="1308"/>
                  </a:cubicBezTo>
                  <a:cubicBezTo>
                    <a:pt x="1046" y="1309"/>
                    <a:pt x="1045" y="1311"/>
                    <a:pt x="1045" y="1312"/>
                  </a:cubicBezTo>
                  <a:cubicBezTo>
                    <a:pt x="1045" y="1313"/>
                    <a:pt x="1045" y="1313"/>
                    <a:pt x="1044" y="1314"/>
                  </a:cubicBezTo>
                  <a:cubicBezTo>
                    <a:pt x="1044" y="1314"/>
                    <a:pt x="1044" y="1315"/>
                    <a:pt x="1044" y="1316"/>
                  </a:cubicBezTo>
                  <a:cubicBezTo>
                    <a:pt x="1043" y="1316"/>
                    <a:pt x="1043" y="1317"/>
                    <a:pt x="1043" y="1317"/>
                  </a:cubicBezTo>
                  <a:cubicBezTo>
                    <a:pt x="1042" y="1318"/>
                    <a:pt x="1042" y="1319"/>
                    <a:pt x="1041" y="1320"/>
                  </a:cubicBezTo>
                  <a:cubicBezTo>
                    <a:pt x="1041" y="1320"/>
                    <a:pt x="1041" y="1321"/>
                    <a:pt x="1040" y="1321"/>
                  </a:cubicBezTo>
                  <a:cubicBezTo>
                    <a:pt x="1040" y="1321"/>
                    <a:pt x="1039" y="1322"/>
                    <a:pt x="1039" y="1322"/>
                  </a:cubicBezTo>
                  <a:cubicBezTo>
                    <a:pt x="1038" y="1323"/>
                    <a:pt x="1038" y="1324"/>
                    <a:pt x="1037" y="1324"/>
                  </a:cubicBezTo>
                  <a:cubicBezTo>
                    <a:pt x="1037" y="1324"/>
                    <a:pt x="1036" y="1325"/>
                    <a:pt x="1036" y="1325"/>
                  </a:cubicBezTo>
                  <a:cubicBezTo>
                    <a:pt x="1035" y="1325"/>
                    <a:pt x="1034" y="1326"/>
                    <a:pt x="1034" y="1326"/>
                  </a:cubicBezTo>
                  <a:cubicBezTo>
                    <a:pt x="1034" y="1327"/>
                    <a:pt x="1033" y="1327"/>
                    <a:pt x="1033" y="1327"/>
                  </a:cubicBezTo>
                  <a:cubicBezTo>
                    <a:pt x="1032" y="1327"/>
                    <a:pt x="1032" y="1327"/>
                    <a:pt x="1032" y="1327"/>
                  </a:cubicBezTo>
                  <a:cubicBezTo>
                    <a:pt x="1032" y="1327"/>
                    <a:pt x="1032" y="1327"/>
                    <a:pt x="1032" y="1327"/>
                  </a:cubicBezTo>
                  <a:cubicBezTo>
                    <a:pt x="1031" y="1328"/>
                    <a:pt x="1029" y="1328"/>
                    <a:pt x="1028" y="1329"/>
                  </a:cubicBezTo>
                  <a:cubicBezTo>
                    <a:pt x="1027" y="1329"/>
                    <a:pt x="1027" y="1329"/>
                    <a:pt x="1027" y="1329"/>
                  </a:cubicBezTo>
                  <a:cubicBezTo>
                    <a:pt x="1027" y="1329"/>
                    <a:pt x="1025" y="1329"/>
                    <a:pt x="1025" y="1329"/>
                  </a:cubicBezTo>
                  <a:cubicBezTo>
                    <a:pt x="1024" y="1329"/>
                    <a:pt x="1024" y="1329"/>
                    <a:pt x="1023" y="1329"/>
                  </a:cubicBezTo>
                  <a:cubicBezTo>
                    <a:pt x="1023" y="1329"/>
                    <a:pt x="1022" y="1329"/>
                    <a:pt x="1022" y="1329"/>
                  </a:cubicBezTo>
                  <a:cubicBezTo>
                    <a:pt x="1021" y="1329"/>
                    <a:pt x="1021" y="1329"/>
                    <a:pt x="1021" y="1329"/>
                  </a:cubicBezTo>
                  <a:cubicBezTo>
                    <a:pt x="1020" y="1329"/>
                    <a:pt x="1019" y="1328"/>
                    <a:pt x="1018" y="1328"/>
                  </a:cubicBezTo>
                  <a:cubicBezTo>
                    <a:pt x="1017" y="1328"/>
                    <a:pt x="1017" y="1328"/>
                    <a:pt x="1017" y="1328"/>
                  </a:cubicBezTo>
                  <a:cubicBezTo>
                    <a:pt x="1017" y="1328"/>
                    <a:pt x="1017" y="1328"/>
                    <a:pt x="1017" y="1328"/>
                  </a:cubicBezTo>
                  <a:cubicBezTo>
                    <a:pt x="1016" y="1327"/>
                    <a:pt x="1016" y="1327"/>
                    <a:pt x="1015" y="1327"/>
                  </a:cubicBezTo>
                  <a:cubicBezTo>
                    <a:pt x="1015" y="1326"/>
                    <a:pt x="1014" y="1326"/>
                    <a:pt x="1014" y="1326"/>
                  </a:cubicBezTo>
                  <a:cubicBezTo>
                    <a:pt x="1013" y="1326"/>
                    <a:pt x="1013" y="1326"/>
                    <a:pt x="1013" y="1326"/>
                  </a:cubicBezTo>
                  <a:cubicBezTo>
                    <a:pt x="1013" y="1325"/>
                    <a:pt x="1013" y="1325"/>
                    <a:pt x="1013" y="1325"/>
                  </a:cubicBezTo>
                  <a:cubicBezTo>
                    <a:pt x="1012" y="1324"/>
                    <a:pt x="1011" y="1323"/>
                    <a:pt x="1010" y="1322"/>
                  </a:cubicBezTo>
                  <a:cubicBezTo>
                    <a:pt x="1010" y="1322"/>
                    <a:pt x="1010" y="1322"/>
                    <a:pt x="1009" y="1322"/>
                  </a:cubicBezTo>
                  <a:cubicBezTo>
                    <a:pt x="1009" y="1322"/>
                    <a:pt x="1009" y="1322"/>
                    <a:pt x="1009" y="1322"/>
                  </a:cubicBezTo>
                  <a:cubicBezTo>
                    <a:pt x="1009" y="1321"/>
                    <a:pt x="1009" y="1321"/>
                    <a:pt x="1009" y="1320"/>
                  </a:cubicBezTo>
                  <a:cubicBezTo>
                    <a:pt x="1008" y="1319"/>
                    <a:pt x="1007" y="1318"/>
                    <a:pt x="1007" y="1317"/>
                  </a:cubicBezTo>
                  <a:cubicBezTo>
                    <a:pt x="1007" y="1316"/>
                    <a:pt x="1007" y="1316"/>
                    <a:pt x="1006" y="1316"/>
                  </a:cubicBezTo>
                  <a:cubicBezTo>
                    <a:pt x="1006" y="1316"/>
                    <a:pt x="1006" y="1316"/>
                    <a:pt x="1006" y="1316"/>
                  </a:cubicBezTo>
                  <a:cubicBezTo>
                    <a:pt x="1006" y="1315"/>
                    <a:pt x="1006" y="1314"/>
                    <a:pt x="1006" y="1314"/>
                  </a:cubicBezTo>
                  <a:cubicBezTo>
                    <a:pt x="1005" y="1313"/>
                    <a:pt x="1005" y="1312"/>
                    <a:pt x="1005" y="1311"/>
                  </a:cubicBezTo>
                  <a:cubicBezTo>
                    <a:pt x="1005" y="1311"/>
                    <a:pt x="1005" y="1311"/>
                    <a:pt x="1005" y="1310"/>
                  </a:cubicBezTo>
                  <a:cubicBezTo>
                    <a:pt x="1005" y="1310"/>
                    <a:pt x="1005" y="1310"/>
                    <a:pt x="1005" y="1310"/>
                  </a:cubicBezTo>
                  <a:cubicBezTo>
                    <a:pt x="1005" y="1309"/>
                    <a:pt x="1005" y="1307"/>
                    <a:pt x="1005" y="1305"/>
                  </a:cubicBezTo>
                  <a:cubicBezTo>
                    <a:pt x="1005" y="1305"/>
                    <a:pt x="1005" y="1304"/>
                    <a:pt x="1005" y="1304"/>
                  </a:cubicBezTo>
                  <a:cubicBezTo>
                    <a:pt x="1005" y="1304"/>
                    <a:pt x="1005" y="1303"/>
                    <a:pt x="1005" y="1303"/>
                  </a:cubicBezTo>
                  <a:cubicBezTo>
                    <a:pt x="1005" y="1303"/>
                    <a:pt x="1005" y="1303"/>
                    <a:pt x="1005" y="1302"/>
                  </a:cubicBezTo>
                  <a:cubicBezTo>
                    <a:pt x="1005" y="1302"/>
                    <a:pt x="1005" y="1301"/>
                    <a:pt x="1006" y="1300"/>
                  </a:cubicBezTo>
                  <a:cubicBezTo>
                    <a:pt x="1006" y="1300"/>
                    <a:pt x="1006" y="1300"/>
                    <a:pt x="1006" y="1300"/>
                  </a:cubicBezTo>
                  <a:cubicBezTo>
                    <a:pt x="1006" y="1300"/>
                    <a:pt x="1006" y="1300"/>
                    <a:pt x="1006" y="1299"/>
                  </a:cubicBezTo>
                  <a:cubicBezTo>
                    <a:pt x="1008" y="1299"/>
                    <a:pt x="1009" y="1298"/>
                    <a:pt x="1010" y="1297"/>
                  </a:cubicBezTo>
                  <a:cubicBezTo>
                    <a:pt x="1012" y="1296"/>
                    <a:pt x="1014" y="1294"/>
                    <a:pt x="1015" y="1293"/>
                  </a:cubicBezTo>
                  <a:cubicBezTo>
                    <a:pt x="1016" y="1293"/>
                    <a:pt x="1017" y="1292"/>
                    <a:pt x="1018" y="1292"/>
                  </a:cubicBezTo>
                  <a:cubicBezTo>
                    <a:pt x="1019" y="1292"/>
                    <a:pt x="1019" y="1291"/>
                    <a:pt x="1019" y="1291"/>
                  </a:cubicBezTo>
                  <a:cubicBezTo>
                    <a:pt x="1020" y="1291"/>
                    <a:pt x="1020" y="1291"/>
                    <a:pt x="1020" y="1291"/>
                  </a:cubicBezTo>
                  <a:cubicBezTo>
                    <a:pt x="1021" y="1290"/>
                    <a:pt x="1022" y="1290"/>
                    <a:pt x="1023" y="1290"/>
                  </a:cubicBezTo>
                  <a:cubicBezTo>
                    <a:pt x="1023" y="1290"/>
                    <a:pt x="1024" y="1290"/>
                    <a:pt x="1024" y="1290"/>
                  </a:cubicBezTo>
                  <a:cubicBezTo>
                    <a:pt x="1025" y="1289"/>
                    <a:pt x="1026" y="1289"/>
                    <a:pt x="1026" y="1289"/>
                  </a:cubicBezTo>
                  <a:close/>
                  <a:moveTo>
                    <a:pt x="1006" y="1300"/>
                  </a:moveTo>
                  <a:cubicBezTo>
                    <a:pt x="1006" y="1300"/>
                    <a:pt x="1006" y="1300"/>
                    <a:pt x="1006" y="1300"/>
                  </a:cubicBezTo>
                  <a:cubicBezTo>
                    <a:pt x="1006" y="1300"/>
                    <a:pt x="1006" y="1300"/>
                    <a:pt x="1006" y="1300"/>
                  </a:cubicBezTo>
                  <a:close/>
                  <a:moveTo>
                    <a:pt x="1012" y="1276"/>
                  </a:moveTo>
                  <a:cubicBezTo>
                    <a:pt x="1012" y="1276"/>
                    <a:pt x="1012" y="1276"/>
                    <a:pt x="1012" y="1276"/>
                  </a:cubicBezTo>
                  <a:cubicBezTo>
                    <a:pt x="1011" y="1278"/>
                    <a:pt x="1010" y="1279"/>
                    <a:pt x="1010" y="1280"/>
                  </a:cubicBezTo>
                  <a:cubicBezTo>
                    <a:pt x="1010" y="1280"/>
                    <a:pt x="1009" y="1280"/>
                    <a:pt x="1009" y="1281"/>
                  </a:cubicBezTo>
                  <a:cubicBezTo>
                    <a:pt x="1004" y="1269"/>
                    <a:pt x="996" y="1260"/>
                    <a:pt x="986" y="1252"/>
                  </a:cubicBezTo>
                  <a:cubicBezTo>
                    <a:pt x="982" y="1249"/>
                    <a:pt x="977" y="1246"/>
                    <a:pt x="972" y="1244"/>
                  </a:cubicBezTo>
                  <a:cubicBezTo>
                    <a:pt x="971" y="1243"/>
                    <a:pt x="971" y="1243"/>
                    <a:pt x="971" y="1243"/>
                  </a:cubicBezTo>
                  <a:cubicBezTo>
                    <a:pt x="969" y="1243"/>
                    <a:pt x="968" y="1242"/>
                    <a:pt x="966" y="1242"/>
                  </a:cubicBezTo>
                  <a:cubicBezTo>
                    <a:pt x="966" y="1241"/>
                    <a:pt x="965" y="1241"/>
                    <a:pt x="964" y="1241"/>
                  </a:cubicBezTo>
                  <a:cubicBezTo>
                    <a:pt x="960" y="1240"/>
                    <a:pt x="956" y="1239"/>
                    <a:pt x="952" y="1238"/>
                  </a:cubicBezTo>
                  <a:cubicBezTo>
                    <a:pt x="951" y="1238"/>
                    <a:pt x="951" y="1238"/>
                    <a:pt x="950" y="1238"/>
                  </a:cubicBezTo>
                  <a:cubicBezTo>
                    <a:pt x="948" y="1238"/>
                    <a:pt x="947" y="1238"/>
                    <a:pt x="945" y="1238"/>
                  </a:cubicBezTo>
                  <a:cubicBezTo>
                    <a:pt x="944" y="1238"/>
                    <a:pt x="943" y="1238"/>
                    <a:pt x="942" y="1238"/>
                  </a:cubicBezTo>
                  <a:cubicBezTo>
                    <a:pt x="936" y="1239"/>
                    <a:pt x="929" y="1241"/>
                    <a:pt x="922" y="1242"/>
                  </a:cubicBezTo>
                  <a:cubicBezTo>
                    <a:pt x="909" y="1245"/>
                    <a:pt x="896" y="1248"/>
                    <a:pt x="883" y="1250"/>
                  </a:cubicBezTo>
                  <a:cubicBezTo>
                    <a:pt x="877" y="1251"/>
                    <a:pt x="870" y="1252"/>
                    <a:pt x="864" y="1253"/>
                  </a:cubicBezTo>
                  <a:cubicBezTo>
                    <a:pt x="861" y="1254"/>
                    <a:pt x="858" y="1255"/>
                    <a:pt x="854" y="1255"/>
                  </a:cubicBezTo>
                  <a:cubicBezTo>
                    <a:pt x="851" y="1256"/>
                    <a:pt x="848" y="1257"/>
                    <a:pt x="845" y="1258"/>
                  </a:cubicBezTo>
                  <a:cubicBezTo>
                    <a:pt x="843" y="1259"/>
                    <a:pt x="842" y="1261"/>
                    <a:pt x="843" y="1262"/>
                  </a:cubicBezTo>
                  <a:cubicBezTo>
                    <a:pt x="842" y="1263"/>
                    <a:pt x="842" y="1264"/>
                    <a:pt x="842" y="1265"/>
                  </a:cubicBezTo>
                  <a:cubicBezTo>
                    <a:pt x="843" y="1267"/>
                    <a:pt x="844" y="1268"/>
                    <a:pt x="845" y="1270"/>
                  </a:cubicBezTo>
                  <a:cubicBezTo>
                    <a:pt x="846" y="1271"/>
                    <a:pt x="846" y="1272"/>
                    <a:pt x="847" y="1272"/>
                  </a:cubicBezTo>
                  <a:cubicBezTo>
                    <a:pt x="847" y="1274"/>
                    <a:pt x="848" y="1275"/>
                    <a:pt x="849" y="1276"/>
                  </a:cubicBezTo>
                  <a:cubicBezTo>
                    <a:pt x="852" y="1279"/>
                    <a:pt x="855" y="1282"/>
                    <a:pt x="858" y="1285"/>
                  </a:cubicBezTo>
                  <a:cubicBezTo>
                    <a:pt x="861" y="1288"/>
                    <a:pt x="863" y="1291"/>
                    <a:pt x="866" y="1294"/>
                  </a:cubicBezTo>
                  <a:cubicBezTo>
                    <a:pt x="864" y="1294"/>
                    <a:pt x="862" y="1294"/>
                    <a:pt x="861" y="1294"/>
                  </a:cubicBezTo>
                  <a:cubicBezTo>
                    <a:pt x="858" y="1294"/>
                    <a:pt x="855" y="1293"/>
                    <a:pt x="853" y="1293"/>
                  </a:cubicBezTo>
                  <a:cubicBezTo>
                    <a:pt x="847" y="1293"/>
                    <a:pt x="842" y="1292"/>
                    <a:pt x="837" y="1291"/>
                  </a:cubicBezTo>
                  <a:cubicBezTo>
                    <a:pt x="827" y="1290"/>
                    <a:pt x="816" y="1289"/>
                    <a:pt x="806" y="1287"/>
                  </a:cubicBezTo>
                  <a:cubicBezTo>
                    <a:pt x="798" y="1285"/>
                    <a:pt x="790" y="1284"/>
                    <a:pt x="782" y="1282"/>
                  </a:cubicBezTo>
                  <a:cubicBezTo>
                    <a:pt x="774" y="1279"/>
                    <a:pt x="765" y="1277"/>
                    <a:pt x="758" y="1272"/>
                  </a:cubicBezTo>
                  <a:cubicBezTo>
                    <a:pt x="758" y="1272"/>
                    <a:pt x="757" y="1272"/>
                    <a:pt x="757" y="1272"/>
                  </a:cubicBezTo>
                  <a:cubicBezTo>
                    <a:pt x="757" y="1270"/>
                    <a:pt x="757" y="1267"/>
                    <a:pt x="757" y="1265"/>
                  </a:cubicBezTo>
                  <a:cubicBezTo>
                    <a:pt x="755" y="1256"/>
                    <a:pt x="751" y="1249"/>
                    <a:pt x="745" y="1242"/>
                  </a:cubicBezTo>
                  <a:cubicBezTo>
                    <a:pt x="739" y="1236"/>
                    <a:pt x="732" y="1231"/>
                    <a:pt x="724" y="1228"/>
                  </a:cubicBezTo>
                  <a:cubicBezTo>
                    <a:pt x="720" y="1226"/>
                    <a:pt x="716" y="1225"/>
                    <a:pt x="713" y="1224"/>
                  </a:cubicBezTo>
                  <a:cubicBezTo>
                    <a:pt x="711" y="1224"/>
                    <a:pt x="709" y="1223"/>
                    <a:pt x="707" y="1223"/>
                  </a:cubicBezTo>
                  <a:cubicBezTo>
                    <a:pt x="706" y="1221"/>
                    <a:pt x="705" y="1219"/>
                    <a:pt x="703" y="1217"/>
                  </a:cubicBezTo>
                  <a:cubicBezTo>
                    <a:pt x="705" y="1215"/>
                    <a:pt x="706" y="1212"/>
                    <a:pt x="707" y="1209"/>
                  </a:cubicBezTo>
                  <a:cubicBezTo>
                    <a:pt x="707" y="1204"/>
                    <a:pt x="704" y="1199"/>
                    <a:pt x="698" y="1198"/>
                  </a:cubicBezTo>
                  <a:cubicBezTo>
                    <a:pt x="697" y="1198"/>
                    <a:pt x="695" y="1198"/>
                    <a:pt x="693" y="1200"/>
                  </a:cubicBezTo>
                  <a:cubicBezTo>
                    <a:pt x="692" y="1200"/>
                    <a:pt x="691" y="1201"/>
                    <a:pt x="689" y="1202"/>
                  </a:cubicBezTo>
                  <a:cubicBezTo>
                    <a:pt x="687" y="1199"/>
                    <a:pt x="684" y="1197"/>
                    <a:pt x="681" y="1195"/>
                  </a:cubicBezTo>
                  <a:cubicBezTo>
                    <a:pt x="678" y="1193"/>
                    <a:pt x="674" y="1191"/>
                    <a:pt x="671" y="1189"/>
                  </a:cubicBezTo>
                  <a:cubicBezTo>
                    <a:pt x="670" y="1189"/>
                    <a:pt x="669" y="1188"/>
                    <a:pt x="668" y="1188"/>
                  </a:cubicBezTo>
                  <a:cubicBezTo>
                    <a:pt x="671" y="1186"/>
                    <a:pt x="675" y="1184"/>
                    <a:pt x="678" y="1181"/>
                  </a:cubicBezTo>
                  <a:cubicBezTo>
                    <a:pt x="682" y="1179"/>
                    <a:pt x="687" y="1177"/>
                    <a:pt x="691" y="1177"/>
                  </a:cubicBezTo>
                  <a:cubicBezTo>
                    <a:pt x="699" y="1175"/>
                    <a:pt x="708" y="1174"/>
                    <a:pt x="717" y="1174"/>
                  </a:cubicBezTo>
                  <a:cubicBezTo>
                    <a:pt x="719" y="1175"/>
                    <a:pt x="721" y="1175"/>
                    <a:pt x="724" y="1175"/>
                  </a:cubicBezTo>
                  <a:cubicBezTo>
                    <a:pt x="724" y="1175"/>
                    <a:pt x="724" y="1175"/>
                    <a:pt x="724" y="1175"/>
                  </a:cubicBezTo>
                  <a:cubicBezTo>
                    <a:pt x="725" y="1176"/>
                    <a:pt x="726" y="1176"/>
                    <a:pt x="727" y="1175"/>
                  </a:cubicBezTo>
                  <a:cubicBezTo>
                    <a:pt x="728" y="1176"/>
                    <a:pt x="729" y="1176"/>
                    <a:pt x="730" y="1176"/>
                  </a:cubicBezTo>
                  <a:cubicBezTo>
                    <a:pt x="735" y="1177"/>
                    <a:pt x="739" y="1178"/>
                    <a:pt x="743" y="1179"/>
                  </a:cubicBezTo>
                  <a:cubicBezTo>
                    <a:pt x="747" y="1180"/>
                    <a:pt x="751" y="1181"/>
                    <a:pt x="755" y="1183"/>
                  </a:cubicBezTo>
                  <a:cubicBezTo>
                    <a:pt x="757" y="1184"/>
                    <a:pt x="758" y="1184"/>
                    <a:pt x="760" y="1185"/>
                  </a:cubicBezTo>
                  <a:cubicBezTo>
                    <a:pt x="761" y="1185"/>
                    <a:pt x="762" y="1186"/>
                    <a:pt x="763" y="1186"/>
                  </a:cubicBezTo>
                  <a:cubicBezTo>
                    <a:pt x="763" y="1186"/>
                    <a:pt x="763" y="1186"/>
                    <a:pt x="763" y="1186"/>
                  </a:cubicBezTo>
                  <a:cubicBezTo>
                    <a:pt x="764" y="1187"/>
                    <a:pt x="764" y="1187"/>
                    <a:pt x="765" y="1187"/>
                  </a:cubicBezTo>
                  <a:cubicBezTo>
                    <a:pt x="768" y="1188"/>
                    <a:pt x="770" y="1190"/>
                    <a:pt x="773" y="1191"/>
                  </a:cubicBezTo>
                  <a:cubicBezTo>
                    <a:pt x="775" y="1192"/>
                    <a:pt x="776" y="1193"/>
                    <a:pt x="777" y="1194"/>
                  </a:cubicBezTo>
                  <a:cubicBezTo>
                    <a:pt x="778" y="1194"/>
                    <a:pt x="778" y="1195"/>
                    <a:pt x="779" y="1195"/>
                  </a:cubicBezTo>
                  <a:cubicBezTo>
                    <a:pt x="780" y="1196"/>
                    <a:pt x="780" y="1196"/>
                    <a:pt x="780" y="1196"/>
                  </a:cubicBezTo>
                  <a:cubicBezTo>
                    <a:pt x="780" y="1196"/>
                    <a:pt x="780" y="1196"/>
                    <a:pt x="780" y="1196"/>
                  </a:cubicBezTo>
                  <a:cubicBezTo>
                    <a:pt x="780" y="1196"/>
                    <a:pt x="780" y="1196"/>
                    <a:pt x="781" y="1197"/>
                  </a:cubicBezTo>
                  <a:cubicBezTo>
                    <a:pt x="781" y="1197"/>
                    <a:pt x="781" y="1197"/>
                    <a:pt x="781" y="1197"/>
                  </a:cubicBezTo>
                  <a:cubicBezTo>
                    <a:pt x="782" y="1197"/>
                    <a:pt x="782" y="1197"/>
                    <a:pt x="782" y="1198"/>
                  </a:cubicBezTo>
                  <a:cubicBezTo>
                    <a:pt x="783" y="1198"/>
                    <a:pt x="783" y="1199"/>
                    <a:pt x="784" y="1199"/>
                  </a:cubicBezTo>
                  <a:cubicBezTo>
                    <a:pt x="785" y="1200"/>
                    <a:pt x="786" y="1201"/>
                    <a:pt x="787" y="1202"/>
                  </a:cubicBezTo>
                  <a:cubicBezTo>
                    <a:pt x="788" y="1204"/>
                    <a:pt x="789" y="1206"/>
                    <a:pt x="790" y="1207"/>
                  </a:cubicBezTo>
                  <a:cubicBezTo>
                    <a:pt x="790" y="1208"/>
                    <a:pt x="791" y="1209"/>
                    <a:pt x="792" y="1210"/>
                  </a:cubicBezTo>
                  <a:cubicBezTo>
                    <a:pt x="793" y="1211"/>
                    <a:pt x="795" y="1211"/>
                    <a:pt x="797" y="1211"/>
                  </a:cubicBezTo>
                  <a:cubicBezTo>
                    <a:pt x="799" y="1210"/>
                    <a:pt x="801" y="1208"/>
                    <a:pt x="802" y="1206"/>
                  </a:cubicBezTo>
                  <a:cubicBezTo>
                    <a:pt x="804" y="1204"/>
                    <a:pt x="806" y="1202"/>
                    <a:pt x="807" y="1200"/>
                  </a:cubicBezTo>
                  <a:cubicBezTo>
                    <a:pt x="810" y="1196"/>
                    <a:pt x="812" y="1192"/>
                    <a:pt x="814" y="1188"/>
                  </a:cubicBezTo>
                  <a:cubicBezTo>
                    <a:pt x="817" y="1180"/>
                    <a:pt x="819" y="1173"/>
                    <a:pt x="821" y="1165"/>
                  </a:cubicBezTo>
                  <a:cubicBezTo>
                    <a:pt x="825" y="1149"/>
                    <a:pt x="827" y="1132"/>
                    <a:pt x="825" y="1116"/>
                  </a:cubicBezTo>
                  <a:cubicBezTo>
                    <a:pt x="824" y="1108"/>
                    <a:pt x="822" y="1101"/>
                    <a:pt x="819" y="1094"/>
                  </a:cubicBezTo>
                  <a:cubicBezTo>
                    <a:pt x="819" y="1093"/>
                    <a:pt x="818" y="1092"/>
                    <a:pt x="818" y="1091"/>
                  </a:cubicBezTo>
                  <a:cubicBezTo>
                    <a:pt x="818" y="1091"/>
                    <a:pt x="818" y="1090"/>
                    <a:pt x="819" y="1090"/>
                  </a:cubicBezTo>
                  <a:cubicBezTo>
                    <a:pt x="820" y="1087"/>
                    <a:pt x="820" y="1083"/>
                    <a:pt x="820" y="1080"/>
                  </a:cubicBezTo>
                  <a:cubicBezTo>
                    <a:pt x="820" y="1079"/>
                    <a:pt x="820" y="1078"/>
                    <a:pt x="820" y="1076"/>
                  </a:cubicBezTo>
                  <a:cubicBezTo>
                    <a:pt x="820" y="1076"/>
                    <a:pt x="820" y="1076"/>
                    <a:pt x="820" y="1077"/>
                  </a:cubicBezTo>
                  <a:cubicBezTo>
                    <a:pt x="822" y="1078"/>
                    <a:pt x="824" y="1079"/>
                    <a:pt x="826" y="1080"/>
                  </a:cubicBezTo>
                  <a:cubicBezTo>
                    <a:pt x="827" y="1081"/>
                    <a:pt x="829" y="1083"/>
                    <a:pt x="831" y="1084"/>
                  </a:cubicBezTo>
                  <a:cubicBezTo>
                    <a:pt x="832" y="1085"/>
                    <a:pt x="833" y="1086"/>
                    <a:pt x="834" y="1087"/>
                  </a:cubicBezTo>
                  <a:cubicBezTo>
                    <a:pt x="834" y="1087"/>
                    <a:pt x="835" y="1087"/>
                    <a:pt x="835" y="1088"/>
                  </a:cubicBezTo>
                  <a:cubicBezTo>
                    <a:pt x="835" y="1088"/>
                    <a:pt x="836" y="1089"/>
                    <a:pt x="836" y="1088"/>
                  </a:cubicBezTo>
                  <a:cubicBezTo>
                    <a:pt x="840" y="1093"/>
                    <a:pt x="845" y="1098"/>
                    <a:pt x="848" y="1103"/>
                  </a:cubicBezTo>
                  <a:cubicBezTo>
                    <a:pt x="850" y="1105"/>
                    <a:pt x="851" y="1107"/>
                    <a:pt x="852" y="1109"/>
                  </a:cubicBezTo>
                  <a:cubicBezTo>
                    <a:pt x="853" y="1110"/>
                    <a:pt x="853" y="1112"/>
                    <a:pt x="853" y="1113"/>
                  </a:cubicBezTo>
                  <a:cubicBezTo>
                    <a:pt x="854" y="1114"/>
                    <a:pt x="855" y="1114"/>
                    <a:pt x="856" y="1114"/>
                  </a:cubicBezTo>
                  <a:cubicBezTo>
                    <a:pt x="858" y="1118"/>
                    <a:pt x="860" y="1122"/>
                    <a:pt x="862" y="1126"/>
                  </a:cubicBezTo>
                  <a:cubicBezTo>
                    <a:pt x="866" y="1134"/>
                    <a:pt x="870" y="1143"/>
                    <a:pt x="872" y="1152"/>
                  </a:cubicBezTo>
                  <a:cubicBezTo>
                    <a:pt x="874" y="1161"/>
                    <a:pt x="875" y="1169"/>
                    <a:pt x="875" y="1178"/>
                  </a:cubicBezTo>
                  <a:cubicBezTo>
                    <a:pt x="875" y="1187"/>
                    <a:pt x="875" y="1196"/>
                    <a:pt x="876" y="1205"/>
                  </a:cubicBezTo>
                  <a:cubicBezTo>
                    <a:pt x="877" y="1208"/>
                    <a:pt x="880" y="1208"/>
                    <a:pt x="881" y="1205"/>
                  </a:cubicBezTo>
                  <a:cubicBezTo>
                    <a:pt x="881" y="1205"/>
                    <a:pt x="881" y="1205"/>
                    <a:pt x="881" y="1205"/>
                  </a:cubicBezTo>
                  <a:cubicBezTo>
                    <a:pt x="881" y="1205"/>
                    <a:pt x="882" y="1205"/>
                    <a:pt x="882" y="1205"/>
                  </a:cubicBezTo>
                  <a:cubicBezTo>
                    <a:pt x="884" y="1204"/>
                    <a:pt x="886" y="1202"/>
                    <a:pt x="888" y="1202"/>
                  </a:cubicBezTo>
                  <a:cubicBezTo>
                    <a:pt x="890" y="1201"/>
                    <a:pt x="893" y="1200"/>
                    <a:pt x="895" y="1199"/>
                  </a:cubicBezTo>
                  <a:cubicBezTo>
                    <a:pt x="899" y="1198"/>
                    <a:pt x="903" y="1197"/>
                    <a:pt x="907" y="1196"/>
                  </a:cubicBezTo>
                  <a:cubicBezTo>
                    <a:pt x="915" y="1195"/>
                    <a:pt x="923" y="1195"/>
                    <a:pt x="930" y="1197"/>
                  </a:cubicBezTo>
                  <a:cubicBezTo>
                    <a:pt x="946" y="1200"/>
                    <a:pt x="960" y="1209"/>
                    <a:pt x="972" y="1220"/>
                  </a:cubicBezTo>
                  <a:cubicBezTo>
                    <a:pt x="977" y="1224"/>
                    <a:pt x="982" y="1229"/>
                    <a:pt x="985" y="1234"/>
                  </a:cubicBezTo>
                  <a:cubicBezTo>
                    <a:pt x="990" y="1239"/>
                    <a:pt x="994" y="1244"/>
                    <a:pt x="998" y="1250"/>
                  </a:cubicBezTo>
                  <a:cubicBezTo>
                    <a:pt x="1001" y="1255"/>
                    <a:pt x="1005" y="1261"/>
                    <a:pt x="1009" y="1267"/>
                  </a:cubicBezTo>
                  <a:cubicBezTo>
                    <a:pt x="1010" y="1269"/>
                    <a:pt x="1011" y="1272"/>
                    <a:pt x="1012" y="1275"/>
                  </a:cubicBezTo>
                  <a:cubicBezTo>
                    <a:pt x="1012" y="1275"/>
                    <a:pt x="1012" y="1275"/>
                    <a:pt x="1012" y="1276"/>
                  </a:cubicBezTo>
                  <a:close/>
                  <a:moveTo>
                    <a:pt x="944" y="1341"/>
                  </a:moveTo>
                  <a:cubicBezTo>
                    <a:pt x="944" y="1341"/>
                    <a:pt x="944" y="1341"/>
                    <a:pt x="944" y="1341"/>
                  </a:cubicBezTo>
                  <a:cubicBezTo>
                    <a:pt x="941" y="1349"/>
                    <a:pt x="935" y="1356"/>
                    <a:pt x="928" y="1362"/>
                  </a:cubicBezTo>
                  <a:cubicBezTo>
                    <a:pt x="924" y="1365"/>
                    <a:pt x="919" y="1368"/>
                    <a:pt x="915" y="1370"/>
                  </a:cubicBezTo>
                  <a:cubicBezTo>
                    <a:pt x="912" y="1371"/>
                    <a:pt x="910" y="1372"/>
                    <a:pt x="908" y="1373"/>
                  </a:cubicBezTo>
                  <a:cubicBezTo>
                    <a:pt x="907" y="1373"/>
                    <a:pt x="905" y="1373"/>
                    <a:pt x="904" y="1374"/>
                  </a:cubicBezTo>
                  <a:cubicBezTo>
                    <a:pt x="903" y="1374"/>
                    <a:pt x="902" y="1374"/>
                    <a:pt x="900" y="1375"/>
                  </a:cubicBezTo>
                  <a:cubicBezTo>
                    <a:pt x="899" y="1375"/>
                    <a:pt x="899" y="1376"/>
                    <a:pt x="899" y="1377"/>
                  </a:cubicBezTo>
                  <a:cubicBezTo>
                    <a:pt x="893" y="1377"/>
                    <a:pt x="886" y="1377"/>
                    <a:pt x="880" y="1377"/>
                  </a:cubicBezTo>
                  <a:cubicBezTo>
                    <a:pt x="881" y="1377"/>
                    <a:pt x="881" y="1377"/>
                    <a:pt x="881" y="1377"/>
                  </a:cubicBezTo>
                  <a:cubicBezTo>
                    <a:pt x="883" y="1376"/>
                    <a:pt x="884" y="1374"/>
                    <a:pt x="885" y="1372"/>
                  </a:cubicBezTo>
                  <a:cubicBezTo>
                    <a:pt x="886" y="1368"/>
                    <a:pt x="886" y="1363"/>
                    <a:pt x="887" y="1359"/>
                  </a:cubicBezTo>
                  <a:cubicBezTo>
                    <a:pt x="888" y="1357"/>
                    <a:pt x="888" y="1354"/>
                    <a:pt x="889" y="1352"/>
                  </a:cubicBezTo>
                  <a:cubicBezTo>
                    <a:pt x="896" y="1350"/>
                    <a:pt x="902" y="1346"/>
                    <a:pt x="908" y="1341"/>
                  </a:cubicBezTo>
                  <a:cubicBezTo>
                    <a:pt x="911" y="1337"/>
                    <a:pt x="914" y="1334"/>
                    <a:pt x="917" y="1331"/>
                  </a:cubicBezTo>
                  <a:cubicBezTo>
                    <a:pt x="917" y="1330"/>
                    <a:pt x="918" y="1329"/>
                    <a:pt x="918" y="1328"/>
                  </a:cubicBezTo>
                  <a:cubicBezTo>
                    <a:pt x="919" y="1329"/>
                    <a:pt x="921" y="1329"/>
                    <a:pt x="922" y="1330"/>
                  </a:cubicBezTo>
                  <a:cubicBezTo>
                    <a:pt x="929" y="1334"/>
                    <a:pt x="936" y="1337"/>
                    <a:pt x="944" y="1341"/>
                  </a:cubicBezTo>
                  <a:close/>
                  <a:moveTo>
                    <a:pt x="964" y="1349"/>
                  </a:moveTo>
                  <a:cubicBezTo>
                    <a:pt x="964" y="1349"/>
                    <a:pt x="964" y="1349"/>
                    <a:pt x="964" y="1349"/>
                  </a:cubicBezTo>
                  <a:cubicBezTo>
                    <a:pt x="964" y="1349"/>
                    <a:pt x="964" y="1349"/>
                    <a:pt x="964" y="1349"/>
                  </a:cubicBezTo>
                  <a:cubicBezTo>
                    <a:pt x="965" y="1349"/>
                    <a:pt x="965" y="1349"/>
                    <a:pt x="965" y="1349"/>
                  </a:cubicBezTo>
                  <a:cubicBezTo>
                    <a:pt x="968" y="1350"/>
                    <a:pt x="971" y="1352"/>
                    <a:pt x="974" y="1354"/>
                  </a:cubicBezTo>
                  <a:cubicBezTo>
                    <a:pt x="974" y="1354"/>
                    <a:pt x="974" y="1354"/>
                    <a:pt x="974" y="1354"/>
                  </a:cubicBezTo>
                  <a:cubicBezTo>
                    <a:pt x="975" y="1354"/>
                    <a:pt x="975" y="1355"/>
                    <a:pt x="975" y="1355"/>
                  </a:cubicBezTo>
                  <a:cubicBezTo>
                    <a:pt x="976" y="1356"/>
                    <a:pt x="976" y="1356"/>
                    <a:pt x="977" y="1356"/>
                  </a:cubicBezTo>
                  <a:cubicBezTo>
                    <a:pt x="977" y="1357"/>
                    <a:pt x="977" y="1357"/>
                    <a:pt x="977" y="1357"/>
                  </a:cubicBezTo>
                  <a:cubicBezTo>
                    <a:pt x="977" y="1357"/>
                    <a:pt x="977" y="1357"/>
                    <a:pt x="977" y="1357"/>
                  </a:cubicBezTo>
                  <a:cubicBezTo>
                    <a:pt x="977" y="1357"/>
                    <a:pt x="978" y="1358"/>
                    <a:pt x="978" y="1358"/>
                  </a:cubicBezTo>
                  <a:cubicBezTo>
                    <a:pt x="978" y="1359"/>
                    <a:pt x="978" y="1359"/>
                    <a:pt x="978" y="1359"/>
                  </a:cubicBezTo>
                  <a:cubicBezTo>
                    <a:pt x="978" y="1359"/>
                    <a:pt x="979" y="1360"/>
                    <a:pt x="979" y="1360"/>
                  </a:cubicBezTo>
                  <a:cubicBezTo>
                    <a:pt x="979" y="1361"/>
                    <a:pt x="979" y="1362"/>
                    <a:pt x="979" y="1362"/>
                  </a:cubicBezTo>
                  <a:cubicBezTo>
                    <a:pt x="979" y="1363"/>
                    <a:pt x="979" y="1364"/>
                    <a:pt x="979" y="1365"/>
                  </a:cubicBezTo>
                  <a:cubicBezTo>
                    <a:pt x="958" y="1373"/>
                    <a:pt x="936" y="1376"/>
                    <a:pt x="913" y="1377"/>
                  </a:cubicBezTo>
                  <a:cubicBezTo>
                    <a:pt x="914" y="1376"/>
                    <a:pt x="915" y="1376"/>
                    <a:pt x="916" y="1376"/>
                  </a:cubicBezTo>
                  <a:cubicBezTo>
                    <a:pt x="922" y="1373"/>
                    <a:pt x="927" y="1370"/>
                    <a:pt x="932" y="1366"/>
                  </a:cubicBezTo>
                  <a:cubicBezTo>
                    <a:pt x="936" y="1362"/>
                    <a:pt x="940" y="1358"/>
                    <a:pt x="943" y="1353"/>
                  </a:cubicBezTo>
                  <a:cubicBezTo>
                    <a:pt x="945" y="1350"/>
                    <a:pt x="946" y="1346"/>
                    <a:pt x="947" y="1342"/>
                  </a:cubicBezTo>
                  <a:cubicBezTo>
                    <a:pt x="950" y="1343"/>
                    <a:pt x="953" y="1344"/>
                    <a:pt x="957" y="1346"/>
                  </a:cubicBezTo>
                  <a:cubicBezTo>
                    <a:pt x="958" y="1346"/>
                    <a:pt x="960" y="1347"/>
                    <a:pt x="961" y="1348"/>
                  </a:cubicBezTo>
                  <a:cubicBezTo>
                    <a:pt x="962" y="1348"/>
                    <a:pt x="963" y="1348"/>
                    <a:pt x="964" y="1349"/>
                  </a:cubicBezTo>
                  <a:close/>
                  <a:moveTo>
                    <a:pt x="492" y="1339"/>
                  </a:moveTo>
                  <a:cubicBezTo>
                    <a:pt x="492" y="1339"/>
                    <a:pt x="492" y="1339"/>
                    <a:pt x="492" y="1339"/>
                  </a:cubicBezTo>
                  <a:cubicBezTo>
                    <a:pt x="494" y="1340"/>
                    <a:pt x="495" y="1340"/>
                    <a:pt x="496" y="1341"/>
                  </a:cubicBezTo>
                  <a:cubicBezTo>
                    <a:pt x="496" y="1342"/>
                    <a:pt x="496" y="1343"/>
                    <a:pt x="496" y="1344"/>
                  </a:cubicBezTo>
                  <a:cubicBezTo>
                    <a:pt x="496" y="1345"/>
                    <a:pt x="496" y="1346"/>
                    <a:pt x="496" y="1347"/>
                  </a:cubicBezTo>
                  <a:cubicBezTo>
                    <a:pt x="494" y="1348"/>
                    <a:pt x="493" y="1348"/>
                    <a:pt x="492" y="1348"/>
                  </a:cubicBezTo>
                  <a:cubicBezTo>
                    <a:pt x="489" y="1349"/>
                    <a:pt x="485" y="1349"/>
                    <a:pt x="481" y="1349"/>
                  </a:cubicBezTo>
                  <a:cubicBezTo>
                    <a:pt x="480" y="1349"/>
                    <a:pt x="478" y="1349"/>
                    <a:pt x="476" y="1349"/>
                  </a:cubicBezTo>
                  <a:cubicBezTo>
                    <a:pt x="477" y="1348"/>
                    <a:pt x="478" y="1348"/>
                    <a:pt x="479" y="1347"/>
                  </a:cubicBezTo>
                  <a:cubicBezTo>
                    <a:pt x="483" y="1345"/>
                    <a:pt x="487" y="1344"/>
                    <a:pt x="491" y="1341"/>
                  </a:cubicBezTo>
                  <a:cubicBezTo>
                    <a:pt x="492" y="1341"/>
                    <a:pt x="492" y="1340"/>
                    <a:pt x="492" y="1339"/>
                  </a:cubicBezTo>
                  <a:close/>
                  <a:moveTo>
                    <a:pt x="660" y="1381"/>
                  </a:moveTo>
                  <a:cubicBezTo>
                    <a:pt x="660" y="1381"/>
                    <a:pt x="660" y="1381"/>
                    <a:pt x="660" y="1381"/>
                  </a:cubicBezTo>
                  <a:cubicBezTo>
                    <a:pt x="660" y="1381"/>
                    <a:pt x="661" y="1382"/>
                    <a:pt x="662" y="1382"/>
                  </a:cubicBezTo>
                  <a:cubicBezTo>
                    <a:pt x="666" y="1384"/>
                    <a:pt x="670" y="1385"/>
                    <a:pt x="675" y="1386"/>
                  </a:cubicBezTo>
                  <a:cubicBezTo>
                    <a:pt x="680" y="1387"/>
                    <a:pt x="684" y="1389"/>
                    <a:pt x="689" y="1390"/>
                  </a:cubicBezTo>
                  <a:cubicBezTo>
                    <a:pt x="698" y="1393"/>
                    <a:pt x="708" y="1395"/>
                    <a:pt x="718" y="1396"/>
                  </a:cubicBezTo>
                  <a:cubicBezTo>
                    <a:pt x="736" y="1399"/>
                    <a:pt x="754" y="1402"/>
                    <a:pt x="771" y="1409"/>
                  </a:cubicBezTo>
                  <a:cubicBezTo>
                    <a:pt x="771" y="1409"/>
                    <a:pt x="771" y="1409"/>
                    <a:pt x="771" y="1409"/>
                  </a:cubicBezTo>
                  <a:cubicBezTo>
                    <a:pt x="771" y="1410"/>
                    <a:pt x="770" y="1410"/>
                    <a:pt x="769" y="1411"/>
                  </a:cubicBezTo>
                  <a:cubicBezTo>
                    <a:pt x="763" y="1417"/>
                    <a:pt x="756" y="1423"/>
                    <a:pt x="749" y="1428"/>
                  </a:cubicBezTo>
                  <a:cubicBezTo>
                    <a:pt x="742" y="1435"/>
                    <a:pt x="736" y="1440"/>
                    <a:pt x="728" y="1446"/>
                  </a:cubicBezTo>
                  <a:cubicBezTo>
                    <a:pt x="721" y="1451"/>
                    <a:pt x="714" y="1457"/>
                    <a:pt x="708" y="1462"/>
                  </a:cubicBezTo>
                  <a:cubicBezTo>
                    <a:pt x="699" y="1470"/>
                    <a:pt x="691" y="1479"/>
                    <a:pt x="685" y="1488"/>
                  </a:cubicBezTo>
                  <a:cubicBezTo>
                    <a:pt x="678" y="1474"/>
                    <a:pt x="677" y="1458"/>
                    <a:pt x="674" y="1443"/>
                  </a:cubicBezTo>
                  <a:cubicBezTo>
                    <a:pt x="670" y="1423"/>
                    <a:pt x="662" y="1405"/>
                    <a:pt x="656" y="1386"/>
                  </a:cubicBezTo>
                  <a:cubicBezTo>
                    <a:pt x="656" y="1385"/>
                    <a:pt x="655" y="1384"/>
                    <a:pt x="655" y="1383"/>
                  </a:cubicBezTo>
                  <a:cubicBezTo>
                    <a:pt x="655" y="1383"/>
                    <a:pt x="655" y="1383"/>
                    <a:pt x="655" y="1383"/>
                  </a:cubicBezTo>
                  <a:cubicBezTo>
                    <a:pt x="656" y="1382"/>
                    <a:pt x="656" y="1381"/>
                    <a:pt x="655" y="1380"/>
                  </a:cubicBezTo>
                  <a:cubicBezTo>
                    <a:pt x="655" y="1379"/>
                    <a:pt x="654" y="1379"/>
                    <a:pt x="654" y="1379"/>
                  </a:cubicBezTo>
                  <a:cubicBezTo>
                    <a:pt x="654" y="1379"/>
                    <a:pt x="654" y="1379"/>
                    <a:pt x="654" y="1379"/>
                  </a:cubicBezTo>
                  <a:cubicBezTo>
                    <a:pt x="656" y="1379"/>
                    <a:pt x="658" y="1380"/>
                    <a:pt x="660" y="1381"/>
                  </a:cubicBezTo>
                  <a:close/>
                  <a:moveTo>
                    <a:pt x="636" y="1382"/>
                  </a:moveTo>
                  <a:cubicBezTo>
                    <a:pt x="636" y="1382"/>
                    <a:pt x="636" y="1382"/>
                    <a:pt x="636" y="1382"/>
                  </a:cubicBezTo>
                  <a:cubicBezTo>
                    <a:pt x="636" y="1382"/>
                    <a:pt x="637" y="1381"/>
                    <a:pt x="638" y="1381"/>
                  </a:cubicBezTo>
                  <a:cubicBezTo>
                    <a:pt x="640" y="1382"/>
                    <a:pt x="643" y="1383"/>
                    <a:pt x="646" y="1383"/>
                  </a:cubicBezTo>
                  <a:cubicBezTo>
                    <a:pt x="647" y="1383"/>
                    <a:pt x="648" y="1384"/>
                    <a:pt x="649" y="1384"/>
                  </a:cubicBezTo>
                  <a:cubicBezTo>
                    <a:pt x="649" y="1385"/>
                    <a:pt x="649" y="1386"/>
                    <a:pt x="650" y="1388"/>
                  </a:cubicBezTo>
                  <a:cubicBezTo>
                    <a:pt x="650" y="1391"/>
                    <a:pt x="651" y="1394"/>
                    <a:pt x="652" y="1398"/>
                  </a:cubicBezTo>
                  <a:cubicBezTo>
                    <a:pt x="652" y="1398"/>
                    <a:pt x="652" y="1398"/>
                    <a:pt x="652" y="1398"/>
                  </a:cubicBezTo>
                  <a:cubicBezTo>
                    <a:pt x="651" y="1398"/>
                    <a:pt x="649" y="1398"/>
                    <a:pt x="647" y="1398"/>
                  </a:cubicBezTo>
                  <a:cubicBezTo>
                    <a:pt x="644" y="1398"/>
                    <a:pt x="641" y="1397"/>
                    <a:pt x="638" y="1396"/>
                  </a:cubicBezTo>
                  <a:cubicBezTo>
                    <a:pt x="635" y="1395"/>
                    <a:pt x="632" y="1394"/>
                    <a:pt x="629" y="1392"/>
                  </a:cubicBezTo>
                  <a:cubicBezTo>
                    <a:pt x="628" y="1391"/>
                    <a:pt x="627" y="1390"/>
                    <a:pt x="626" y="1390"/>
                  </a:cubicBezTo>
                  <a:cubicBezTo>
                    <a:pt x="629" y="1387"/>
                    <a:pt x="632" y="1385"/>
                    <a:pt x="636" y="1382"/>
                  </a:cubicBezTo>
                  <a:close/>
                  <a:moveTo>
                    <a:pt x="619" y="1394"/>
                  </a:moveTo>
                  <a:cubicBezTo>
                    <a:pt x="619" y="1394"/>
                    <a:pt x="619" y="1394"/>
                    <a:pt x="619" y="1394"/>
                  </a:cubicBezTo>
                  <a:cubicBezTo>
                    <a:pt x="619" y="1395"/>
                    <a:pt x="619" y="1395"/>
                    <a:pt x="620" y="1395"/>
                  </a:cubicBezTo>
                  <a:cubicBezTo>
                    <a:pt x="621" y="1397"/>
                    <a:pt x="623" y="1398"/>
                    <a:pt x="625" y="1399"/>
                  </a:cubicBezTo>
                  <a:cubicBezTo>
                    <a:pt x="628" y="1401"/>
                    <a:pt x="632" y="1403"/>
                    <a:pt x="636" y="1404"/>
                  </a:cubicBezTo>
                  <a:cubicBezTo>
                    <a:pt x="639" y="1405"/>
                    <a:pt x="643" y="1406"/>
                    <a:pt x="647" y="1406"/>
                  </a:cubicBezTo>
                  <a:cubicBezTo>
                    <a:pt x="649" y="1406"/>
                    <a:pt x="651" y="1406"/>
                    <a:pt x="653" y="1406"/>
                  </a:cubicBezTo>
                  <a:cubicBezTo>
                    <a:pt x="653" y="1406"/>
                    <a:pt x="654" y="1406"/>
                    <a:pt x="655" y="1406"/>
                  </a:cubicBezTo>
                  <a:cubicBezTo>
                    <a:pt x="658" y="1414"/>
                    <a:pt x="661" y="1423"/>
                    <a:pt x="664" y="1431"/>
                  </a:cubicBezTo>
                  <a:cubicBezTo>
                    <a:pt x="664" y="1435"/>
                    <a:pt x="665" y="1438"/>
                    <a:pt x="666" y="1441"/>
                  </a:cubicBezTo>
                  <a:cubicBezTo>
                    <a:pt x="665" y="1441"/>
                    <a:pt x="664" y="1441"/>
                    <a:pt x="663" y="1441"/>
                  </a:cubicBezTo>
                  <a:cubicBezTo>
                    <a:pt x="660" y="1442"/>
                    <a:pt x="657" y="1441"/>
                    <a:pt x="654" y="1441"/>
                  </a:cubicBezTo>
                  <a:cubicBezTo>
                    <a:pt x="647" y="1440"/>
                    <a:pt x="640" y="1437"/>
                    <a:pt x="634" y="1435"/>
                  </a:cubicBezTo>
                  <a:cubicBezTo>
                    <a:pt x="627" y="1431"/>
                    <a:pt x="620" y="1427"/>
                    <a:pt x="614" y="1424"/>
                  </a:cubicBezTo>
                  <a:cubicBezTo>
                    <a:pt x="608" y="1420"/>
                    <a:pt x="602" y="1417"/>
                    <a:pt x="596" y="1414"/>
                  </a:cubicBezTo>
                  <a:cubicBezTo>
                    <a:pt x="596" y="1414"/>
                    <a:pt x="595" y="1414"/>
                    <a:pt x="595" y="1413"/>
                  </a:cubicBezTo>
                  <a:cubicBezTo>
                    <a:pt x="598" y="1411"/>
                    <a:pt x="600" y="1409"/>
                    <a:pt x="603" y="1407"/>
                  </a:cubicBezTo>
                  <a:cubicBezTo>
                    <a:pt x="609" y="1403"/>
                    <a:pt x="614" y="1399"/>
                    <a:pt x="619" y="1394"/>
                  </a:cubicBezTo>
                  <a:close/>
                  <a:moveTo>
                    <a:pt x="592" y="1415"/>
                  </a:moveTo>
                  <a:cubicBezTo>
                    <a:pt x="592" y="1415"/>
                    <a:pt x="592" y="1415"/>
                    <a:pt x="592" y="1415"/>
                  </a:cubicBezTo>
                  <a:cubicBezTo>
                    <a:pt x="597" y="1418"/>
                    <a:pt x="602" y="1421"/>
                    <a:pt x="606" y="1423"/>
                  </a:cubicBezTo>
                  <a:cubicBezTo>
                    <a:pt x="613" y="1427"/>
                    <a:pt x="618" y="1431"/>
                    <a:pt x="625" y="1435"/>
                  </a:cubicBezTo>
                  <a:cubicBezTo>
                    <a:pt x="637" y="1442"/>
                    <a:pt x="651" y="1448"/>
                    <a:pt x="665" y="1446"/>
                  </a:cubicBezTo>
                  <a:cubicBezTo>
                    <a:pt x="665" y="1446"/>
                    <a:pt x="666" y="1446"/>
                    <a:pt x="667" y="1446"/>
                  </a:cubicBezTo>
                  <a:cubicBezTo>
                    <a:pt x="669" y="1456"/>
                    <a:pt x="670" y="1466"/>
                    <a:pt x="672" y="1476"/>
                  </a:cubicBezTo>
                  <a:cubicBezTo>
                    <a:pt x="668" y="1476"/>
                    <a:pt x="664" y="1476"/>
                    <a:pt x="660" y="1475"/>
                  </a:cubicBezTo>
                  <a:cubicBezTo>
                    <a:pt x="655" y="1475"/>
                    <a:pt x="651" y="1475"/>
                    <a:pt x="646" y="1474"/>
                  </a:cubicBezTo>
                  <a:cubicBezTo>
                    <a:pt x="637" y="1473"/>
                    <a:pt x="628" y="1470"/>
                    <a:pt x="619" y="1468"/>
                  </a:cubicBezTo>
                  <a:cubicBezTo>
                    <a:pt x="601" y="1461"/>
                    <a:pt x="584" y="1453"/>
                    <a:pt x="567" y="1443"/>
                  </a:cubicBezTo>
                  <a:cubicBezTo>
                    <a:pt x="564" y="1441"/>
                    <a:pt x="561" y="1439"/>
                    <a:pt x="557" y="1437"/>
                  </a:cubicBezTo>
                  <a:cubicBezTo>
                    <a:pt x="565" y="1432"/>
                    <a:pt x="571" y="1428"/>
                    <a:pt x="579" y="1424"/>
                  </a:cubicBezTo>
                  <a:cubicBezTo>
                    <a:pt x="584" y="1421"/>
                    <a:pt x="588" y="1418"/>
                    <a:pt x="592" y="1415"/>
                  </a:cubicBezTo>
                  <a:close/>
                  <a:moveTo>
                    <a:pt x="496" y="1356"/>
                  </a:moveTo>
                  <a:cubicBezTo>
                    <a:pt x="496" y="1356"/>
                    <a:pt x="496" y="1356"/>
                    <a:pt x="496" y="1356"/>
                  </a:cubicBezTo>
                  <a:cubicBezTo>
                    <a:pt x="496" y="1359"/>
                    <a:pt x="496" y="1363"/>
                    <a:pt x="496" y="1366"/>
                  </a:cubicBezTo>
                  <a:cubicBezTo>
                    <a:pt x="497" y="1376"/>
                    <a:pt x="497" y="1385"/>
                    <a:pt x="497" y="1395"/>
                  </a:cubicBezTo>
                  <a:cubicBezTo>
                    <a:pt x="497" y="1394"/>
                    <a:pt x="496" y="1394"/>
                    <a:pt x="496" y="1393"/>
                  </a:cubicBezTo>
                  <a:cubicBezTo>
                    <a:pt x="493" y="1392"/>
                    <a:pt x="492" y="1390"/>
                    <a:pt x="489" y="1388"/>
                  </a:cubicBezTo>
                  <a:cubicBezTo>
                    <a:pt x="487" y="1387"/>
                    <a:pt x="485" y="1385"/>
                    <a:pt x="484" y="1383"/>
                  </a:cubicBezTo>
                  <a:cubicBezTo>
                    <a:pt x="480" y="1379"/>
                    <a:pt x="478" y="1373"/>
                    <a:pt x="476" y="1367"/>
                  </a:cubicBezTo>
                  <a:cubicBezTo>
                    <a:pt x="475" y="1365"/>
                    <a:pt x="474" y="1362"/>
                    <a:pt x="472" y="1359"/>
                  </a:cubicBezTo>
                  <a:cubicBezTo>
                    <a:pt x="472" y="1358"/>
                    <a:pt x="471" y="1357"/>
                    <a:pt x="470" y="1356"/>
                  </a:cubicBezTo>
                  <a:cubicBezTo>
                    <a:pt x="474" y="1356"/>
                    <a:pt x="478" y="1357"/>
                    <a:pt x="481" y="1357"/>
                  </a:cubicBezTo>
                  <a:cubicBezTo>
                    <a:pt x="485" y="1357"/>
                    <a:pt x="489" y="1357"/>
                    <a:pt x="493" y="1356"/>
                  </a:cubicBezTo>
                  <a:cubicBezTo>
                    <a:pt x="494" y="1356"/>
                    <a:pt x="495" y="1356"/>
                    <a:pt x="496" y="1356"/>
                  </a:cubicBezTo>
                  <a:close/>
                  <a:moveTo>
                    <a:pt x="465" y="1355"/>
                  </a:moveTo>
                  <a:cubicBezTo>
                    <a:pt x="465" y="1355"/>
                    <a:pt x="465" y="1355"/>
                    <a:pt x="465" y="1355"/>
                  </a:cubicBezTo>
                  <a:cubicBezTo>
                    <a:pt x="465" y="1355"/>
                    <a:pt x="465" y="1355"/>
                    <a:pt x="465" y="1355"/>
                  </a:cubicBezTo>
                  <a:cubicBezTo>
                    <a:pt x="465" y="1358"/>
                    <a:pt x="467" y="1360"/>
                    <a:pt x="468" y="1362"/>
                  </a:cubicBezTo>
                  <a:cubicBezTo>
                    <a:pt x="469" y="1365"/>
                    <a:pt x="470" y="1367"/>
                    <a:pt x="471" y="1370"/>
                  </a:cubicBezTo>
                  <a:cubicBezTo>
                    <a:pt x="474" y="1376"/>
                    <a:pt x="476" y="1381"/>
                    <a:pt x="479" y="1386"/>
                  </a:cubicBezTo>
                  <a:cubicBezTo>
                    <a:pt x="483" y="1390"/>
                    <a:pt x="487" y="1393"/>
                    <a:pt x="491" y="1396"/>
                  </a:cubicBezTo>
                  <a:cubicBezTo>
                    <a:pt x="493" y="1397"/>
                    <a:pt x="495" y="1398"/>
                    <a:pt x="496" y="1400"/>
                  </a:cubicBezTo>
                  <a:cubicBezTo>
                    <a:pt x="497" y="1400"/>
                    <a:pt x="497" y="1401"/>
                    <a:pt x="497" y="1402"/>
                  </a:cubicBezTo>
                  <a:cubicBezTo>
                    <a:pt x="497" y="1414"/>
                    <a:pt x="497" y="1427"/>
                    <a:pt x="496" y="1441"/>
                  </a:cubicBezTo>
                  <a:cubicBezTo>
                    <a:pt x="487" y="1429"/>
                    <a:pt x="478" y="1417"/>
                    <a:pt x="468" y="1406"/>
                  </a:cubicBezTo>
                  <a:cubicBezTo>
                    <a:pt x="459" y="1393"/>
                    <a:pt x="446" y="1383"/>
                    <a:pt x="441" y="1367"/>
                  </a:cubicBezTo>
                  <a:cubicBezTo>
                    <a:pt x="449" y="1364"/>
                    <a:pt x="457" y="1359"/>
                    <a:pt x="465" y="1355"/>
                  </a:cubicBezTo>
                  <a:close/>
                  <a:moveTo>
                    <a:pt x="506" y="1448"/>
                  </a:moveTo>
                  <a:cubicBezTo>
                    <a:pt x="506" y="1448"/>
                    <a:pt x="506" y="1448"/>
                    <a:pt x="506" y="1448"/>
                  </a:cubicBezTo>
                  <a:cubicBezTo>
                    <a:pt x="507" y="1431"/>
                    <a:pt x="507" y="1414"/>
                    <a:pt x="507" y="1397"/>
                  </a:cubicBezTo>
                  <a:cubicBezTo>
                    <a:pt x="507" y="1387"/>
                    <a:pt x="506" y="1378"/>
                    <a:pt x="505" y="1367"/>
                  </a:cubicBezTo>
                  <a:cubicBezTo>
                    <a:pt x="505" y="1362"/>
                    <a:pt x="505" y="1357"/>
                    <a:pt x="504" y="1352"/>
                  </a:cubicBezTo>
                  <a:cubicBezTo>
                    <a:pt x="504" y="1350"/>
                    <a:pt x="504" y="1348"/>
                    <a:pt x="504" y="1345"/>
                  </a:cubicBezTo>
                  <a:cubicBezTo>
                    <a:pt x="503" y="1344"/>
                    <a:pt x="503" y="1344"/>
                    <a:pt x="503" y="1343"/>
                  </a:cubicBezTo>
                  <a:cubicBezTo>
                    <a:pt x="505" y="1343"/>
                    <a:pt x="507" y="1344"/>
                    <a:pt x="508" y="1344"/>
                  </a:cubicBezTo>
                  <a:cubicBezTo>
                    <a:pt x="516" y="1347"/>
                    <a:pt x="523" y="1350"/>
                    <a:pt x="530" y="1353"/>
                  </a:cubicBezTo>
                  <a:cubicBezTo>
                    <a:pt x="540" y="1357"/>
                    <a:pt x="550" y="1360"/>
                    <a:pt x="560" y="1363"/>
                  </a:cubicBezTo>
                  <a:cubicBezTo>
                    <a:pt x="569" y="1367"/>
                    <a:pt x="580" y="1369"/>
                    <a:pt x="590" y="1372"/>
                  </a:cubicBezTo>
                  <a:cubicBezTo>
                    <a:pt x="595" y="1374"/>
                    <a:pt x="600" y="1375"/>
                    <a:pt x="605" y="1376"/>
                  </a:cubicBezTo>
                  <a:cubicBezTo>
                    <a:pt x="610" y="1378"/>
                    <a:pt x="615" y="1379"/>
                    <a:pt x="620" y="1379"/>
                  </a:cubicBezTo>
                  <a:cubicBezTo>
                    <a:pt x="620" y="1379"/>
                    <a:pt x="621" y="1379"/>
                    <a:pt x="621" y="1379"/>
                  </a:cubicBezTo>
                  <a:cubicBezTo>
                    <a:pt x="621" y="1379"/>
                    <a:pt x="621" y="1379"/>
                    <a:pt x="621" y="1379"/>
                  </a:cubicBezTo>
                  <a:cubicBezTo>
                    <a:pt x="622" y="1379"/>
                    <a:pt x="622" y="1380"/>
                    <a:pt x="623" y="1380"/>
                  </a:cubicBezTo>
                  <a:cubicBezTo>
                    <a:pt x="622" y="1380"/>
                    <a:pt x="620" y="1381"/>
                    <a:pt x="619" y="1382"/>
                  </a:cubicBezTo>
                  <a:cubicBezTo>
                    <a:pt x="612" y="1388"/>
                    <a:pt x="604" y="1394"/>
                    <a:pt x="596" y="1400"/>
                  </a:cubicBezTo>
                  <a:cubicBezTo>
                    <a:pt x="588" y="1406"/>
                    <a:pt x="580" y="1412"/>
                    <a:pt x="571" y="1417"/>
                  </a:cubicBezTo>
                  <a:cubicBezTo>
                    <a:pt x="563" y="1422"/>
                    <a:pt x="554" y="1427"/>
                    <a:pt x="545" y="1432"/>
                  </a:cubicBezTo>
                  <a:cubicBezTo>
                    <a:pt x="533" y="1438"/>
                    <a:pt x="518" y="1441"/>
                    <a:pt x="506" y="1448"/>
                  </a:cubicBezTo>
                  <a:close/>
                  <a:moveTo>
                    <a:pt x="515" y="1455"/>
                  </a:moveTo>
                  <a:cubicBezTo>
                    <a:pt x="515" y="1455"/>
                    <a:pt x="515" y="1455"/>
                    <a:pt x="515" y="1455"/>
                  </a:cubicBezTo>
                  <a:cubicBezTo>
                    <a:pt x="518" y="1453"/>
                    <a:pt x="522" y="1451"/>
                    <a:pt x="526" y="1450"/>
                  </a:cubicBezTo>
                  <a:cubicBezTo>
                    <a:pt x="535" y="1447"/>
                    <a:pt x="543" y="1444"/>
                    <a:pt x="551" y="1440"/>
                  </a:cubicBezTo>
                  <a:cubicBezTo>
                    <a:pt x="566" y="1450"/>
                    <a:pt x="582" y="1458"/>
                    <a:pt x="598" y="1466"/>
                  </a:cubicBezTo>
                  <a:cubicBezTo>
                    <a:pt x="616" y="1474"/>
                    <a:pt x="634" y="1479"/>
                    <a:pt x="653" y="1481"/>
                  </a:cubicBezTo>
                  <a:cubicBezTo>
                    <a:pt x="657" y="1481"/>
                    <a:pt x="660" y="1481"/>
                    <a:pt x="663" y="1481"/>
                  </a:cubicBezTo>
                  <a:cubicBezTo>
                    <a:pt x="666" y="1480"/>
                    <a:pt x="670" y="1480"/>
                    <a:pt x="673" y="1479"/>
                  </a:cubicBezTo>
                  <a:cubicBezTo>
                    <a:pt x="673" y="1481"/>
                    <a:pt x="674" y="1483"/>
                    <a:pt x="674" y="1485"/>
                  </a:cubicBezTo>
                  <a:cubicBezTo>
                    <a:pt x="676" y="1489"/>
                    <a:pt x="678" y="1494"/>
                    <a:pt x="680" y="1498"/>
                  </a:cubicBezTo>
                  <a:cubicBezTo>
                    <a:pt x="682" y="1501"/>
                    <a:pt x="685" y="1502"/>
                    <a:pt x="687" y="1499"/>
                  </a:cubicBezTo>
                  <a:cubicBezTo>
                    <a:pt x="692" y="1492"/>
                    <a:pt x="698" y="1485"/>
                    <a:pt x="705" y="1479"/>
                  </a:cubicBezTo>
                  <a:cubicBezTo>
                    <a:pt x="708" y="1479"/>
                    <a:pt x="711" y="1478"/>
                    <a:pt x="714" y="1477"/>
                  </a:cubicBezTo>
                  <a:cubicBezTo>
                    <a:pt x="719" y="1475"/>
                    <a:pt x="724" y="1474"/>
                    <a:pt x="728" y="1472"/>
                  </a:cubicBezTo>
                  <a:cubicBezTo>
                    <a:pt x="737" y="1468"/>
                    <a:pt x="746" y="1463"/>
                    <a:pt x="755" y="1458"/>
                  </a:cubicBezTo>
                  <a:cubicBezTo>
                    <a:pt x="762" y="1454"/>
                    <a:pt x="768" y="1451"/>
                    <a:pt x="776" y="1447"/>
                  </a:cubicBezTo>
                  <a:cubicBezTo>
                    <a:pt x="783" y="1444"/>
                    <a:pt x="790" y="1440"/>
                    <a:pt x="796" y="1436"/>
                  </a:cubicBezTo>
                  <a:cubicBezTo>
                    <a:pt x="802" y="1432"/>
                    <a:pt x="808" y="1427"/>
                    <a:pt x="812" y="1421"/>
                  </a:cubicBezTo>
                  <a:cubicBezTo>
                    <a:pt x="815" y="1428"/>
                    <a:pt x="819" y="1435"/>
                    <a:pt x="823" y="1442"/>
                  </a:cubicBezTo>
                  <a:cubicBezTo>
                    <a:pt x="823" y="1442"/>
                    <a:pt x="823" y="1442"/>
                    <a:pt x="823" y="1442"/>
                  </a:cubicBezTo>
                  <a:cubicBezTo>
                    <a:pt x="798" y="1468"/>
                    <a:pt x="766" y="1485"/>
                    <a:pt x="733" y="1496"/>
                  </a:cubicBezTo>
                  <a:cubicBezTo>
                    <a:pt x="702" y="1505"/>
                    <a:pt x="670" y="1508"/>
                    <a:pt x="638" y="1505"/>
                  </a:cubicBezTo>
                  <a:cubicBezTo>
                    <a:pt x="606" y="1502"/>
                    <a:pt x="575" y="1492"/>
                    <a:pt x="546" y="1477"/>
                  </a:cubicBezTo>
                  <a:cubicBezTo>
                    <a:pt x="535" y="1471"/>
                    <a:pt x="524" y="1464"/>
                    <a:pt x="514" y="1455"/>
                  </a:cubicBezTo>
                  <a:cubicBezTo>
                    <a:pt x="514" y="1455"/>
                    <a:pt x="514" y="1455"/>
                    <a:pt x="515" y="1455"/>
                  </a:cubicBezTo>
                  <a:close/>
                  <a:moveTo>
                    <a:pt x="793" y="1431"/>
                  </a:moveTo>
                  <a:cubicBezTo>
                    <a:pt x="793" y="1431"/>
                    <a:pt x="793" y="1431"/>
                    <a:pt x="793" y="1431"/>
                  </a:cubicBezTo>
                  <a:cubicBezTo>
                    <a:pt x="787" y="1436"/>
                    <a:pt x="780" y="1439"/>
                    <a:pt x="772" y="1443"/>
                  </a:cubicBezTo>
                  <a:cubicBezTo>
                    <a:pt x="757" y="1450"/>
                    <a:pt x="741" y="1460"/>
                    <a:pt x="725" y="1467"/>
                  </a:cubicBezTo>
                  <a:cubicBezTo>
                    <a:pt x="721" y="1469"/>
                    <a:pt x="716" y="1470"/>
                    <a:pt x="713" y="1472"/>
                  </a:cubicBezTo>
                  <a:cubicBezTo>
                    <a:pt x="713" y="1472"/>
                    <a:pt x="713" y="1472"/>
                    <a:pt x="713" y="1472"/>
                  </a:cubicBezTo>
                  <a:cubicBezTo>
                    <a:pt x="716" y="1469"/>
                    <a:pt x="720" y="1465"/>
                    <a:pt x="724" y="1461"/>
                  </a:cubicBezTo>
                  <a:cubicBezTo>
                    <a:pt x="738" y="1450"/>
                    <a:pt x="752" y="1440"/>
                    <a:pt x="765" y="1428"/>
                  </a:cubicBezTo>
                  <a:cubicBezTo>
                    <a:pt x="771" y="1423"/>
                    <a:pt x="776" y="1419"/>
                    <a:pt x="781" y="1414"/>
                  </a:cubicBezTo>
                  <a:cubicBezTo>
                    <a:pt x="785" y="1409"/>
                    <a:pt x="788" y="1405"/>
                    <a:pt x="792" y="1400"/>
                  </a:cubicBezTo>
                  <a:cubicBezTo>
                    <a:pt x="795" y="1400"/>
                    <a:pt x="798" y="1400"/>
                    <a:pt x="801" y="1400"/>
                  </a:cubicBezTo>
                  <a:cubicBezTo>
                    <a:pt x="804" y="1406"/>
                    <a:pt x="807" y="1412"/>
                    <a:pt x="810" y="1417"/>
                  </a:cubicBezTo>
                  <a:cubicBezTo>
                    <a:pt x="805" y="1423"/>
                    <a:pt x="799" y="1428"/>
                    <a:pt x="793" y="1431"/>
                  </a:cubicBezTo>
                  <a:close/>
                  <a:moveTo>
                    <a:pt x="975" y="1382"/>
                  </a:moveTo>
                  <a:cubicBezTo>
                    <a:pt x="975" y="1382"/>
                    <a:pt x="975" y="1382"/>
                    <a:pt x="975" y="1382"/>
                  </a:cubicBezTo>
                  <a:cubicBezTo>
                    <a:pt x="975" y="1382"/>
                    <a:pt x="975" y="1382"/>
                    <a:pt x="975" y="1382"/>
                  </a:cubicBezTo>
                  <a:cubicBezTo>
                    <a:pt x="975" y="1382"/>
                    <a:pt x="974" y="1382"/>
                    <a:pt x="974" y="1382"/>
                  </a:cubicBezTo>
                  <a:cubicBezTo>
                    <a:pt x="973" y="1383"/>
                    <a:pt x="972" y="1383"/>
                    <a:pt x="971" y="1383"/>
                  </a:cubicBezTo>
                  <a:cubicBezTo>
                    <a:pt x="969" y="1384"/>
                    <a:pt x="966" y="1384"/>
                    <a:pt x="964" y="1385"/>
                  </a:cubicBezTo>
                  <a:cubicBezTo>
                    <a:pt x="960" y="1386"/>
                    <a:pt x="955" y="1386"/>
                    <a:pt x="950" y="1387"/>
                  </a:cubicBezTo>
                  <a:cubicBezTo>
                    <a:pt x="940" y="1389"/>
                    <a:pt x="930" y="1390"/>
                    <a:pt x="919" y="1391"/>
                  </a:cubicBezTo>
                  <a:cubicBezTo>
                    <a:pt x="909" y="1392"/>
                    <a:pt x="899" y="1392"/>
                    <a:pt x="888" y="1392"/>
                  </a:cubicBezTo>
                  <a:cubicBezTo>
                    <a:pt x="879" y="1392"/>
                    <a:pt x="868" y="1393"/>
                    <a:pt x="859" y="1394"/>
                  </a:cubicBezTo>
                  <a:cubicBezTo>
                    <a:pt x="837" y="1393"/>
                    <a:pt x="815" y="1393"/>
                    <a:pt x="794" y="1393"/>
                  </a:cubicBezTo>
                  <a:cubicBezTo>
                    <a:pt x="793" y="1390"/>
                    <a:pt x="790" y="1389"/>
                    <a:pt x="788" y="1391"/>
                  </a:cubicBezTo>
                  <a:cubicBezTo>
                    <a:pt x="788" y="1392"/>
                    <a:pt x="788" y="1392"/>
                    <a:pt x="788" y="1392"/>
                  </a:cubicBezTo>
                  <a:cubicBezTo>
                    <a:pt x="780" y="1392"/>
                    <a:pt x="772" y="1392"/>
                    <a:pt x="764" y="1391"/>
                  </a:cubicBezTo>
                  <a:cubicBezTo>
                    <a:pt x="745" y="1390"/>
                    <a:pt x="726" y="1388"/>
                    <a:pt x="707" y="1384"/>
                  </a:cubicBezTo>
                  <a:cubicBezTo>
                    <a:pt x="688" y="1380"/>
                    <a:pt x="669" y="1375"/>
                    <a:pt x="651" y="1370"/>
                  </a:cubicBezTo>
                  <a:cubicBezTo>
                    <a:pt x="650" y="1370"/>
                    <a:pt x="650" y="1369"/>
                    <a:pt x="649" y="1369"/>
                  </a:cubicBezTo>
                  <a:cubicBezTo>
                    <a:pt x="649" y="1367"/>
                    <a:pt x="646" y="1365"/>
                    <a:pt x="643" y="1366"/>
                  </a:cubicBezTo>
                  <a:cubicBezTo>
                    <a:pt x="642" y="1366"/>
                    <a:pt x="642" y="1367"/>
                    <a:pt x="641" y="1367"/>
                  </a:cubicBezTo>
                  <a:cubicBezTo>
                    <a:pt x="606" y="1359"/>
                    <a:pt x="571" y="1352"/>
                    <a:pt x="537" y="1343"/>
                  </a:cubicBezTo>
                  <a:cubicBezTo>
                    <a:pt x="503" y="1334"/>
                    <a:pt x="469" y="1325"/>
                    <a:pt x="436" y="1313"/>
                  </a:cubicBezTo>
                  <a:cubicBezTo>
                    <a:pt x="406" y="1302"/>
                    <a:pt x="377" y="1289"/>
                    <a:pt x="349" y="1272"/>
                  </a:cubicBezTo>
                  <a:cubicBezTo>
                    <a:pt x="336" y="1264"/>
                    <a:pt x="323" y="1255"/>
                    <a:pt x="311" y="1245"/>
                  </a:cubicBezTo>
                  <a:cubicBezTo>
                    <a:pt x="300" y="1236"/>
                    <a:pt x="291" y="1227"/>
                    <a:pt x="281" y="1218"/>
                  </a:cubicBezTo>
                  <a:cubicBezTo>
                    <a:pt x="284" y="1216"/>
                    <a:pt x="286" y="1213"/>
                    <a:pt x="289" y="1211"/>
                  </a:cubicBezTo>
                  <a:cubicBezTo>
                    <a:pt x="312" y="1238"/>
                    <a:pt x="343" y="1259"/>
                    <a:pt x="374" y="1275"/>
                  </a:cubicBezTo>
                  <a:cubicBezTo>
                    <a:pt x="407" y="1293"/>
                    <a:pt x="443" y="1306"/>
                    <a:pt x="477" y="1318"/>
                  </a:cubicBezTo>
                  <a:cubicBezTo>
                    <a:pt x="511" y="1329"/>
                    <a:pt x="543" y="1339"/>
                    <a:pt x="577" y="1348"/>
                  </a:cubicBezTo>
                  <a:cubicBezTo>
                    <a:pt x="577" y="1349"/>
                    <a:pt x="577" y="1349"/>
                    <a:pt x="578" y="1349"/>
                  </a:cubicBezTo>
                  <a:cubicBezTo>
                    <a:pt x="578" y="1349"/>
                    <a:pt x="579" y="1349"/>
                    <a:pt x="580" y="1349"/>
                  </a:cubicBezTo>
                  <a:cubicBezTo>
                    <a:pt x="583" y="1350"/>
                    <a:pt x="586" y="1351"/>
                    <a:pt x="590" y="1352"/>
                  </a:cubicBezTo>
                  <a:cubicBezTo>
                    <a:pt x="631" y="1362"/>
                    <a:pt x="673" y="1371"/>
                    <a:pt x="716" y="1377"/>
                  </a:cubicBezTo>
                  <a:cubicBezTo>
                    <a:pt x="758" y="1382"/>
                    <a:pt x="801" y="1386"/>
                    <a:pt x="843" y="1387"/>
                  </a:cubicBezTo>
                  <a:cubicBezTo>
                    <a:pt x="863" y="1387"/>
                    <a:pt x="883" y="1387"/>
                    <a:pt x="903" y="1387"/>
                  </a:cubicBezTo>
                  <a:cubicBezTo>
                    <a:pt x="923" y="1386"/>
                    <a:pt x="943" y="1384"/>
                    <a:pt x="963" y="1379"/>
                  </a:cubicBezTo>
                  <a:cubicBezTo>
                    <a:pt x="968" y="1378"/>
                    <a:pt x="972" y="1377"/>
                    <a:pt x="977" y="1375"/>
                  </a:cubicBezTo>
                  <a:cubicBezTo>
                    <a:pt x="976" y="1377"/>
                    <a:pt x="976" y="1380"/>
                    <a:pt x="975" y="1382"/>
                  </a:cubicBezTo>
                  <a:close/>
                  <a:moveTo>
                    <a:pt x="293" y="1305"/>
                  </a:moveTo>
                  <a:cubicBezTo>
                    <a:pt x="293" y="1305"/>
                    <a:pt x="293" y="1305"/>
                    <a:pt x="293" y="1305"/>
                  </a:cubicBezTo>
                  <a:cubicBezTo>
                    <a:pt x="294" y="1305"/>
                    <a:pt x="294" y="1306"/>
                    <a:pt x="295" y="1306"/>
                  </a:cubicBezTo>
                  <a:cubicBezTo>
                    <a:pt x="295" y="1306"/>
                    <a:pt x="295" y="1306"/>
                    <a:pt x="295" y="1306"/>
                  </a:cubicBezTo>
                  <a:cubicBezTo>
                    <a:pt x="294" y="1306"/>
                    <a:pt x="294" y="1305"/>
                    <a:pt x="293" y="1305"/>
                  </a:cubicBezTo>
                  <a:cubicBezTo>
                    <a:pt x="293" y="1305"/>
                    <a:pt x="293" y="1305"/>
                    <a:pt x="293" y="1305"/>
                  </a:cubicBezTo>
                  <a:close/>
                  <a:moveTo>
                    <a:pt x="348" y="1308"/>
                  </a:moveTo>
                  <a:cubicBezTo>
                    <a:pt x="348" y="1308"/>
                    <a:pt x="348" y="1308"/>
                    <a:pt x="348" y="1308"/>
                  </a:cubicBezTo>
                  <a:cubicBezTo>
                    <a:pt x="348" y="1314"/>
                    <a:pt x="348" y="1320"/>
                    <a:pt x="348" y="1325"/>
                  </a:cubicBezTo>
                  <a:cubicBezTo>
                    <a:pt x="347" y="1325"/>
                    <a:pt x="346" y="1325"/>
                    <a:pt x="346" y="1325"/>
                  </a:cubicBezTo>
                  <a:cubicBezTo>
                    <a:pt x="344" y="1324"/>
                    <a:pt x="341" y="1323"/>
                    <a:pt x="339" y="1322"/>
                  </a:cubicBezTo>
                  <a:cubicBezTo>
                    <a:pt x="333" y="1320"/>
                    <a:pt x="328" y="1318"/>
                    <a:pt x="323" y="1316"/>
                  </a:cubicBezTo>
                  <a:cubicBezTo>
                    <a:pt x="315" y="1312"/>
                    <a:pt x="306" y="1307"/>
                    <a:pt x="299" y="1302"/>
                  </a:cubicBezTo>
                  <a:cubicBezTo>
                    <a:pt x="302" y="1301"/>
                    <a:pt x="304" y="1299"/>
                    <a:pt x="307" y="1298"/>
                  </a:cubicBezTo>
                  <a:cubicBezTo>
                    <a:pt x="311" y="1297"/>
                    <a:pt x="315" y="1295"/>
                    <a:pt x="319" y="1294"/>
                  </a:cubicBezTo>
                  <a:cubicBezTo>
                    <a:pt x="326" y="1291"/>
                    <a:pt x="334" y="1288"/>
                    <a:pt x="342" y="1283"/>
                  </a:cubicBezTo>
                  <a:cubicBezTo>
                    <a:pt x="344" y="1282"/>
                    <a:pt x="345" y="1280"/>
                    <a:pt x="347" y="1279"/>
                  </a:cubicBezTo>
                  <a:cubicBezTo>
                    <a:pt x="348" y="1279"/>
                    <a:pt x="349" y="1280"/>
                    <a:pt x="350" y="1280"/>
                  </a:cubicBezTo>
                  <a:cubicBezTo>
                    <a:pt x="348" y="1289"/>
                    <a:pt x="348" y="1299"/>
                    <a:pt x="348" y="1308"/>
                  </a:cubicBezTo>
                  <a:close/>
                  <a:moveTo>
                    <a:pt x="270" y="1230"/>
                  </a:moveTo>
                  <a:cubicBezTo>
                    <a:pt x="270" y="1230"/>
                    <a:pt x="270" y="1230"/>
                    <a:pt x="270" y="1230"/>
                  </a:cubicBezTo>
                  <a:cubicBezTo>
                    <a:pt x="270" y="1231"/>
                    <a:pt x="271" y="1232"/>
                    <a:pt x="273" y="1232"/>
                  </a:cubicBezTo>
                  <a:cubicBezTo>
                    <a:pt x="276" y="1235"/>
                    <a:pt x="279" y="1237"/>
                    <a:pt x="282" y="1239"/>
                  </a:cubicBezTo>
                  <a:cubicBezTo>
                    <a:pt x="288" y="1244"/>
                    <a:pt x="294" y="1249"/>
                    <a:pt x="300" y="1253"/>
                  </a:cubicBezTo>
                  <a:cubicBezTo>
                    <a:pt x="307" y="1257"/>
                    <a:pt x="314" y="1260"/>
                    <a:pt x="320" y="1264"/>
                  </a:cubicBezTo>
                  <a:cubicBezTo>
                    <a:pt x="323" y="1265"/>
                    <a:pt x="327" y="1267"/>
                    <a:pt x="330" y="1269"/>
                  </a:cubicBezTo>
                  <a:cubicBezTo>
                    <a:pt x="332" y="1269"/>
                    <a:pt x="334" y="1270"/>
                    <a:pt x="336" y="1271"/>
                  </a:cubicBezTo>
                  <a:cubicBezTo>
                    <a:pt x="338" y="1272"/>
                    <a:pt x="340" y="1273"/>
                    <a:pt x="342" y="1275"/>
                  </a:cubicBezTo>
                  <a:cubicBezTo>
                    <a:pt x="340" y="1276"/>
                    <a:pt x="337" y="1277"/>
                    <a:pt x="335" y="1278"/>
                  </a:cubicBezTo>
                  <a:cubicBezTo>
                    <a:pt x="332" y="1280"/>
                    <a:pt x="328" y="1281"/>
                    <a:pt x="324" y="1283"/>
                  </a:cubicBezTo>
                  <a:cubicBezTo>
                    <a:pt x="316" y="1286"/>
                    <a:pt x="308" y="1288"/>
                    <a:pt x="300" y="1292"/>
                  </a:cubicBezTo>
                  <a:cubicBezTo>
                    <a:pt x="296" y="1293"/>
                    <a:pt x="292" y="1295"/>
                    <a:pt x="288" y="1297"/>
                  </a:cubicBezTo>
                  <a:cubicBezTo>
                    <a:pt x="283" y="1299"/>
                    <a:pt x="279" y="1302"/>
                    <a:pt x="275" y="1304"/>
                  </a:cubicBezTo>
                  <a:cubicBezTo>
                    <a:pt x="267" y="1309"/>
                    <a:pt x="259" y="1313"/>
                    <a:pt x="250" y="1316"/>
                  </a:cubicBezTo>
                  <a:cubicBezTo>
                    <a:pt x="249" y="1316"/>
                    <a:pt x="248" y="1317"/>
                    <a:pt x="247" y="1317"/>
                  </a:cubicBezTo>
                  <a:cubicBezTo>
                    <a:pt x="247" y="1306"/>
                    <a:pt x="248" y="1296"/>
                    <a:pt x="248" y="1286"/>
                  </a:cubicBezTo>
                  <a:cubicBezTo>
                    <a:pt x="249" y="1280"/>
                    <a:pt x="249" y="1274"/>
                    <a:pt x="249" y="1268"/>
                  </a:cubicBezTo>
                  <a:cubicBezTo>
                    <a:pt x="250" y="1263"/>
                    <a:pt x="250" y="1259"/>
                    <a:pt x="250" y="1254"/>
                  </a:cubicBezTo>
                  <a:cubicBezTo>
                    <a:pt x="256" y="1245"/>
                    <a:pt x="263" y="1237"/>
                    <a:pt x="270" y="1230"/>
                  </a:cubicBezTo>
                  <a:close/>
                  <a:moveTo>
                    <a:pt x="252" y="1325"/>
                  </a:moveTo>
                  <a:cubicBezTo>
                    <a:pt x="252" y="1325"/>
                    <a:pt x="252" y="1325"/>
                    <a:pt x="252" y="1325"/>
                  </a:cubicBezTo>
                  <a:cubicBezTo>
                    <a:pt x="252" y="1325"/>
                    <a:pt x="252" y="1325"/>
                    <a:pt x="252" y="1325"/>
                  </a:cubicBezTo>
                  <a:cubicBezTo>
                    <a:pt x="252" y="1325"/>
                    <a:pt x="252" y="1325"/>
                    <a:pt x="252" y="1325"/>
                  </a:cubicBezTo>
                  <a:cubicBezTo>
                    <a:pt x="252" y="1325"/>
                    <a:pt x="252" y="1325"/>
                    <a:pt x="252" y="1325"/>
                  </a:cubicBezTo>
                  <a:cubicBezTo>
                    <a:pt x="252" y="1325"/>
                    <a:pt x="252" y="1325"/>
                    <a:pt x="252" y="1325"/>
                  </a:cubicBezTo>
                  <a:close/>
                  <a:moveTo>
                    <a:pt x="381" y="1133"/>
                  </a:moveTo>
                  <a:cubicBezTo>
                    <a:pt x="381" y="1133"/>
                    <a:pt x="381" y="1133"/>
                    <a:pt x="381" y="1133"/>
                  </a:cubicBezTo>
                  <a:cubicBezTo>
                    <a:pt x="384" y="1135"/>
                    <a:pt x="387" y="1136"/>
                    <a:pt x="390" y="1137"/>
                  </a:cubicBezTo>
                  <a:cubicBezTo>
                    <a:pt x="393" y="1138"/>
                    <a:pt x="396" y="1139"/>
                    <a:pt x="399" y="1140"/>
                  </a:cubicBezTo>
                  <a:cubicBezTo>
                    <a:pt x="403" y="1142"/>
                    <a:pt x="407" y="1144"/>
                    <a:pt x="411" y="1145"/>
                  </a:cubicBezTo>
                  <a:cubicBezTo>
                    <a:pt x="420" y="1148"/>
                    <a:pt x="429" y="1149"/>
                    <a:pt x="438" y="1150"/>
                  </a:cubicBezTo>
                  <a:cubicBezTo>
                    <a:pt x="443" y="1150"/>
                    <a:pt x="447" y="1151"/>
                    <a:pt x="451" y="1150"/>
                  </a:cubicBezTo>
                  <a:cubicBezTo>
                    <a:pt x="456" y="1150"/>
                    <a:pt x="461" y="1150"/>
                    <a:pt x="466" y="1148"/>
                  </a:cubicBezTo>
                  <a:cubicBezTo>
                    <a:pt x="467" y="1148"/>
                    <a:pt x="467" y="1146"/>
                    <a:pt x="466" y="1146"/>
                  </a:cubicBezTo>
                  <a:cubicBezTo>
                    <a:pt x="461" y="1145"/>
                    <a:pt x="457" y="1146"/>
                    <a:pt x="452" y="1146"/>
                  </a:cubicBezTo>
                  <a:cubicBezTo>
                    <a:pt x="448" y="1146"/>
                    <a:pt x="443" y="1146"/>
                    <a:pt x="439" y="1145"/>
                  </a:cubicBezTo>
                  <a:cubicBezTo>
                    <a:pt x="430" y="1145"/>
                    <a:pt x="422" y="1144"/>
                    <a:pt x="414" y="1141"/>
                  </a:cubicBezTo>
                  <a:cubicBezTo>
                    <a:pt x="409" y="1140"/>
                    <a:pt x="406" y="1139"/>
                    <a:pt x="402" y="1137"/>
                  </a:cubicBezTo>
                  <a:cubicBezTo>
                    <a:pt x="399" y="1136"/>
                    <a:pt x="395" y="1135"/>
                    <a:pt x="393" y="1134"/>
                  </a:cubicBezTo>
                  <a:cubicBezTo>
                    <a:pt x="390" y="1133"/>
                    <a:pt x="387" y="1132"/>
                    <a:pt x="384" y="1131"/>
                  </a:cubicBezTo>
                  <a:cubicBezTo>
                    <a:pt x="393" y="1123"/>
                    <a:pt x="403" y="1115"/>
                    <a:pt x="413" y="1108"/>
                  </a:cubicBezTo>
                  <a:cubicBezTo>
                    <a:pt x="415" y="1108"/>
                    <a:pt x="417" y="1108"/>
                    <a:pt x="419" y="1108"/>
                  </a:cubicBezTo>
                  <a:cubicBezTo>
                    <a:pt x="423" y="1108"/>
                    <a:pt x="428" y="1108"/>
                    <a:pt x="432" y="1108"/>
                  </a:cubicBezTo>
                  <a:cubicBezTo>
                    <a:pt x="441" y="1109"/>
                    <a:pt x="450" y="1111"/>
                    <a:pt x="458" y="1113"/>
                  </a:cubicBezTo>
                  <a:cubicBezTo>
                    <a:pt x="475" y="1117"/>
                    <a:pt x="491" y="1123"/>
                    <a:pt x="506" y="1133"/>
                  </a:cubicBezTo>
                  <a:cubicBezTo>
                    <a:pt x="508" y="1134"/>
                    <a:pt x="511" y="1136"/>
                    <a:pt x="513" y="1138"/>
                  </a:cubicBezTo>
                  <a:cubicBezTo>
                    <a:pt x="514" y="1140"/>
                    <a:pt x="515" y="1141"/>
                    <a:pt x="516" y="1142"/>
                  </a:cubicBezTo>
                  <a:cubicBezTo>
                    <a:pt x="517" y="1143"/>
                    <a:pt x="517" y="1144"/>
                    <a:pt x="517" y="1144"/>
                  </a:cubicBezTo>
                  <a:cubicBezTo>
                    <a:pt x="517" y="1144"/>
                    <a:pt x="517" y="1144"/>
                    <a:pt x="517" y="1144"/>
                  </a:cubicBezTo>
                  <a:cubicBezTo>
                    <a:pt x="517" y="1145"/>
                    <a:pt x="517" y="1145"/>
                    <a:pt x="518" y="1146"/>
                  </a:cubicBezTo>
                  <a:cubicBezTo>
                    <a:pt x="518" y="1146"/>
                    <a:pt x="518" y="1147"/>
                    <a:pt x="518" y="1147"/>
                  </a:cubicBezTo>
                  <a:cubicBezTo>
                    <a:pt x="518" y="1147"/>
                    <a:pt x="518" y="1148"/>
                    <a:pt x="518" y="1148"/>
                  </a:cubicBezTo>
                  <a:cubicBezTo>
                    <a:pt x="518" y="1148"/>
                    <a:pt x="518" y="1149"/>
                    <a:pt x="518" y="1150"/>
                  </a:cubicBezTo>
                  <a:cubicBezTo>
                    <a:pt x="518" y="1150"/>
                    <a:pt x="518" y="1151"/>
                    <a:pt x="518" y="1151"/>
                  </a:cubicBezTo>
                  <a:cubicBezTo>
                    <a:pt x="518" y="1153"/>
                    <a:pt x="518" y="1154"/>
                    <a:pt x="518" y="1155"/>
                  </a:cubicBezTo>
                  <a:cubicBezTo>
                    <a:pt x="518" y="1156"/>
                    <a:pt x="518" y="1156"/>
                    <a:pt x="518" y="1157"/>
                  </a:cubicBezTo>
                  <a:cubicBezTo>
                    <a:pt x="518" y="1159"/>
                    <a:pt x="518" y="1159"/>
                    <a:pt x="518" y="1159"/>
                  </a:cubicBezTo>
                  <a:cubicBezTo>
                    <a:pt x="517" y="1164"/>
                    <a:pt x="516" y="1169"/>
                    <a:pt x="514" y="1174"/>
                  </a:cubicBezTo>
                  <a:cubicBezTo>
                    <a:pt x="514" y="1176"/>
                    <a:pt x="513" y="1177"/>
                    <a:pt x="513" y="1178"/>
                  </a:cubicBezTo>
                  <a:cubicBezTo>
                    <a:pt x="512" y="1179"/>
                    <a:pt x="512" y="1180"/>
                    <a:pt x="512" y="1180"/>
                  </a:cubicBezTo>
                  <a:cubicBezTo>
                    <a:pt x="512" y="1181"/>
                    <a:pt x="512" y="1181"/>
                    <a:pt x="511" y="1182"/>
                  </a:cubicBezTo>
                  <a:cubicBezTo>
                    <a:pt x="511" y="1182"/>
                    <a:pt x="511" y="1182"/>
                    <a:pt x="511" y="1182"/>
                  </a:cubicBezTo>
                  <a:cubicBezTo>
                    <a:pt x="511" y="1182"/>
                    <a:pt x="511" y="1182"/>
                    <a:pt x="511" y="1183"/>
                  </a:cubicBezTo>
                  <a:cubicBezTo>
                    <a:pt x="510" y="1186"/>
                    <a:pt x="509" y="1188"/>
                    <a:pt x="507" y="1191"/>
                  </a:cubicBezTo>
                  <a:cubicBezTo>
                    <a:pt x="503" y="1201"/>
                    <a:pt x="497" y="1210"/>
                    <a:pt x="492" y="1219"/>
                  </a:cubicBezTo>
                  <a:cubicBezTo>
                    <a:pt x="492" y="1219"/>
                    <a:pt x="492" y="1219"/>
                    <a:pt x="492" y="1220"/>
                  </a:cubicBezTo>
                  <a:cubicBezTo>
                    <a:pt x="491" y="1220"/>
                    <a:pt x="491" y="1221"/>
                    <a:pt x="491" y="1222"/>
                  </a:cubicBezTo>
                  <a:cubicBezTo>
                    <a:pt x="490" y="1223"/>
                    <a:pt x="490" y="1223"/>
                    <a:pt x="490" y="1224"/>
                  </a:cubicBezTo>
                  <a:cubicBezTo>
                    <a:pt x="487" y="1228"/>
                    <a:pt x="484" y="1232"/>
                    <a:pt x="482" y="1237"/>
                  </a:cubicBezTo>
                  <a:cubicBezTo>
                    <a:pt x="479" y="1242"/>
                    <a:pt x="476" y="1248"/>
                    <a:pt x="473" y="1253"/>
                  </a:cubicBezTo>
                  <a:cubicBezTo>
                    <a:pt x="473" y="1254"/>
                    <a:pt x="472" y="1255"/>
                    <a:pt x="471" y="1256"/>
                  </a:cubicBezTo>
                  <a:cubicBezTo>
                    <a:pt x="471" y="1256"/>
                    <a:pt x="470" y="1256"/>
                    <a:pt x="470" y="1256"/>
                  </a:cubicBezTo>
                  <a:cubicBezTo>
                    <a:pt x="465" y="1257"/>
                    <a:pt x="461" y="1259"/>
                    <a:pt x="456" y="1259"/>
                  </a:cubicBezTo>
                  <a:cubicBezTo>
                    <a:pt x="453" y="1260"/>
                    <a:pt x="450" y="1260"/>
                    <a:pt x="446" y="1260"/>
                  </a:cubicBezTo>
                  <a:cubicBezTo>
                    <a:pt x="441" y="1260"/>
                    <a:pt x="436" y="1260"/>
                    <a:pt x="430" y="1259"/>
                  </a:cubicBezTo>
                  <a:cubicBezTo>
                    <a:pt x="418" y="1258"/>
                    <a:pt x="406" y="1256"/>
                    <a:pt x="393" y="1252"/>
                  </a:cubicBezTo>
                  <a:cubicBezTo>
                    <a:pt x="381" y="1248"/>
                    <a:pt x="367" y="1241"/>
                    <a:pt x="361" y="1228"/>
                  </a:cubicBezTo>
                  <a:cubicBezTo>
                    <a:pt x="363" y="1219"/>
                    <a:pt x="365" y="1209"/>
                    <a:pt x="366" y="1199"/>
                  </a:cubicBezTo>
                  <a:cubicBezTo>
                    <a:pt x="368" y="1189"/>
                    <a:pt x="368" y="1179"/>
                    <a:pt x="369" y="1169"/>
                  </a:cubicBezTo>
                  <a:cubicBezTo>
                    <a:pt x="369" y="1160"/>
                    <a:pt x="369" y="1151"/>
                    <a:pt x="368" y="1143"/>
                  </a:cubicBezTo>
                  <a:cubicBezTo>
                    <a:pt x="372" y="1140"/>
                    <a:pt x="376" y="1136"/>
                    <a:pt x="381" y="1133"/>
                  </a:cubicBezTo>
                  <a:close/>
                  <a:moveTo>
                    <a:pt x="1089" y="889"/>
                  </a:moveTo>
                  <a:cubicBezTo>
                    <a:pt x="1089" y="889"/>
                    <a:pt x="1089" y="889"/>
                    <a:pt x="1089" y="889"/>
                  </a:cubicBezTo>
                  <a:cubicBezTo>
                    <a:pt x="1089" y="889"/>
                    <a:pt x="1090" y="889"/>
                    <a:pt x="1090" y="889"/>
                  </a:cubicBezTo>
                  <a:cubicBezTo>
                    <a:pt x="1090" y="889"/>
                    <a:pt x="1090" y="889"/>
                    <a:pt x="1090" y="889"/>
                  </a:cubicBezTo>
                  <a:cubicBezTo>
                    <a:pt x="1090" y="890"/>
                    <a:pt x="1090" y="890"/>
                    <a:pt x="1090" y="890"/>
                  </a:cubicBezTo>
                  <a:cubicBezTo>
                    <a:pt x="1090" y="890"/>
                    <a:pt x="1090" y="890"/>
                    <a:pt x="1090" y="890"/>
                  </a:cubicBezTo>
                  <a:cubicBezTo>
                    <a:pt x="1090" y="890"/>
                    <a:pt x="1090" y="890"/>
                    <a:pt x="1090" y="891"/>
                  </a:cubicBezTo>
                  <a:cubicBezTo>
                    <a:pt x="1089" y="894"/>
                    <a:pt x="1087" y="897"/>
                    <a:pt x="1085" y="900"/>
                  </a:cubicBezTo>
                  <a:cubicBezTo>
                    <a:pt x="1084" y="901"/>
                    <a:pt x="1084" y="901"/>
                    <a:pt x="1084" y="902"/>
                  </a:cubicBezTo>
                  <a:cubicBezTo>
                    <a:pt x="1083" y="903"/>
                    <a:pt x="1083" y="904"/>
                    <a:pt x="1082" y="905"/>
                  </a:cubicBezTo>
                  <a:cubicBezTo>
                    <a:pt x="1081" y="907"/>
                    <a:pt x="1079" y="908"/>
                    <a:pt x="1078" y="910"/>
                  </a:cubicBezTo>
                  <a:cubicBezTo>
                    <a:pt x="1076" y="911"/>
                    <a:pt x="1075" y="913"/>
                    <a:pt x="1073" y="915"/>
                  </a:cubicBezTo>
                  <a:cubicBezTo>
                    <a:pt x="1069" y="911"/>
                    <a:pt x="1064" y="908"/>
                    <a:pt x="1060" y="905"/>
                  </a:cubicBezTo>
                  <a:cubicBezTo>
                    <a:pt x="1055" y="900"/>
                    <a:pt x="1049" y="897"/>
                    <a:pt x="1043" y="893"/>
                  </a:cubicBezTo>
                  <a:cubicBezTo>
                    <a:pt x="1040" y="892"/>
                    <a:pt x="1037" y="890"/>
                    <a:pt x="1034" y="890"/>
                  </a:cubicBezTo>
                  <a:cubicBezTo>
                    <a:pt x="1032" y="889"/>
                    <a:pt x="1030" y="889"/>
                    <a:pt x="1028" y="890"/>
                  </a:cubicBezTo>
                  <a:cubicBezTo>
                    <a:pt x="1027" y="890"/>
                    <a:pt x="1025" y="890"/>
                    <a:pt x="1024" y="891"/>
                  </a:cubicBezTo>
                  <a:cubicBezTo>
                    <a:pt x="1025" y="891"/>
                    <a:pt x="1024" y="891"/>
                    <a:pt x="1024" y="891"/>
                  </a:cubicBezTo>
                  <a:cubicBezTo>
                    <a:pt x="1024" y="892"/>
                    <a:pt x="1024" y="892"/>
                    <a:pt x="1023" y="893"/>
                  </a:cubicBezTo>
                  <a:cubicBezTo>
                    <a:pt x="1023" y="893"/>
                    <a:pt x="1023" y="894"/>
                    <a:pt x="1022" y="894"/>
                  </a:cubicBezTo>
                  <a:cubicBezTo>
                    <a:pt x="1022" y="894"/>
                    <a:pt x="1022" y="895"/>
                    <a:pt x="1022" y="894"/>
                  </a:cubicBezTo>
                  <a:cubicBezTo>
                    <a:pt x="1022" y="895"/>
                    <a:pt x="1021" y="895"/>
                    <a:pt x="1021" y="896"/>
                  </a:cubicBezTo>
                  <a:cubicBezTo>
                    <a:pt x="1021" y="897"/>
                    <a:pt x="1020" y="897"/>
                    <a:pt x="1020" y="898"/>
                  </a:cubicBezTo>
                  <a:cubicBezTo>
                    <a:pt x="1019" y="898"/>
                    <a:pt x="1019" y="899"/>
                    <a:pt x="1019" y="899"/>
                  </a:cubicBezTo>
                  <a:cubicBezTo>
                    <a:pt x="1019" y="899"/>
                    <a:pt x="1018" y="900"/>
                    <a:pt x="1019" y="899"/>
                  </a:cubicBezTo>
                  <a:cubicBezTo>
                    <a:pt x="1018" y="900"/>
                    <a:pt x="1017" y="901"/>
                    <a:pt x="1017" y="903"/>
                  </a:cubicBezTo>
                  <a:cubicBezTo>
                    <a:pt x="1015" y="904"/>
                    <a:pt x="1014" y="906"/>
                    <a:pt x="1013" y="907"/>
                  </a:cubicBezTo>
                  <a:cubicBezTo>
                    <a:pt x="1013" y="908"/>
                    <a:pt x="1012" y="908"/>
                    <a:pt x="1012" y="909"/>
                  </a:cubicBezTo>
                  <a:cubicBezTo>
                    <a:pt x="1009" y="908"/>
                    <a:pt x="1006" y="907"/>
                    <a:pt x="1003" y="907"/>
                  </a:cubicBezTo>
                  <a:cubicBezTo>
                    <a:pt x="999" y="906"/>
                    <a:pt x="995" y="905"/>
                    <a:pt x="991" y="904"/>
                  </a:cubicBezTo>
                  <a:cubicBezTo>
                    <a:pt x="991" y="904"/>
                    <a:pt x="991" y="904"/>
                    <a:pt x="991" y="903"/>
                  </a:cubicBezTo>
                  <a:cubicBezTo>
                    <a:pt x="991" y="904"/>
                    <a:pt x="991" y="903"/>
                    <a:pt x="991" y="903"/>
                  </a:cubicBezTo>
                  <a:cubicBezTo>
                    <a:pt x="990" y="902"/>
                    <a:pt x="990" y="901"/>
                    <a:pt x="990" y="901"/>
                  </a:cubicBezTo>
                  <a:cubicBezTo>
                    <a:pt x="990" y="899"/>
                    <a:pt x="990" y="896"/>
                    <a:pt x="990" y="894"/>
                  </a:cubicBezTo>
                  <a:cubicBezTo>
                    <a:pt x="990" y="893"/>
                    <a:pt x="990" y="892"/>
                    <a:pt x="990" y="891"/>
                  </a:cubicBezTo>
                  <a:cubicBezTo>
                    <a:pt x="991" y="889"/>
                    <a:pt x="991" y="889"/>
                    <a:pt x="991" y="887"/>
                  </a:cubicBezTo>
                  <a:cubicBezTo>
                    <a:pt x="991" y="888"/>
                    <a:pt x="991" y="887"/>
                    <a:pt x="991" y="886"/>
                  </a:cubicBezTo>
                  <a:cubicBezTo>
                    <a:pt x="991" y="886"/>
                    <a:pt x="991" y="885"/>
                    <a:pt x="991" y="884"/>
                  </a:cubicBezTo>
                  <a:cubicBezTo>
                    <a:pt x="992" y="883"/>
                    <a:pt x="992" y="882"/>
                    <a:pt x="992" y="880"/>
                  </a:cubicBezTo>
                  <a:cubicBezTo>
                    <a:pt x="993" y="875"/>
                    <a:pt x="994" y="871"/>
                    <a:pt x="996" y="865"/>
                  </a:cubicBezTo>
                  <a:cubicBezTo>
                    <a:pt x="997" y="863"/>
                    <a:pt x="997" y="862"/>
                    <a:pt x="998" y="860"/>
                  </a:cubicBezTo>
                  <a:cubicBezTo>
                    <a:pt x="1000" y="861"/>
                    <a:pt x="1003" y="862"/>
                    <a:pt x="1005" y="863"/>
                  </a:cubicBezTo>
                  <a:cubicBezTo>
                    <a:pt x="1009" y="864"/>
                    <a:pt x="1012" y="865"/>
                    <a:pt x="1017" y="866"/>
                  </a:cubicBezTo>
                  <a:cubicBezTo>
                    <a:pt x="1025" y="867"/>
                    <a:pt x="1034" y="868"/>
                    <a:pt x="1042" y="870"/>
                  </a:cubicBezTo>
                  <a:cubicBezTo>
                    <a:pt x="1044" y="871"/>
                    <a:pt x="1045" y="871"/>
                    <a:pt x="1047" y="872"/>
                  </a:cubicBezTo>
                  <a:cubicBezTo>
                    <a:pt x="1048" y="872"/>
                    <a:pt x="1049" y="872"/>
                    <a:pt x="1050" y="873"/>
                  </a:cubicBezTo>
                  <a:cubicBezTo>
                    <a:pt x="1051" y="873"/>
                    <a:pt x="1051" y="873"/>
                    <a:pt x="1052" y="873"/>
                  </a:cubicBezTo>
                  <a:cubicBezTo>
                    <a:pt x="1052" y="873"/>
                    <a:pt x="1053" y="874"/>
                    <a:pt x="1053" y="874"/>
                  </a:cubicBezTo>
                  <a:cubicBezTo>
                    <a:pt x="1057" y="876"/>
                    <a:pt x="1062" y="878"/>
                    <a:pt x="1066" y="880"/>
                  </a:cubicBezTo>
                  <a:cubicBezTo>
                    <a:pt x="1071" y="882"/>
                    <a:pt x="1077" y="884"/>
                    <a:pt x="1082" y="886"/>
                  </a:cubicBezTo>
                  <a:cubicBezTo>
                    <a:pt x="1083" y="887"/>
                    <a:pt x="1085" y="887"/>
                    <a:pt x="1087" y="888"/>
                  </a:cubicBezTo>
                  <a:cubicBezTo>
                    <a:pt x="1087" y="888"/>
                    <a:pt x="1088" y="889"/>
                    <a:pt x="1089" y="889"/>
                  </a:cubicBezTo>
                  <a:close/>
                  <a:moveTo>
                    <a:pt x="1090" y="890"/>
                  </a:moveTo>
                  <a:cubicBezTo>
                    <a:pt x="1090" y="890"/>
                    <a:pt x="1090" y="890"/>
                    <a:pt x="1090" y="890"/>
                  </a:cubicBezTo>
                  <a:cubicBezTo>
                    <a:pt x="1090" y="890"/>
                    <a:pt x="1090" y="890"/>
                    <a:pt x="1090" y="890"/>
                  </a:cubicBezTo>
                  <a:close/>
                  <a:moveTo>
                    <a:pt x="1090" y="889"/>
                  </a:moveTo>
                  <a:cubicBezTo>
                    <a:pt x="1090" y="889"/>
                    <a:pt x="1090" y="889"/>
                    <a:pt x="1090" y="889"/>
                  </a:cubicBezTo>
                  <a:cubicBezTo>
                    <a:pt x="1090" y="889"/>
                    <a:pt x="1090" y="889"/>
                    <a:pt x="1090" y="889"/>
                  </a:cubicBezTo>
                  <a:close/>
                  <a:moveTo>
                    <a:pt x="1088" y="917"/>
                  </a:moveTo>
                  <a:cubicBezTo>
                    <a:pt x="1088" y="917"/>
                    <a:pt x="1088" y="917"/>
                    <a:pt x="1088" y="917"/>
                  </a:cubicBezTo>
                  <a:cubicBezTo>
                    <a:pt x="1090" y="919"/>
                    <a:pt x="1092" y="921"/>
                    <a:pt x="1094" y="923"/>
                  </a:cubicBezTo>
                  <a:cubicBezTo>
                    <a:pt x="1094" y="925"/>
                    <a:pt x="1095" y="927"/>
                    <a:pt x="1096" y="929"/>
                  </a:cubicBezTo>
                  <a:cubicBezTo>
                    <a:pt x="1096" y="932"/>
                    <a:pt x="1097" y="936"/>
                    <a:pt x="1097" y="939"/>
                  </a:cubicBezTo>
                  <a:cubicBezTo>
                    <a:pt x="1097" y="940"/>
                    <a:pt x="1097" y="941"/>
                    <a:pt x="1096" y="943"/>
                  </a:cubicBezTo>
                  <a:cubicBezTo>
                    <a:pt x="1092" y="935"/>
                    <a:pt x="1086" y="928"/>
                    <a:pt x="1080" y="921"/>
                  </a:cubicBezTo>
                  <a:cubicBezTo>
                    <a:pt x="1082" y="920"/>
                    <a:pt x="1083" y="918"/>
                    <a:pt x="1085" y="916"/>
                  </a:cubicBezTo>
                  <a:cubicBezTo>
                    <a:pt x="1086" y="915"/>
                    <a:pt x="1086" y="915"/>
                    <a:pt x="1086" y="915"/>
                  </a:cubicBezTo>
                  <a:cubicBezTo>
                    <a:pt x="1087" y="916"/>
                    <a:pt x="1087" y="916"/>
                    <a:pt x="1088" y="917"/>
                  </a:cubicBezTo>
                  <a:close/>
                  <a:moveTo>
                    <a:pt x="1181" y="1017"/>
                  </a:moveTo>
                  <a:cubicBezTo>
                    <a:pt x="1181" y="1017"/>
                    <a:pt x="1181" y="1017"/>
                    <a:pt x="1181" y="1017"/>
                  </a:cubicBezTo>
                  <a:cubicBezTo>
                    <a:pt x="1180" y="1017"/>
                    <a:pt x="1180" y="1016"/>
                    <a:pt x="1180" y="1016"/>
                  </a:cubicBezTo>
                  <a:cubicBezTo>
                    <a:pt x="1178" y="1012"/>
                    <a:pt x="1176" y="1009"/>
                    <a:pt x="1174" y="1005"/>
                  </a:cubicBezTo>
                  <a:cubicBezTo>
                    <a:pt x="1173" y="1003"/>
                    <a:pt x="1171" y="1002"/>
                    <a:pt x="1170" y="1004"/>
                  </a:cubicBezTo>
                  <a:cubicBezTo>
                    <a:pt x="1166" y="1007"/>
                    <a:pt x="1163" y="1011"/>
                    <a:pt x="1161" y="1015"/>
                  </a:cubicBezTo>
                  <a:cubicBezTo>
                    <a:pt x="1159" y="1017"/>
                    <a:pt x="1158" y="1019"/>
                    <a:pt x="1157" y="1021"/>
                  </a:cubicBezTo>
                  <a:cubicBezTo>
                    <a:pt x="1157" y="1021"/>
                    <a:pt x="1157" y="1022"/>
                    <a:pt x="1157" y="1023"/>
                  </a:cubicBezTo>
                  <a:cubicBezTo>
                    <a:pt x="1156" y="1023"/>
                    <a:pt x="1155" y="1023"/>
                    <a:pt x="1155" y="1023"/>
                  </a:cubicBezTo>
                  <a:cubicBezTo>
                    <a:pt x="1154" y="1022"/>
                    <a:pt x="1153" y="1022"/>
                    <a:pt x="1152" y="1022"/>
                  </a:cubicBezTo>
                  <a:cubicBezTo>
                    <a:pt x="1150" y="1022"/>
                    <a:pt x="1148" y="1022"/>
                    <a:pt x="1146" y="1022"/>
                  </a:cubicBezTo>
                  <a:cubicBezTo>
                    <a:pt x="1143" y="1022"/>
                    <a:pt x="1139" y="1022"/>
                    <a:pt x="1135" y="1022"/>
                  </a:cubicBezTo>
                  <a:cubicBezTo>
                    <a:pt x="1133" y="1022"/>
                    <a:pt x="1132" y="1025"/>
                    <a:pt x="1133" y="1027"/>
                  </a:cubicBezTo>
                  <a:cubicBezTo>
                    <a:pt x="1134" y="1029"/>
                    <a:pt x="1136" y="1031"/>
                    <a:pt x="1138" y="1033"/>
                  </a:cubicBezTo>
                  <a:cubicBezTo>
                    <a:pt x="1136" y="1033"/>
                    <a:pt x="1134" y="1033"/>
                    <a:pt x="1132" y="1034"/>
                  </a:cubicBezTo>
                  <a:cubicBezTo>
                    <a:pt x="1132" y="1034"/>
                    <a:pt x="1131" y="1034"/>
                    <a:pt x="1129" y="1034"/>
                  </a:cubicBezTo>
                  <a:cubicBezTo>
                    <a:pt x="1123" y="1029"/>
                    <a:pt x="1116" y="1023"/>
                    <a:pt x="1110" y="1018"/>
                  </a:cubicBezTo>
                  <a:cubicBezTo>
                    <a:pt x="1112" y="1018"/>
                    <a:pt x="1115" y="1018"/>
                    <a:pt x="1117" y="1017"/>
                  </a:cubicBezTo>
                  <a:cubicBezTo>
                    <a:pt x="1123" y="1016"/>
                    <a:pt x="1128" y="1015"/>
                    <a:pt x="1133" y="1014"/>
                  </a:cubicBezTo>
                  <a:cubicBezTo>
                    <a:pt x="1138" y="1012"/>
                    <a:pt x="1143" y="1010"/>
                    <a:pt x="1148" y="1008"/>
                  </a:cubicBezTo>
                  <a:cubicBezTo>
                    <a:pt x="1151" y="1007"/>
                    <a:pt x="1153" y="1006"/>
                    <a:pt x="1156" y="1005"/>
                  </a:cubicBezTo>
                  <a:cubicBezTo>
                    <a:pt x="1157" y="1004"/>
                    <a:pt x="1159" y="1003"/>
                    <a:pt x="1160" y="1002"/>
                  </a:cubicBezTo>
                  <a:cubicBezTo>
                    <a:pt x="1163" y="1003"/>
                    <a:pt x="1165" y="1003"/>
                    <a:pt x="1168" y="1003"/>
                  </a:cubicBezTo>
                  <a:cubicBezTo>
                    <a:pt x="1169" y="1002"/>
                    <a:pt x="1170" y="1002"/>
                    <a:pt x="1171" y="1003"/>
                  </a:cubicBezTo>
                  <a:cubicBezTo>
                    <a:pt x="1170" y="1003"/>
                    <a:pt x="1172" y="1003"/>
                    <a:pt x="1172" y="1003"/>
                  </a:cubicBezTo>
                  <a:cubicBezTo>
                    <a:pt x="1172" y="1003"/>
                    <a:pt x="1172" y="1003"/>
                    <a:pt x="1173" y="1003"/>
                  </a:cubicBezTo>
                  <a:cubicBezTo>
                    <a:pt x="1173" y="1003"/>
                    <a:pt x="1173" y="1003"/>
                    <a:pt x="1174" y="1003"/>
                  </a:cubicBezTo>
                  <a:cubicBezTo>
                    <a:pt x="1174" y="1004"/>
                    <a:pt x="1174" y="1004"/>
                    <a:pt x="1174" y="1004"/>
                  </a:cubicBezTo>
                  <a:cubicBezTo>
                    <a:pt x="1175" y="1004"/>
                    <a:pt x="1175" y="1004"/>
                    <a:pt x="1175" y="1004"/>
                  </a:cubicBezTo>
                  <a:cubicBezTo>
                    <a:pt x="1175" y="1005"/>
                    <a:pt x="1176" y="1005"/>
                    <a:pt x="1176" y="1005"/>
                  </a:cubicBezTo>
                  <a:cubicBezTo>
                    <a:pt x="1179" y="1008"/>
                    <a:pt x="1181" y="1011"/>
                    <a:pt x="1184" y="1013"/>
                  </a:cubicBezTo>
                  <a:cubicBezTo>
                    <a:pt x="1185" y="1013"/>
                    <a:pt x="1186" y="1014"/>
                    <a:pt x="1187" y="1014"/>
                  </a:cubicBezTo>
                  <a:cubicBezTo>
                    <a:pt x="1186" y="1015"/>
                    <a:pt x="1185" y="1015"/>
                    <a:pt x="1184" y="1015"/>
                  </a:cubicBezTo>
                  <a:cubicBezTo>
                    <a:pt x="1183" y="1016"/>
                    <a:pt x="1181" y="1017"/>
                    <a:pt x="1181" y="1017"/>
                  </a:cubicBezTo>
                  <a:close/>
                  <a:moveTo>
                    <a:pt x="1094" y="1080"/>
                  </a:moveTo>
                  <a:cubicBezTo>
                    <a:pt x="1094" y="1080"/>
                    <a:pt x="1094" y="1080"/>
                    <a:pt x="1094" y="1080"/>
                  </a:cubicBezTo>
                  <a:cubicBezTo>
                    <a:pt x="1094" y="1078"/>
                    <a:pt x="1095" y="1077"/>
                    <a:pt x="1095" y="1076"/>
                  </a:cubicBezTo>
                  <a:cubicBezTo>
                    <a:pt x="1095" y="1080"/>
                    <a:pt x="1095" y="1084"/>
                    <a:pt x="1095" y="1087"/>
                  </a:cubicBezTo>
                  <a:cubicBezTo>
                    <a:pt x="1095" y="1090"/>
                    <a:pt x="1094" y="1093"/>
                    <a:pt x="1094" y="1095"/>
                  </a:cubicBezTo>
                  <a:cubicBezTo>
                    <a:pt x="1093" y="1098"/>
                    <a:pt x="1092" y="1101"/>
                    <a:pt x="1093" y="1103"/>
                  </a:cubicBezTo>
                  <a:cubicBezTo>
                    <a:pt x="1093" y="1105"/>
                    <a:pt x="1094" y="1105"/>
                    <a:pt x="1095" y="1104"/>
                  </a:cubicBezTo>
                  <a:cubicBezTo>
                    <a:pt x="1096" y="1102"/>
                    <a:pt x="1097" y="1099"/>
                    <a:pt x="1098" y="1096"/>
                  </a:cubicBezTo>
                  <a:cubicBezTo>
                    <a:pt x="1098" y="1093"/>
                    <a:pt x="1099" y="1091"/>
                    <a:pt x="1099" y="1087"/>
                  </a:cubicBezTo>
                  <a:cubicBezTo>
                    <a:pt x="1099" y="1082"/>
                    <a:pt x="1099" y="1076"/>
                    <a:pt x="1097" y="1070"/>
                  </a:cubicBezTo>
                  <a:cubicBezTo>
                    <a:pt x="1097" y="1069"/>
                    <a:pt x="1096" y="1069"/>
                    <a:pt x="1095" y="1069"/>
                  </a:cubicBezTo>
                  <a:cubicBezTo>
                    <a:pt x="1095" y="1068"/>
                    <a:pt x="1095" y="1068"/>
                    <a:pt x="1095" y="1067"/>
                  </a:cubicBezTo>
                  <a:cubicBezTo>
                    <a:pt x="1096" y="1068"/>
                    <a:pt x="1098" y="1069"/>
                    <a:pt x="1099" y="1070"/>
                  </a:cubicBezTo>
                  <a:cubicBezTo>
                    <a:pt x="1102" y="1073"/>
                    <a:pt x="1104" y="1076"/>
                    <a:pt x="1106" y="1080"/>
                  </a:cubicBezTo>
                  <a:cubicBezTo>
                    <a:pt x="1106" y="1080"/>
                    <a:pt x="1107" y="1081"/>
                    <a:pt x="1107" y="1081"/>
                  </a:cubicBezTo>
                  <a:cubicBezTo>
                    <a:pt x="1107" y="1084"/>
                    <a:pt x="1107" y="1086"/>
                    <a:pt x="1107" y="1089"/>
                  </a:cubicBezTo>
                  <a:cubicBezTo>
                    <a:pt x="1107" y="1093"/>
                    <a:pt x="1106" y="1096"/>
                    <a:pt x="1105" y="1099"/>
                  </a:cubicBezTo>
                  <a:cubicBezTo>
                    <a:pt x="1104" y="1102"/>
                    <a:pt x="1102" y="1104"/>
                    <a:pt x="1100" y="1107"/>
                  </a:cubicBezTo>
                  <a:cubicBezTo>
                    <a:pt x="1100" y="1108"/>
                    <a:pt x="1099" y="1109"/>
                    <a:pt x="1098" y="1110"/>
                  </a:cubicBezTo>
                  <a:cubicBezTo>
                    <a:pt x="1098" y="1111"/>
                    <a:pt x="1097" y="1111"/>
                    <a:pt x="1097" y="1111"/>
                  </a:cubicBezTo>
                  <a:cubicBezTo>
                    <a:pt x="1092" y="1115"/>
                    <a:pt x="1086" y="1120"/>
                    <a:pt x="1081" y="1125"/>
                  </a:cubicBezTo>
                  <a:cubicBezTo>
                    <a:pt x="1081" y="1126"/>
                    <a:pt x="1081" y="1126"/>
                    <a:pt x="1081" y="1126"/>
                  </a:cubicBezTo>
                  <a:cubicBezTo>
                    <a:pt x="1080" y="1122"/>
                    <a:pt x="1080" y="1117"/>
                    <a:pt x="1081" y="1113"/>
                  </a:cubicBezTo>
                  <a:cubicBezTo>
                    <a:pt x="1081" y="1107"/>
                    <a:pt x="1083" y="1101"/>
                    <a:pt x="1086" y="1095"/>
                  </a:cubicBezTo>
                  <a:cubicBezTo>
                    <a:pt x="1089" y="1090"/>
                    <a:pt x="1092" y="1085"/>
                    <a:pt x="1094" y="1080"/>
                  </a:cubicBezTo>
                  <a:close/>
                  <a:moveTo>
                    <a:pt x="1116" y="1091"/>
                  </a:moveTo>
                  <a:cubicBezTo>
                    <a:pt x="1116" y="1091"/>
                    <a:pt x="1116" y="1091"/>
                    <a:pt x="1116" y="1091"/>
                  </a:cubicBezTo>
                  <a:cubicBezTo>
                    <a:pt x="1115" y="1086"/>
                    <a:pt x="1113" y="1081"/>
                    <a:pt x="1111" y="1077"/>
                  </a:cubicBezTo>
                  <a:cubicBezTo>
                    <a:pt x="1113" y="1078"/>
                    <a:pt x="1115" y="1078"/>
                    <a:pt x="1117" y="1079"/>
                  </a:cubicBezTo>
                  <a:cubicBezTo>
                    <a:pt x="1118" y="1079"/>
                    <a:pt x="1119" y="1079"/>
                    <a:pt x="1120" y="1080"/>
                  </a:cubicBezTo>
                  <a:cubicBezTo>
                    <a:pt x="1120" y="1082"/>
                    <a:pt x="1119" y="1085"/>
                    <a:pt x="1117" y="1087"/>
                  </a:cubicBezTo>
                  <a:cubicBezTo>
                    <a:pt x="1117" y="1088"/>
                    <a:pt x="1116" y="1090"/>
                    <a:pt x="1116" y="1091"/>
                  </a:cubicBezTo>
                  <a:close/>
                  <a:moveTo>
                    <a:pt x="882" y="1175"/>
                  </a:moveTo>
                  <a:cubicBezTo>
                    <a:pt x="882" y="1175"/>
                    <a:pt x="882" y="1175"/>
                    <a:pt x="882" y="1175"/>
                  </a:cubicBezTo>
                  <a:cubicBezTo>
                    <a:pt x="882" y="1172"/>
                    <a:pt x="882" y="1169"/>
                    <a:pt x="882" y="1166"/>
                  </a:cubicBezTo>
                  <a:cubicBezTo>
                    <a:pt x="882" y="1167"/>
                    <a:pt x="883" y="1168"/>
                    <a:pt x="883" y="1169"/>
                  </a:cubicBezTo>
                  <a:cubicBezTo>
                    <a:pt x="885" y="1171"/>
                    <a:pt x="887" y="1174"/>
                    <a:pt x="889" y="1176"/>
                  </a:cubicBezTo>
                  <a:cubicBezTo>
                    <a:pt x="890" y="1177"/>
                    <a:pt x="891" y="1178"/>
                    <a:pt x="892" y="1179"/>
                  </a:cubicBezTo>
                  <a:cubicBezTo>
                    <a:pt x="891" y="1180"/>
                    <a:pt x="890" y="1180"/>
                    <a:pt x="889" y="1180"/>
                  </a:cubicBezTo>
                  <a:cubicBezTo>
                    <a:pt x="887" y="1181"/>
                    <a:pt x="885" y="1181"/>
                    <a:pt x="883" y="1181"/>
                  </a:cubicBezTo>
                  <a:cubicBezTo>
                    <a:pt x="883" y="1181"/>
                    <a:pt x="882" y="1181"/>
                    <a:pt x="882" y="1182"/>
                  </a:cubicBezTo>
                  <a:cubicBezTo>
                    <a:pt x="882" y="1179"/>
                    <a:pt x="882" y="1177"/>
                    <a:pt x="882" y="1175"/>
                  </a:cubicBezTo>
                  <a:close/>
                  <a:moveTo>
                    <a:pt x="879" y="1149"/>
                  </a:moveTo>
                  <a:cubicBezTo>
                    <a:pt x="879" y="1149"/>
                    <a:pt x="879" y="1149"/>
                    <a:pt x="879" y="1149"/>
                  </a:cubicBezTo>
                  <a:cubicBezTo>
                    <a:pt x="879" y="1147"/>
                    <a:pt x="879" y="1146"/>
                    <a:pt x="878" y="1144"/>
                  </a:cubicBezTo>
                  <a:cubicBezTo>
                    <a:pt x="876" y="1135"/>
                    <a:pt x="871" y="1127"/>
                    <a:pt x="867" y="1118"/>
                  </a:cubicBezTo>
                  <a:cubicBezTo>
                    <a:pt x="865" y="1114"/>
                    <a:pt x="862" y="1109"/>
                    <a:pt x="860" y="1105"/>
                  </a:cubicBezTo>
                  <a:cubicBezTo>
                    <a:pt x="861" y="1102"/>
                    <a:pt x="862" y="1099"/>
                    <a:pt x="862" y="1096"/>
                  </a:cubicBezTo>
                  <a:cubicBezTo>
                    <a:pt x="863" y="1093"/>
                    <a:pt x="863" y="1090"/>
                    <a:pt x="865" y="1087"/>
                  </a:cubicBezTo>
                  <a:cubicBezTo>
                    <a:pt x="865" y="1085"/>
                    <a:pt x="866" y="1083"/>
                    <a:pt x="867" y="1081"/>
                  </a:cubicBezTo>
                  <a:cubicBezTo>
                    <a:pt x="868" y="1081"/>
                    <a:pt x="868" y="1081"/>
                    <a:pt x="868" y="1080"/>
                  </a:cubicBezTo>
                  <a:cubicBezTo>
                    <a:pt x="869" y="1080"/>
                    <a:pt x="869" y="1080"/>
                    <a:pt x="869" y="1079"/>
                  </a:cubicBezTo>
                  <a:cubicBezTo>
                    <a:pt x="871" y="1079"/>
                    <a:pt x="872" y="1078"/>
                    <a:pt x="874" y="1077"/>
                  </a:cubicBezTo>
                  <a:cubicBezTo>
                    <a:pt x="879" y="1074"/>
                    <a:pt x="882" y="1069"/>
                    <a:pt x="884" y="1063"/>
                  </a:cubicBezTo>
                  <a:cubicBezTo>
                    <a:pt x="885" y="1060"/>
                    <a:pt x="886" y="1057"/>
                    <a:pt x="886" y="1054"/>
                  </a:cubicBezTo>
                  <a:cubicBezTo>
                    <a:pt x="886" y="1053"/>
                    <a:pt x="887" y="1052"/>
                    <a:pt x="887" y="1051"/>
                  </a:cubicBezTo>
                  <a:cubicBezTo>
                    <a:pt x="888" y="1052"/>
                    <a:pt x="889" y="1053"/>
                    <a:pt x="890" y="1054"/>
                  </a:cubicBezTo>
                  <a:cubicBezTo>
                    <a:pt x="891" y="1055"/>
                    <a:pt x="892" y="1056"/>
                    <a:pt x="893" y="1057"/>
                  </a:cubicBezTo>
                  <a:cubicBezTo>
                    <a:pt x="893" y="1057"/>
                    <a:pt x="894" y="1058"/>
                    <a:pt x="895" y="1059"/>
                  </a:cubicBezTo>
                  <a:cubicBezTo>
                    <a:pt x="894" y="1063"/>
                    <a:pt x="894" y="1068"/>
                    <a:pt x="895" y="1072"/>
                  </a:cubicBezTo>
                  <a:cubicBezTo>
                    <a:pt x="895" y="1073"/>
                    <a:pt x="895" y="1073"/>
                    <a:pt x="895" y="1073"/>
                  </a:cubicBezTo>
                  <a:cubicBezTo>
                    <a:pt x="895" y="1074"/>
                    <a:pt x="896" y="1075"/>
                    <a:pt x="896" y="1075"/>
                  </a:cubicBezTo>
                  <a:cubicBezTo>
                    <a:pt x="899" y="1077"/>
                    <a:pt x="902" y="1078"/>
                    <a:pt x="904" y="1080"/>
                  </a:cubicBezTo>
                  <a:cubicBezTo>
                    <a:pt x="901" y="1090"/>
                    <a:pt x="899" y="1101"/>
                    <a:pt x="895" y="1111"/>
                  </a:cubicBezTo>
                  <a:cubicBezTo>
                    <a:pt x="893" y="1117"/>
                    <a:pt x="891" y="1124"/>
                    <a:pt x="889" y="1130"/>
                  </a:cubicBezTo>
                  <a:cubicBezTo>
                    <a:pt x="887" y="1132"/>
                    <a:pt x="886" y="1135"/>
                    <a:pt x="885" y="1138"/>
                  </a:cubicBezTo>
                  <a:cubicBezTo>
                    <a:pt x="884" y="1141"/>
                    <a:pt x="882" y="1143"/>
                    <a:pt x="880" y="1146"/>
                  </a:cubicBezTo>
                  <a:cubicBezTo>
                    <a:pt x="879" y="1147"/>
                    <a:pt x="880" y="1148"/>
                    <a:pt x="881" y="1149"/>
                  </a:cubicBezTo>
                  <a:cubicBezTo>
                    <a:pt x="880" y="1149"/>
                    <a:pt x="880" y="1149"/>
                    <a:pt x="880" y="1149"/>
                  </a:cubicBezTo>
                  <a:cubicBezTo>
                    <a:pt x="879" y="1149"/>
                    <a:pt x="879" y="1149"/>
                    <a:pt x="879" y="1149"/>
                  </a:cubicBezTo>
                  <a:close/>
                  <a:moveTo>
                    <a:pt x="854" y="1095"/>
                  </a:moveTo>
                  <a:cubicBezTo>
                    <a:pt x="854" y="1095"/>
                    <a:pt x="854" y="1095"/>
                    <a:pt x="854" y="1095"/>
                  </a:cubicBezTo>
                  <a:cubicBezTo>
                    <a:pt x="852" y="1093"/>
                    <a:pt x="850" y="1091"/>
                    <a:pt x="848" y="1088"/>
                  </a:cubicBezTo>
                  <a:cubicBezTo>
                    <a:pt x="848" y="1087"/>
                    <a:pt x="849" y="1087"/>
                    <a:pt x="849" y="1086"/>
                  </a:cubicBezTo>
                  <a:cubicBezTo>
                    <a:pt x="849" y="1085"/>
                    <a:pt x="849" y="1084"/>
                    <a:pt x="849" y="1083"/>
                  </a:cubicBezTo>
                  <a:cubicBezTo>
                    <a:pt x="849" y="1083"/>
                    <a:pt x="849" y="1083"/>
                    <a:pt x="849" y="1083"/>
                  </a:cubicBezTo>
                  <a:cubicBezTo>
                    <a:pt x="850" y="1083"/>
                    <a:pt x="850" y="1083"/>
                    <a:pt x="850" y="1083"/>
                  </a:cubicBezTo>
                  <a:cubicBezTo>
                    <a:pt x="851" y="1083"/>
                    <a:pt x="851" y="1084"/>
                    <a:pt x="852" y="1084"/>
                  </a:cubicBezTo>
                  <a:cubicBezTo>
                    <a:pt x="853" y="1084"/>
                    <a:pt x="854" y="1084"/>
                    <a:pt x="855" y="1084"/>
                  </a:cubicBezTo>
                  <a:cubicBezTo>
                    <a:pt x="857" y="1084"/>
                    <a:pt x="858" y="1084"/>
                    <a:pt x="859" y="1083"/>
                  </a:cubicBezTo>
                  <a:cubicBezTo>
                    <a:pt x="857" y="1086"/>
                    <a:pt x="856" y="1090"/>
                    <a:pt x="855" y="1093"/>
                  </a:cubicBezTo>
                  <a:cubicBezTo>
                    <a:pt x="855" y="1094"/>
                    <a:pt x="855" y="1095"/>
                    <a:pt x="855" y="1097"/>
                  </a:cubicBezTo>
                  <a:cubicBezTo>
                    <a:pt x="854" y="1096"/>
                    <a:pt x="854" y="1096"/>
                    <a:pt x="854" y="1095"/>
                  </a:cubicBezTo>
                  <a:close/>
                  <a:moveTo>
                    <a:pt x="806" y="1181"/>
                  </a:moveTo>
                  <a:cubicBezTo>
                    <a:pt x="806" y="1181"/>
                    <a:pt x="806" y="1181"/>
                    <a:pt x="806" y="1181"/>
                  </a:cubicBezTo>
                  <a:cubicBezTo>
                    <a:pt x="806" y="1183"/>
                    <a:pt x="805" y="1185"/>
                    <a:pt x="804" y="1186"/>
                  </a:cubicBezTo>
                  <a:cubicBezTo>
                    <a:pt x="802" y="1190"/>
                    <a:pt x="800" y="1193"/>
                    <a:pt x="798" y="1196"/>
                  </a:cubicBezTo>
                  <a:cubicBezTo>
                    <a:pt x="797" y="1197"/>
                    <a:pt x="797" y="1198"/>
                    <a:pt x="795" y="1199"/>
                  </a:cubicBezTo>
                  <a:cubicBezTo>
                    <a:pt x="795" y="1198"/>
                    <a:pt x="794" y="1197"/>
                    <a:pt x="793" y="1195"/>
                  </a:cubicBezTo>
                  <a:cubicBezTo>
                    <a:pt x="790" y="1192"/>
                    <a:pt x="787" y="1189"/>
                    <a:pt x="784" y="1187"/>
                  </a:cubicBezTo>
                  <a:cubicBezTo>
                    <a:pt x="777" y="1181"/>
                    <a:pt x="770" y="1178"/>
                    <a:pt x="763" y="1175"/>
                  </a:cubicBezTo>
                  <a:cubicBezTo>
                    <a:pt x="757" y="1173"/>
                    <a:pt x="751" y="1171"/>
                    <a:pt x="744" y="1169"/>
                  </a:cubicBezTo>
                  <a:cubicBezTo>
                    <a:pt x="747" y="1162"/>
                    <a:pt x="748" y="1154"/>
                    <a:pt x="748" y="1146"/>
                  </a:cubicBezTo>
                  <a:cubicBezTo>
                    <a:pt x="750" y="1136"/>
                    <a:pt x="751" y="1127"/>
                    <a:pt x="753" y="1116"/>
                  </a:cubicBezTo>
                  <a:cubicBezTo>
                    <a:pt x="755" y="1105"/>
                    <a:pt x="757" y="1093"/>
                    <a:pt x="760" y="1081"/>
                  </a:cubicBezTo>
                  <a:cubicBezTo>
                    <a:pt x="762" y="1082"/>
                    <a:pt x="763" y="1082"/>
                    <a:pt x="765" y="1081"/>
                  </a:cubicBezTo>
                  <a:cubicBezTo>
                    <a:pt x="765" y="1081"/>
                    <a:pt x="766" y="1081"/>
                    <a:pt x="767" y="1081"/>
                  </a:cubicBezTo>
                  <a:cubicBezTo>
                    <a:pt x="770" y="1085"/>
                    <a:pt x="774" y="1087"/>
                    <a:pt x="778" y="1090"/>
                  </a:cubicBezTo>
                  <a:cubicBezTo>
                    <a:pt x="788" y="1094"/>
                    <a:pt x="801" y="1091"/>
                    <a:pt x="809" y="1083"/>
                  </a:cubicBezTo>
                  <a:cubicBezTo>
                    <a:pt x="809" y="1084"/>
                    <a:pt x="810" y="1086"/>
                    <a:pt x="811" y="1087"/>
                  </a:cubicBezTo>
                  <a:cubicBezTo>
                    <a:pt x="812" y="1091"/>
                    <a:pt x="813" y="1095"/>
                    <a:pt x="814" y="1098"/>
                  </a:cubicBezTo>
                  <a:cubicBezTo>
                    <a:pt x="816" y="1106"/>
                    <a:pt x="817" y="1113"/>
                    <a:pt x="817" y="1122"/>
                  </a:cubicBezTo>
                  <a:cubicBezTo>
                    <a:pt x="817" y="1138"/>
                    <a:pt x="815" y="1153"/>
                    <a:pt x="811" y="1169"/>
                  </a:cubicBezTo>
                  <a:cubicBezTo>
                    <a:pt x="810" y="1172"/>
                    <a:pt x="809" y="1175"/>
                    <a:pt x="808" y="1177"/>
                  </a:cubicBezTo>
                  <a:cubicBezTo>
                    <a:pt x="807" y="1178"/>
                    <a:pt x="807" y="1179"/>
                    <a:pt x="807" y="1179"/>
                  </a:cubicBezTo>
                  <a:cubicBezTo>
                    <a:pt x="807" y="1180"/>
                    <a:pt x="807" y="1180"/>
                    <a:pt x="806" y="1180"/>
                  </a:cubicBezTo>
                  <a:cubicBezTo>
                    <a:pt x="806" y="1181"/>
                    <a:pt x="806" y="1181"/>
                    <a:pt x="806" y="1181"/>
                  </a:cubicBezTo>
                  <a:close/>
                  <a:moveTo>
                    <a:pt x="693" y="1204"/>
                  </a:moveTo>
                  <a:cubicBezTo>
                    <a:pt x="693" y="1204"/>
                    <a:pt x="693" y="1204"/>
                    <a:pt x="693" y="1204"/>
                  </a:cubicBezTo>
                  <a:cubicBezTo>
                    <a:pt x="693" y="1204"/>
                    <a:pt x="693" y="1204"/>
                    <a:pt x="693" y="1204"/>
                  </a:cubicBezTo>
                  <a:cubicBezTo>
                    <a:pt x="695" y="1204"/>
                    <a:pt x="696" y="1204"/>
                    <a:pt x="697" y="1203"/>
                  </a:cubicBezTo>
                  <a:cubicBezTo>
                    <a:pt x="698" y="1203"/>
                    <a:pt x="698" y="1203"/>
                    <a:pt x="699" y="1204"/>
                  </a:cubicBezTo>
                  <a:cubicBezTo>
                    <a:pt x="699" y="1203"/>
                    <a:pt x="699" y="1204"/>
                    <a:pt x="700" y="1204"/>
                  </a:cubicBezTo>
                  <a:cubicBezTo>
                    <a:pt x="700" y="1204"/>
                    <a:pt x="700" y="1204"/>
                    <a:pt x="700" y="1204"/>
                  </a:cubicBezTo>
                  <a:cubicBezTo>
                    <a:pt x="700" y="1205"/>
                    <a:pt x="701" y="1205"/>
                    <a:pt x="701" y="1205"/>
                  </a:cubicBezTo>
                  <a:cubicBezTo>
                    <a:pt x="701" y="1206"/>
                    <a:pt x="701" y="1205"/>
                    <a:pt x="701" y="1206"/>
                  </a:cubicBezTo>
                  <a:cubicBezTo>
                    <a:pt x="702" y="1209"/>
                    <a:pt x="701" y="1211"/>
                    <a:pt x="699" y="1213"/>
                  </a:cubicBezTo>
                  <a:cubicBezTo>
                    <a:pt x="698" y="1213"/>
                    <a:pt x="697" y="1214"/>
                    <a:pt x="697" y="1215"/>
                  </a:cubicBezTo>
                  <a:cubicBezTo>
                    <a:pt x="695" y="1216"/>
                    <a:pt x="693" y="1216"/>
                    <a:pt x="692" y="1215"/>
                  </a:cubicBezTo>
                  <a:cubicBezTo>
                    <a:pt x="691" y="1214"/>
                    <a:pt x="690" y="1213"/>
                    <a:pt x="690" y="1211"/>
                  </a:cubicBezTo>
                  <a:cubicBezTo>
                    <a:pt x="689" y="1208"/>
                    <a:pt x="691" y="1205"/>
                    <a:pt x="693" y="1204"/>
                  </a:cubicBezTo>
                  <a:close/>
                  <a:moveTo>
                    <a:pt x="741" y="1251"/>
                  </a:moveTo>
                  <a:cubicBezTo>
                    <a:pt x="741" y="1251"/>
                    <a:pt x="741" y="1251"/>
                    <a:pt x="741" y="1251"/>
                  </a:cubicBezTo>
                  <a:cubicBezTo>
                    <a:pt x="741" y="1251"/>
                    <a:pt x="742" y="1252"/>
                    <a:pt x="742" y="1253"/>
                  </a:cubicBezTo>
                  <a:cubicBezTo>
                    <a:pt x="743" y="1254"/>
                    <a:pt x="744" y="1256"/>
                    <a:pt x="745" y="1257"/>
                  </a:cubicBezTo>
                  <a:cubicBezTo>
                    <a:pt x="747" y="1261"/>
                    <a:pt x="747" y="1266"/>
                    <a:pt x="747" y="1270"/>
                  </a:cubicBezTo>
                  <a:cubicBezTo>
                    <a:pt x="748" y="1275"/>
                    <a:pt x="747" y="1280"/>
                    <a:pt x="747" y="1285"/>
                  </a:cubicBezTo>
                  <a:cubicBezTo>
                    <a:pt x="746" y="1287"/>
                    <a:pt x="746" y="1290"/>
                    <a:pt x="746" y="1292"/>
                  </a:cubicBezTo>
                  <a:cubicBezTo>
                    <a:pt x="743" y="1291"/>
                    <a:pt x="739" y="1290"/>
                    <a:pt x="737" y="1288"/>
                  </a:cubicBezTo>
                  <a:cubicBezTo>
                    <a:pt x="734" y="1286"/>
                    <a:pt x="731" y="1284"/>
                    <a:pt x="728" y="1282"/>
                  </a:cubicBezTo>
                  <a:cubicBezTo>
                    <a:pt x="726" y="1272"/>
                    <a:pt x="724" y="1264"/>
                    <a:pt x="721" y="1255"/>
                  </a:cubicBezTo>
                  <a:cubicBezTo>
                    <a:pt x="718" y="1248"/>
                    <a:pt x="715" y="1240"/>
                    <a:pt x="713" y="1233"/>
                  </a:cubicBezTo>
                  <a:cubicBezTo>
                    <a:pt x="712" y="1232"/>
                    <a:pt x="711" y="1230"/>
                    <a:pt x="711" y="1229"/>
                  </a:cubicBezTo>
                  <a:cubicBezTo>
                    <a:pt x="711" y="1229"/>
                    <a:pt x="711" y="1229"/>
                    <a:pt x="712" y="1229"/>
                  </a:cubicBezTo>
                  <a:cubicBezTo>
                    <a:pt x="715" y="1230"/>
                    <a:pt x="718" y="1232"/>
                    <a:pt x="722" y="1234"/>
                  </a:cubicBezTo>
                  <a:cubicBezTo>
                    <a:pt x="728" y="1238"/>
                    <a:pt x="735" y="1243"/>
                    <a:pt x="739" y="1249"/>
                  </a:cubicBezTo>
                  <a:cubicBezTo>
                    <a:pt x="740" y="1249"/>
                    <a:pt x="740" y="1250"/>
                    <a:pt x="740" y="1250"/>
                  </a:cubicBezTo>
                  <a:cubicBezTo>
                    <a:pt x="741" y="1251"/>
                    <a:pt x="741" y="1251"/>
                    <a:pt x="741" y="1251"/>
                  </a:cubicBezTo>
                  <a:close/>
                  <a:moveTo>
                    <a:pt x="756" y="1291"/>
                  </a:moveTo>
                  <a:cubicBezTo>
                    <a:pt x="756" y="1291"/>
                    <a:pt x="756" y="1291"/>
                    <a:pt x="756" y="1291"/>
                  </a:cubicBezTo>
                  <a:cubicBezTo>
                    <a:pt x="762" y="1296"/>
                    <a:pt x="769" y="1298"/>
                    <a:pt x="776" y="1300"/>
                  </a:cubicBezTo>
                  <a:cubicBezTo>
                    <a:pt x="785" y="1303"/>
                    <a:pt x="793" y="1305"/>
                    <a:pt x="802" y="1307"/>
                  </a:cubicBezTo>
                  <a:cubicBezTo>
                    <a:pt x="812" y="1310"/>
                    <a:pt x="822" y="1312"/>
                    <a:pt x="833" y="1313"/>
                  </a:cubicBezTo>
                  <a:cubicBezTo>
                    <a:pt x="837" y="1314"/>
                    <a:pt x="843" y="1314"/>
                    <a:pt x="848" y="1314"/>
                  </a:cubicBezTo>
                  <a:cubicBezTo>
                    <a:pt x="853" y="1315"/>
                    <a:pt x="859" y="1315"/>
                    <a:pt x="864" y="1315"/>
                  </a:cubicBezTo>
                  <a:cubicBezTo>
                    <a:pt x="868" y="1316"/>
                    <a:pt x="872" y="1316"/>
                    <a:pt x="877" y="1316"/>
                  </a:cubicBezTo>
                  <a:cubicBezTo>
                    <a:pt x="879" y="1316"/>
                    <a:pt x="881" y="1316"/>
                    <a:pt x="883" y="1316"/>
                  </a:cubicBezTo>
                  <a:cubicBezTo>
                    <a:pt x="884" y="1316"/>
                    <a:pt x="886" y="1317"/>
                    <a:pt x="886" y="1317"/>
                  </a:cubicBezTo>
                  <a:cubicBezTo>
                    <a:pt x="886" y="1319"/>
                    <a:pt x="885" y="1322"/>
                    <a:pt x="884" y="1324"/>
                  </a:cubicBezTo>
                  <a:cubicBezTo>
                    <a:pt x="884" y="1326"/>
                    <a:pt x="883" y="1328"/>
                    <a:pt x="883" y="1331"/>
                  </a:cubicBezTo>
                  <a:cubicBezTo>
                    <a:pt x="883" y="1330"/>
                    <a:pt x="882" y="1331"/>
                    <a:pt x="882" y="1331"/>
                  </a:cubicBezTo>
                  <a:cubicBezTo>
                    <a:pt x="878" y="1332"/>
                    <a:pt x="874" y="1334"/>
                    <a:pt x="873" y="1339"/>
                  </a:cubicBezTo>
                  <a:cubicBezTo>
                    <a:pt x="872" y="1341"/>
                    <a:pt x="873" y="1343"/>
                    <a:pt x="873" y="1344"/>
                  </a:cubicBezTo>
                  <a:cubicBezTo>
                    <a:pt x="873" y="1345"/>
                    <a:pt x="874" y="1346"/>
                    <a:pt x="874" y="1347"/>
                  </a:cubicBezTo>
                  <a:cubicBezTo>
                    <a:pt x="875" y="1349"/>
                    <a:pt x="877" y="1352"/>
                    <a:pt x="879" y="1352"/>
                  </a:cubicBezTo>
                  <a:cubicBezTo>
                    <a:pt x="878" y="1353"/>
                    <a:pt x="878" y="1354"/>
                    <a:pt x="878" y="1354"/>
                  </a:cubicBezTo>
                  <a:cubicBezTo>
                    <a:pt x="878" y="1355"/>
                    <a:pt x="877" y="1356"/>
                    <a:pt x="877" y="1357"/>
                  </a:cubicBezTo>
                  <a:cubicBezTo>
                    <a:pt x="877" y="1357"/>
                    <a:pt x="877" y="1357"/>
                    <a:pt x="877" y="1357"/>
                  </a:cubicBezTo>
                  <a:cubicBezTo>
                    <a:pt x="877" y="1357"/>
                    <a:pt x="877" y="1357"/>
                    <a:pt x="877" y="1357"/>
                  </a:cubicBezTo>
                  <a:cubicBezTo>
                    <a:pt x="877" y="1358"/>
                    <a:pt x="877" y="1358"/>
                    <a:pt x="876" y="1358"/>
                  </a:cubicBezTo>
                  <a:cubicBezTo>
                    <a:pt x="876" y="1359"/>
                    <a:pt x="876" y="1360"/>
                    <a:pt x="875" y="1360"/>
                  </a:cubicBezTo>
                  <a:cubicBezTo>
                    <a:pt x="875" y="1361"/>
                    <a:pt x="875" y="1361"/>
                    <a:pt x="875" y="1361"/>
                  </a:cubicBezTo>
                  <a:cubicBezTo>
                    <a:pt x="874" y="1362"/>
                    <a:pt x="874" y="1362"/>
                    <a:pt x="874" y="1362"/>
                  </a:cubicBezTo>
                  <a:cubicBezTo>
                    <a:pt x="874" y="1363"/>
                    <a:pt x="873" y="1363"/>
                    <a:pt x="873" y="1364"/>
                  </a:cubicBezTo>
                  <a:cubicBezTo>
                    <a:pt x="872" y="1364"/>
                    <a:pt x="872" y="1364"/>
                    <a:pt x="872" y="1365"/>
                  </a:cubicBezTo>
                  <a:cubicBezTo>
                    <a:pt x="872" y="1365"/>
                    <a:pt x="872" y="1365"/>
                    <a:pt x="872" y="1365"/>
                  </a:cubicBezTo>
                  <a:cubicBezTo>
                    <a:pt x="872" y="1365"/>
                    <a:pt x="872" y="1365"/>
                    <a:pt x="871" y="1365"/>
                  </a:cubicBezTo>
                  <a:cubicBezTo>
                    <a:pt x="871" y="1365"/>
                    <a:pt x="870" y="1366"/>
                    <a:pt x="869" y="1366"/>
                  </a:cubicBezTo>
                  <a:cubicBezTo>
                    <a:pt x="869" y="1366"/>
                    <a:pt x="869" y="1366"/>
                    <a:pt x="868" y="1367"/>
                  </a:cubicBezTo>
                  <a:cubicBezTo>
                    <a:pt x="868" y="1367"/>
                    <a:pt x="868" y="1367"/>
                    <a:pt x="868" y="1367"/>
                  </a:cubicBezTo>
                  <a:cubicBezTo>
                    <a:pt x="868" y="1367"/>
                    <a:pt x="868" y="1367"/>
                    <a:pt x="867" y="1367"/>
                  </a:cubicBezTo>
                  <a:cubicBezTo>
                    <a:pt x="866" y="1368"/>
                    <a:pt x="864" y="1368"/>
                    <a:pt x="862" y="1368"/>
                  </a:cubicBezTo>
                  <a:cubicBezTo>
                    <a:pt x="862" y="1368"/>
                    <a:pt x="862" y="1369"/>
                    <a:pt x="861" y="1369"/>
                  </a:cubicBezTo>
                  <a:cubicBezTo>
                    <a:pt x="861" y="1369"/>
                    <a:pt x="861" y="1369"/>
                    <a:pt x="860" y="1369"/>
                  </a:cubicBezTo>
                  <a:cubicBezTo>
                    <a:pt x="859" y="1369"/>
                    <a:pt x="858" y="1369"/>
                    <a:pt x="857" y="1369"/>
                  </a:cubicBezTo>
                  <a:cubicBezTo>
                    <a:pt x="849" y="1370"/>
                    <a:pt x="841" y="1369"/>
                    <a:pt x="834" y="1368"/>
                  </a:cubicBezTo>
                  <a:cubicBezTo>
                    <a:pt x="825" y="1367"/>
                    <a:pt x="816" y="1366"/>
                    <a:pt x="807" y="1365"/>
                  </a:cubicBezTo>
                  <a:cubicBezTo>
                    <a:pt x="797" y="1364"/>
                    <a:pt x="787" y="1362"/>
                    <a:pt x="777" y="1359"/>
                  </a:cubicBezTo>
                  <a:cubicBezTo>
                    <a:pt x="769" y="1357"/>
                    <a:pt x="761" y="1354"/>
                    <a:pt x="752" y="1352"/>
                  </a:cubicBezTo>
                  <a:cubicBezTo>
                    <a:pt x="752" y="1352"/>
                    <a:pt x="752" y="1352"/>
                    <a:pt x="752" y="1352"/>
                  </a:cubicBezTo>
                  <a:cubicBezTo>
                    <a:pt x="750" y="1351"/>
                    <a:pt x="749" y="1350"/>
                    <a:pt x="748" y="1349"/>
                  </a:cubicBezTo>
                  <a:cubicBezTo>
                    <a:pt x="748" y="1347"/>
                    <a:pt x="748" y="1346"/>
                    <a:pt x="749" y="1345"/>
                  </a:cubicBezTo>
                  <a:cubicBezTo>
                    <a:pt x="749" y="1344"/>
                    <a:pt x="749" y="1343"/>
                    <a:pt x="749" y="1343"/>
                  </a:cubicBezTo>
                  <a:cubicBezTo>
                    <a:pt x="751" y="1342"/>
                    <a:pt x="752" y="1340"/>
                    <a:pt x="753" y="1338"/>
                  </a:cubicBezTo>
                  <a:cubicBezTo>
                    <a:pt x="755" y="1337"/>
                    <a:pt x="756" y="1335"/>
                    <a:pt x="757" y="1333"/>
                  </a:cubicBezTo>
                  <a:cubicBezTo>
                    <a:pt x="757" y="1333"/>
                    <a:pt x="757" y="1332"/>
                    <a:pt x="757" y="1332"/>
                  </a:cubicBezTo>
                  <a:cubicBezTo>
                    <a:pt x="759" y="1330"/>
                    <a:pt x="761" y="1327"/>
                    <a:pt x="761" y="1324"/>
                  </a:cubicBezTo>
                  <a:cubicBezTo>
                    <a:pt x="762" y="1319"/>
                    <a:pt x="759" y="1314"/>
                    <a:pt x="754" y="1312"/>
                  </a:cubicBezTo>
                  <a:cubicBezTo>
                    <a:pt x="755" y="1307"/>
                    <a:pt x="755" y="1303"/>
                    <a:pt x="755" y="1298"/>
                  </a:cubicBezTo>
                  <a:cubicBezTo>
                    <a:pt x="755" y="1298"/>
                    <a:pt x="756" y="1298"/>
                    <a:pt x="756" y="1298"/>
                  </a:cubicBezTo>
                  <a:cubicBezTo>
                    <a:pt x="757" y="1297"/>
                    <a:pt x="757" y="1296"/>
                    <a:pt x="756" y="1296"/>
                  </a:cubicBezTo>
                  <a:cubicBezTo>
                    <a:pt x="756" y="1295"/>
                    <a:pt x="756" y="1295"/>
                    <a:pt x="755" y="1295"/>
                  </a:cubicBezTo>
                  <a:cubicBezTo>
                    <a:pt x="755" y="1294"/>
                    <a:pt x="756" y="1292"/>
                    <a:pt x="756" y="1291"/>
                  </a:cubicBezTo>
                  <a:close/>
                  <a:moveTo>
                    <a:pt x="881" y="1344"/>
                  </a:moveTo>
                  <a:cubicBezTo>
                    <a:pt x="881" y="1344"/>
                    <a:pt x="881" y="1344"/>
                    <a:pt x="881" y="1344"/>
                  </a:cubicBezTo>
                  <a:cubicBezTo>
                    <a:pt x="881" y="1344"/>
                    <a:pt x="881" y="1344"/>
                    <a:pt x="881" y="1344"/>
                  </a:cubicBezTo>
                  <a:cubicBezTo>
                    <a:pt x="880" y="1344"/>
                    <a:pt x="880" y="1344"/>
                    <a:pt x="880" y="1344"/>
                  </a:cubicBezTo>
                  <a:cubicBezTo>
                    <a:pt x="880" y="1343"/>
                    <a:pt x="879" y="1343"/>
                    <a:pt x="879" y="1342"/>
                  </a:cubicBezTo>
                  <a:cubicBezTo>
                    <a:pt x="879" y="1342"/>
                    <a:pt x="878" y="1341"/>
                    <a:pt x="878" y="1341"/>
                  </a:cubicBezTo>
                  <a:cubicBezTo>
                    <a:pt x="878" y="1341"/>
                    <a:pt x="878" y="1341"/>
                    <a:pt x="878" y="1341"/>
                  </a:cubicBezTo>
                  <a:cubicBezTo>
                    <a:pt x="878" y="1340"/>
                    <a:pt x="878" y="1340"/>
                    <a:pt x="878" y="1340"/>
                  </a:cubicBezTo>
                  <a:cubicBezTo>
                    <a:pt x="878" y="1338"/>
                    <a:pt x="880" y="1337"/>
                    <a:pt x="882" y="1336"/>
                  </a:cubicBezTo>
                  <a:cubicBezTo>
                    <a:pt x="881" y="1338"/>
                    <a:pt x="881" y="1341"/>
                    <a:pt x="881" y="1344"/>
                  </a:cubicBezTo>
                  <a:close/>
                  <a:moveTo>
                    <a:pt x="752" y="1329"/>
                  </a:moveTo>
                  <a:cubicBezTo>
                    <a:pt x="752" y="1329"/>
                    <a:pt x="752" y="1329"/>
                    <a:pt x="752" y="1329"/>
                  </a:cubicBezTo>
                  <a:cubicBezTo>
                    <a:pt x="753" y="1324"/>
                    <a:pt x="753" y="1320"/>
                    <a:pt x="754" y="1316"/>
                  </a:cubicBezTo>
                  <a:cubicBezTo>
                    <a:pt x="756" y="1318"/>
                    <a:pt x="757" y="1320"/>
                    <a:pt x="757" y="1323"/>
                  </a:cubicBezTo>
                  <a:cubicBezTo>
                    <a:pt x="756" y="1326"/>
                    <a:pt x="754" y="1327"/>
                    <a:pt x="752" y="1329"/>
                  </a:cubicBezTo>
                  <a:cubicBezTo>
                    <a:pt x="752" y="1329"/>
                    <a:pt x="752" y="1329"/>
                    <a:pt x="752" y="1329"/>
                  </a:cubicBezTo>
                  <a:close/>
                  <a:moveTo>
                    <a:pt x="745" y="1301"/>
                  </a:moveTo>
                  <a:cubicBezTo>
                    <a:pt x="745" y="1301"/>
                    <a:pt x="745" y="1301"/>
                    <a:pt x="745" y="1301"/>
                  </a:cubicBezTo>
                  <a:cubicBezTo>
                    <a:pt x="744" y="1310"/>
                    <a:pt x="744" y="1320"/>
                    <a:pt x="742" y="1329"/>
                  </a:cubicBezTo>
                  <a:cubicBezTo>
                    <a:pt x="741" y="1334"/>
                    <a:pt x="740" y="1338"/>
                    <a:pt x="739" y="1343"/>
                  </a:cubicBezTo>
                  <a:cubicBezTo>
                    <a:pt x="739" y="1344"/>
                    <a:pt x="739" y="1346"/>
                    <a:pt x="738" y="1347"/>
                  </a:cubicBezTo>
                  <a:cubicBezTo>
                    <a:pt x="736" y="1345"/>
                    <a:pt x="734" y="1343"/>
                    <a:pt x="732" y="1341"/>
                  </a:cubicBezTo>
                  <a:cubicBezTo>
                    <a:pt x="733" y="1332"/>
                    <a:pt x="733" y="1323"/>
                    <a:pt x="732" y="1314"/>
                  </a:cubicBezTo>
                  <a:cubicBezTo>
                    <a:pt x="732" y="1305"/>
                    <a:pt x="731" y="1296"/>
                    <a:pt x="729" y="1288"/>
                  </a:cubicBezTo>
                  <a:cubicBezTo>
                    <a:pt x="731" y="1289"/>
                    <a:pt x="733" y="1290"/>
                    <a:pt x="735" y="1292"/>
                  </a:cubicBezTo>
                  <a:cubicBezTo>
                    <a:pt x="738" y="1294"/>
                    <a:pt x="741" y="1295"/>
                    <a:pt x="745" y="1297"/>
                  </a:cubicBezTo>
                  <a:cubicBezTo>
                    <a:pt x="745" y="1297"/>
                    <a:pt x="745" y="1297"/>
                    <a:pt x="745" y="1297"/>
                  </a:cubicBezTo>
                  <a:cubicBezTo>
                    <a:pt x="745" y="1298"/>
                    <a:pt x="745" y="1299"/>
                    <a:pt x="745" y="1301"/>
                  </a:cubicBezTo>
                  <a:close/>
                  <a:moveTo>
                    <a:pt x="730" y="1357"/>
                  </a:moveTo>
                  <a:cubicBezTo>
                    <a:pt x="730" y="1357"/>
                    <a:pt x="730" y="1357"/>
                    <a:pt x="730" y="1357"/>
                  </a:cubicBezTo>
                  <a:cubicBezTo>
                    <a:pt x="731" y="1354"/>
                    <a:pt x="731" y="1350"/>
                    <a:pt x="732" y="1347"/>
                  </a:cubicBezTo>
                  <a:cubicBezTo>
                    <a:pt x="734" y="1348"/>
                    <a:pt x="736" y="1350"/>
                    <a:pt x="738" y="1351"/>
                  </a:cubicBezTo>
                  <a:cubicBezTo>
                    <a:pt x="738" y="1352"/>
                    <a:pt x="738" y="1353"/>
                    <a:pt x="738" y="1355"/>
                  </a:cubicBezTo>
                  <a:cubicBezTo>
                    <a:pt x="737" y="1356"/>
                    <a:pt x="738" y="1357"/>
                    <a:pt x="738" y="1359"/>
                  </a:cubicBezTo>
                  <a:cubicBezTo>
                    <a:pt x="738" y="1359"/>
                    <a:pt x="738" y="1360"/>
                    <a:pt x="739" y="1360"/>
                  </a:cubicBezTo>
                  <a:cubicBezTo>
                    <a:pt x="739" y="1360"/>
                    <a:pt x="739" y="1360"/>
                    <a:pt x="739" y="1361"/>
                  </a:cubicBezTo>
                  <a:cubicBezTo>
                    <a:pt x="741" y="1361"/>
                    <a:pt x="744" y="1361"/>
                    <a:pt x="746" y="1362"/>
                  </a:cubicBezTo>
                  <a:cubicBezTo>
                    <a:pt x="749" y="1363"/>
                    <a:pt x="751" y="1363"/>
                    <a:pt x="754" y="1364"/>
                  </a:cubicBezTo>
                  <a:cubicBezTo>
                    <a:pt x="756" y="1364"/>
                    <a:pt x="759" y="1365"/>
                    <a:pt x="761" y="1365"/>
                  </a:cubicBezTo>
                  <a:cubicBezTo>
                    <a:pt x="762" y="1366"/>
                    <a:pt x="763" y="1366"/>
                    <a:pt x="764" y="1366"/>
                  </a:cubicBezTo>
                  <a:cubicBezTo>
                    <a:pt x="768" y="1367"/>
                    <a:pt x="771" y="1368"/>
                    <a:pt x="775" y="1369"/>
                  </a:cubicBezTo>
                  <a:cubicBezTo>
                    <a:pt x="785" y="1372"/>
                    <a:pt x="795" y="1374"/>
                    <a:pt x="806" y="1375"/>
                  </a:cubicBezTo>
                  <a:cubicBezTo>
                    <a:pt x="807" y="1376"/>
                    <a:pt x="807" y="1376"/>
                    <a:pt x="808" y="1376"/>
                  </a:cubicBezTo>
                  <a:cubicBezTo>
                    <a:pt x="784" y="1374"/>
                    <a:pt x="759" y="1372"/>
                    <a:pt x="735" y="1369"/>
                  </a:cubicBezTo>
                  <a:cubicBezTo>
                    <a:pt x="733" y="1368"/>
                    <a:pt x="730" y="1368"/>
                    <a:pt x="727" y="1368"/>
                  </a:cubicBezTo>
                  <a:cubicBezTo>
                    <a:pt x="729" y="1364"/>
                    <a:pt x="730" y="1361"/>
                    <a:pt x="730" y="1357"/>
                  </a:cubicBezTo>
                  <a:close/>
                  <a:moveTo>
                    <a:pt x="686" y="1211"/>
                  </a:moveTo>
                  <a:cubicBezTo>
                    <a:pt x="686" y="1211"/>
                    <a:pt x="686" y="1211"/>
                    <a:pt x="686" y="1211"/>
                  </a:cubicBezTo>
                  <a:cubicBezTo>
                    <a:pt x="686" y="1217"/>
                    <a:pt x="690" y="1221"/>
                    <a:pt x="696" y="1220"/>
                  </a:cubicBezTo>
                  <a:cubicBezTo>
                    <a:pt x="696" y="1220"/>
                    <a:pt x="697" y="1220"/>
                    <a:pt x="697" y="1220"/>
                  </a:cubicBezTo>
                  <a:cubicBezTo>
                    <a:pt x="699" y="1223"/>
                    <a:pt x="701" y="1227"/>
                    <a:pt x="702" y="1230"/>
                  </a:cubicBezTo>
                  <a:cubicBezTo>
                    <a:pt x="704" y="1234"/>
                    <a:pt x="706" y="1239"/>
                    <a:pt x="708" y="1243"/>
                  </a:cubicBezTo>
                  <a:cubicBezTo>
                    <a:pt x="711" y="1253"/>
                    <a:pt x="714" y="1262"/>
                    <a:pt x="716" y="1271"/>
                  </a:cubicBezTo>
                  <a:cubicBezTo>
                    <a:pt x="721" y="1291"/>
                    <a:pt x="724" y="1310"/>
                    <a:pt x="724" y="1330"/>
                  </a:cubicBezTo>
                  <a:cubicBezTo>
                    <a:pt x="724" y="1336"/>
                    <a:pt x="723" y="1343"/>
                    <a:pt x="723" y="1350"/>
                  </a:cubicBezTo>
                  <a:cubicBezTo>
                    <a:pt x="722" y="1355"/>
                    <a:pt x="720" y="1361"/>
                    <a:pt x="718" y="1367"/>
                  </a:cubicBezTo>
                  <a:cubicBezTo>
                    <a:pt x="712" y="1366"/>
                    <a:pt x="704" y="1365"/>
                    <a:pt x="697" y="1363"/>
                  </a:cubicBezTo>
                  <a:cubicBezTo>
                    <a:pt x="699" y="1361"/>
                    <a:pt x="701" y="1359"/>
                    <a:pt x="703" y="1356"/>
                  </a:cubicBezTo>
                  <a:cubicBezTo>
                    <a:pt x="708" y="1346"/>
                    <a:pt x="709" y="1334"/>
                    <a:pt x="708" y="1324"/>
                  </a:cubicBezTo>
                  <a:cubicBezTo>
                    <a:pt x="708" y="1318"/>
                    <a:pt x="706" y="1313"/>
                    <a:pt x="704" y="1308"/>
                  </a:cubicBezTo>
                  <a:cubicBezTo>
                    <a:pt x="702" y="1303"/>
                    <a:pt x="699" y="1298"/>
                    <a:pt x="694" y="1296"/>
                  </a:cubicBezTo>
                  <a:cubicBezTo>
                    <a:pt x="693" y="1295"/>
                    <a:pt x="692" y="1296"/>
                    <a:pt x="692" y="1297"/>
                  </a:cubicBezTo>
                  <a:cubicBezTo>
                    <a:pt x="692" y="1298"/>
                    <a:pt x="692" y="1298"/>
                    <a:pt x="692" y="1298"/>
                  </a:cubicBezTo>
                  <a:cubicBezTo>
                    <a:pt x="692" y="1302"/>
                    <a:pt x="692" y="1305"/>
                    <a:pt x="692" y="1309"/>
                  </a:cubicBezTo>
                  <a:cubicBezTo>
                    <a:pt x="691" y="1313"/>
                    <a:pt x="690" y="1316"/>
                    <a:pt x="689" y="1320"/>
                  </a:cubicBezTo>
                  <a:cubicBezTo>
                    <a:pt x="687" y="1326"/>
                    <a:pt x="683" y="1332"/>
                    <a:pt x="678" y="1336"/>
                  </a:cubicBezTo>
                  <a:cubicBezTo>
                    <a:pt x="668" y="1346"/>
                    <a:pt x="655" y="1350"/>
                    <a:pt x="641" y="1348"/>
                  </a:cubicBezTo>
                  <a:cubicBezTo>
                    <a:pt x="635" y="1347"/>
                    <a:pt x="629" y="1344"/>
                    <a:pt x="623" y="1341"/>
                  </a:cubicBezTo>
                  <a:cubicBezTo>
                    <a:pt x="616" y="1337"/>
                    <a:pt x="611" y="1331"/>
                    <a:pt x="603" y="1328"/>
                  </a:cubicBezTo>
                  <a:cubicBezTo>
                    <a:pt x="603" y="1328"/>
                    <a:pt x="603" y="1328"/>
                    <a:pt x="602" y="1328"/>
                  </a:cubicBezTo>
                  <a:cubicBezTo>
                    <a:pt x="602" y="1327"/>
                    <a:pt x="601" y="1328"/>
                    <a:pt x="600" y="1328"/>
                  </a:cubicBezTo>
                  <a:cubicBezTo>
                    <a:pt x="599" y="1330"/>
                    <a:pt x="600" y="1332"/>
                    <a:pt x="600" y="1334"/>
                  </a:cubicBezTo>
                  <a:cubicBezTo>
                    <a:pt x="600" y="1336"/>
                    <a:pt x="601" y="1338"/>
                    <a:pt x="601" y="1341"/>
                  </a:cubicBezTo>
                  <a:cubicBezTo>
                    <a:pt x="602" y="1342"/>
                    <a:pt x="603" y="1344"/>
                    <a:pt x="604" y="1345"/>
                  </a:cubicBezTo>
                  <a:cubicBezTo>
                    <a:pt x="595" y="1343"/>
                    <a:pt x="587" y="1341"/>
                    <a:pt x="578" y="1338"/>
                  </a:cubicBezTo>
                  <a:cubicBezTo>
                    <a:pt x="576" y="1336"/>
                    <a:pt x="575" y="1334"/>
                    <a:pt x="574" y="1332"/>
                  </a:cubicBezTo>
                  <a:cubicBezTo>
                    <a:pt x="571" y="1329"/>
                    <a:pt x="568" y="1325"/>
                    <a:pt x="566" y="1321"/>
                  </a:cubicBezTo>
                  <a:cubicBezTo>
                    <a:pt x="563" y="1317"/>
                    <a:pt x="561" y="1313"/>
                    <a:pt x="559" y="1309"/>
                  </a:cubicBezTo>
                  <a:cubicBezTo>
                    <a:pt x="556" y="1304"/>
                    <a:pt x="555" y="1301"/>
                    <a:pt x="553" y="1297"/>
                  </a:cubicBezTo>
                  <a:cubicBezTo>
                    <a:pt x="552" y="1293"/>
                    <a:pt x="551" y="1290"/>
                    <a:pt x="550" y="1286"/>
                  </a:cubicBezTo>
                  <a:cubicBezTo>
                    <a:pt x="550" y="1284"/>
                    <a:pt x="549" y="1283"/>
                    <a:pt x="549" y="1281"/>
                  </a:cubicBezTo>
                  <a:cubicBezTo>
                    <a:pt x="549" y="1280"/>
                    <a:pt x="549" y="1279"/>
                    <a:pt x="548" y="1278"/>
                  </a:cubicBezTo>
                  <a:cubicBezTo>
                    <a:pt x="548" y="1278"/>
                    <a:pt x="548" y="1277"/>
                    <a:pt x="548" y="1277"/>
                  </a:cubicBezTo>
                  <a:cubicBezTo>
                    <a:pt x="548" y="1277"/>
                    <a:pt x="548" y="1277"/>
                    <a:pt x="548" y="1277"/>
                  </a:cubicBezTo>
                  <a:cubicBezTo>
                    <a:pt x="548" y="1276"/>
                    <a:pt x="548" y="1276"/>
                    <a:pt x="548" y="1276"/>
                  </a:cubicBezTo>
                  <a:cubicBezTo>
                    <a:pt x="547" y="1268"/>
                    <a:pt x="547" y="1261"/>
                    <a:pt x="548" y="1254"/>
                  </a:cubicBezTo>
                  <a:cubicBezTo>
                    <a:pt x="548" y="1254"/>
                    <a:pt x="548" y="1253"/>
                    <a:pt x="548" y="1253"/>
                  </a:cubicBezTo>
                  <a:cubicBezTo>
                    <a:pt x="548" y="1253"/>
                    <a:pt x="548" y="1253"/>
                    <a:pt x="548" y="1252"/>
                  </a:cubicBezTo>
                  <a:cubicBezTo>
                    <a:pt x="548" y="1251"/>
                    <a:pt x="549" y="1251"/>
                    <a:pt x="549" y="1250"/>
                  </a:cubicBezTo>
                  <a:cubicBezTo>
                    <a:pt x="549" y="1248"/>
                    <a:pt x="549" y="1246"/>
                    <a:pt x="550" y="1244"/>
                  </a:cubicBezTo>
                  <a:cubicBezTo>
                    <a:pt x="551" y="1241"/>
                    <a:pt x="552" y="1237"/>
                    <a:pt x="553" y="1234"/>
                  </a:cubicBezTo>
                  <a:cubicBezTo>
                    <a:pt x="553" y="1233"/>
                    <a:pt x="553" y="1233"/>
                    <a:pt x="553" y="1233"/>
                  </a:cubicBezTo>
                  <a:cubicBezTo>
                    <a:pt x="554" y="1232"/>
                    <a:pt x="554" y="1232"/>
                    <a:pt x="554" y="1232"/>
                  </a:cubicBezTo>
                  <a:cubicBezTo>
                    <a:pt x="554" y="1232"/>
                    <a:pt x="555" y="1231"/>
                    <a:pt x="555" y="1230"/>
                  </a:cubicBezTo>
                  <a:cubicBezTo>
                    <a:pt x="556" y="1228"/>
                    <a:pt x="557" y="1227"/>
                    <a:pt x="557" y="1225"/>
                  </a:cubicBezTo>
                  <a:cubicBezTo>
                    <a:pt x="558" y="1224"/>
                    <a:pt x="559" y="1222"/>
                    <a:pt x="560" y="1221"/>
                  </a:cubicBezTo>
                  <a:cubicBezTo>
                    <a:pt x="561" y="1220"/>
                    <a:pt x="561" y="1220"/>
                    <a:pt x="562" y="1219"/>
                  </a:cubicBezTo>
                  <a:cubicBezTo>
                    <a:pt x="562" y="1219"/>
                    <a:pt x="562" y="1218"/>
                    <a:pt x="562" y="1218"/>
                  </a:cubicBezTo>
                  <a:cubicBezTo>
                    <a:pt x="562" y="1218"/>
                    <a:pt x="562" y="1218"/>
                    <a:pt x="562" y="1218"/>
                  </a:cubicBezTo>
                  <a:cubicBezTo>
                    <a:pt x="563" y="1217"/>
                    <a:pt x="563" y="1217"/>
                    <a:pt x="563" y="1217"/>
                  </a:cubicBezTo>
                  <a:cubicBezTo>
                    <a:pt x="565" y="1214"/>
                    <a:pt x="567" y="1211"/>
                    <a:pt x="570" y="1209"/>
                  </a:cubicBezTo>
                  <a:cubicBezTo>
                    <a:pt x="571" y="1208"/>
                    <a:pt x="572" y="1207"/>
                    <a:pt x="574" y="1205"/>
                  </a:cubicBezTo>
                  <a:cubicBezTo>
                    <a:pt x="574" y="1205"/>
                    <a:pt x="574" y="1205"/>
                    <a:pt x="574" y="1205"/>
                  </a:cubicBezTo>
                  <a:cubicBezTo>
                    <a:pt x="575" y="1205"/>
                    <a:pt x="575" y="1205"/>
                    <a:pt x="575" y="1204"/>
                  </a:cubicBezTo>
                  <a:cubicBezTo>
                    <a:pt x="576" y="1204"/>
                    <a:pt x="577" y="1203"/>
                    <a:pt x="578" y="1203"/>
                  </a:cubicBezTo>
                  <a:cubicBezTo>
                    <a:pt x="581" y="1200"/>
                    <a:pt x="584" y="1199"/>
                    <a:pt x="588" y="1197"/>
                  </a:cubicBezTo>
                  <a:cubicBezTo>
                    <a:pt x="588" y="1197"/>
                    <a:pt x="589" y="1196"/>
                    <a:pt x="590" y="1196"/>
                  </a:cubicBezTo>
                  <a:cubicBezTo>
                    <a:pt x="590" y="1196"/>
                    <a:pt x="591" y="1195"/>
                    <a:pt x="591" y="1195"/>
                  </a:cubicBezTo>
                  <a:cubicBezTo>
                    <a:pt x="591" y="1195"/>
                    <a:pt x="591" y="1195"/>
                    <a:pt x="592" y="1195"/>
                  </a:cubicBezTo>
                  <a:cubicBezTo>
                    <a:pt x="594" y="1194"/>
                    <a:pt x="596" y="1194"/>
                    <a:pt x="598" y="1193"/>
                  </a:cubicBezTo>
                  <a:cubicBezTo>
                    <a:pt x="601" y="1192"/>
                    <a:pt x="605" y="1191"/>
                    <a:pt x="609" y="1190"/>
                  </a:cubicBezTo>
                  <a:cubicBezTo>
                    <a:pt x="613" y="1189"/>
                    <a:pt x="615" y="1189"/>
                    <a:pt x="620" y="1189"/>
                  </a:cubicBezTo>
                  <a:cubicBezTo>
                    <a:pt x="624" y="1188"/>
                    <a:pt x="628" y="1188"/>
                    <a:pt x="632" y="1188"/>
                  </a:cubicBezTo>
                  <a:cubicBezTo>
                    <a:pt x="636" y="1189"/>
                    <a:pt x="640" y="1189"/>
                    <a:pt x="644" y="1189"/>
                  </a:cubicBezTo>
                  <a:cubicBezTo>
                    <a:pt x="652" y="1191"/>
                    <a:pt x="660" y="1193"/>
                    <a:pt x="667" y="1196"/>
                  </a:cubicBezTo>
                  <a:cubicBezTo>
                    <a:pt x="670" y="1197"/>
                    <a:pt x="674" y="1199"/>
                    <a:pt x="677" y="1201"/>
                  </a:cubicBezTo>
                  <a:cubicBezTo>
                    <a:pt x="680" y="1203"/>
                    <a:pt x="683" y="1205"/>
                    <a:pt x="687" y="1206"/>
                  </a:cubicBezTo>
                  <a:cubicBezTo>
                    <a:pt x="686" y="1208"/>
                    <a:pt x="686" y="1209"/>
                    <a:pt x="686" y="1211"/>
                  </a:cubicBezTo>
                  <a:close/>
                  <a:moveTo>
                    <a:pt x="349" y="1247"/>
                  </a:moveTo>
                  <a:cubicBezTo>
                    <a:pt x="349" y="1247"/>
                    <a:pt x="349" y="1247"/>
                    <a:pt x="349" y="1247"/>
                  </a:cubicBezTo>
                  <a:cubicBezTo>
                    <a:pt x="348" y="1248"/>
                    <a:pt x="348" y="1249"/>
                    <a:pt x="348" y="1250"/>
                  </a:cubicBezTo>
                  <a:cubicBezTo>
                    <a:pt x="344" y="1248"/>
                    <a:pt x="341" y="1245"/>
                    <a:pt x="337" y="1243"/>
                  </a:cubicBezTo>
                  <a:cubicBezTo>
                    <a:pt x="338" y="1243"/>
                    <a:pt x="339" y="1243"/>
                    <a:pt x="341" y="1243"/>
                  </a:cubicBezTo>
                  <a:cubicBezTo>
                    <a:pt x="343" y="1243"/>
                    <a:pt x="345" y="1243"/>
                    <a:pt x="348" y="1243"/>
                  </a:cubicBezTo>
                  <a:cubicBezTo>
                    <a:pt x="348" y="1243"/>
                    <a:pt x="349" y="1243"/>
                    <a:pt x="349" y="1243"/>
                  </a:cubicBezTo>
                  <a:cubicBezTo>
                    <a:pt x="349" y="1245"/>
                    <a:pt x="349" y="1246"/>
                    <a:pt x="349" y="1247"/>
                  </a:cubicBezTo>
                  <a:close/>
                  <a:moveTo>
                    <a:pt x="355" y="1251"/>
                  </a:moveTo>
                  <a:cubicBezTo>
                    <a:pt x="355" y="1251"/>
                    <a:pt x="355" y="1251"/>
                    <a:pt x="355" y="1251"/>
                  </a:cubicBezTo>
                  <a:cubicBezTo>
                    <a:pt x="356" y="1249"/>
                    <a:pt x="357" y="1246"/>
                    <a:pt x="358" y="1243"/>
                  </a:cubicBezTo>
                  <a:cubicBezTo>
                    <a:pt x="359" y="1240"/>
                    <a:pt x="360" y="1237"/>
                    <a:pt x="360" y="1234"/>
                  </a:cubicBezTo>
                  <a:cubicBezTo>
                    <a:pt x="364" y="1241"/>
                    <a:pt x="371" y="1246"/>
                    <a:pt x="377" y="1250"/>
                  </a:cubicBezTo>
                  <a:cubicBezTo>
                    <a:pt x="389" y="1256"/>
                    <a:pt x="401" y="1260"/>
                    <a:pt x="413" y="1262"/>
                  </a:cubicBezTo>
                  <a:cubicBezTo>
                    <a:pt x="422" y="1264"/>
                    <a:pt x="431" y="1265"/>
                    <a:pt x="440" y="1265"/>
                  </a:cubicBezTo>
                  <a:cubicBezTo>
                    <a:pt x="443" y="1265"/>
                    <a:pt x="447" y="1265"/>
                    <a:pt x="450" y="1265"/>
                  </a:cubicBezTo>
                  <a:cubicBezTo>
                    <a:pt x="454" y="1265"/>
                    <a:pt x="458" y="1264"/>
                    <a:pt x="462" y="1264"/>
                  </a:cubicBezTo>
                  <a:cubicBezTo>
                    <a:pt x="464" y="1263"/>
                    <a:pt x="467" y="1263"/>
                    <a:pt x="468" y="1261"/>
                  </a:cubicBezTo>
                  <a:cubicBezTo>
                    <a:pt x="467" y="1264"/>
                    <a:pt x="467" y="1266"/>
                    <a:pt x="465" y="1268"/>
                  </a:cubicBezTo>
                  <a:cubicBezTo>
                    <a:pt x="463" y="1273"/>
                    <a:pt x="459" y="1279"/>
                    <a:pt x="458" y="1285"/>
                  </a:cubicBezTo>
                  <a:cubicBezTo>
                    <a:pt x="458" y="1285"/>
                    <a:pt x="457" y="1285"/>
                    <a:pt x="457" y="1285"/>
                  </a:cubicBezTo>
                  <a:cubicBezTo>
                    <a:pt x="456" y="1286"/>
                    <a:pt x="456" y="1287"/>
                    <a:pt x="455" y="1287"/>
                  </a:cubicBezTo>
                  <a:cubicBezTo>
                    <a:pt x="454" y="1289"/>
                    <a:pt x="452" y="1290"/>
                    <a:pt x="450" y="1290"/>
                  </a:cubicBezTo>
                  <a:cubicBezTo>
                    <a:pt x="448" y="1291"/>
                    <a:pt x="446" y="1292"/>
                    <a:pt x="444" y="1292"/>
                  </a:cubicBezTo>
                  <a:cubicBezTo>
                    <a:pt x="442" y="1292"/>
                    <a:pt x="440" y="1292"/>
                    <a:pt x="438" y="1294"/>
                  </a:cubicBezTo>
                  <a:cubicBezTo>
                    <a:pt x="421" y="1288"/>
                    <a:pt x="405" y="1281"/>
                    <a:pt x="390" y="1273"/>
                  </a:cubicBezTo>
                  <a:cubicBezTo>
                    <a:pt x="378" y="1267"/>
                    <a:pt x="366" y="1261"/>
                    <a:pt x="354" y="1254"/>
                  </a:cubicBezTo>
                  <a:cubicBezTo>
                    <a:pt x="355" y="1253"/>
                    <a:pt x="355" y="1252"/>
                    <a:pt x="355" y="1251"/>
                  </a:cubicBezTo>
                  <a:close/>
                  <a:moveTo>
                    <a:pt x="493" y="1235"/>
                  </a:moveTo>
                  <a:cubicBezTo>
                    <a:pt x="493" y="1235"/>
                    <a:pt x="493" y="1235"/>
                    <a:pt x="493" y="1235"/>
                  </a:cubicBezTo>
                  <a:cubicBezTo>
                    <a:pt x="494" y="1240"/>
                    <a:pt x="495" y="1245"/>
                    <a:pt x="499" y="1248"/>
                  </a:cubicBezTo>
                  <a:cubicBezTo>
                    <a:pt x="498" y="1250"/>
                    <a:pt x="498" y="1251"/>
                    <a:pt x="498" y="1253"/>
                  </a:cubicBezTo>
                  <a:cubicBezTo>
                    <a:pt x="497" y="1253"/>
                    <a:pt x="497" y="1253"/>
                    <a:pt x="497" y="1253"/>
                  </a:cubicBezTo>
                  <a:cubicBezTo>
                    <a:pt x="496" y="1253"/>
                    <a:pt x="495" y="1253"/>
                    <a:pt x="494" y="1253"/>
                  </a:cubicBezTo>
                  <a:cubicBezTo>
                    <a:pt x="493" y="1253"/>
                    <a:pt x="492" y="1252"/>
                    <a:pt x="491" y="1252"/>
                  </a:cubicBezTo>
                  <a:cubicBezTo>
                    <a:pt x="489" y="1252"/>
                    <a:pt x="487" y="1251"/>
                    <a:pt x="484" y="1251"/>
                  </a:cubicBezTo>
                  <a:cubicBezTo>
                    <a:pt x="484" y="1251"/>
                    <a:pt x="484" y="1251"/>
                    <a:pt x="484" y="1251"/>
                  </a:cubicBezTo>
                  <a:cubicBezTo>
                    <a:pt x="485" y="1248"/>
                    <a:pt x="487" y="1245"/>
                    <a:pt x="489" y="1242"/>
                  </a:cubicBezTo>
                  <a:cubicBezTo>
                    <a:pt x="490" y="1240"/>
                    <a:pt x="492" y="1238"/>
                    <a:pt x="493" y="1235"/>
                  </a:cubicBezTo>
                  <a:close/>
                  <a:moveTo>
                    <a:pt x="507" y="1239"/>
                  </a:moveTo>
                  <a:cubicBezTo>
                    <a:pt x="507" y="1239"/>
                    <a:pt x="507" y="1239"/>
                    <a:pt x="507" y="1239"/>
                  </a:cubicBezTo>
                  <a:cubicBezTo>
                    <a:pt x="508" y="1244"/>
                    <a:pt x="509" y="1249"/>
                    <a:pt x="510" y="1254"/>
                  </a:cubicBezTo>
                  <a:cubicBezTo>
                    <a:pt x="511" y="1255"/>
                    <a:pt x="512" y="1256"/>
                    <a:pt x="514" y="1256"/>
                  </a:cubicBezTo>
                  <a:cubicBezTo>
                    <a:pt x="517" y="1255"/>
                    <a:pt x="520" y="1255"/>
                    <a:pt x="524" y="1256"/>
                  </a:cubicBezTo>
                  <a:cubicBezTo>
                    <a:pt x="523" y="1257"/>
                    <a:pt x="523" y="1258"/>
                    <a:pt x="523" y="1258"/>
                  </a:cubicBezTo>
                  <a:cubicBezTo>
                    <a:pt x="522" y="1259"/>
                    <a:pt x="522" y="1260"/>
                    <a:pt x="521" y="1260"/>
                  </a:cubicBezTo>
                  <a:cubicBezTo>
                    <a:pt x="520" y="1260"/>
                    <a:pt x="519" y="1261"/>
                    <a:pt x="519" y="1262"/>
                  </a:cubicBezTo>
                  <a:cubicBezTo>
                    <a:pt x="518" y="1266"/>
                    <a:pt x="521" y="1270"/>
                    <a:pt x="522" y="1274"/>
                  </a:cubicBezTo>
                  <a:cubicBezTo>
                    <a:pt x="521" y="1273"/>
                    <a:pt x="519" y="1273"/>
                    <a:pt x="518" y="1273"/>
                  </a:cubicBezTo>
                  <a:cubicBezTo>
                    <a:pt x="517" y="1272"/>
                    <a:pt x="515" y="1271"/>
                    <a:pt x="514" y="1271"/>
                  </a:cubicBezTo>
                  <a:cubicBezTo>
                    <a:pt x="513" y="1270"/>
                    <a:pt x="513" y="1270"/>
                    <a:pt x="512" y="1269"/>
                  </a:cubicBezTo>
                  <a:cubicBezTo>
                    <a:pt x="512" y="1269"/>
                    <a:pt x="512" y="1269"/>
                    <a:pt x="512" y="1269"/>
                  </a:cubicBezTo>
                  <a:cubicBezTo>
                    <a:pt x="512" y="1269"/>
                    <a:pt x="512" y="1268"/>
                    <a:pt x="512" y="1269"/>
                  </a:cubicBezTo>
                  <a:cubicBezTo>
                    <a:pt x="511" y="1267"/>
                    <a:pt x="508" y="1265"/>
                    <a:pt x="506" y="1267"/>
                  </a:cubicBezTo>
                  <a:cubicBezTo>
                    <a:pt x="504" y="1270"/>
                    <a:pt x="502" y="1272"/>
                    <a:pt x="499" y="1275"/>
                  </a:cubicBezTo>
                  <a:cubicBezTo>
                    <a:pt x="498" y="1276"/>
                    <a:pt x="497" y="1277"/>
                    <a:pt x="496" y="1278"/>
                  </a:cubicBezTo>
                  <a:cubicBezTo>
                    <a:pt x="497" y="1275"/>
                    <a:pt x="499" y="1273"/>
                    <a:pt x="501" y="1271"/>
                  </a:cubicBezTo>
                  <a:cubicBezTo>
                    <a:pt x="502" y="1270"/>
                    <a:pt x="501" y="1267"/>
                    <a:pt x="500" y="1266"/>
                  </a:cubicBezTo>
                  <a:cubicBezTo>
                    <a:pt x="497" y="1264"/>
                    <a:pt x="495" y="1262"/>
                    <a:pt x="493" y="1260"/>
                  </a:cubicBezTo>
                  <a:cubicBezTo>
                    <a:pt x="492" y="1259"/>
                    <a:pt x="491" y="1259"/>
                    <a:pt x="490" y="1258"/>
                  </a:cubicBezTo>
                  <a:cubicBezTo>
                    <a:pt x="491" y="1258"/>
                    <a:pt x="491" y="1258"/>
                    <a:pt x="491" y="1258"/>
                  </a:cubicBezTo>
                  <a:cubicBezTo>
                    <a:pt x="492" y="1258"/>
                    <a:pt x="493" y="1258"/>
                    <a:pt x="494" y="1258"/>
                  </a:cubicBezTo>
                  <a:cubicBezTo>
                    <a:pt x="496" y="1258"/>
                    <a:pt x="497" y="1257"/>
                    <a:pt x="498" y="1256"/>
                  </a:cubicBezTo>
                  <a:cubicBezTo>
                    <a:pt x="499" y="1256"/>
                    <a:pt x="499" y="1256"/>
                    <a:pt x="499" y="1256"/>
                  </a:cubicBezTo>
                  <a:cubicBezTo>
                    <a:pt x="500" y="1256"/>
                    <a:pt x="501" y="1256"/>
                    <a:pt x="501" y="1255"/>
                  </a:cubicBezTo>
                  <a:cubicBezTo>
                    <a:pt x="503" y="1250"/>
                    <a:pt x="504" y="1244"/>
                    <a:pt x="507" y="1239"/>
                  </a:cubicBezTo>
                  <a:close/>
                  <a:moveTo>
                    <a:pt x="481" y="1255"/>
                  </a:moveTo>
                  <a:cubicBezTo>
                    <a:pt x="481" y="1255"/>
                    <a:pt x="481" y="1255"/>
                    <a:pt x="481" y="1255"/>
                  </a:cubicBezTo>
                  <a:cubicBezTo>
                    <a:pt x="481" y="1256"/>
                    <a:pt x="482" y="1256"/>
                    <a:pt x="482" y="1256"/>
                  </a:cubicBezTo>
                  <a:cubicBezTo>
                    <a:pt x="484" y="1261"/>
                    <a:pt x="489" y="1265"/>
                    <a:pt x="494" y="1269"/>
                  </a:cubicBezTo>
                  <a:cubicBezTo>
                    <a:pt x="492" y="1272"/>
                    <a:pt x="491" y="1275"/>
                    <a:pt x="490" y="1278"/>
                  </a:cubicBezTo>
                  <a:cubicBezTo>
                    <a:pt x="489" y="1278"/>
                    <a:pt x="489" y="1278"/>
                    <a:pt x="489" y="1278"/>
                  </a:cubicBezTo>
                  <a:cubicBezTo>
                    <a:pt x="484" y="1275"/>
                    <a:pt x="478" y="1272"/>
                    <a:pt x="472" y="1271"/>
                  </a:cubicBezTo>
                  <a:cubicBezTo>
                    <a:pt x="474" y="1267"/>
                    <a:pt x="477" y="1264"/>
                    <a:pt x="479" y="1260"/>
                  </a:cubicBezTo>
                  <a:cubicBezTo>
                    <a:pt x="480" y="1258"/>
                    <a:pt x="481" y="1257"/>
                    <a:pt x="481" y="1255"/>
                  </a:cubicBezTo>
                  <a:close/>
                  <a:moveTo>
                    <a:pt x="452" y="1295"/>
                  </a:moveTo>
                  <a:cubicBezTo>
                    <a:pt x="452" y="1295"/>
                    <a:pt x="452" y="1295"/>
                    <a:pt x="452" y="1295"/>
                  </a:cubicBezTo>
                  <a:cubicBezTo>
                    <a:pt x="455" y="1294"/>
                    <a:pt x="457" y="1293"/>
                    <a:pt x="458" y="1291"/>
                  </a:cubicBezTo>
                  <a:cubicBezTo>
                    <a:pt x="459" y="1290"/>
                    <a:pt x="460" y="1289"/>
                    <a:pt x="460" y="1287"/>
                  </a:cubicBezTo>
                  <a:cubicBezTo>
                    <a:pt x="460" y="1287"/>
                    <a:pt x="460" y="1287"/>
                    <a:pt x="461" y="1287"/>
                  </a:cubicBezTo>
                  <a:cubicBezTo>
                    <a:pt x="461" y="1287"/>
                    <a:pt x="461" y="1287"/>
                    <a:pt x="461" y="1287"/>
                  </a:cubicBezTo>
                  <a:cubicBezTo>
                    <a:pt x="464" y="1284"/>
                    <a:pt x="467" y="1281"/>
                    <a:pt x="468" y="1277"/>
                  </a:cubicBezTo>
                  <a:cubicBezTo>
                    <a:pt x="469" y="1277"/>
                    <a:pt x="469" y="1277"/>
                    <a:pt x="470" y="1278"/>
                  </a:cubicBezTo>
                  <a:cubicBezTo>
                    <a:pt x="471" y="1278"/>
                    <a:pt x="472" y="1279"/>
                    <a:pt x="474" y="1279"/>
                  </a:cubicBezTo>
                  <a:cubicBezTo>
                    <a:pt x="476" y="1281"/>
                    <a:pt x="479" y="1282"/>
                    <a:pt x="482" y="1283"/>
                  </a:cubicBezTo>
                  <a:cubicBezTo>
                    <a:pt x="488" y="1287"/>
                    <a:pt x="494" y="1290"/>
                    <a:pt x="500" y="1295"/>
                  </a:cubicBezTo>
                  <a:cubicBezTo>
                    <a:pt x="500" y="1295"/>
                    <a:pt x="500" y="1295"/>
                    <a:pt x="501" y="1296"/>
                  </a:cubicBezTo>
                  <a:cubicBezTo>
                    <a:pt x="502" y="1296"/>
                    <a:pt x="502" y="1297"/>
                    <a:pt x="503" y="1298"/>
                  </a:cubicBezTo>
                  <a:cubicBezTo>
                    <a:pt x="505" y="1299"/>
                    <a:pt x="506" y="1300"/>
                    <a:pt x="507" y="1301"/>
                  </a:cubicBezTo>
                  <a:cubicBezTo>
                    <a:pt x="508" y="1302"/>
                    <a:pt x="510" y="1304"/>
                    <a:pt x="511" y="1305"/>
                  </a:cubicBezTo>
                  <a:cubicBezTo>
                    <a:pt x="511" y="1305"/>
                    <a:pt x="512" y="1306"/>
                    <a:pt x="512" y="1307"/>
                  </a:cubicBezTo>
                  <a:cubicBezTo>
                    <a:pt x="513" y="1307"/>
                    <a:pt x="513" y="1307"/>
                    <a:pt x="513" y="1308"/>
                  </a:cubicBezTo>
                  <a:cubicBezTo>
                    <a:pt x="513" y="1308"/>
                    <a:pt x="514" y="1308"/>
                    <a:pt x="514" y="1309"/>
                  </a:cubicBezTo>
                  <a:cubicBezTo>
                    <a:pt x="514" y="1309"/>
                    <a:pt x="514" y="1309"/>
                    <a:pt x="514" y="1309"/>
                  </a:cubicBezTo>
                  <a:cubicBezTo>
                    <a:pt x="515" y="1310"/>
                    <a:pt x="516" y="1311"/>
                    <a:pt x="516" y="1313"/>
                  </a:cubicBezTo>
                  <a:cubicBezTo>
                    <a:pt x="517" y="1313"/>
                    <a:pt x="517" y="1314"/>
                    <a:pt x="517" y="1314"/>
                  </a:cubicBezTo>
                  <a:cubicBezTo>
                    <a:pt x="517" y="1315"/>
                    <a:pt x="517" y="1315"/>
                    <a:pt x="517" y="1315"/>
                  </a:cubicBezTo>
                  <a:cubicBezTo>
                    <a:pt x="517" y="1316"/>
                    <a:pt x="518" y="1316"/>
                    <a:pt x="518" y="1316"/>
                  </a:cubicBezTo>
                  <a:cubicBezTo>
                    <a:pt x="518" y="1318"/>
                    <a:pt x="519" y="1319"/>
                    <a:pt x="519" y="1320"/>
                  </a:cubicBezTo>
                  <a:cubicBezTo>
                    <a:pt x="519" y="1319"/>
                    <a:pt x="520" y="1321"/>
                    <a:pt x="520" y="1321"/>
                  </a:cubicBezTo>
                  <a:cubicBezTo>
                    <a:pt x="520" y="1321"/>
                    <a:pt x="520" y="1321"/>
                    <a:pt x="520" y="1321"/>
                  </a:cubicBezTo>
                  <a:cubicBezTo>
                    <a:pt x="520" y="1321"/>
                    <a:pt x="520" y="1321"/>
                    <a:pt x="519" y="1321"/>
                  </a:cubicBezTo>
                  <a:cubicBezTo>
                    <a:pt x="520" y="1321"/>
                    <a:pt x="520" y="1321"/>
                    <a:pt x="520" y="1321"/>
                  </a:cubicBezTo>
                  <a:cubicBezTo>
                    <a:pt x="511" y="1319"/>
                    <a:pt x="502" y="1316"/>
                    <a:pt x="493" y="1313"/>
                  </a:cubicBezTo>
                  <a:cubicBezTo>
                    <a:pt x="478" y="1308"/>
                    <a:pt x="462" y="1302"/>
                    <a:pt x="446" y="1297"/>
                  </a:cubicBezTo>
                  <a:cubicBezTo>
                    <a:pt x="449" y="1296"/>
                    <a:pt x="451" y="1296"/>
                    <a:pt x="452" y="1295"/>
                  </a:cubicBezTo>
                  <a:close/>
                  <a:moveTo>
                    <a:pt x="529" y="1324"/>
                  </a:moveTo>
                  <a:cubicBezTo>
                    <a:pt x="529" y="1324"/>
                    <a:pt x="529" y="1324"/>
                    <a:pt x="529" y="1324"/>
                  </a:cubicBezTo>
                  <a:cubicBezTo>
                    <a:pt x="529" y="1324"/>
                    <a:pt x="529" y="1324"/>
                    <a:pt x="529" y="1324"/>
                  </a:cubicBezTo>
                  <a:cubicBezTo>
                    <a:pt x="528" y="1322"/>
                    <a:pt x="528" y="1321"/>
                    <a:pt x="528" y="1320"/>
                  </a:cubicBezTo>
                  <a:cubicBezTo>
                    <a:pt x="528" y="1318"/>
                    <a:pt x="527" y="1316"/>
                    <a:pt x="527" y="1315"/>
                  </a:cubicBezTo>
                  <a:cubicBezTo>
                    <a:pt x="526" y="1311"/>
                    <a:pt x="524" y="1309"/>
                    <a:pt x="522" y="1305"/>
                  </a:cubicBezTo>
                  <a:cubicBezTo>
                    <a:pt x="518" y="1299"/>
                    <a:pt x="513" y="1294"/>
                    <a:pt x="508" y="1290"/>
                  </a:cubicBezTo>
                  <a:cubicBezTo>
                    <a:pt x="505" y="1288"/>
                    <a:pt x="502" y="1286"/>
                    <a:pt x="498" y="1284"/>
                  </a:cubicBezTo>
                  <a:cubicBezTo>
                    <a:pt x="502" y="1282"/>
                    <a:pt x="505" y="1279"/>
                    <a:pt x="508" y="1275"/>
                  </a:cubicBezTo>
                  <a:cubicBezTo>
                    <a:pt x="508" y="1277"/>
                    <a:pt x="508" y="1278"/>
                    <a:pt x="509" y="1279"/>
                  </a:cubicBezTo>
                  <a:cubicBezTo>
                    <a:pt x="510" y="1280"/>
                    <a:pt x="511" y="1282"/>
                    <a:pt x="512" y="1283"/>
                  </a:cubicBezTo>
                  <a:cubicBezTo>
                    <a:pt x="513" y="1286"/>
                    <a:pt x="515" y="1289"/>
                    <a:pt x="517" y="1292"/>
                  </a:cubicBezTo>
                  <a:cubicBezTo>
                    <a:pt x="521" y="1298"/>
                    <a:pt x="526" y="1304"/>
                    <a:pt x="530" y="1310"/>
                  </a:cubicBezTo>
                  <a:cubicBezTo>
                    <a:pt x="535" y="1316"/>
                    <a:pt x="540" y="1321"/>
                    <a:pt x="545" y="1326"/>
                  </a:cubicBezTo>
                  <a:cubicBezTo>
                    <a:pt x="546" y="1328"/>
                    <a:pt x="547" y="1329"/>
                    <a:pt x="548" y="1330"/>
                  </a:cubicBezTo>
                  <a:cubicBezTo>
                    <a:pt x="541" y="1328"/>
                    <a:pt x="535" y="1326"/>
                    <a:pt x="529" y="1324"/>
                  </a:cubicBezTo>
                  <a:close/>
                  <a:moveTo>
                    <a:pt x="562" y="1334"/>
                  </a:moveTo>
                  <a:cubicBezTo>
                    <a:pt x="562" y="1334"/>
                    <a:pt x="562" y="1334"/>
                    <a:pt x="562" y="1334"/>
                  </a:cubicBezTo>
                  <a:cubicBezTo>
                    <a:pt x="561" y="1333"/>
                    <a:pt x="561" y="1333"/>
                    <a:pt x="560" y="1332"/>
                  </a:cubicBezTo>
                  <a:cubicBezTo>
                    <a:pt x="559" y="1331"/>
                    <a:pt x="557" y="1330"/>
                    <a:pt x="556" y="1329"/>
                  </a:cubicBezTo>
                  <a:cubicBezTo>
                    <a:pt x="553" y="1327"/>
                    <a:pt x="550" y="1325"/>
                    <a:pt x="548" y="1322"/>
                  </a:cubicBezTo>
                  <a:cubicBezTo>
                    <a:pt x="543" y="1317"/>
                    <a:pt x="538" y="1312"/>
                    <a:pt x="534" y="1306"/>
                  </a:cubicBezTo>
                  <a:cubicBezTo>
                    <a:pt x="529" y="1300"/>
                    <a:pt x="525" y="1294"/>
                    <a:pt x="520" y="1288"/>
                  </a:cubicBezTo>
                  <a:cubicBezTo>
                    <a:pt x="518" y="1285"/>
                    <a:pt x="517" y="1282"/>
                    <a:pt x="515" y="1280"/>
                  </a:cubicBezTo>
                  <a:cubicBezTo>
                    <a:pt x="515" y="1279"/>
                    <a:pt x="514" y="1279"/>
                    <a:pt x="514" y="1278"/>
                  </a:cubicBezTo>
                  <a:cubicBezTo>
                    <a:pt x="518" y="1280"/>
                    <a:pt x="522" y="1281"/>
                    <a:pt x="526" y="1282"/>
                  </a:cubicBezTo>
                  <a:cubicBezTo>
                    <a:pt x="528" y="1283"/>
                    <a:pt x="530" y="1281"/>
                    <a:pt x="530" y="1279"/>
                  </a:cubicBezTo>
                  <a:cubicBezTo>
                    <a:pt x="530" y="1275"/>
                    <a:pt x="529" y="1273"/>
                    <a:pt x="527" y="1270"/>
                  </a:cubicBezTo>
                  <a:cubicBezTo>
                    <a:pt x="527" y="1268"/>
                    <a:pt x="526" y="1267"/>
                    <a:pt x="526" y="1266"/>
                  </a:cubicBezTo>
                  <a:cubicBezTo>
                    <a:pt x="525" y="1266"/>
                    <a:pt x="525" y="1265"/>
                    <a:pt x="525" y="1265"/>
                  </a:cubicBezTo>
                  <a:cubicBezTo>
                    <a:pt x="529" y="1263"/>
                    <a:pt x="530" y="1258"/>
                    <a:pt x="530" y="1254"/>
                  </a:cubicBezTo>
                  <a:cubicBezTo>
                    <a:pt x="530" y="1253"/>
                    <a:pt x="529" y="1252"/>
                    <a:pt x="528" y="1251"/>
                  </a:cubicBezTo>
                  <a:cubicBezTo>
                    <a:pt x="523" y="1250"/>
                    <a:pt x="519" y="1249"/>
                    <a:pt x="515" y="1250"/>
                  </a:cubicBezTo>
                  <a:cubicBezTo>
                    <a:pt x="514" y="1243"/>
                    <a:pt x="513" y="1238"/>
                    <a:pt x="510" y="1233"/>
                  </a:cubicBezTo>
                  <a:cubicBezTo>
                    <a:pt x="509" y="1231"/>
                    <a:pt x="507" y="1231"/>
                    <a:pt x="506" y="1232"/>
                  </a:cubicBezTo>
                  <a:cubicBezTo>
                    <a:pt x="502" y="1235"/>
                    <a:pt x="501" y="1239"/>
                    <a:pt x="500" y="1243"/>
                  </a:cubicBezTo>
                  <a:cubicBezTo>
                    <a:pt x="499" y="1242"/>
                    <a:pt x="499" y="1241"/>
                    <a:pt x="498" y="1240"/>
                  </a:cubicBezTo>
                  <a:cubicBezTo>
                    <a:pt x="497" y="1238"/>
                    <a:pt x="497" y="1235"/>
                    <a:pt x="496" y="1233"/>
                  </a:cubicBezTo>
                  <a:cubicBezTo>
                    <a:pt x="496" y="1232"/>
                    <a:pt x="496" y="1231"/>
                    <a:pt x="496" y="1231"/>
                  </a:cubicBezTo>
                  <a:cubicBezTo>
                    <a:pt x="499" y="1225"/>
                    <a:pt x="502" y="1220"/>
                    <a:pt x="505" y="1215"/>
                  </a:cubicBezTo>
                  <a:cubicBezTo>
                    <a:pt x="506" y="1212"/>
                    <a:pt x="508" y="1209"/>
                    <a:pt x="509" y="1207"/>
                  </a:cubicBezTo>
                  <a:cubicBezTo>
                    <a:pt x="510" y="1207"/>
                    <a:pt x="511" y="1208"/>
                    <a:pt x="512" y="1208"/>
                  </a:cubicBezTo>
                  <a:cubicBezTo>
                    <a:pt x="513" y="1208"/>
                    <a:pt x="513" y="1208"/>
                    <a:pt x="514" y="1208"/>
                  </a:cubicBezTo>
                  <a:cubicBezTo>
                    <a:pt x="514" y="1209"/>
                    <a:pt x="514" y="1210"/>
                    <a:pt x="513" y="1210"/>
                  </a:cubicBezTo>
                  <a:cubicBezTo>
                    <a:pt x="513" y="1211"/>
                    <a:pt x="514" y="1213"/>
                    <a:pt x="514" y="1214"/>
                  </a:cubicBezTo>
                  <a:cubicBezTo>
                    <a:pt x="514" y="1216"/>
                    <a:pt x="515" y="1219"/>
                    <a:pt x="515" y="1221"/>
                  </a:cubicBezTo>
                  <a:cubicBezTo>
                    <a:pt x="517" y="1226"/>
                    <a:pt x="519" y="1231"/>
                    <a:pt x="522" y="1235"/>
                  </a:cubicBezTo>
                  <a:cubicBezTo>
                    <a:pt x="525" y="1240"/>
                    <a:pt x="527" y="1245"/>
                    <a:pt x="530" y="1250"/>
                  </a:cubicBezTo>
                  <a:cubicBezTo>
                    <a:pt x="532" y="1252"/>
                    <a:pt x="533" y="1254"/>
                    <a:pt x="534" y="1256"/>
                  </a:cubicBezTo>
                  <a:cubicBezTo>
                    <a:pt x="535" y="1258"/>
                    <a:pt x="536" y="1261"/>
                    <a:pt x="539" y="1262"/>
                  </a:cubicBezTo>
                  <a:cubicBezTo>
                    <a:pt x="538" y="1272"/>
                    <a:pt x="540" y="1282"/>
                    <a:pt x="542" y="1291"/>
                  </a:cubicBezTo>
                  <a:cubicBezTo>
                    <a:pt x="546" y="1307"/>
                    <a:pt x="554" y="1322"/>
                    <a:pt x="564" y="1334"/>
                  </a:cubicBezTo>
                  <a:cubicBezTo>
                    <a:pt x="564" y="1334"/>
                    <a:pt x="563" y="1334"/>
                    <a:pt x="562" y="1334"/>
                  </a:cubicBezTo>
                  <a:close/>
                  <a:moveTo>
                    <a:pt x="518" y="1188"/>
                  </a:moveTo>
                  <a:cubicBezTo>
                    <a:pt x="518" y="1188"/>
                    <a:pt x="518" y="1188"/>
                    <a:pt x="518" y="1188"/>
                  </a:cubicBezTo>
                  <a:cubicBezTo>
                    <a:pt x="526" y="1186"/>
                    <a:pt x="535" y="1185"/>
                    <a:pt x="543" y="1186"/>
                  </a:cubicBezTo>
                  <a:cubicBezTo>
                    <a:pt x="547" y="1187"/>
                    <a:pt x="552" y="1188"/>
                    <a:pt x="556" y="1190"/>
                  </a:cubicBezTo>
                  <a:cubicBezTo>
                    <a:pt x="557" y="1191"/>
                    <a:pt x="559" y="1192"/>
                    <a:pt x="561" y="1194"/>
                  </a:cubicBezTo>
                  <a:cubicBezTo>
                    <a:pt x="562" y="1195"/>
                    <a:pt x="563" y="1197"/>
                    <a:pt x="564" y="1199"/>
                  </a:cubicBezTo>
                  <a:cubicBezTo>
                    <a:pt x="562" y="1200"/>
                    <a:pt x="559" y="1201"/>
                    <a:pt x="557" y="1202"/>
                  </a:cubicBezTo>
                  <a:cubicBezTo>
                    <a:pt x="552" y="1203"/>
                    <a:pt x="548" y="1203"/>
                    <a:pt x="543" y="1203"/>
                  </a:cubicBezTo>
                  <a:cubicBezTo>
                    <a:pt x="538" y="1204"/>
                    <a:pt x="531" y="1203"/>
                    <a:pt x="525" y="1203"/>
                  </a:cubicBezTo>
                  <a:cubicBezTo>
                    <a:pt x="522" y="1203"/>
                    <a:pt x="518" y="1202"/>
                    <a:pt x="516" y="1202"/>
                  </a:cubicBezTo>
                  <a:cubicBezTo>
                    <a:pt x="514" y="1202"/>
                    <a:pt x="513" y="1202"/>
                    <a:pt x="512" y="1202"/>
                  </a:cubicBezTo>
                  <a:cubicBezTo>
                    <a:pt x="514" y="1197"/>
                    <a:pt x="517" y="1193"/>
                    <a:pt x="518" y="1188"/>
                  </a:cubicBezTo>
                  <a:close/>
                  <a:moveTo>
                    <a:pt x="678" y="1005"/>
                  </a:moveTo>
                  <a:cubicBezTo>
                    <a:pt x="678" y="1005"/>
                    <a:pt x="678" y="1005"/>
                    <a:pt x="678" y="1005"/>
                  </a:cubicBezTo>
                  <a:cubicBezTo>
                    <a:pt x="679" y="1003"/>
                    <a:pt x="680" y="1002"/>
                    <a:pt x="681" y="1001"/>
                  </a:cubicBezTo>
                  <a:cubicBezTo>
                    <a:pt x="683" y="1000"/>
                    <a:pt x="685" y="1001"/>
                    <a:pt x="687" y="1001"/>
                  </a:cubicBezTo>
                  <a:cubicBezTo>
                    <a:pt x="688" y="1002"/>
                    <a:pt x="689" y="1002"/>
                    <a:pt x="690" y="1002"/>
                  </a:cubicBezTo>
                  <a:cubicBezTo>
                    <a:pt x="690" y="1003"/>
                    <a:pt x="690" y="1003"/>
                    <a:pt x="690" y="1003"/>
                  </a:cubicBezTo>
                  <a:cubicBezTo>
                    <a:pt x="691" y="1003"/>
                    <a:pt x="691" y="1003"/>
                    <a:pt x="691" y="1004"/>
                  </a:cubicBezTo>
                  <a:cubicBezTo>
                    <a:pt x="691" y="1004"/>
                    <a:pt x="691" y="1004"/>
                    <a:pt x="691" y="1004"/>
                  </a:cubicBezTo>
                  <a:cubicBezTo>
                    <a:pt x="691" y="1004"/>
                    <a:pt x="691" y="1004"/>
                    <a:pt x="691" y="1004"/>
                  </a:cubicBezTo>
                  <a:cubicBezTo>
                    <a:pt x="691" y="1004"/>
                    <a:pt x="691" y="1004"/>
                    <a:pt x="692" y="1005"/>
                  </a:cubicBezTo>
                  <a:cubicBezTo>
                    <a:pt x="691" y="1004"/>
                    <a:pt x="692" y="1005"/>
                    <a:pt x="692" y="1005"/>
                  </a:cubicBezTo>
                  <a:cubicBezTo>
                    <a:pt x="692" y="1006"/>
                    <a:pt x="692" y="1006"/>
                    <a:pt x="692" y="1006"/>
                  </a:cubicBezTo>
                  <a:cubicBezTo>
                    <a:pt x="692" y="1006"/>
                    <a:pt x="692" y="1006"/>
                    <a:pt x="692" y="1006"/>
                  </a:cubicBezTo>
                  <a:cubicBezTo>
                    <a:pt x="692" y="1006"/>
                    <a:pt x="692" y="1007"/>
                    <a:pt x="692" y="1007"/>
                  </a:cubicBezTo>
                  <a:cubicBezTo>
                    <a:pt x="691" y="1009"/>
                    <a:pt x="691" y="1010"/>
                    <a:pt x="690" y="1011"/>
                  </a:cubicBezTo>
                  <a:cubicBezTo>
                    <a:pt x="690" y="1012"/>
                    <a:pt x="690" y="1012"/>
                    <a:pt x="689" y="1012"/>
                  </a:cubicBezTo>
                  <a:cubicBezTo>
                    <a:pt x="689" y="1012"/>
                    <a:pt x="689" y="1012"/>
                    <a:pt x="689" y="1012"/>
                  </a:cubicBezTo>
                  <a:cubicBezTo>
                    <a:pt x="689" y="1013"/>
                    <a:pt x="689" y="1013"/>
                    <a:pt x="689" y="1013"/>
                  </a:cubicBezTo>
                  <a:cubicBezTo>
                    <a:pt x="688" y="1014"/>
                    <a:pt x="688" y="1014"/>
                    <a:pt x="688" y="1014"/>
                  </a:cubicBezTo>
                  <a:cubicBezTo>
                    <a:pt x="687" y="1015"/>
                    <a:pt x="687" y="1015"/>
                    <a:pt x="687" y="1015"/>
                  </a:cubicBezTo>
                  <a:cubicBezTo>
                    <a:pt x="687" y="1015"/>
                    <a:pt x="687" y="1015"/>
                    <a:pt x="687" y="1015"/>
                  </a:cubicBezTo>
                  <a:cubicBezTo>
                    <a:pt x="687" y="1015"/>
                    <a:pt x="687" y="1015"/>
                    <a:pt x="687" y="1015"/>
                  </a:cubicBezTo>
                  <a:cubicBezTo>
                    <a:pt x="686" y="1016"/>
                    <a:pt x="685" y="1016"/>
                    <a:pt x="684" y="1017"/>
                  </a:cubicBezTo>
                  <a:cubicBezTo>
                    <a:pt x="684" y="1017"/>
                    <a:pt x="683" y="1017"/>
                    <a:pt x="683" y="1018"/>
                  </a:cubicBezTo>
                  <a:cubicBezTo>
                    <a:pt x="682" y="1018"/>
                    <a:pt x="682" y="1018"/>
                    <a:pt x="682" y="1019"/>
                  </a:cubicBezTo>
                  <a:cubicBezTo>
                    <a:pt x="682" y="1019"/>
                    <a:pt x="682" y="1019"/>
                    <a:pt x="682" y="1019"/>
                  </a:cubicBezTo>
                  <a:cubicBezTo>
                    <a:pt x="682" y="1020"/>
                    <a:pt x="682" y="1020"/>
                    <a:pt x="682" y="1020"/>
                  </a:cubicBezTo>
                  <a:cubicBezTo>
                    <a:pt x="681" y="1020"/>
                    <a:pt x="682" y="1021"/>
                    <a:pt x="682" y="1021"/>
                  </a:cubicBezTo>
                  <a:cubicBezTo>
                    <a:pt x="680" y="1024"/>
                    <a:pt x="679" y="1028"/>
                    <a:pt x="678" y="1030"/>
                  </a:cubicBezTo>
                  <a:cubicBezTo>
                    <a:pt x="676" y="1035"/>
                    <a:pt x="675" y="1039"/>
                    <a:pt x="673" y="1043"/>
                  </a:cubicBezTo>
                  <a:cubicBezTo>
                    <a:pt x="671" y="1052"/>
                    <a:pt x="669" y="1062"/>
                    <a:pt x="666" y="1070"/>
                  </a:cubicBezTo>
                  <a:cubicBezTo>
                    <a:pt x="664" y="1080"/>
                    <a:pt x="661" y="1091"/>
                    <a:pt x="658" y="1100"/>
                  </a:cubicBezTo>
                  <a:cubicBezTo>
                    <a:pt x="655" y="1110"/>
                    <a:pt x="652" y="1121"/>
                    <a:pt x="648" y="1131"/>
                  </a:cubicBezTo>
                  <a:cubicBezTo>
                    <a:pt x="646" y="1139"/>
                    <a:pt x="643" y="1147"/>
                    <a:pt x="640" y="1155"/>
                  </a:cubicBezTo>
                  <a:cubicBezTo>
                    <a:pt x="638" y="1158"/>
                    <a:pt x="636" y="1162"/>
                    <a:pt x="635" y="1166"/>
                  </a:cubicBezTo>
                  <a:cubicBezTo>
                    <a:pt x="633" y="1170"/>
                    <a:pt x="631" y="1174"/>
                    <a:pt x="631" y="1178"/>
                  </a:cubicBezTo>
                  <a:cubicBezTo>
                    <a:pt x="631" y="1179"/>
                    <a:pt x="631" y="1179"/>
                    <a:pt x="631" y="1179"/>
                  </a:cubicBezTo>
                  <a:cubicBezTo>
                    <a:pt x="630" y="1179"/>
                    <a:pt x="629" y="1179"/>
                    <a:pt x="627" y="1179"/>
                  </a:cubicBezTo>
                  <a:cubicBezTo>
                    <a:pt x="629" y="1177"/>
                    <a:pt x="630" y="1175"/>
                    <a:pt x="630" y="1173"/>
                  </a:cubicBezTo>
                  <a:cubicBezTo>
                    <a:pt x="632" y="1169"/>
                    <a:pt x="634" y="1165"/>
                    <a:pt x="635" y="1161"/>
                  </a:cubicBezTo>
                  <a:cubicBezTo>
                    <a:pt x="638" y="1151"/>
                    <a:pt x="641" y="1142"/>
                    <a:pt x="644" y="1132"/>
                  </a:cubicBezTo>
                  <a:cubicBezTo>
                    <a:pt x="647" y="1122"/>
                    <a:pt x="650" y="1111"/>
                    <a:pt x="653" y="1100"/>
                  </a:cubicBezTo>
                  <a:cubicBezTo>
                    <a:pt x="656" y="1090"/>
                    <a:pt x="658" y="1079"/>
                    <a:pt x="661" y="1070"/>
                  </a:cubicBezTo>
                  <a:cubicBezTo>
                    <a:pt x="664" y="1064"/>
                    <a:pt x="665" y="1057"/>
                    <a:pt x="668" y="1052"/>
                  </a:cubicBezTo>
                  <a:cubicBezTo>
                    <a:pt x="669" y="1049"/>
                    <a:pt x="670" y="1046"/>
                    <a:pt x="671" y="1043"/>
                  </a:cubicBezTo>
                  <a:cubicBezTo>
                    <a:pt x="672" y="1041"/>
                    <a:pt x="673" y="1038"/>
                    <a:pt x="674" y="1037"/>
                  </a:cubicBezTo>
                  <a:cubicBezTo>
                    <a:pt x="676" y="1032"/>
                    <a:pt x="678" y="1028"/>
                    <a:pt x="679" y="1024"/>
                  </a:cubicBezTo>
                  <a:cubicBezTo>
                    <a:pt x="680" y="1020"/>
                    <a:pt x="682" y="1015"/>
                    <a:pt x="680" y="1011"/>
                  </a:cubicBezTo>
                  <a:cubicBezTo>
                    <a:pt x="679" y="1011"/>
                    <a:pt x="679" y="1011"/>
                    <a:pt x="678" y="1010"/>
                  </a:cubicBezTo>
                  <a:cubicBezTo>
                    <a:pt x="678" y="1009"/>
                    <a:pt x="678" y="1007"/>
                    <a:pt x="678" y="1005"/>
                  </a:cubicBezTo>
                  <a:close/>
                  <a:moveTo>
                    <a:pt x="750" y="1044"/>
                  </a:moveTo>
                  <a:cubicBezTo>
                    <a:pt x="750" y="1044"/>
                    <a:pt x="750" y="1044"/>
                    <a:pt x="750" y="1044"/>
                  </a:cubicBezTo>
                  <a:cubicBezTo>
                    <a:pt x="750" y="1045"/>
                    <a:pt x="750" y="1046"/>
                    <a:pt x="749" y="1047"/>
                  </a:cubicBezTo>
                  <a:cubicBezTo>
                    <a:pt x="749" y="1050"/>
                    <a:pt x="748" y="1052"/>
                    <a:pt x="747" y="1055"/>
                  </a:cubicBezTo>
                  <a:cubicBezTo>
                    <a:pt x="746" y="1059"/>
                    <a:pt x="743" y="1063"/>
                    <a:pt x="743" y="1067"/>
                  </a:cubicBezTo>
                  <a:cubicBezTo>
                    <a:pt x="742" y="1067"/>
                    <a:pt x="741" y="1067"/>
                    <a:pt x="739" y="1067"/>
                  </a:cubicBezTo>
                  <a:cubicBezTo>
                    <a:pt x="736" y="1066"/>
                    <a:pt x="732" y="1066"/>
                    <a:pt x="729" y="1065"/>
                  </a:cubicBezTo>
                  <a:cubicBezTo>
                    <a:pt x="721" y="1063"/>
                    <a:pt x="713" y="1061"/>
                    <a:pt x="706" y="1058"/>
                  </a:cubicBezTo>
                  <a:cubicBezTo>
                    <a:pt x="697" y="1054"/>
                    <a:pt x="687" y="1052"/>
                    <a:pt x="679" y="1047"/>
                  </a:cubicBezTo>
                  <a:cubicBezTo>
                    <a:pt x="680" y="1045"/>
                    <a:pt x="680" y="1043"/>
                    <a:pt x="681" y="1041"/>
                  </a:cubicBezTo>
                  <a:cubicBezTo>
                    <a:pt x="682" y="1038"/>
                    <a:pt x="683" y="1034"/>
                    <a:pt x="684" y="1031"/>
                  </a:cubicBezTo>
                  <a:cubicBezTo>
                    <a:pt x="685" y="1028"/>
                    <a:pt x="686" y="1025"/>
                    <a:pt x="687" y="1023"/>
                  </a:cubicBezTo>
                  <a:cubicBezTo>
                    <a:pt x="687" y="1023"/>
                    <a:pt x="687" y="1022"/>
                    <a:pt x="687" y="1022"/>
                  </a:cubicBezTo>
                  <a:cubicBezTo>
                    <a:pt x="688" y="1022"/>
                    <a:pt x="688" y="1022"/>
                    <a:pt x="688" y="1022"/>
                  </a:cubicBezTo>
                  <a:cubicBezTo>
                    <a:pt x="689" y="1022"/>
                    <a:pt x="689" y="1022"/>
                    <a:pt x="689" y="1022"/>
                  </a:cubicBezTo>
                  <a:cubicBezTo>
                    <a:pt x="690" y="1024"/>
                    <a:pt x="692" y="1025"/>
                    <a:pt x="694" y="1026"/>
                  </a:cubicBezTo>
                  <a:cubicBezTo>
                    <a:pt x="698" y="1028"/>
                    <a:pt x="702" y="1029"/>
                    <a:pt x="706" y="1030"/>
                  </a:cubicBezTo>
                  <a:cubicBezTo>
                    <a:pt x="710" y="1032"/>
                    <a:pt x="714" y="1033"/>
                    <a:pt x="719" y="1035"/>
                  </a:cubicBezTo>
                  <a:cubicBezTo>
                    <a:pt x="724" y="1036"/>
                    <a:pt x="729" y="1037"/>
                    <a:pt x="734" y="1039"/>
                  </a:cubicBezTo>
                  <a:cubicBezTo>
                    <a:pt x="737" y="1039"/>
                    <a:pt x="739" y="1040"/>
                    <a:pt x="741" y="1040"/>
                  </a:cubicBezTo>
                  <a:cubicBezTo>
                    <a:pt x="744" y="1041"/>
                    <a:pt x="746" y="1041"/>
                    <a:pt x="749" y="1042"/>
                  </a:cubicBezTo>
                  <a:cubicBezTo>
                    <a:pt x="750" y="1042"/>
                    <a:pt x="750" y="1042"/>
                    <a:pt x="750" y="1042"/>
                  </a:cubicBezTo>
                  <a:cubicBezTo>
                    <a:pt x="750" y="1043"/>
                    <a:pt x="750" y="1043"/>
                    <a:pt x="750" y="1044"/>
                  </a:cubicBezTo>
                  <a:close/>
                  <a:moveTo>
                    <a:pt x="587" y="1128"/>
                  </a:moveTo>
                  <a:cubicBezTo>
                    <a:pt x="587" y="1128"/>
                    <a:pt x="587" y="1128"/>
                    <a:pt x="587" y="1128"/>
                  </a:cubicBezTo>
                  <a:cubicBezTo>
                    <a:pt x="587" y="1124"/>
                    <a:pt x="587" y="1120"/>
                    <a:pt x="588" y="1116"/>
                  </a:cubicBezTo>
                  <a:cubicBezTo>
                    <a:pt x="590" y="1107"/>
                    <a:pt x="593" y="1099"/>
                    <a:pt x="595" y="1090"/>
                  </a:cubicBezTo>
                  <a:cubicBezTo>
                    <a:pt x="597" y="1084"/>
                    <a:pt x="599" y="1078"/>
                    <a:pt x="601" y="1072"/>
                  </a:cubicBezTo>
                  <a:cubicBezTo>
                    <a:pt x="601" y="1069"/>
                    <a:pt x="602" y="1067"/>
                    <a:pt x="602" y="1065"/>
                  </a:cubicBezTo>
                  <a:cubicBezTo>
                    <a:pt x="605" y="1055"/>
                    <a:pt x="609" y="1046"/>
                    <a:pt x="612" y="1036"/>
                  </a:cubicBezTo>
                  <a:cubicBezTo>
                    <a:pt x="612" y="1036"/>
                    <a:pt x="612" y="1036"/>
                    <a:pt x="612" y="1036"/>
                  </a:cubicBezTo>
                  <a:cubicBezTo>
                    <a:pt x="612" y="1036"/>
                    <a:pt x="613" y="1037"/>
                    <a:pt x="613" y="1037"/>
                  </a:cubicBezTo>
                  <a:cubicBezTo>
                    <a:pt x="615" y="1039"/>
                    <a:pt x="616" y="1041"/>
                    <a:pt x="618" y="1042"/>
                  </a:cubicBezTo>
                  <a:cubicBezTo>
                    <a:pt x="620" y="1043"/>
                    <a:pt x="622" y="1045"/>
                    <a:pt x="624" y="1046"/>
                  </a:cubicBezTo>
                  <a:cubicBezTo>
                    <a:pt x="626" y="1048"/>
                    <a:pt x="627" y="1050"/>
                    <a:pt x="630" y="1051"/>
                  </a:cubicBezTo>
                  <a:cubicBezTo>
                    <a:pt x="633" y="1053"/>
                    <a:pt x="636" y="1054"/>
                    <a:pt x="640" y="1055"/>
                  </a:cubicBezTo>
                  <a:cubicBezTo>
                    <a:pt x="643" y="1056"/>
                    <a:pt x="646" y="1057"/>
                    <a:pt x="650" y="1058"/>
                  </a:cubicBezTo>
                  <a:cubicBezTo>
                    <a:pt x="651" y="1059"/>
                    <a:pt x="653" y="1059"/>
                    <a:pt x="655" y="1060"/>
                  </a:cubicBezTo>
                  <a:cubicBezTo>
                    <a:pt x="656" y="1060"/>
                    <a:pt x="657" y="1060"/>
                    <a:pt x="658" y="1061"/>
                  </a:cubicBezTo>
                  <a:cubicBezTo>
                    <a:pt x="654" y="1070"/>
                    <a:pt x="652" y="1078"/>
                    <a:pt x="649" y="1088"/>
                  </a:cubicBezTo>
                  <a:cubicBezTo>
                    <a:pt x="646" y="1098"/>
                    <a:pt x="643" y="1109"/>
                    <a:pt x="640" y="1119"/>
                  </a:cubicBezTo>
                  <a:cubicBezTo>
                    <a:pt x="640" y="1123"/>
                    <a:pt x="639" y="1126"/>
                    <a:pt x="638" y="1129"/>
                  </a:cubicBezTo>
                  <a:cubicBezTo>
                    <a:pt x="636" y="1132"/>
                    <a:pt x="635" y="1135"/>
                    <a:pt x="633" y="1139"/>
                  </a:cubicBezTo>
                  <a:cubicBezTo>
                    <a:pt x="631" y="1143"/>
                    <a:pt x="628" y="1147"/>
                    <a:pt x="625" y="1151"/>
                  </a:cubicBezTo>
                  <a:cubicBezTo>
                    <a:pt x="624" y="1153"/>
                    <a:pt x="622" y="1155"/>
                    <a:pt x="621" y="1156"/>
                  </a:cubicBezTo>
                  <a:cubicBezTo>
                    <a:pt x="619" y="1158"/>
                    <a:pt x="618" y="1159"/>
                    <a:pt x="616" y="1160"/>
                  </a:cubicBezTo>
                  <a:cubicBezTo>
                    <a:pt x="616" y="1161"/>
                    <a:pt x="615" y="1161"/>
                    <a:pt x="615" y="1162"/>
                  </a:cubicBezTo>
                  <a:cubicBezTo>
                    <a:pt x="615" y="1161"/>
                    <a:pt x="614" y="1160"/>
                    <a:pt x="613" y="1160"/>
                  </a:cubicBezTo>
                  <a:cubicBezTo>
                    <a:pt x="608" y="1156"/>
                    <a:pt x="604" y="1153"/>
                    <a:pt x="599" y="1148"/>
                  </a:cubicBezTo>
                  <a:cubicBezTo>
                    <a:pt x="595" y="1145"/>
                    <a:pt x="591" y="1141"/>
                    <a:pt x="589" y="1138"/>
                  </a:cubicBezTo>
                  <a:cubicBezTo>
                    <a:pt x="589" y="1134"/>
                    <a:pt x="588" y="1131"/>
                    <a:pt x="587" y="1128"/>
                  </a:cubicBezTo>
                  <a:close/>
                  <a:moveTo>
                    <a:pt x="571" y="1142"/>
                  </a:moveTo>
                  <a:cubicBezTo>
                    <a:pt x="571" y="1142"/>
                    <a:pt x="571" y="1142"/>
                    <a:pt x="571" y="1142"/>
                  </a:cubicBezTo>
                  <a:cubicBezTo>
                    <a:pt x="572" y="1139"/>
                    <a:pt x="573" y="1136"/>
                    <a:pt x="575" y="1132"/>
                  </a:cubicBezTo>
                  <a:cubicBezTo>
                    <a:pt x="575" y="1132"/>
                    <a:pt x="575" y="1131"/>
                    <a:pt x="576" y="1130"/>
                  </a:cubicBezTo>
                  <a:cubicBezTo>
                    <a:pt x="577" y="1133"/>
                    <a:pt x="580" y="1136"/>
                    <a:pt x="582" y="1139"/>
                  </a:cubicBezTo>
                  <a:cubicBezTo>
                    <a:pt x="586" y="1144"/>
                    <a:pt x="590" y="1148"/>
                    <a:pt x="594" y="1153"/>
                  </a:cubicBezTo>
                  <a:cubicBezTo>
                    <a:pt x="599" y="1157"/>
                    <a:pt x="604" y="1161"/>
                    <a:pt x="609" y="1164"/>
                  </a:cubicBezTo>
                  <a:cubicBezTo>
                    <a:pt x="611" y="1166"/>
                    <a:pt x="614" y="1168"/>
                    <a:pt x="616" y="1170"/>
                  </a:cubicBezTo>
                  <a:cubicBezTo>
                    <a:pt x="617" y="1171"/>
                    <a:pt x="618" y="1171"/>
                    <a:pt x="619" y="1172"/>
                  </a:cubicBezTo>
                  <a:cubicBezTo>
                    <a:pt x="620" y="1173"/>
                    <a:pt x="621" y="1174"/>
                    <a:pt x="622" y="1174"/>
                  </a:cubicBezTo>
                  <a:cubicBezTo>
                    <a:pt x="621" y="1176"/>
                    <a:pt x="620" y="1178"/>
                    <a:pt x="619" y="1179"/>
                  </a:cubicBezTo>
                  <a:cubicBezTo>
                    <a:pt x="612" y="1179"/>
                    <a:pt x="605" y="1181"/>
                    <a:pt x="598" y="1183"/>
                  </a:cubicBezTo>
                  <a:cubicBezTo>
                    <a:pt x="592" y="1184"/>
                    <a:pt x="588" y="1186"/>
                    <a:pt x="583" y="1189"/>
                  </a:cubicBezTo>
                  <a:cubicBezTo>
                    <a:pt x="581" y="1186"/>
                    <a:pt x="578" y="1185"/>
                    <a:pt x="576" y="1183"/>
                  </a:cubicBezTo>
                  <a:cubicBezTo>
                    <a:pt x="573" y="1180"/>
                    <a:pt x="571" y="1177"/>
                    <a:pt x="568" y="1175"/>
                  </a:cubicBezTo>
                  <a:cubicBezTo>
                    <a:pt x="566" y="1173"/>
                    <a:pt x="566" y="1170"/>
                    <a:pt x="565" y="1168"/>
                  </a:cubicBezTo>
                  <a:cubicBezTo>
                    <a:pt x="565" y="1166"/>
                    <a:pt x="565" y="1162"/>
                    <a:pt x="565" y="1160"/>
                  </a:cubicBezTo>
                  <a:cubicBezTo>
                    <a:pt x="566" y="1154"/>
                    <a:pt x="568" y="1148"/>
                    <a:pt x="571" y="1142"/>
                  </a:cubicBezTo>
                  <a:close/>
                  <a:moveTo>
                    <a:pt x="540" y="1246"/>
                  </a:moveTo>
                  <a:cubicBezTo>
                    <a:pt x="540" y="1246"/>
                    <a:pt x="540" y="1246"/>
                    <a:pt x="540" y="1246"/>
                  </a:cubicBezTo>
                  <a:cubicBezTo>
                    <a:pt x="540" y="1249"/>
                    <a:pt x="539" y="1251"/>
                    <a:pt x="539" y="1254"/>
                  </a:cubicBezTo>
                  <a:cubicBezTo>
                    <a:pt x="538" y="1252"/>
                    <a:pt x="537" y="1250"/>
                    <a:pt x="536" y="1248"/>
                  </a:cubicBezTo>
                  <a:cubicBezTo>
                    <a:pt x="533" y="1243"/>
                    <a:pt x="530" y="1238"/>
                    <a:pt x="527" y="1233"/>
                  </a:cubicBezTo>
                  <a:cubicBezTo>
                    <a:pt x="525" y="1229"/>
                    <a:pt x="522" y="1225"/>
                    <a:pt x="520" y="1220"/>
                  </a:cubicBezTo>
                  <a:cubicBezTo>
                    <a:pt x="520" y="1218"/>
                    <a:pt x="519" y="1216"/>
                    <a:pt x="518" y="1213"/>
                  </a:cubicBezTo>
                  <a:cubicBezTo>
                    <a:pt x="518" y="1212"/>
                    <a:pt x="518" y="1211"/>
                    <a:pt x="518" y="1210"/>
                  </a:cubicBezTo>
                  <a:cubicBezTo>
                    <a:pt x="518" y="1210"/>
                    <a:pt x="518" y="1210"/>
                    <a:pt x="517" y="1209"/>
                  </a:cubicBezTo>
                  <a:cubicBezTo>
                    <a:pt x="518" y="1209"/>
                    <a:pt x="518" y="1209"/>
                    <a:pt x="519" y="1209"/>
                  </a:cubicBezTo>
                  <a:cubicBezTo>
                    <a:pt x="524" y="1210"/>
                    <a:pt x="529" y="1211"/>
                    <a:pt x="534" y="1211"/>
                  </a:cubicBezTo>
                  <a:cubicBezTo>
                    <a:pt x="541" y="1212"/>
                    <a:pt x="548" y="1212"/>
                    <a:pt x="556" y="1210"/>
                  </a:cubicBezTo>
                  <a:cubicBezTo>
                    <a:pt x="548" y="1221"/>
                    <a:pt x="542" y="1233"/>
                    <a:pt x="540" y="1246"/>
                  </a:cubicBezTo>
                  <a:close/>
                  <a:moveTo>
                    <a:pt x="565" y="1184"/>
                  </a:moveTo>
                  <a:cubicBezTo>
                    <a:pt x="565" y="1184"/>
                    <a:pt x="565" y="1184"/>
                    <a:pt x="565" y="1184"/>
                  </a:cubicBezTo>
                  <a:cubicBezTo>
                    <a:pt x="566" y="1186"/>
                    <a:pt x="568" y="1187"/>
                    <a:pt x="570" y="1189"/>
                  </a:cubicBezTo>
                  <a:cubicBezTo>
                    <a:pt x="571" y="1190"/>
                    <a:pt x="573" y="1192"/>
                    <a:pt x="575" y="1193"/>
                  </a:cubicBezTo>
                  <a:cubicBezTo>
                    <a:pt x="574" y="1194"/>
                    <a:pt x="573" y="1194"/>
                    <a:pt x="572" y="1195"/>
                  </a:cubicBezTo>
                  <a:cubicBezTo>
                    <a:pt x="571" y="1195"/>
                    <a:pt x="571" y="1196"/>
                    <a:pt x="570" y="1196"/>
                  </a:cubicBezTo>
                  <a:cubicBezTo>
                    <a:pt x="569" y="1196"/>
                    <a:pt x="568" y="1197"/>
                    <a:pt x="568" y="1197"/>
                  </a:cubicBezTo>
                  <a:cubicBezTo>
                    <a:pt x="567" y="1195"/>
                    <a:pt x="566" y="1193"/>
                    <a:pt x="564" y="1191"/>
                  </a:cubicBezTo>
                  <a:cubicBezTo>
                    <a:pt x="563" y="1190"/>
                    <a:pt x="562" y="1189"/>
                    <a:pt x="561" y="1188"/>
                  </a:cubicBezTo>
                  <a:cubicBezTo>
                    <a:pt x="563" y="1187"/>
                    <a:pt x="564" y="1185"/>
                    <a:pt x="565" y="1184"/>
                  </a:cubicBezTo>
                  <a:close/>
                  <a:moveTo>
                    <a:pt x="662" y="1186"/>
                  </a:moveTo>
                  <a:cubicBezTo>
                    <a:pt x="662" y="1186"/>
                    <a:pt x="662" y="1186"/>
                    <a:pt x="662" y="1186"/>
                  </a:cubicBezTo>
                  <a:cubicBezTo>
                    <a:pt x="657" y="1184"/>
                    <a:pt x="652" y="1183"/>
                    <a:pt x="647" y="1181"/>
                  </a:cubicBezTo>
                  <a:cubicBezTo>
                    <a:pt x="646" y="1181"/>
                    <a:pt x="646" y="1181"/>
                    <a:pt x="645" y="1181"/>
                  </a:cubicBezTo>
                  <a:cubicBezTo>
                    <a:pt x="643" y="1180"/>
                    <a:pt x="642" y="1179"/>
                    <a:pt x="640" y="1178"/>
                  </a:cubicBezTo>
                  <a:cubicBezTo>
                    <a:pt x="640" y="1178"/>
                    <a:pt x="639" y="1177"/>
                    <a:pt x="638" y="1177"/>
                  </a:cubicBezTo>
                  <a:cubicBezTo>
                    <a:pt x="638" y="1176"/>
                    <a:pt x="639" y="1174"/>
                    <a:pt x="639" y="1173"/>
                  </a:cubicBezTo>
                  <a:cubicBezTo>
                    <a:pt x="640" y="1171"/>
                    <a:pt x="641" y="1169"/>
                    <a:pt x="642" y="1166"/>
                  </a:cubicBezTo>
                  <a:cubicBezTo>
                    <a:pt x="644" y="1162"/>
                    <a:pt x="646" y="1157"/>
                    <a:pt x="648" y="1153"/>
                  </a:cubicBezTo>
                  <a:cubicBezTo>
                    <a:pt x="652" y="1143"/>
                    <a:pt x="655" y="1133"/>
                    <a:pt x="659" y="1123"/>
                  </a:cubicBezTo>
                  <a:cubicBezTo>
                    <a:pt x="662" y="1112"/>
                    <a:pt x="664" y="1102"/>
                    <a:pt x="667" y="1092"/>
                  </a:cubicBezTo>
                  <a:cubicBezTo>
                    <a:pt x="670" y="1083"/>
                    <a:pt x="672" y="1074"/>
                    <a:pt x="675" y="1066"/>
                  </a:cubicBezTo>
                  <a:cubicBezTo>
                    <a:pt x="675" y="1066"/>
                    <a:pt x="676" y="1066"/>
                    <a:pt x="677" y="1067"/>
                  </a:cubicBezTo>
                  <a:cubicBezTo>
                    <a:pt x="681" y="1069"/>
                    <a:pt x="686" y="1070"/>
                    <a:pt x="690" y="1071"/>
                  </a:cubicBezTo>
                  <a:cubicBezTo>
                    <a:pt x="695" y="1073"/>
                    <a:pt x="699" y="1074"/>
                    <a:pt x="704" y="1075"/>
                  </a:cubicBezTo>
                  <a:cubicBezTo>
                    <a:pt x="712" y="1077"/>
                    <a:pt x="719" y="1079"/>
                    <a:pt x="727" y="1080"/>
                  </a:cubicBezTo>
                  <a:cubicBezTo>
                    <a:pt x="729" y="1080"/>
                    <a:pt x="732" y="1080"/>
                    <a:pt x="734" y="1080"/>
                  </a:cubicBezTo>
                  <a:cubicBezTo>
                    <a:pt x="736" y="1080"/>
                    <a:pt x="737" y="1081"/>
                    <a:pt x="738" y="1081"/>
                  </a:cubicBezTo>
                  <a:cubicBezTo>
                    <a:pt x="740" y="1081"/>
                    <a:pt x="743" y="1082"/>
                    <a:pt x="746" y="1081"/>
                  </a:cubicBezTo>
                  <a:cubicBezTo>
                    <a:pt x="744" y="1087"/>
                    <a:pt x="743" y="1093"/>
                    <a:pt x="741" y="1098"/>
                  </a:cubicBezTo>
                  <a:cubicBezTo>
                    <a:pt x="738" y="1109"/>
                    <a:pt x="736" y="1119"/>
                    <a:pt x="733" y="1130"/>
                  </a:cubicBezTo>
                  <a:cubicBezTo>
                    <a:pt x="733" y="1131"/>
                    <a:pt x="733" y="1133"/>
                    <a:pt x="732" y="1135"/>
                  </a:cubicBezTo>
                  <a:cubicBezTo>
                    <a:pt x="732" y="1135"/>
                    <a:pt x="732" y="1135"/>
                    <a:pt x="732" y="1136"/>
                  </a:cubicBezTo>
                  <a:cubicBezTo>
                    <a:pt x="731" y="1137"/>
                    <a:pt x="730" y="1138"/>
                    <a:pt x="730" y="1139"/>
                  </a:cubicBezTo>
                  <a:cubicBezTo>
                    <a:pt x="729" y="1140"/>
                    <a:pt x="729" y="1142"/>
                    <a:pt x="728" y="1143"/>
                  </a:cubicBezTo>
                  <a:cubicBezTo>
                    <a:pt x="727" y="1145"/>
                    <a:pt x="726" y="1147"/>
                    <a:pt x="725" y="1150"/>
                  </a:cubicBezTo>
                  <a:cubicBezTo>
                    <a:pt x="723" y="1155"/>
                    <a:pt x="720" y="1160"/>
                    <a:pt x="716" y="1164"/>
                  </a:cubicBezTo>
                  <a:cubicBezTo>
                    <a:pt x="716" y="1164"/>
                    <a:pt x="716" y="1164"/>
                    <a:pt x="716" y="1165"/>
                  </a:cubicBezTo>
                  <a:cubicBezTo>
                    <a:pt x="714" y="1165"/>
                    <a:pt x="713" y="1165"/>
                    <a:pt x="711" y="1165"/>
                  </a:cubicBezTo>
                  <a:cubicBezTo>
                    <a:pt x="703" y="1165"/>
                    <a:pt x="694" y="1166"/>
                    <a:pt x="686" y="1169"/>
                  </a:cubicBezTo>
                  <a:cubicBezTo>
                    <a:pt x="678" y="1173"/>
                    <a:pt x="671" y="1178"/>
                    <a:pt x="664" y="1184"/>
                  </a:cubicBezTo>
                  <a:cubicBezTo>
                    <a:pt x="663" y="1184"/>
                    <a:pt x="662" y="1185"/>
                    <a:pt x="662" y="1186"/>
                  </a:cubicBezTo>
                  <a:close/>
                  <a:moveTo>
                    <a:pt x="733" y="1160"/>
                  </a:moveTo>
                  <a:cubicBezTo>
                    <a:pt x="733" y="1160"/>
                    <a:pt x="733" y="1160"/>
                    <a:pt x="733" y="1160"/>
                  </a:cubicBezTo>
                  <a:cubicBezTo>
                    <a:pt x="734" y="1156"/>
                    <a:pt x="735" y="1150"/>
                    <a:pt x="736" y="1146"/>
                  </a:cubicBezTo>
                  <a:cubicBezTo>
                    <a:pt x="738" y="1135"/>
                    <a:pt x="740" y="1125"/>
                    <a:pt x="743" y="1114"/>
                  </a:cubicBezTo>
                  <a:cubicBezTo>
                    <a:pt x="749" y="1094"/>
                    <a:pt x="755" y="1073"/>
                    <a:pt x="759" y="1052"/>
                  </a:cubicBezTo>
                  <a:cubicBezTo>
                    <a:pt x="759" y="1049"/>
                    <a:pt x="759" y="1047"/>
                    <a:pt x="760" y="1044"/>
                  </a:cubicBezTo>
                  <a:cubicBezTo>
                    <a:pt x="760" y="1042"/>
                    <a:pt x="760" y="1039"/>
                    <a:pt x="760" y="1037"/>
                  </a:cubicBezTo>
                  <a:cubicBezTo>
                    <a:pt x="760" y="1037"/>
                    <a:pt x="760" y="1037"/>
                    <a:pt x="760" y="1037"/>
                  </a:cubicBezTo>
                  <a:cubicBezTo>
                    <a:pt x="760" y="1036"/>
                    <a:pt x="760" y="1036"/>
                    <a:pt x="759" y="1035"/>
                  </a:cubicBezTo>
                  <a:cubicBezTo>
                    <a:pt x="756" y="1033"/>
                    <a:pt x="758" y="1030"/>
                    <a:pt x="760" y="1028"/>
                  </a:cubicBezTo>
                  <a:cubicBezTo>
                    <a:pt x="761" y="1027"/>
                    <a:pt x="763" y="1026"/>
                    <a:pt x="764" y="1026"/>
                  </a:cubicBezTo>
                  <a:cubicBezTo>
                    <a:pt x="765" y="1025"/>
                    <a:pt x="766" y="1025"/>
                    <a:pt x="768" y="1026"/>
                  </a:cubicBezTo>
                  <a:cubicBezTo>
                    <a:pt x="769" y="1026"/>
                    <a:pt x="769" y="1026"/>
                    <a:pt x="769" y="1027"/>
                  </a:cubicBezTo>
                  <a:cubicBezTo>
                    <a:pt x="770" y="1028"/>
                    <a:pt x="770" y="1028"/>
                    <a:pt x="770" y="1028"/>
                  </a:cubicBezTo>
                  <a:cubicBezTo>
                    <a:pt x="770" y="1029"/>
                    <a:pt x="770" y="1029"/>
                    <a:pt x="770" y="1029"/>
                  </a:cubicBezTo>
                  <a:cubicBezTo>
                    <a:pt x="771" y="1030"/>
                    <a:pt x="771" y="1031"/>
                    <a:pt x="770" y="1032"/>
                  </a:cubicBezTo>
                  <a:cubicBezTo>
                    <a:pt x="770" y="1034"/>
                    <a:pt x="770" y="1035"/>
                    <a:pt x="769" y="1036"/>
                  </a:cubicBezTo>
                  <a:cubicBezTo>
                    <a:pt x="768" y="1036"/>
                    <a:pt x="768" y="1037"/>
                    <a:pt x="767" y="1038"/>
                  </a:cubicBezTo>
                  <a:cubicBezTo>
                    <a:pt x="767" y="1038"/>
                    <a:pt x="766" y="1039"/>
                    <a:pt x="765" y="1039"/>
                  </a:cubicBezTo>
                  <a:cubicBezTo>
                    <a:pt x="764" y="1040"/>
                    <a:pt x="764" y="1041"/>
                    <a:pt x="764" y="1042"/>
                  </a:cubicBezTo>
                  <a:cubicBezTo>
                    <a:pt x="764" y="1042"/>
                    <a:pt x="764" y="1042"/>
                    <a:pt x="764" y="1043"/>
                  </a:cubicBezTo>
                  <a:cubicBezTo>
                    <a:pt x="764" y="1043"/>
                    <a:pt x="764" y="1043"/>
                    <a:pt x="764" y="1043"/>
                  </a:cubicBezTo>
                  <a:cubicBezTo>
                    <a:pt x="763" y="1043"/>
                    <a:pt x="763" y="1044"/>
                    <a:pt x="763" y="1045"/>
                  </a:cubicBezTo>
                  <a:cubicBezTo>
                    <a:pt x="762" y="1048"/>
                    <a:pt x="761" y="1051"/>
                    <a:pt x="760" y="1055"/>
                  </a:cubicBezTo>
                  <a:cubicBezTo>
                    <a:pt x="758" y="1060"/>
                    <a:pt x="757" y="1065"/>
                    <a:pt x="756" y="1070"/>
                  </a:cubicBezTo>
                  <a:cubicBezTo>
                    <a:pt x="753" y="1080"/>
                    <a:pt x="751" y="1090"/>
                    <a:pt x="749" y="1101"/>
                  </a:cubicBezTo>
                  <a:cubicBezTo>
                    <a:pt x="747" y="1111"/>
                    <a:pt x="746" y="1121"/>
                    <a:pt x="744" y="1131"/>
                  </a:cubicBezTo>
                  <a:cubicBezTo>
                    <a:pt x="743" y="1136"/>
                    <a:pt x="743" y="1141"/>
                    <a:pt x="742" y="1146"/>
                  </a:cubicBezTo>
                  <a:cubicBezTo>
                    <a:pt x="741" y="1150"/>
                    <a:pt x="741" y="1155"/>
                    <a:pt x="740" y="1159"/>
                  </a:cubicBezTo>
                  <a:cubicBezTo>
                    <a:pt x="740" y="1162"/>
                    <a:pt x="739" y="1165"/>
                    <a:pt x="738" y="1167"/>
                  </a:cubicBezTo>
                  <a:cubicBezTo>
                    <a:pt x="736" y="1167"/>
                    <a:pt x="734" y="1167"/>
                    <a:pt x="731" y="1166"/>
                  </a:cubicBezTo>
                  <a:cubicBezTo>
                    <a:pt x="732" y="1164"/>
                    <a:pt x="732" y="1162"/>
                    <a:pt x="733" y="1160"/>
                  </a:cubicBezTo>
                  <a:close/>
                  <a:moveTo>
                    <a:pt x="710" y="975"/>
                  </a:moveTo>
                  <a:cubicBezTo>
                    <a:pt x="710" y="975"/>
                    <a:pt x="710" y="975"/>
                    <a:pt x="710" y="975"/>
                  </a:cubicBezTo>
                  <a:cubicBezTo>
                    <a:pt x="710" y="975"/>
                    <a:pt x="709" y="975"/>
                    <a:pt x="709" y="975"/>
                  </a:cubicBezTo>
                  <a:cubicBezTo>
                    <a:pt x="708" y="974"/>
                    <a:pt x="708" y="974"/>
                    <a:pt x="707" y="974"/>
                  </a:cubicBezTo>
                  <a:cubicBezTo>
                    <a:pt x="707" y="973"/>
                    <a:pt x="707" y="973"/>
                    <a:pt x="706" y="973"/>
                  </a:cubicBezTo>
                  <a:cubicBezTo>
                    <a:pt x="706" y="973"/>
                    <a:pt x="706" y="973"/>
                    <a:pt x="706" y="973"/>
                  </a:cubicBezTo>
                  <a:cubicBezTo>
                    <a:pt x="705" y="972"/>
                    <a:pt x="705" y="972"/>
                    <a:pt x="705" y="972"/>
                  </a:cubicBezTo>
                  <a:cubicBezTo>
                    <a:pt x="705" y="972"/>
                    <a:pt x="705" y="972"/>
                    <a:pt x="705" y="972"/>
                  </a:cubicBezTo>
                  <a:cubicBezTo>
                    <a:pt x="705" y="972"/>
                    <a:pt x="705" y="972"/>
                    <a:pt x="705" y="972"/>
                  </a:cubicBezTo>
                  <a:cubicBezTo>
                    <a:pt x="705" y="972"/>
                    <a:pt x="705" y="972"/>
                    <a:pt x="705" y="972"/>
                  </a:cubicBezTo>
                  <a:cubicBezTo>
                    <a:pt x="705" y="971"/>
                    <a:pt x="704" y="971"/>
                    <a:pt x="704" y="971"/>
                  </a:cubicBezTo>
                  <a:cubicBezTo>
                    <a:pt x="704" y="970"/>
                    <a:pt x="704" y="970"/>
                    <a:pt x="704" y="970"/>
                  </a:cubicBezTo>
                  <a:cubicBezTo>
                    <a:pt x="704" y="970"/>
                    <a:pt x="704" y="969"/>
                    <a:pt x="704" y="969"/>
                  </a:cubicBezTo>
                  <a:cubicBezTo>
                    <a:pt x="704" y="969"/>
                    <a:pt x="704" y="969"/>
                    <a:pt x="705" y="968"/>
                  </a:cubicBezTo>
                  <a:cubicBezTo>
                    <a:pt x="704" y="969"/>
                    <a:pt x="705" y="967"/>
                    <a:pt x="705" y="967"/>
                  </a:cubicBezTo>
                  <a:cubicBezTo>
                    <a:pt x="705" y="967"/>
                    <a:pt x="705" y="967"/>
                    <a:pt x="705" y="967"/>
                  </a:cubicBezTo>
                  <a:cubicBezTo>
                    <a:pt x="706" y="967"/>
                    <a:pt x="706" y="966"/>
                    <a:pt x="706" y="966"/>
                  </a:cubicBezTo>
                  <a:cubicBezTo>
                    <a:pt x="706" y="966"/>
                    <a:pt x="706" y="966"/>
                    <a:pt x="706" y="966"/>
                  </a:cubicBezTo>
                  <a:cubicBezTo>
                    <a:pt x="706" y="966"/>
                    <a:pt x="706" y="966"/>
                    <a:pt x="707" y="966"/>
                  </a:cubicBezTo>
                  <a:cubicBezTo>
                    <a:pt x="707" y="966"/>
                    <a:pt x="707" y="966"/>
                    <a:pt x="708" y="965"/>
                  </a:cubicBezTo>
                  <a:cubicBezTo>
                    <a:pt x="709" y="964"/>
                    <a:pt x="712" y="964"/>
                    <a:pt x="715" y="964"/>
                  </a:cubicBezTo>
                  <a:cubicBezTo>
                    <a:pt x="716" y="964"/>
                    <a:pt x="717" y="964"/>
                    <a:pt x="719" y="964"/>
                  </a:cubicBezTo>
                  <a:cubicBezTo>
                    <a:pt x="720" y="964"/>
                    <a:pt x="722" y="963"/>
                    <a:pt x="723" y="964"/>
                  </a:cubicBezTo>
                  <a:cubicBezTo>
                    <a:pt x="724" y="964"/>
                    <a:pt x="724" y="963"/>
                    <a:pt x="724" y="963"/>
                  </a:cubicBezTo>
                  <a:cubicBezTo>
                    <a:pt x="728" y="964"/>
                    <a:pt x="732" y="965"/>
                    <a:pt x="736" y="965"/>
                  </a:cubicBezTo>
                  <a:cubicBezTo>
                    <a:pt x="736" y="966"/>
                    <a:pt x="737" y="966"/>
                    <a:pt x="737" y="966"/>
                  </a:cubicBezTo>
                  <a:cubicBezTo>
                    <a:pt x="741" y="966"/>
                    <a:pt x="745" y="966"/>
                    <a:pt x="749" y="967"/>
                  </a:cubicBezTo>
                  <a:cubicBezTo>
                    <a:pt x="760" y="967"/>
                    <a:pt x="770" y="968"/>
                    <a:pt x="780" y="968"/>
                  </a:cubicBezTo>
                  <a:cubicBezTo>
                    <a:pt x="801" y="968"/>
                    <a:pt x="823" y="969"/>
                    <a:pt x="844" y="970"/>
                  </a:cubicBezTo>
                  <a:cubicBezTo>
                    <a:pt x="850" y="971"/>
                    <a:pt x="856" y="971"/>
                    <a:pt x="862" y="972"/>
                  </a:cubicBezTo>
                  <a:cubicBezTo>
                    <a:pt x="863" y="972"/>
                    <a:pt x="864" y="972"/>
                    <a:pt x="865" y="972"/>
                  </a:cubicBezTo>
                  <a:cubicBezTo>
                    <a:pt x="866" y="972"/>
                    <a:pt x="867" y="973"/>
                    <a:pt x="868" y="973"/>
                  </a:cubicBezTo>
                  <a:cubicBezTo>
                    <a:pt x="869" y="973"/>
                    <a:pt x="870" y="974"/>
                    <a:pt x="870" y="974"/>
                  </a:cubicBezTo>
                  <a:cubicBezTo>
                    <a:pt x="867" y="974"/>
                    <a:pt x="864" y="974"/>
                    <a:pt x="862" y="974"/>
                  </a:cubicBezTo>
                  <a:cubicBezTo>
                    <a:pt x="857" y="974"/>
                    <a:pt x="851" y="973"/>
                    <a:pt x="846" y="973"/>
                  </a:cubicBezTo>
                  <a:cubicBezTo>
                    <a:pt x="835" y="973"/>
                    <a:pt x="824" y="972"/>
                    <a:pt x="813" y="972"/>
                  </a:cubicBezTo>
                  <a:cubicBezTo>
                    <a:pt x="803" y="971"/>
                    <a:pt x="792" y="971"/>
                    <a:pt x="782" y="970"/>
                  </a:cubicBezTo>
                  <a:cubicBezTo>
                    <a:pt x="771" y="970"/>
                    <a:pt x="761" y="969"/>
                    <a:pt x="750" y="970"/>
                  </a:cubicBezTo>
                  <a:cubicBezTo>
                    <a:pt x="745" y="970"/>
                    <a:pt x="741" y="971"/>
                    <a:pt x="736" y="973"/>
                  </a:cubicBezTo>
                  <a:cubicBezTo>
                    <a:pt x="735" y="973"/>
                    <a:pt x="734" y="974"/>
                    <a:pt x="733" y="974"/>
                  </a:cubicBezTo>
                  <a:cubicBezTo>
                    <a:pt x="730" y="974"/>
                    <a:pt x="727" y="975"/>
                    <a:pt x="724" y="976"/>
                  </a:cubicBezTo>
                  <a:cubicBezTo>
                    <a:pt x="721" y="976"/>
                    <a:pt x="718" y="977"/>
                    <a:pt x="716" y="976"/>
                  </a:cubicBezTo>
                  <a:cubicBezTo>
                    <a:pt x="715" y="976"/>
                    <a:pt x="714" y="976"/>
                    <a:pt x="714" y="976"/>
                  </a:cubicBezTo>
                  <a:cubicBezTo>
                    <a:pt x="714" y="976"/>
                    <a:pt x="714" y="976"/>
                    <a:pt x="714" y="976"/>
                  </a:cubicBezTo>
                  <a:cubicBezTo>
                    <a:pt x="712" y="976"/>
                    <a:pt x="711" y="975"/>
                    <a:pt x="710" y="975"/>
                  </a:cubicBezTo>
                  <a:cubicBezTo>
                    <a:pt x="710" y="975"/>
                    <a:pt x="710" y="975"/>
                    <a:pt x="710" y="975"/>
                  </a:cubicBezTo>
                  <a:close/>
                  <a:moveTo>
                    <a:pt x="750" y="959"/>
                  </a:moveTo>
                  <a:cubicBezTo>
                    <a:pt x="750" y="959"/>
                    <a:pt x="750" y="959"/>
                    <a:pt x="750" y="959"/>
                  </a:cubicBezTo>
                  <a:cubicBezTo>
                    <a:pt x="749" y="958"/>
                    <a:pt x="748" y="957"/>
                    <a:pt x="748" y="957"/>
                  </a:cubicBezTo>
                  <a:cubicBezTo>
                    <a:pt x="746" y="955"/>
                    <a:pt x="745" y="953"/>
                    <a:pt x="744" y="952"/>
                  </a:cubicBezTo>
                  <a:cubicBezTo>
                    <a:pt x="741" y="948"/>
                    <a:pt x="738" y="944"/>
                    <a:pt x="736" y="941"/>
                  </a:cubicBezTo>
                  <a:cubicBezTo>
                    <a:pt x="733" y="937"/>
                    <a:pt x="730" y="934"/>
                    <a:pt x="727" y="930"/>
                  </a:cubicBezTo>
                  <a:cubicBezTo>
                    <a:pt x="733" y="931"/>
                    <a:pt x="739" y="931"/>
                    <a:pt x="744" y="932"/>
                  </a:cubicBezTo>
                  <a:cubicBezTo>
                    <a:pt x="746" y="932"/>
                    <a:pt x="748" y="932"/>
                    <a:pt x="749" y="933"/>
                  </a:cubicBezTo>
                  <a:cubicBezTo>
                    <a:pt x="759" y="935"/>
                    <a:pt x="768" y="938"/>
                    <a:pt x="778" y="941"/>
                  </a:cubicBezTo>
                  <a:cubicBezTo>
                    <a:pt x="783" y="943"/>
                    <a:pt x="788" y="944"/>
                    <a:pt x="793" y="946"/>
                  </a:cubicBezTo>
                  <a:cubicBezTo>
                    <a:pt x="797" y="948"/>
                    <a:pt x="802" y="950"/>
                    <a:pt x="807" y="952"/>
                  </a:cubicBezTo>
                  <a:cubicBezTo>
                    <a:pt x="811" y="954"/>
                    <a:pt x="816" y="956"/>
                    <a:pt x="820" y="958"/>
                  </a:cubicBezTo>
                  <a:cubicBezTo>
                    <a:pt x="823" y="959"/>
                    <a:pt x="826" y="961"/>
                    <a:pt x="829" y="962"/>
                  </a:cubicBezTo>
                  <a:cubicBezTo>
                    <a:pt x="823" y="962"/>
                    <a:pt x="816" y="962"/>
                    <a:pt x="811" y="962"/>
                  </a:cubicBezTo>
                  <a:cubicBezTo>
                    <a:pt x="811" y="961"/>
                    <a:pt x="811" y="961"/>
                    <a:pt x="811" y="960"/>
                  </a:cubicBezTo>
                  <a:cubicBezTo>
                    <a:pt x="810" y="960"/>
                    <a:pt x="809" y="959"/>
                    <a:pt x="807" y="959"/>
                  </a:cubicBezTo>
                  <a:cubicBezTo>
                    <a:pt x="806" y="958"/>
                    <a:pt x="804" y="958"/>
                    <a:pt x="803" y="958"/>
                  </a:cubicBezTo>
                  <a:cubicBezTo>
                    <a:pt x="800" y="957"/>
                    <a:pt x="797" y="955"/>
                    <a:pt x="794" y="954"/>
                  </a:cubicBezTo>
                  <a:cubicBezTo>
                    <a:pt x="788" y="952"/>
                    <a:pt x="783" y="949"/>
                    <a:pt x="777" y="948"/>
                  </a:cubicBezTo>
                  <a:cubicBezTo>
                    <a:pt x="764" y="944"/>
                    <a:pt x="752" y="940"/>
                    <a:pt x="738" y="937"/>
                  </a:cubicBezTo>
                  <a:cubicBezTo>
                    <a:pt x="737" y="937"/>
                    <a:pt x="737" y="939"/>
                    <a:pt x="738" y="939"/>
                  </a:cubicBezTo>
                  <a:cubicBezTo>
                    <a:pt x="751" y="943"/>
                    <a:pt x="763" y="947"/>
                    <a:pt x="776" y="951"/>
                  </a:cubicBezTo>
                  <a:cubicBezTo>
                    <a:pt x="782" y="953"/>
                    <a:pt x="788" y="955"/>
                    <a:pt x="793" y="958"/>
                  </a:cubicBezTo>
                  <a:cubicBezTo>
                    <a:pt x="796" y="959"/>
                    <a:pt x="799" y="960"/>
                    <a:pt x="802" y="961"/>
                  </a:cubicBezTo>
                  <a:cubicBezTo>
                    <a:pt x="803" y="961"/>
                    <a:pt x="803" y="961"/>
                    <a:pt x="804" y="962"/>
                  </a:cubicBezTo>
                  <a:cubicBezTo>
                    <a:pt x="803" y="962"/>
                    <a:pt x="802" y="962"/>
                    <a:pt x="801" y="962"/>
                  </a:cubicBezTo>
                  <a:cubicBezTo>
                    <a:pt x="790" y="961"/>
                    <a:pt x="780" y="961"/>
                    <a:pt x="769" y="961"/>
                  </a:cubicBezTo>
                  <a:cubicBezTo>
                    <a:pt x="763" y="961"/>
                    <a:pt x="757" y="961"/>
                    <a:pt x="751" y="961"/>
                  </a:cubicBezTo>
                  <a:cubicBezTo>
                    <a:pt x="751" y="960"/>
                    <a:pt x="750" y="960"/>
                    <a:pt x="750" y="959"/>
                  </a:cubicBezTo>
                  <a:close/>
                  <a:moveTo>
                    <a:pt x="850" y="948"/>
                  </a:moveTo>
                  <a:cubicBezTo>
                    <a:pt x="850" y="948"/>
                    <a:pt x="850" y="948"/>
                    <a:pt x="850" y="948"/>
                  </a:cubicBezTo>
                  <a:cubicBezTo>
                    <a:pt x="850" y="947"/>
                    <a:pt x="849" y="947"/>
                    <a:pt x="849" y="946"/>
                  </a:cubicBezTo>
                  <a:cubicBezTo>
                    <a:pt x="848" y="941"/>
                    <a:pt x="847" y="936"/>
                    <a:pt x="846" y="930"/>
                  </a:cubicBezTo>
                  <a:cubicBezTo>
                    <a:pt x="844" y="919"/>
                    <a:pt x="842" y="907"/>
                    <a:pt x="842" y="895"/>
                  </a:cubicBezTo>
                  <a:cubicBezTo>
                    <a:pt x="842" y="893"/>
                    <a:pt x="843" y="890"/>
                    <a:pt x="843" y="887"/>
                  </a:cubicBezTo>
                  <a:cubicBezTo>
                    <a:pt x="844" y="887"/>
                    <a:pt x="844" y="887"/>
                    <a:pt x="844" y="886"/>
                  </a:cubicBezTo>
                  <a:cubicBezTo>
                    <a:pt x="844" y="886"/>
                    <a:pt x="844" y="886"/>
                    <a:pt x="844" y="886"/>
                  </a:cubicBezTo>
                  <a:cubicBezTo>
                    <a:pt x="850" y="884"/>
                    <a:pt x="856" y="883"/>
                    <a:pt x="861" y="881"/>
                  </a:cubicBezTo>
                  <a:cubicBezTo>
                    <a:pt x="862" y="881"/>
                    <a:pt x="863" y="882"/>
                    <a:pt x="864" y="882"/>
                  </a:cubicBezTo>
                  <a:cubicBezTo>
                    <a:pt x="865" y="883"/>
                    <a:pt x="866" y="883"/>
                    <a:pt x="867" y="883"/>
                  </a:cubicBezTo>
                  <a:cubicBezTo>
                    <a:pt x="866" y="887"/>
                    <a:pt x="865" y="891"/>
                    <a:pt x="865" y="895"/>
                  </a:cubicBezTo>
                  <a:cubicBezTo>
                    <a:pt x="865" y="902"/>
                    <a:pt x="865" y="909"/>
                    <a:pt x="866" y="916"/>
                  </a:cubicBezTo>
                  <a:cubicBezTo>
                    <a:pt x="868" y="922"/>
                    <a:pt x="869" y="929"/>
                    <a:pt x="871" y="936"/>
                  </a:cubicBezTo>
                  <a:cubicBezTo>
                    <a:pt x="872" y="939"/>
                    <a:pt x="873" y="942"/>
                    <a:pt x="874" y="945"/>
                  </a:cubicBezTo>
                  <a:cubicBezTo>
                    <a:pt x="875" y="948"/>
                    <a:pt x="876" y="951"/>
                    <a:pt x="878" y="953"/>
                  </a:cubicBezTo>
                  <a:cubicBezTo>
                    <a:pt x="879" y="954"/>
                    <a:pt x="881" y="953"/>
                    <a:pt x="881" y="951"/>
                  </a:cubicBezTo>
                  <a:cubicBezTo>
                    <a:pt x="881" y="949"/>
                    <a:pt x="880" y="946"/>
                    <a:pt x="879" y="944"/>
                  </a:cubicBezTo>
                  <a:cubicBezTo>
                    <a:pt x="879" y="941"/>
                    <a:pt x="878" y="938"/>
                    <a:pt x="877" y="935"/>
                  </a:cubicBezTo>
                  <a:cubicBezTo>
                    <a:pt x="875" y="929"/>
                    <a:pt x="873" y="922"/>
                    <a:pt x="872" y="916"/>
                  </a:cubicBezTo>
                  <a:cubicBezTo>
                    <a:pt x="870" y="906"/>
                    <a:pt x="868" y="894"/>
                    <a:pt x="871" y="885"/>
                  </a:cubicBezTo>
                  <a:cubicBezTo>
                    <a:pt x="873" y="885"/>
                    <a:pt x="875" y="886"/>
                    <a:pt x="877" y="887"/>
                  </a:cubicBezTo>
                  <a:cubicBezTo>
                    <a:pt x="885" y="889"/>
                    <a:pt x="892" y="891"/>
                    <a:pt x="901" y="893"/>
                  </a:cubicBezTo>
                  <a:cubicBezTo>
                    <a:pt x="899" y="898"/>
                    <a:pt x="898" y="903"/>
                    <a:pt x="898" y="908"/>
                  </a:cubicBezTo>
                  <a:cubicBezTo>
                    <a:pt x="898" y="915"/>
                    <a:pt x="899" y="923"/>
                    <a:pt x="900" y="930"/>
                  </a:cubicBezTo>
                  <a:cubicBezTo>
                    <a:pt x="901" y="938"/>
                    <a:pt x="903" y="945"/>
                    <a:pt x="905" y="952"/>
                  </a:cubicBezTo>
                  <a:cubicBezTo>
                    <a:pt x="906" y="955"/>
                    <a:pt x="907" y="958"/>
                    <a:pt x="908" y="960"/>
                  </a:cubicBezTo>
                  <a:cubicBezTo>
                    <a:pt x="907" y="960"/>
                    <a:pt x="905" y="960"/>
                    <a:pt x="904" y="960"/>
                  </a:cubicBezTo>
                  <a:cubicBezTo>
                    <a:pt x="894" y="958"/>
                    <a:pt x="884" y="955"/>
                    <a:pt x="873" y="953"/>
                  </a:cubicBezTo>
                  <a:cubicBezTo>
                    <a:pt x="865" y="952"/>
                    <a:pt x="858" y="950"/>
                    <a:pt x="850" y="949"/>
                  </a:cubicBezTo>
                  <a:cubicBezTo>
                    <a:pt x="850" y="948"/>
                    <a:pt x="850" y="948"/>
                    <a:pt x="850" y="948"/>
                  </a:cubicBezTo>
                  <a:close/>
                  <a:moveTo>
                    <a:pt x="897" y="876"/>
                  </a:moveTo>
                  <a:cubicBezTo>
                    <a:pt x="897" y="876"/>
                    <a:pt x="897" y="876"/>
                    <a:pt x="897" y="876"/>
                  </a:cubicBezTo>
                  <a:cubicBezTo>
                    <a:pt x="902" y="877"/>
                    <a:pt x="906" y="877"/>
                    <a:pt x="911" y="877"/>
                  </a:cubicBezTo>
                  <a:cubicBezTo>
                    <a:pt x="913" y="877"/>
                    <a:pt x="916" y="877"/>
                    <a:pt x="919" y="877"/>
                  </a:cubicBezTo>
                  <a:cubicBezTo>
                    <a:pt x="921" y="879"/>
                    <a:pt x="924" y="880"/>
                    <a:pt x="927" y="882"/>
                  </a:cubicBezTo>
                  <a:cubicBezTo>
                    <a:pt x="928" y="884"/>
                    <a:pt x="930" y="885"/>
                    <a:pt x="932" y="887"/>
                  </a:cubicBezTo>
                  <a:cubicBezTo>
                    <a:pt x="934" y="888"/>
                    <a:pt x="936" y="890"/>
                    <a:pt x="937" y="890"/>
                  </a:cubicBezTo>
                  <a:cubicBezTo>
                    <a:pt x="938" y="891"/>
                    <a:pt x="939" y="890"/>
                    <a:pt x="939" y="889"/>
                  </a:cubicBezTo>
                  <a:cubicBezTo>
                    <a:pt x="938" y="887"/>
                    <a:pt x="937" y="885"/>
                    <a:pt x="935" y="884"/>
                  </a:cubicBezTo>
                  <a:cubicBezTo>
                    <a:pt x="934" y="882"/>
                    <a:pt x="932" y="881"/>
                    <a:pt x="930" y="879"/>
                  </a:cubicBezTo>
                  <a:cubicBezTo>
                    <a:pt x="929" y="878"/>
                    <a:pt x="927" y="877"/>
                    <a:pt x="926" y="876"/>
                  </a:cubicBezTo>
                  <a:cubicBezTo>
                    <a:pt x="932" y="876"/>
                    <a:pt x="937" y="876"/>
                    <a:pt x="943" y="876"/>
                  </a:cubicBezTo>
                  <a:cubicBezTo>
                    <a:pt x="944" y="876"/>
                    <a:pt x="946" y="876"/>
                    <a:pt x="947" y="876"/>
                  </a:cubicBezTo>
                  <a:cubicBezTo>
                    <a:pt x="950" y="881"/>
                    <a:pt x="954" y="887"/>
                    <a:pt x="959" y="892"/>
                  </a:cubicBezTo>
                  <a:cubicBezTo>
                    <a:pt x="960" y="894"/>
                    <a:pt x="961" y="896"/>
                    <a:pt x="963" y="898"/>
                  </a:cubicBezTo>
                  <a:cubicBezTo>
                    <a:pt x="961" y="897"/>
                    <a:pt x="959" y="897"/>
                    <a:pt x="957" y="896"/>
                  </a:cubicBezTo>
                  <a:cubicBezTo>
                    <a:pt x="938" y="892"/>
                    <a:pt x="920" y="888"/>
                    <a:pt x="902" y="884"/>
                  </a:cubicBezTo>
                  <a:cubicBezTo>
                    <a:pt x="902" y="883"/>
                    <a:pt x="901" y="882"/>
                    <a:pt x="901" y="882"/>
                  </a:cubicBezTo>
                  <a:cubicBezTo>
                    <a:pt x="899" y="880"/>
                    <a:pt x="897" y="878"/>
                    <a:pt x="896" y="876"/>
                  </a:cubicBezTo>
                  <a:cubicBezTo>
                    <a:pt x="896" y="876"/>
                    <a:pt x="897" y="876"/>
                    <a:pt x="897" y="876"/>
                  </a:cubicBezTo>
                  <a:close/>
                  <a:moveTo>
                    <a:pt x="965" y="874"/>
                  </a:moveTo>
                  <a:cubicBezTo>
                    <a:pt x="965" y="874"/>
                    <a:pt x="965" y="874"/>
                    <a:pt x="965" y="874"/>
                  </a:cubicBezTo>
                  <a:cubicBezTo>
                    <a:pt x="967" y="873"/>
                    <a:pt x="968" y="873"/>
                    <a:pt x="970" y="873"/>
                  </a:cubicBezTo>
                  <a:cubicBezTo>
                    <a:pt x="970" y="873"/>
                    <a:pt x="971" y="873"/>
                    <a:pt x="971" y="873"/>
                  </a:cubicBezTo>
                  <a:cubicBezTo>
                    <a:pt x="972" y="876"/>
                    <a:pt x="974" y="879"/>
                    <a:pt x="976" y="881"/>
                  </a:cubicBezTo>
                  <a:cubicBezTo>
                    <a:pt x="977" y="883"/>
                    <a:pt x="979" y="885"/>
                    <a:pt x="981" y="887"/>
                  </a:cubicBezTo>
                  <a:cubicBezTo>
                    <a:pt x="981" y="888"/>
                    <a:pt x="982" y="889"/>
                    <a:pt x="983" y="889"/>
                  </a:cubicBezTo>
                  <a:cubicBezTo>
                    <a:pt x="983" y="891"/>
                    <a:pt x="983" y="893"/>
                    <a:pt x="983" y="895"/>
                  </a:cubicBezTo>
                  <a:cubicBezTo>
                    <a:pt x="983" y="897"/>
                    <a:pt x="983" y="900"/>
                    <a:pt x="984" y="903"/>
                  </a:cubicBezTo>
                  <a:cubicBezTo>
                    <a:pt x="980" y="901"/>
                    <a:pt x="976" y="900"/>
                    <a:pt x="972" y="900"/>
                  </a:cubicBezTo>
                  <a:cubicBezTo>
                    <a:pt x="971" y="898"/>
                    <a:pt x="970" y="897"/>
                    <a:pt x="969" y="896"/>
                  </a:cubicBezTo>
                  <a:cubicBezTo>
                    <a:pt x="967" y="894"/>
                    <a:pt x="965" y="891"/>
                    <a:pt x="962" y="889"/>
                  </a:cubicBezTo>
                  <a:cubicBezTo>
                    <a:pt x="959" y="884"/>
                    <a:pt x="955" y="880"/>
                    <a:pt x="952" y="875"/>
                  </a:cubicBezTo>
                  <a:cubicBezTo>
                    <a:pt x="953" y="875"/>
                    <a:pt x="955" y="875"/>
                    <a:pt x="956" y="875"/>
                  </a:cubicBezTo>
                  <a:cubicBezTo>
                    <a:pt x="959" y="875"/>
                    <a:pt x="962" y="874"/>
                    <a:pt x="965" y="874"/>
                  </a:cubicBezTo>
                  <a:close/>
                  <a:moveTo>
                    <a:pt x="1025" y="905"/>
                  </a:moveTo>
                  <a:cubicBezTo>
                    <a:pt x="1025" y="905"/>
                    <a:pt x="1025" y="905"/>
                    <a:pt x="1025" y="905"/>
                  </a:cubicBezTo>
                  <a:cubicBezTo>
                    <a:pt x="1027" y="902"/>
                    <a:pt x="1028" y="899"/>
                    <a:pt x="1029" y="897"/>
                  </a:cubicBezTo>
                  <a:cubicBezTo>
                    <a:pt x="1030" y="897"/>
                    <a:pt x="1030" y="897"/>
                    <a:pt x="1030" y="897"/>
                  </a:cubicBezTo>
                  <a:cubicBezTo>
                    <a:pt x="1031" y="897"/>
                    <a:pt x="1031" y="897"/>
                    <a:pt x="1031" y="897"/>
                  </a:cubicBezTo>
                  <a:cubicBezTo>
                    <a:pt x="1031" y="897"/>
                    <a:pt x="1031" y="897"/>
                    <a:pt x="1031" y="897"/>
                  </a:cubicBezTo>
                  <a:cubicBezTo>
                    <a:pt x="1032" y="897"/>
                    <a:pt x="1033" y="897"/>
                    <a:pt x="1034" y="898"/>
                  </a:cubicBezTo>
                  <a:cubicBezTo>
                    <a:pt x="1034" y="898"/>
                    <a:pt x="1034" y="898"/>
                    <a:pt x="1034" y="898"/>
                  </a:cubicBezTo>
                  <a:cubicBezTo>
                    <a:pt x="1034" y="898"/>
                    <a:pt x="1035" y="898"/>
                    <a:pt x="1035" y="898"/>
                  </a:cubicBezTo>
                  <a:cubicBezTo>
                    <a:pt x="1036" y="899"/>
                    <a:pt x="1036" y="899"/>
                    <a:pt x="1037" y="899"/>
                  </a:cubicBezTo>
                  <a:cubicBezTo>
                    <a:pt x="1039" y="900"/>
                    <a:pt x="1040" y="901"/>
                    <a:pt x="1042" y="903"/>
                  </a:cubicBezTo>
                  <a:cubicBezTo>
                    <a:pt x="1047" y="906"/>
                    <a:pt x="1053" y="910"/>
                    <a:pt x="1058" y="914"/>
                  </a:cubicBezTo>
                  <a:cubicBezTo>
                    <a:pt x="1072" y="925"/>
                    <a:pt x="1084" y="938"/>
                    <a:pt x="1092" y="954"/>
                  </a:cubicBezTo>
                  <a:cubicBezTo>
                    <a:pt x="1094" y="958"/>
                    <a:pt x="1096" y="961"/>
                    <a:pt x="1097" y="966"/>
                  </a:cubicBezTo>
                  <a:cubicBezTo>
                    <a:pt x="1097" y="967"/>
                    <a:pt x="1098" y="968"/>
                    <a:pt x="1098" y="969"/>
                  </a:cubicBezTo>
                  <a:cubicBezTo>
                    <a:pt x="1098" y="970"/>
                    <a:pt x="1098" y="970"/>
                    <a:pt x="1098" y="971"/>
                  </a:cubicBezTo>
                  <a:cubicBezTo>
                    <a:pt x="1098" y="971"/>
                    <a:pt x="1098" y="971"/>
                    <a:pt x="1098" y="972"/>
                  </a:cubicBezTo>
                  <a:cubicBezTo>
                    <a:pt x="1098" y="972"/>
                    <a:pt x="1098" y="972"/>
                    <a:pt x="1098" y="973"/>
                  </a:cubicBezTo>
                  <a:cubicBezTo>
                    <a:pt x="1098" y="973"/>
                    <a:pt x="1098" y="973"/>
                    <a:pt x="1098" y="973"/>
                  </a:cubicBezTo>
                  <a:cubicBezTo>
                    <a:pt x="1098" y="973"/>
                    <a:pt x="1098" y="973"/>
                    <a:pt x="1098" y="973"/>
                  </a:cubicBezTo>
                  <a:cubicBezTo>
                    <a:pt x="1097" y="974"/>
                    <a:pt x="1097" y="975"/>
                    <a:pt x="1096" y="975"/>
                  </a:cubicBezTo>
                  <a:cubicBezTo>
                    <a:pt x="1096" y="976"/>
                    <a:pt x="1096" y="976"/>
                    <a:pt x="1096" y="976"/>
                  </a:cubicBezTo>
                  <a:cubicBezTo>
                    <a:pt x="1096" y="976"/>
                    <a:pt x="1096" y="977"/>
                    <a:pt x="1095" y="977"/>
                  </a:cubicBezTo>
                  <a:cubicBezTo>
                    <a:pt x="1095" y="978"/>
                    <a:pt x="1094" y="978"/>
                    <a:pt x="1093" y="979"/>
                  </a:cubicBezTo>
                  <a:cubicBezTo>
                    <a:pt x="1093" y="979"/>
                    <a:pt x="1093" y="979"/>
                    <a:pt x="1092" y="980"/>
                  </a:cubicBezTo>
                  <a:cubicBezTo>
                    <a:pt x="1092" y="980"/>
                    <a:pt x="1092" y="980"/>
                    <a:pt x="1091" y="980"/>
                  </a:cubicBezTo>
                  <a:cubicBezTo>
                    <a:pt x="1090" y="981"/>
                    <a:pt x="1089" y="982"/>
                    <a:pt x="1088" y="982"/>
                  </a:cubicBezTo>
                  <a:cubicBezTo>
                    <a:pt x="1086" y="984"/>
                    <a:pt x="1084" y="985"/>
                    <a:pt x="1082" y="986"/>
                  </a:cubicBezTo>
                  <a:cubicBezTo>
                    <a:pt x="1081" y="986"/>
                    <a:pt x="1080" y="987"/>
                    <a:pt x="1079" y="987"/>
                  </a:cubicBezTo>
                  <a:cubicBezTo>
                    <a:pt x="1078" y="988"/>
                    <a:pt x="1078" y="988"/>
                    <a:pt x="1078" y="988"/>
                  </a:cubicBezTo>
                  <a:cubicBezTo>
                    <a:pt x="1078" y="988"/>
                    <a:pt x="1078" y="988"/>
                    <a:pt x="1078" y="988"/>
                  </a:cubicBezTo>
                  <a:cubicBezTo>
                    <a:pt x="1078" y="988"/>
                    <a:pt x="1078" y="988"/>
                    <a:pt x="1078" y="988"/>
                  </a:cubicBezTo>
                  <a:cubicBezTo>
                    <a:pt x="1077" y="988"/>
                    <a:pt x="1076" y="989"/>
                    <a:pt x="1076" y="989"/>
                  </a:cubicBezTo>
                  <a:cubicBezTo>
                    <a:pt x="1070" y="991"/>
                    <a:pt x="1065" y="993"/>
                    <a:pt x="1059" y="994"/>
                  </a:cubicBezTo>
                  <a:cubicBezTo>
                    <a:pt x="1051" y="997"/>
                    <a:pt x="1041" y="999"/>
                    <a:pt x="1033" y="1001"/>
                  </a:cubicBezTo>
                  <a:cubicBezTo>
                    <a:pt x="1032" y="1001"/>
                    <a:pt x="1031" y="1001"/>
                    <a:pt x="1030" y="1001"/>
                  </a:cubicBezTo>
                  <a:cubicBezTo>
                    <a:pt x="1030" y="1001"/>
                    <a:pt x="1030" y="1001"/>
                    <a:pt x="1030" y="1001"/>
                  </a:cubicBezTo>
                  <a:cubicBezTo>
                    <a:pt x="1029" y="1001"/>
                    <a:pt x="1029" y="1001"/>
                    <a:pt x="1029" y="1001"/>
                  </a:cubicBezTo>
                  <a:cubicBezTo>
                    <a:pt x="1027" y="1002"/>
                    <a:pt x="1026" y="1002"/>
                    <a:pt x="1025" y="1002"/>
                  </a:cubicBezTo>
                  <a:cubicBezTo>
                    <a:pt x="1021" y="1002"/>
                    <a:pt x="1018" y="1002"/>
                    <a:pt x="1015" y="1002"/>
                  </a:cubicBezTo>
                  <a:cubicBezTo>
                    <a:pt x="1013" y="1002"/>
                    <a:pt x="1010" y="1001"/>
                    <a:pt x="1008" y="1002"/>
                  </a:cubicBezTo>
                  <a:cubicBezTo>
                    <a:pt x="1008" y="1001"/>
                    <a:pt x="1008" y="1001"/>
                    <a:pt x="1008" y="1001"/>
                  </a:cubicBezTo>
                  <a:cubicBezTo>
                    <a:pt x="1007" y="998"/>
                    <a:pt x="1006" y="996"/>
                    <a:pt x="1005" y="992"/>
                  </a:cubicBezTo>
                  <a:cubicBezTo>
                    <a:pt x="1004" y="987"/>
                    <a:pt x="1003" y="983"/>
                    <a:pt x="1003" y="977"/>
                  </a:cubicBezTo>
                  <a:cubicBezTo>
                    <a:pt x="1002" y="968"/>
                    <a:pt x="1003" y="957"/>
                    <a:pt x="1006" y="948"/>
                  </a:cubicBezTo>
                  <a:cubicBezTo>
                    <a:pt x="1007" y="943"/>
                    <a:pt x="1008" y="938"/>
                    <a:pt x="1010" y="933"/>
                  </a:cubicBezTo>
                  <a:cubicBezTo>
                    <a:pt x="1010" y="931"/>
                    <a:pt x="1011" y="929"/>
                    <a:pt x="1012" y="926"/>
                  </a:cubicBezTo>
                  <a:cubicBezTo>
                    <a:pt x="1012" y="926"/>
                    <a:pt x="1012" y="925"/>
                    <a:pt x="1012" y="925"/>
                  </a:cubicBezTo>
                  <a:cubicBezTo>
                    <a:pt x="1012" y="925"/>
                    <a:pt x="1012" y="925"/>
                    <a:pt x="1012" y="925"/>
                  </a:cubicBezTo>
                  <a:cubicBezTo>
                    <a:pt x="1012" y="925"/>
                    <a:pt x="1012" y="925"/>
                    <a:pt x="1012" y="925"/>
                  </a:cubicBezTo>
                  <a:cubicBezTo>
                    <a:pt x="1013" y="924"/>
                    <a:pt x="1013" y="923"/>
                    <a:pt x="1013" y="923"/>
                  </a:cubicBezTo>
                  <a:cubicBezTo>
                    <a:pt x="1015" y="920"/>
                    <a:pt x="1016" y="918"/>
                    <a:pt x="1018" y="916"/>
                  </a:cubicBezTo>
                  <a:cubicBezTo>
                    <a:pt x="1018" y="916"/>
                    <a:pt x="1019" y="915"/>
                    <a:pt x="1019" y="914"/>
                  </a:cubicBezTo>
                  <a:cubicBezTo>
                    <a:pt x="1021" y="911"/>
                    <a:pt x="1023" y="908"/>
                    <a:pt x="1025" y="905"/>
                  </a:cubicBezTo>
                  <a:close/>
                  <a:moveTo>
                    <a:pt x="1119" y="970"/>
                  </a:moveTo>
                  <a:cubicBezTo>
                    <a:pt x="1119" y="970"/>
                    <a:pt x="1119" y="970"/>
                    <a:pt x="1119" y="970"/>
                  </a:cubicBezTo>
                  <a:cubicBezTo>
                    <a:pt x="1119" y="971"/>
                    <a:pt x="1120" y="972"/>
                    <a:pt x="1120" y="973"/>
                  </a:cubicBezTo>
                  <a:cubicBezTo>
                    <a:pt x="1124" y="982"/>
                    <a:pt x="1134" y="986"/>
                    <a:pt x="1143" y="986"/>
                  </a:cubicBezTo>
                  <a:cubicBezTo>
                    <a:pt x="1143" y="986"/>
                    <a:pt x="1143" y="986"/>
                    <a:pt x="1143" y="986"/>
                  </a:cubicBezTo>
                  <a:cubicBezTo>
                    <a:pt x="1141" y="986"/>
                    <a:pt x="1139" y="987"/>
                    <a:pt x="1138" y="987"/>
                  </a:cubicBezTo>
                  <a:cubicBezTo>
                    <a:pt x="1135" y="987"/>
                    <a:pt x="1132" y="988"/>
                    <a:pt x="1130" y="989"/>
                  </a:cubicBezTo>
                  <a:cubicBezTo>
                    <a:pt x="1125" y="990"/>
                    <a:pt x="1119" y="991"/>
                    <a:pt x="1114" y="992"/>
                  </a:cubicBezTo>
                  <a:cubicBezTo>
                    <a:pt x="1105" y="995"/>
                    <a:pt x="1096" y="998"/>
                    <a:pt x="1087" y="1001"/>
                  </a:cubicBezTo>
                  <a:cubicBezTo>
                    <a:pt x="1085" y="1000"/>
                    <a:pt x="1083" y="998"/>
                    <a:pt x="1082" y="997"/>
                  </a:cubicBezTo>
                  <a:cubicBezTo>
                    <a:pt x="1086" y="994"/>
                    <a:pt x="1091" y="992"/>
                    <a:pt x="1096" y="988"/>
                  </a:cubicBezTo>
                  <a:cubicBezTo>
                    <a:pt x="1099" y="986"/>
                    <a:pt x="1102" y="983"/>
                    <a:pt x="1104" y="979"/>
                  </a:cubicBezTo>
                  <a:cubicBezTo>
                    <a:pt x="1104" y="979"/>
                    <a:pt x="1105" y="978"/>
                    <a:pt x="1105" y="978"/>
                  </a:cubicBezTo>
                  <a:cubicBezTo>
                    <a:pt x="1106" y="977"/>
                    <a:pt x="1106" y="977"/>
                    <a:pt x="1107" y="976"/>
                  </a:cubicBezTo>
                  <a:cubicBezTo>
                    <a:pt x="1109" y="976"/>
                    <a:pt x="1111" y="975"/>
                    <a:pt x="1113" y="974"/>
                  </a:cubicBezTo>
                  <a:cubicBezTo>
                    <a:pt x="1115" y="973"/>
                    <a:pt x="1117" y="972"/>
                    <a:pt x="1119" y="970"/>
                  </a:cubicBezTo>
                  <a:close/>
                  <a:moveTo>
                    <a:pt x="1189" y="1006"/>
                  </a:moveTo>
                  <a:cubicBezTo>
                    <a:pt x="1189" y="1006"/>
                    <a:pt x="1189" y="1006"/>
                    <a:pt x="1189" y="1006"/>
                  </a:cubicBezTo>
                  <a:cubicBezTo>
                    <a:pt x="1188" y="1005"/>
                    <a:pt x="1188" y="1005"/>
                    <a:pt x="1187" y="1005"/>
                  </a:cubicBezTo>
                  <a:cubicBezTo>
                    <a:pt x="1187" y="1004"/>
                    <a:pt x="1187" y="1004"/>
                    <a:pt x="1187" y="1004"/>
                  </a:cubicBezTo>
                  <a:cubicBezTo>
                    <a:pt x="1186" y="1004"/>
                    <a:pt x="1186" y="1004"/>
                    <a:pt x="1186" y="1003"/>
                  </a:cubicBezTo>
                  <a:cubicBezTo>
                    <a:pt x="1184" y="1002"/>
                    <a:pt x="1183" y="1001"/>
                    <a:pt x="1182" y="1000"/>
                  </a:cubicBezTo>
                  <a:cubicBezTo>
                    <a:pt x="1181" y="998"/>
                    <a:pt x="1180" y="997"/>
                    <a:pt x="1179" y="996"/>
                  </a:cubicBezTo>
                  <a:cubicBezTo>
                    <a:pt x="1179" y="995"/>
                    <a:pt x="1180" y="994"/>
                    <a:pt x="1181" y="993"/>
                  </a:cubicBezTo>
                  <a:cubicBezTo>
                    <a:pt x="1181" y="991"/>
                    <a:pt x="1182" y="989"/>
                    <a:pt x="1183" y="988"/>
                  </a:cubicBezTo>
                  <a:cubicBezTo>
                    <a:pt x="1184" y="988"/>
                    <a:pt x="1184" y="987"/>
                    <a:pt x="1184" y="987"/>
                  </a:cubicBezTo>
                  <a:cubicBezTo>
                    <a:pt x="1184" y="987"/>
                    <a:pt x="1184" y="987"/>
                    <a:pt x="1185" y="987"/>
                  </a:cubicBezTo>
                  <a:cubicBezTo>
                    <a:pt x="1185" y="987"/>
                    <a:pt x="1185" y="987"/>
                    <a:pt x="1185" y="987"/>
                  </a:cubicBezTo>
                  <a:cubicBezTo>
                    <a:pt x="1185" y="988"/>
                    <a:pt x="1185" y="988"/>
                    <a:pt x="1185" y="988"/>
                  </a:cubicBezTo>
                  <a:cubicBezTo>
                    <a:pt x="1186" y="992"/>
                    <a:pt x="1188" y="996"/>
                    <a:pt x="1191" y="998"/>
                  </a:cubicBezTo>
                  <a:cubicBezTo>
                    <a:pt x="1194" y="1000"/>
                    <a:pt x="1199" y="1001"/>
                    <a:pt x="1203" y="1001"/>
                  </a:cubicBezTo>
                  <a:cubicBezTo>
                    <a:pt x="1205" y="1001"/>
                    <a:pt x="1207" y="1001"/>
                    <a:pt x="1209" y="1001"/>
                  </a:cubicBezTo>
                  <a:cubicBezTo>
                    <a:pt x="1208" y="1001"/>
                    <a:pt x="1208" y="1001"/>
                    <a:pt x="1208" y="1001"/>
                  </a:cubicBezTo>
                  <a:cubicBezTo>
                    <a:pt x="1206" y="1004"/>
                    <a:pt x="1203" y="1005"/>
                    <a:pt x="1199" y="1006"/>
                  </a:cubicBezTo>
                  <a:cubicBezTo>
                    <a:pt x="1197" y="1007"/>
                    <a:pt x="1196" y="1007"/>
                    <a:pt x="1194" y="1007"/>
                  </a:cubicBezTo>
                  <a:cubicBezTo>
                    <a:pt x="1192" y="1007"/>
                    <a:pt x="1192" y="1006"/>
                    <a:pt x="1191" y="1006"/>
                  </a:cubicBezTo>
                  <a:cubicBezTo>
                    <a:pt x="1191" y="1006"/>
                    <a:pt x="1190" y="1006"/>
                    <a:pt x="1190" y="1006"/>
                  </a:cubicBezTo>
                  <a:cubicBezTo>
                    <a:pt x="1189" y="1006"/>
                    <a:pt x="1189" y="1006"/>
                    <a:pt x="1189" y="1006"/>
                  </a:cubicBezTo>
                  <a:close/>
                  <a:moveTo>
                    <a:pt x="1067" y="1010"/>
                  </a:moveTo>
                  <a:cubicBezTo>
                    <a:pt x="1067" y="1010"/>
                    <a:pt x="1067" y="1010"/>
                    <a:pt x="1067" y="1010"/>
                  </a:cubicBezTo>
                  <a:cubicBezTo>
                    <a:pt x="1068" y="1008"/>
                    <a:pt x="1069" y="1005"/>
                    <a:pt x="1069" y="1001"/>
                  </a:cubicBezTo>
                  <a:cubicBezTo>
                    <a:pt x="1069" y="1001"/>
                    <a:pt x="1069" y="1001"/>
                    <a:pt x="1069" y="1001"/>
                  </a:cubicBezTo>
                  <a:cubicBezTo>
                    <a:pt x="1071" y="1001"/>
                    <a:pt x="1073" y="1000"/>
                    <a:pt x="1075" y="1000"/>
                  </a:cubicBezTo>
                  <a:cubicBezTo>
                    <a:pt x="1075" y="1000"/>
                    <a:pt x="1076" y="1000"/>
                    <a:pt x="1076" y="1001"/>
                  </a:cubicBezTo>
                  <a:cubicBezTo>
                    <a:pt x="1079" y="1003"/>
                    <a:pt x="1082" y="1005"/>
                    <a:pt x="1084" y="1007"/>
                  </a:cubicBezTo>
                  <a:cubicBezTo>
                    <a:pt x="1087" y="1010"/>
                    <a:pt x="1091" y="1013"/>
                    <a:pt x="1094" y="1015"/>
                  </a:cubicBezTo>
                  <a:cubicBezTo>
                    <a:pt x="1094" y="1015"/>
                    <a:pt x="1094" y="1015"/>
                    <a:pt x="1094" y="1015"/>
                  </a:cubicBezTo>
                  <a:cubicBezTo>
                    <a:pt x="1091" y="1014"/>
                    <a:pt x="1087" y="1013"/>
                    <a:pt x="1083" y="1012"/>
                  </a:cubicBezTo>
                  <a:cubicBezTo>
                    <a:pt x="1078" y="1011"/>
                    <a:pt x="1073" y="1010"/>
                    <a:pt x="1067" y="1011"/>
                  </a:cubicBezTo>
                  <a:cubicBezTo>
                    <a:pt x="1067" y="1011"/>
                    <a:pt x="1067" y="1011"/>
                    <a:pt x="1067" y="1010"/>
                  </a:cubicBezTo>
                  <a:close/>
                  <a:moveTo>
                    <a:pt x="1104" y="1013"/>
                  </a:moveTo>
                  <a:cubicBezTo>
                    <a:pt x="1104" y="1013"/>
                    <a:pt x="1104" y="1013"/>
                    <a:pt x="1104" y="1013"/>
                  </a:cubicBezTo>
                  <a:cubicBezTo>
                    <a:pt x="1099" y="1010"/>
                    <a:pt x="1095" y="1007"/>
                    <a:pt x="1091" y="1004"/>
                  </a:cubicBezTo>
                  <a:cubicBezTo>
                    <a:pt x="1099" y="1001"/>
                    <a:pt x="1107" y="999"/>
                    <a:pt x="1115" y="997"/>
                  </a:cubicBezTo>
                  <a:cubicBezTo>
                    <a:pt x="1120" y="996"/>
                    <a:pt x="1125" y="994"/>
                    <a:pt x="1130" y="993"/>
                  </a:cubicBezTo>
                  <a:cubicBezTo>
                    <a:pt x="1132" y="993"/>
                    <a:pt x="1135" y="992"/>
                    <a:pt x="1138" y="992"/>
                  </a:cubicBezTo>
                  <a:cubicBezTo>
                    <a:pt x="1140" y="991"/>
                    <a:pt x="1142" y="991"/>
                    <a:pt x="1145" y="990"/>
                  </a:cubicBezTo>
                  <a:cubicBezTo>
                    <a:pt x="1145" y="991"/>
                    <a:pt x="1146" y="992"/>
                    <a:pt x="1147" y="993"/>
                  </a:cubicBezTo>
                  <a:cubicBezTo>
                    <a:pt x="1149" y="996"/>
                    <a:pt x="1152" y="998"/>
                    <a:pt x="1155" y="1000"/>
                  </a:cubicBezTo>
                  <a:cubicBezTo>
                    <a:pt x="1154" y="1000"/>
                    <a:pt x="1154" y="1000"/>
                    <a:pt x="1154" y="1000"/>
                  </a:cubicBezTo>
                  <a:cubicBezTo>
                    <a:pt x="1152" y="1001"/>
                    <a:pt x="1149" y="1002"/>
                    <a:pt x="1147" y="1003"/>
                  </a:cubicBezTo>
                  <a:cubicBezTo>
                    <a:pt x="1142" y="1005"/>
                    <a:pt x="1137" y="1007"/>
                    <a:pt x="1132" y="1008"/>
                  </a:cubicBezTo>
                  <a:cubicBezTo>
                    <a:pt x="1127" y="1009"/>
                    <a:pt x="1122" y="1011"/>
                    <a:pt x="1117" y="1012"/>
                  </a:cubicBezTo>
                  <a:cubicBezTo>
                    <a:pt x="1114" y="1012"/>
                    <a:pt x="1111" y="1013"/>
                    <a:pt x="1108" y="1013"/>
                  </a:cubicBezTo>
                  <a:cubicBezTo>
                    <a:pt x="1107" y="1013"/>
                    <a:pt x="1105" y="1013"/>
                    <a:pt x="1104" y="1013"/>
                  </a:cubicBezTo>
                  <a:close/>
                  <a:moveTo>
                    <a:pt x="1140" y="977"/>
                  </a:moveTo>
                  <a:cubicBezTo>
                    <a:pt x="1140" y="977"/>
                    <a:pt x="1140" y="977"/>
                    <a:pt x="1140" y="977"/>
                  </a:cubicBezTo>
                  <a:cubicBezTo>
                    <a:pt x="1140" y="977"/>
                    <a:pt x="1140" y="977"/>
                    <a:pt x="1139" y="977"/>
                  </a:cubicBezTo>
                  <a:cubicBezTo>
                    <a:pt x="1139" y="977"/>
                    <a:pt x="1138" y="977"/>
                    <a:pt x="1138" y="977"/>
                  </a:cubicBezTo>
                  <a:cubicBezTo>
                    <a:pt x="1137" y="977"/>
                    <a:pt x="1136" y="976"/>
                    <a:pt x="1135" y="976"/>
                  </a:cubicBezTo>
                  <a:cubicBezTo>
                    <a:pt x="1134" y="976"/>
                    <a:pt x="1134" y="976"/>
                    <a:pt x="1134" y="976"/>
                  </a:cubicBezTo>
                  <a:cubicBezTo>
                    <a:pt x="1134" y="976"/>
                    <a:pt x="1134" y="976"/>
                    <a:pt x="1134" y="976"/>
                  </a:cubicBezTo>
                  <a:cubicBezTo>
                    <a:pt x="1133" y="975"/>
                    <a:pt x="1133" y="975"/>
                    <a:pt x="1132" y="975"/>
                  </a:cubicBezTo>
                  <a:cubicBezTo>
                    <a:pt x="1132" y="975"/>
                    <a:pt x="1132" y="974"/>
                    <a:pt x="1131" y="974"/>
                  </a:cubicBezTo>
                  <a:cubicBezTo>
                    <a:pt x="1131" y="974"/>
                    <a:pt x="1131" y="974"/>
                    <a:pt x="1131" y="974"/>
                  </a:cubicBezTo>
                  <a:cubicBezTo>
                    <a:pt x="1130" y="973"/>
                    <a:pt x="1129" y="972"/>
                    <a:pt x="1129" y="972"/>
                  </a:cubicBezTo>
                  <a:cubicBezTo>
                    <a:pt x="1128" y="971"/>
                    <a:pt x="1128" y="971"/>
                    <a:pt x="1127" y="969"/>
                  </a:cubicBezTo>
                  <a:cubicBezTo>
                    <a:pt x="1127" y="969"/>
                    <a:pt x="1127" y="969"/>
                    <a:pt x="1127" y="969"/>
                  </a:cubicBezTo>
                  <a:cubicBezTo>
                    <a:pt x="1127" y="969"/>
                    <a:pt x="1127" y="969"/>
                    <a:pt x="1127" y="969"/>
                  </a:cubicBezTo>
                  <a:cubicBezTo>
                    <a:pt x="1127" y="968"/>
                    <a:pt x="1127" y="968"/>
                    <a:pt x="1126" y="967"/>
                  </a:cubicBezTo>
                  <a:cubicBezTo>
                    <a:pt x="1126" y="967"/>
                    <a:pt x="1126" y="967"/>
                    <a:pt x="1126" y="967"/>
                  </a:cubicBezTo>
                  <a:cubicBezTo>
                    <a:pt x="1126" y="966"/>
                    <a:pt x="1126" y="966"/>
                    <a:pt x="1126" y="966"/>
                  </a:cubicBezTo>
                  <a:cubicBezTo>
                    <a:pt x="1126" y="966"/>
                    <a:pt x="1126" y="965"/>
                    <a:pt x="1126" y="964"/>
                  </a:cubicBezTo>
                  <a:cubicBezTo>
                    <a:pt x="1126" y="963"/>
                    <a:pt x="1126" y="962"/>
                    <a:pt x="1127" y="961"/>
                  </a:cubicBezTo>
                  <a:cubicBezTo>
                    <a:pt x="1127" y="960"/>
                    <a:pt x="1127" y="959"/>
                    <a:pt x="1127" y="959"/>
                  </a:cubicBezTo>
                  <a:cubicBezTo>
                    <a:pt x="1130" y="961"/>
                    <a:pt x="1133" y="964"/>
                    <a:pt x="1137" y="965"/>
                  </a:cubicBezTo>
                  <a:cubicBezTo>
                    <a:pt x="1139" y="966"/>
                    <a:pt x="1141" y="967"/>
                    <a:pt x="1144" y="967"/>
                  </a:cubicBezTo>
                  <a:cubicBezTo>
                    <a:pt x="1144" y="968"/>
                    <a:pt x="1145" y="968"/>
                    <a:pt x="1146" y="968"/>
                  </a:cubicBezTo>
                  <a:cubicBezTo>
                    <a:pt x="1147" y="968"/>
                    <a:pt x="1148" y="968"/>
                    <a:pt x="1149" y="968"/>
                  </a:cubicBezTo>
                  <a:cubicBezTo>
                    <a:pt x="1149" y="968"/>
                    <a:pt x="1148" y="969"/>
                    <a:pt x="1148" y="969"/>
                  </a:cubicBezTo>
                  <a:cubicBezTo>
                    <a:pt x="1147" y="971"/>
                    <a:pt x="1146" y="973"/>
                    <a:pt x="1145" y="975"/>
                  </a:cubicBezTo>
                  <a:cubicBezTo>
                    <a:pt x="1145" y="976"/>
                    <a:pt x="1144" y="977"/>
                    <a:pt x="1143" y="978"/>
                  </a:cubicBezTo>
                  <a:cubicBezTo>
                    <a:pt x="1142" y="978"/>
                    <a:pt x="1141" y="977"/>
                    <a:pt x="1140" y="977"/>
                  </a:cubicBezTo>
                  <a:cubicBezTo>
                    <a:pt x="1140" y="977"/>
                    <a:pt x="1140" y="977"/>
                    <a:pt x="1140" y="977"/>
                  </a:cubicBezTo>
                  <a:close/>
                  <a:moveTo>
                    <a:pt x="1162" y="993"/>
                  </a:moveTo>
                  <a:cubicBezTo>
                    <a:pt x="1162" y="993"/>
                    <a:pt x="1162" y="993"/>
                    <a:pt x="1162" y="993"/>
                  </a:cubicBezTo>
                  <a:cubicBezTo>
                    <a:pt x="1163" y="993"/>
                    <a:pt x="1162" y="993"/>
                    <a:pt x="1162" y="993"/>
                  </a:cubicBezTo>
                  <a:cubicBezTo>
                    <a:pt x="1161" y="993"/>
                    <a:pt x="1161" y="993"/>
                    <a:pt x="1160" y="993"/>
                  </a:cubicBezTo>
                  <a:cubicBezTo>
                    <a:pt x="1160" y="992"/>
                    <a:pt x="1159" y="992"/>
                    <a:pt x="1158" y="991"/>
                  </a:cubicBezTo>
                  <a:cubicBezTo>
                    <a:pt x="1157" y="991"/>
                    <a:pt x="1157" y="991"/>
                    <a:pt x="1156" y="990"/>
                  </a:cubicBezTo>
                  <a:cubicBezTo>
                    <a:pt x="1156" y="990"/>
                    <a:pt x="1156" y="990"/>
                    <a:pt x="1155" y="989"/>
                  </a:cubicBezTo>
                  <a:cubicBezTo>
                    <a:pt x="1153" y="987"/>
                    <a:pt x="1152" y="987"/>
                    <a:pt x="1152" y="985"/>
                  </a:cubicBezTo>
                  <a:cubicBezTo>
                    <a:pt x="1151" y="984"/>
                    <a:pt x="1151" y="983"/>
                    <a:pt x="1151" y="981"/>
                  </a:cubicBezTo>
                  <a:cubicBezTo>
                    <a:pt x="1151" y="980"/>
                    <a:pt x="1151" y="979"/>
                    <a:pt x="1150" y="979"/>
                  </a:cubicBezTo>
                  <a:cubicBezTo>
                    <a:pt x="1151" y="977"/>
                    <a:pt x="1151" y="976"/>
                    <a:pt x="1152" y="975"/>
                  </a:cubicBezTo>
                  <a:cubicBezTo>
                    <a:pt x="1152" y="975"/>
                    <a:pt x="1153" y="976"/>
                    <a:pt x="1153" y="977"/>
                  </a:cubicBezTo>
                  <a:cubicBezTo>
                    <a:pt x="1155" y="980"/>
                    <a:pt x="1158" y="983"/>
                    <a:pt x="1161" y="984"/>
                  </a:cubicBezTo>
                  <a:cubicBezTo>
                    <a:pt x="1166" y="987"/>
                    <a:pt x="1171" y="988"/>
                    <a:pt x="1176" y="988"/>
                  </a:cubicBezTo>
                  <a:cubicBezTo>
                    <a:pt x="1176" y="989"/>
                    <a:pt x="1176" y="989"/>
                    <a:pt x="1175" y="990"/>
                  </a:cubicBezTo>
                  <a:cubicBezTo>
                    <a:pt x="1175" y="991"/>
                    <a:pt x="1174" y="992"/>
                    <a:pt x="1174" y="994"/>
                  </a:cubicBezTo>
                  <a:cubicBezTo>
                    <a:pt x="1173" y="994"/>
                    <a:pt x="1173" y="994"/>
                    <a:pt x="1173" y="994"/>
                  </a:cubicBezTo>
                  <a:cubicBezTo>
                    <a:pt x="1170" y="993"/>
                    <a:pt x="1166" y="994"/>
                    <a:pt x="1162" y="993"/>
                  </a:cubicBezTo>
                  <a:close/>
                  <a:moveTo>
                    <a:pt x="988" y="1085"/>
                  </a:moveTo>
                  <a:cubicBezTo>
                    <a:pt x="988" y="1085"/>
                    <a:pt x="988" y="1085"/>
                    <a:pt x="988" y="1085"/>
                  </a:cubicBezTo>
                  <a:cubicBezTo>
                    <a:pt x="987" y="1089"/>
                    <a:pt x="987" y="1093"/>
                    <a:pt x="987" y="1096"/>
                  </a:cubicBezTo>
                  <a:cubicBezTo>
                    <a:pt x="987" y="1096"/>
                    <a:pt x="987" y="1096"/>
                    <a:pt x="987" y="1096"/>
                  </a:cubicBezTo>
                  <a:cubicBezTo>
                    <a:pt x="985" y="1096"/>
                    <a:pt x="983" y="1096"/>
                    <a:pt x="980" y="1096"/>
                  </a:cubicBezTo>
                  <a:cubicBezTo>
                    <a:pt x="980" y="1096"/>
                    <a:pt x="980" y="1096"/>
                    <a:pt x="980" y="1096"/>
                  </a:cubicBezTo>
                  <a:cubicBezTo>
                    <a:pt x="979" y="1096"/>
                    <a:pt x="979" y="1096"/>
                    <a:pt x="979" y="1096"/>
                  </a:cubicBezTo>
                  <a:cubicBezTo>
                    <a:pt x="978" y="1096"/>
                    <a:pt x="977" y="1095"/>
                    <a:pt x="977" y="1095"/>
                  </a:cubicBezTo>
                  <a:cubicBezTo>
                    <a:pt x="975" y="1095"/>
                    <a:pt x="973" y="1095"/>
                    <a:pt x="972" y="1094"/>
                  </a:cubicBezTo>
                  <a:cubicBezTo>
                    <a:pt x="969" y="1094"/>
                    <a:pt x="966" y="1093"/>
                    <a:pt x="963" y="1093"/>
                  </a:cubicBezTo>
                  <a:cubicBezTo>
                    <a:pt x="949" y="1090"/>
                    <a:pt x="936" y="1086"/>
                    <a:pt x="923" y="1081"/>
                  </a:cubicBezTo>
                  <a:cubicBezTo>
                    <a:pt x="918" y="1079"/>
                    <a:pt x="913" y="1077"/>
                    <a:pt x="909" y="1075"/>
                  </a:cubicBezTo>
                  <a:cubicBezTo>
                    <a:pt x="909" y="1075"/>
                    <a:pt x="909" y="1074"/>
                    <a:pt x="909" y="1074"/>
                  </a:cubicBezTo>
                  <a:cubicBezTo>
                    <a:pt x="910" y="1072"/>
                    <a:pt x="907" y="1071"/>
                    <a:pt x="906" y="1073"/>
                  </a:cubicBezTo>
                  <a:cubicBezTo>
                    <a:pt x="906" y="1074"/>
                    <a:pt x="906" y="1074"/>
                    <a:pt x="906" y="1074"/>
                  </a:cubicBezTo>
                  <a:cubicBezTo>
                    <a:pt x="904" y="1073"/>
                    <a:pt x="902" y="1073"/>
                    <a:pt x="900" y="1072"/>
                  </a:cubicBezTo>
                  <a:cubicBezTo>
                    <a:pt x="900" y="1071"/>
                    <a:pt x="900" y="1071"/>
                    <a:pt x="900" y="1071"/>
                  </a:cubicBezTo>
                  <a:cubicBezTo>
                    <a:pt x="899" y="1064"/>
                    <a:pt x="902" y="1056"/>
                    <a:pt x="905" y="1050"/>
                  </a:cubicBezTo>
                  <a:cubicBezTo>
                    <a:pt x="909" y="1043"/>
                    <a:pt x="914" y="1037"/>
                    <a:pt x="919" y="1032"/>
                  </a:cubicBezTo>
                  <a:cubicBezTo>
                    <a:pt x="931" y="1020"/>
                    <a:pt x="943" y="1010"/>
                    <a:pt x="958" y="1005"/>
                  </a:cubicBezTo>
                  <a:cubicBezTo>
                    <a:pt x="960" y="1005"/>
                    <a:pt x="961" y="1004"/>
                    <a:pt x="962" y="1004"/>
                  </a:cubicBezTo>
                  <a:cubicBezTo>
                    <a:pt x="963" y="1004"/>
                    <a:pt x="964" y="1004"/>
                    <a:pt x="965" y="1003"/>
                  </a:cubicBezTo>
                  <a:cubicBezTo>
                    <a:pt x="966" y="1003"/>
                    <a:pt x="966" y="1003"/>
                    <a:pt x="967" y="1003"/>
                  </a:cubicBezTo>
                  <a:cubicBezTo>
                    <a:pt x="967" y="1003"/>
                    <a:pt x="967" y="1003"/>
                    <a:pt x="967" y="1003"/>
                  </a:cubicBezTo>
                  <a:cubicBezTo>
                    <a:pt x="967" y="1003"/>
                    <a:pt x="967" y="1003"/>
                    <a:pt x="967" y="1003"/>
                  </a:cubicBezTo>
                  <a:cubicBezTo>
                    <a:pt x="970" y="1003"/>
                    <a:pt x="973" y="1003"/>
                    <a:pt x="976" y="1002"/>
                  </a:cubicBezTo>
                  <a:cubicBezTo>
                    <a:pt x="976" y="1002"/>
                    <a:pt x="976" y="1002"/>
                    <a:pt x="976" y="1002"/>
                  </a:cubicBezTo>
                  <a:cubicBezTo>
                    <a:pt x="976" y="1003"/>
                    <a:pt x="976" y="1003"/>
                    <a:pt x="976" y="1004"/>
                  </a:cubicBezTo>
                  <a:cubicBezTo>
                    <a:pt x="977" y="1005"/>
                    <a:pt x="977" y="1006"/>
                    <a:pt x="978" y="1005"/>
                  </a:cubicBezTo>
                  <a:cubicBezTo>
                    <a:pt x="978" y="1006"/>
                    <a:pt x="979" y="1007"/>
                    <a:pt x="979" y="1007"/>
                  </a:cubicBezTo>
                  <a:cubicBezTo>
                    <a:pt x="981" y="1010"/>
                    <a:pt x="982" y="1013"/>
                    <a:pt x="983" y="1016"/>
                  </a:cubicBezTo>
                  <a:cubicBezTo>
                    <a:pt x="984" y="1020"/>
                    <a:pt x="985" y="1024"/>
                    <a:pt x="986" y="1028"/>
                  </a:cubicBezTo>
                  <a:cubicBezTo>
                    <a:pt x="986" y="1030"/>
                    <a:pt x="987" y="1031"/>
                    <a:pt x="987" y="1033"/>
                  </a:cubicBezTo>
                  <a:cubicBezTo>
                    <a:pt x="987" y="1035"/>
                    <a:pt x="987" y="1036"/>
                    <a:pt x="988" y="1038"/>
                  </a:cubicBezTo>
                  <a:cubicBezTo>
                    <a:pt x="989" y="1054"/>
                    <a:pt x="989" y="1070"/>
                    <a:pt x="988" y="1085"/>
                  </a:cubicBezTo>
                  <a:close/>
                  <a:moveTo>
                    <a:pt x="988" y="1123"/>
                  </a:moveTo>
                  <a:cubicBezTo>
                    <a:pt x="988" y="1123"/>
                    <a:pt x="988" y="1123"/>
                    <a:pt x="988" y="1123"/>
                  </a:cubicBezTo>
                  <a:cubicBezTo>
                    <a:pt x="988" y="1123"/>
                    <a:pt x="988" y="1123"/>
                    <a:pt x="988" y="1123"/>
                  </a:cubicBezTo>
                  <a:cubicBezTo>
                    <a:pt x="988" y="1123"/>
                    <a:pt x="988" y="1123"/>
                    <a:pt x="988" y="1123"/>
                  </a:cubicBezTo>
                  <a:close/>
                  <a:moveTo>
                    <a:pt x="988" y="1123"/>
                  </a:moveTo>
                  <a:cubicBezTo>
                    <a:pt x="988" y="1123"/>
                    <a:pt x="988" y="1123"/>
                    <a:pt x="988" y="1123"/>
                  </a:cubicBezTo>
                  <a:cubicBezTo>
                    <a:pt x="988" y="1123"/>
                    <a:pt x="988" y="1123"/>
                    <a:pt x="988" y="1123"/>
                  </a:cubicBezTo>
                  <a:cubicBezTo>
                    <a:pt x="988" y="1123"/>
                    <a:pt x="988" y="1123"/>
                    <a:pt x="988" y="1123"/>
                  </a:cubicBezTo>
                  <a:cubicBezTo>
                    <a:pt x="988" y="1123"/>
                    <a:pt x="988" y="1123"/>
                    <a:pt x="988" y="1123"/>
                  </a:cubicBezTo>
                  <a:close/>
                  <a:moveTo>
                    <a:pt x="988" y="1125"/>
                  </a:moveTo>
                  <a:cubicBezTo>
                    <a:pt x="988" y="1125"/>
                    <a:pt x="988" y="1125"/>
                    <a:pt x="988" y="1125"/>
                  </a:cubicBezTo>
                  <a:cubicBezTo>
                    <a:pt x="988" y="1125"/>
                    <a:pt x="988" y="1125"/>
                    <a:pt x="988" y="1124"/>
                  </a:cubicBezTo>
                  <a:cubicBezTo>
                    <a:pt x="988" y="1124"/>
                    <a:pt x="988" y="1124"/>
                    <a:pt x="988" y="1124"/>
                  </a:cubicBezTo>
                  <a:cubicBezTo>
                    <a:pt x="988" y="1124"/>
                    <a:pt x="988" y="1124"/>
                    <a:pt x="988" y="1124"/>
                  </a:cubicBezTo>
                  <a:cubicBezTo>
                    <a:pt x="988" y="1124"/>
                    <a:pt x="988" y="1124"/>
                    <a:pt x="988" y="1123"/>
                  </a:cubicBezTo>
                  <a:cubicBezTo>
                    <a:pt x="988" y="1123"/>
                    <a:pt x="988" y="1123"/>
                    <a:pt x="988" y="1123"/>
                  </a:cubicBezTo>
                  <a:cubicBezTo>
                    <a:pt x="988" y="1123"/>
                    <a:pt x="988" y="1123"/>
                    <a:pt x="988" y="1123"/>
                  </a:cubicBezTo>
                  <a:cubicBezTo>
                    <a:pt x="988" y="1123"/>
                    <a:pt x="988" y="1123"/>
                    <a:pt x="988" y="1123"/>
                  </a:cubicBezTo>
                  <a:cubicBezTo>
                    <a:pt x="988" y="1123"/>
                    <a:pt x="988" y="1123"/>
                    <a:pt x="988" y="1123"/>
                  </a:cubicBezTo>
                  <a:cubicBezTo>
                    <a:pt x="989" y="1123"/>
                    <a:pt x="989" y="1123"/>
                    <a:pt x="989" y="1123"/>
                  </a:cubicBezTo>
                  <a:cubicBezTo>
                    <a:pt x="989" y="1123"/>
                    <a:pt x="989" y="1123"/>
                    <a:pt x="989" y="1123"/>
                  </a:cubicBezTo>
                  <a:cubicBezTo>
                    <a:pt x="989" y="1123"/>
                    <a:pt x="989" y="1123"/>
                    <a:pt x="990" y="1123"/>
                  </a:cubicBezTo>
                  <a:cubicBezTo>
                    <a:pt x="990" y="1123"/>
                    <a:pt x="990" y="1123"/>
                    <a:pt x="990" y="1123"/>
                  </a:cubicBezTo>
                  <a:cubicBezTo>
                    <a:pt x="993" y="1123"/>
                    <a:pt x="996" y="1123"/>
                    <a:pt x="999" y="1124"/>
                  </a:cubicBezTo>
                  <a:cubicBezTo>
                    <a:pt x="1001" y="1125"/>
                    <a:pt x="1004" y="1126"/>
                    <a:pt x="1007" y="1127"/>
                  </a:cubicBezTo>
                  <a:cubicBezTo>
                    <a:pt x="1008" y="1128"/>
                    <a:pt x="1009" y="1129"/>
                    <a:pt x="1010" y="1129"/>
                  </a:cubicBezTo>
                  <a:cubicBezTo>
                    <a:pt x="1010" y="1130"/>
                    <a:pt x="1011" y="1131"/>
                    <a:pt x="1012" y="1131"/>
                  </a:cubicBezTo>
                  <a:cubicBezTo>
                    <a:pt x="1012" y="1132"/>
                    <a:pt x="1012" y="1134"/>
                    <a:pt x="1012" y="1135"/>
                  </a:cubicBezTo>
                  <a:cubicBezTo>
                    <a:pt x="1012" y="1136"/>
                    <a:pt x="1012" y="1136"/>
                    <a:pt x="1012" y="1136"/>
                  </a:cubicBezTo>
                  <a:cubicBezTo>
                    <a:pt x="1011" y="1135"/>
                    <a:pt x="1010" y="1133"/>
                    <a:pt x="1009" y="1132"/>
                  </a:cubicBezTo>
                  <a:cubicBezTo>
                    <a:pt x="1008" y="1130"/>
                    <a:pt x="1006" y="1128"/>
                    <a:pt x="1004" y="1127"/>
                  </a:cubicBezTo>
                  <a:cubicBezTo>
                    <a:pt x="1003" y="1127"/>
                    <a:pt x="1002" y="1128"/>
                    <a:pt x="1002" y="1128"/>
                  </a:cubicBezTo>
                  <a:cubicBezTo>
                    <a:pt x="1003" y="1131"/>
                    <a:pt x="1005" y="1133"/>
                    <a:pt x="1006" y="1134"/>
                  </a:cubicBezTo>
                  <a:cubicBezTo>
                    <a:pt x="1006" y="1135"/>
                    <a:pt x="1006" y="1135"/>
                    <a:pt x="1006" y="1135"/>
                  </a:cubicBezTo>
                  <a:cubicBezTo>
                    <a:pt x="1001" y="1131"/>
                    <a:pt x="995" y="1129"/>
                    <a:pt x="989" y="1127"/>
                  </a:cubicBezTo>
                  <a:cubicBezTo>
                    <a:pt x="989" y="1126"/>
                    <a:pt x="989" y="1125"/>
                    <a:pt x="988" y="1125"/>
                  </a:cubicBezTo>
                  <a:close/>
                  <a:moveTo>
                    <a:pt x="994" y="1135"/>
                  </a:moveTo>
                  <a:cubicBezTo>
                    <a:pt x="994" y="1135"/>
                    <a:pt x="994" y="1135"/>
                    <a:pt x="994" y="1135"/>
                  </a:cubicBezTo>
                  <a:cubicBezTo>
                    <a:pt x="997" y="1136"/>
                    <a:pt x="999" y="1137"/>
                    <a:pt x="1002" y="1138"/>
                  </a:cubicBezTo>
                  <a:cubicBezTo>
                    <a:pt x="1005" y="1140"/>
                    <a:pt x="1008" y="1142"/>
                    <a:pt x="1010" y="1144"/>
                  </a:cubicBezTo>
                  <a:cubicBezTo>
                    <a:pt x="1011" y="1145"/>
                    <a:pt x="1012" y="1146"/>
                    <a:pt x="1013" y="1147"/>
                  </a:cubicBezTo>
                  <a:cubicBezTo>
                    <a:pt x="1014" y="1148"/>
                    <a:pt x="1015" y="1149"/>
                    <a:pt x="1015" y="1150"/>
                  </a:cubicBezTo>
                  <a:cubicBezTo>
                    <a:pt x="1015" y="1151"/>
                    <a:pt x="1015" y="1151"/>
                    <a:pt x="1015" y="1151"/>
                  </a:cubicBezTo>
                  <a:cubicBezTo>
                    <a:pt x="1016" y="1152"/>
                    <a:pt x="1016" y="1153"/>
                    <a:pt x="1017" y="1154"/>
                  </a:cubicBezTo>
                  <a:cubicBezTo>
                    <a:pt x="1016" y="1153"/>
                    <a:pt x="1015" y="1153"/>
                    <a:pt x="1014" y="1152"/>
                  </a:cubicBezTo>
                  <a:cubicBezTo>
                    <a:pt x="1011" y="1150"/>
                    <a:pt x="1009" y="1149"/>
                    <a:pt x="1006" y="1148"/>
                  </a:cubicBezTo>
                  <a:cubicBezTo>
                    <a:pt x="1004" y="1147"/>
                    <a:pt x="1001" y="1147"/>
                    <a:pt x="998" y="1148"/>
                  </a:cubicBezTo>
                  <a:cubicBezTo>
                    <a:pt x="997" y="1149"/>
                    <a:pt x="997" y="1150"/>
                    <a:pt x="998" y="1151"/>
                  </a:cubicBezTo>
                  <a:cubicBezTo>
                    <a:pt x="1000" y="1152"/>
                    <a:pt x="1002" y="1153"/>
                    <a:pt x="1004" y="1154"/>
                  </a:cubicBezTo>
                  <a:cubicBezTo>
                    <a:pt x="1006" y="1154"/>
                    <a:pt x="1009" y="1155"/>
                    <a:pt x="1010" y="1156"/>
                  </a:cubicBezTo>
                  <a:cubicBezTo>
                    <a:pt x="1008" y="1156"/>
                    <a:pt x="1006" y="1156"/>
                    <a:pt x="1004" y="1155"/>
                  </a:cubicBezTo>
                  <a:cubicBezTo>
                    <a:pt x="998" y="1155"/>
                    <a:pt x="992" y="1154"/>
                    <a:pt x="987" y="1153"/>
                  </a:cubicBezTo>
                  <a:cubicBezTo>
                    <a:pt x="987" y="1153"/>
                    <a:pt x="987" y="1153"/>
                    <a:pt x="987" y="1153"/>
                  </a:cubicBezTo>
                  <a:cubicBezTo>
                    <a:pt x="985" y="1149"/>
                    <a:pt x="982" y="1147"/>
                    <a:pt x="980" y="1144"/>
                  </a:cubicBezTo>
                  <a:cubicBezTo>
                    <a:pt x="981" y="1145"/>
                    <a:pt x="982" y="1145"/>
                    <a:pt x="983" y="1145"/>
                  </a:cubicBezTo>
                  <a:cubicBezTo>
                    <a:pt x="984" y="1146"/>
                    <a:pt x="986" y="1146"/>
                    <a:pt x="988" y="1146"/>
                  </a:cubicBezTo>
                  <a:cubicBezTo>
                    <a:pt x="989" y="1146"/>
                    <a:pt x="989" y="1144"/>
                    <a:pt x="989" y="1144"/>
                  </a:cubicBezTo>
                  <a:cubicBezTo>
                    <a:pt x="987" y="1143"/>
                    <a:pt x="986" y="1142"/>
                    <a:pt x="984" y="1141"/>
                  </a:cubicBezTo>
                  <a:cubicBezTo>
                    <a:pt x="982" y="1141"/>
                    <a:pt x="980" y="1140"/>
                    <a:pt x="979" y="1139"/>
                  </a:cubicBezTo>
                  <a:cubicBezTo>
                    <a:pt x="974" y="1137"/>
                    <a:pt x="970" y="1135"/>
                    <a:pt x="966" y="1133"/>
                  </a:cubicBezTo>
                  <a:cubicBezTo>
                    <a:pt x="960" y="1130"/>
                    <a:pt x="953" y="1125"/>
                    <a:pt x="949" y="1119"/>
                  </a:cubicBezTo>
                  <a:cubicBezTo>
                    <a:pt x="949" y="1119"/>
                    <a:pt x="949" y="1119"/>
                    <a:pt x="950" y="1120"/>
                  </a:cubicBezTo>
                  <a:cubicBezTo>
                    <a:pt x="953" y="1123"/>
                    <a:pt x="956" y="1125"/>
                    <a:pt x="960" y="1127"/>
                  </a:cubicBezTo>
                  <a:cubicBezTo>
                    <a:pt x="967" y="1130"/>
                    <a:pt x="975" y="1131"/>
                    <a:pt x="982" y="1132"/>
                  </a:cubicBezTo>
                  <a:cubicBezTo>
                    <a:pt x="986" y="1133"/>
                    <a:pt x="990" y="1134"/>
                    <a:pt x="994" y="1135"/>
                  </a:cubicBezTo>
                  <a:close/>
                  <a:moveTo>
                    <a:pt x="952" y="1129"/>
                  </a:moveTo>
                  <a:cubicBezTo>
                    <a:pt x="952" y="1129"/>
                    <a:pt x="952" y="1129"/>
                    <a:pt x="952" y="1129"/>
                  </a:cubicBezTo>
                  <a:cubicBezTo>
                    <a:pt x="952" y="1128"/>
                    <a:pt x="951" y="1128"/>
                    <a:pt x="951" y="1127"/>
                  </a:cubicBezTo>
                  <a:cubicBezTo>
                    <a:pt x="953" y="1129"/>
                    <a:pt x="955" y="1131"/>
                    <a:pt x="957" y="1132"/>
                  </a:cubicBezTo>
                  <a:cubicBezTo>
                    <a:pt x="955" y="1132"/>
                    <a:pt x="954" y="1131"/>
                    <a:pt x="952" y="1131"/>
                  </a:cubicBezTo>
                  <a:cubicBezTo>
                    <a:pt x="953" y="1130"/>
                    <a:pt x="953" y="1130"/>
                    <a:pt x="952" y="1129"/>
                  </a:cubicBezTo>
                  <a:close/>
                  <a:moveTo>
                    <a:pt x="969" y="1123"/>
                  </a:moveTo>
                  <a:cubicBezTo>
                    <a:pt x="969" y="1123"/>
                    <a:pt x="969" y="1123"/>
                    <a:pt x="969" y="1123"/>
                  </a:cubicBezTo>
                  <a:cubicBezTo>
                    <a:pt x="967" y="1122"/>
                    <a:pt x="965" y="1122"/>
                    <a:pt x="964" y="1121"/>
                  </a:cubicBezTo>
                  <a:cubicBezTo>
                    <a:pt x="961" y="1120"/>
                    <a:pt x="958" y="1118"/>
                    <a:pt x="955" y="1116"/>
                  </a:cubicBezTo>
                  <a:cubicBezTo>
                    <a:pt x="953" y="1113"/>
                    <a:pt x="950" y="1110"/>
                    <a:pt x="948" y="1107"/>
                  </a:cubicBezTo>
                  <a:cubicBezTo>
                    <a:pt x="946" y="1105"/>
                    <a:pt x="942" y="1107"/>
                    <a:pt x="942" y="1109"/>
                  </a:cubicBezTo>
                  <a:cubicBezTo>
                    <a:pt x="942" y="1113"/>
                    <a:pt x="942" y="1117"/>
                    <a:pt x="943" y="1122"/>
                  </a:cubicBezTo>
                  <a:cubicBezTo>
                    <a:pt x="943" y="1124"/>
                    <a:pt x="944" y="1127"/>
                    <a:pt x="945" y="1129"/>
                  </a:cubicBezTo>
                  <a:cubicBezTo>
                    <a:pt x="940" y="1127"/>
                    <a:pt x="934" y="1125"/>
                    <a:pt x="928" y="1123"/>
                  </a:cubicBezTo>
                  <a:cubicBezTo>
                    <a:pt x="929" y="1122"/>
                    <a:pt x="929" y="1122"/>
                    <a:pt x="930" y="1120"/>
                  </a:cubicBezTo>
                  <a:cubicBezTo>
                    <a:pt x="931" y="1117"/>
                    <a:pt x="932" y="1114"/>
                    <a:pt x="934" y="1111"/>
                  </a:cubicBezTo>
                  <a:cubicBezTo>
                    <a:pt x="935" y="1108"/>
                    <a:pt x="936" y="1105"/>
                    <a:pt x="936" y="1102"/>
                  </a:cubicBezTo>
                  <a:cubicBezTo>
                    <a:pt x="936" y="1100"/>
                    <a:pt x="937" y="1097"/>
                    <a:pt x="937" y="1095"/>
                  </a:cubicBezTo>
                  <a:cubicBezTo>
                    <a:pt x="937" y="1095"/>
                    <a:pt x="937" y="1094"/>
                    <a:pt x="936" y="1094"/>
                  </a:cubicBezTo>
                  <a:cubicBezTo>
                    <a:pt x="940" y="1095"/>
                    <a:pt x="944" y="1096"/>
                    <a:pt x="948" y="1097"/>
                  </a:cubicBezTo>
                  <a:cubicBezTo>
                    <a:pt x="956" y="1099"/>
                    <a:pt x="963" y="1101"/>
                    <a:pt x="971" y="1102"/>
                  </a:cubicBezTo>
                  <a:cubicBezTo>
                    <a:pt x="971" y="1106"/>
                    <a:pt x="971" y="1109"/>
                    <a:pt x="970" y="1113"/>
                  </a:cubicBezTo>
                  <a:cubicBezTo>
                    <a:pt x="969" y="1116"/>
                    <a:pt x="969" y="1119"/>
                    <a:pt x="969" y="1123"/>
                  </a:cubicBezTo>
                  <a:close/>
                  <a:moveTo>
                    <a:pt x="902" y="1110"/>
                  </a:moveTo>
                  <a:cubicBezTo>
                    <a:pt x="902" y="1110"/>
                    <a:pt x="902" y="1110"/>
                    <a:pt x="902" y="1110"/>
                  </a:cubicBezTo>
                  <a:cubicBezTo>
                    <a:pt x="902" y="1110"/>
                    <a:pt x="902" y="1110"/>
                    <a:pt x="901" y="1110"/>
                  </a:cubicBezTo>
                  <a:cubicBezTo>
                    <a:pt x="904" y="1101"/>
                    <a:pt x="906" y="1091"/>
                    <a:pt x="908" y="1081"/>
                  </a:cubicBezTo>
                  <a:cubicBezTo>
                    <a:pt x="908" y="1082"/>
                    <a:pt x="909" y="1082"/>
                    <a:pt x="910" y="1082"/>
                  </a:cubicBezTo>
                  <a:cubicBezTo>
                    <a:pt x="914" y="1085"/>
                    <a:pt x="919" y="1087"/>
                    <a:pt x="923" y="1088"/>
                  </a:cubicBezTo>
                  <a:cubicBezTo>
                    <a:pt x="927" y="1090"/>
                    <a:pt x="931" y="1092"/>
                    <a:pt x="934" y="1093"/>
                  </a:cubicBezTo>
                  <a:cubicBezTo>
                    <a:pt x="934" y="1093"/>
                    <a:pt x="933" y="1093"/>
                    <a:pt x="933" y="1094"/>
                  </a:cubicBezTo>
                  <a:cubicBezTo>
                    <a:pt x="932" y="1096"/>
                    <a:pt x="932" y="1098"/>
                    <a:pt x="931" y="1100"/>
                  </a:cubicBezTo>
                  <a:cubicBezTo>
                    <a:pt x="930" y="1103"/>
                    <a:pt x="929" y="1106"/>
                    <a:pt x="928" y="1109"/>
                  </a:cubicBezTo>
                  <a:cubicBezTo>
                    <a:pt x="927" y="1112"/>
                    <a:pt x="926" y="1114"/>
                    <a:pt x="925" y="1117"/>
                  </a:cubicBezTo>
                  <a:cubicBezTo>
                    <a:pt x="924" y="1118"/>
                    <a:pt x="923" y="1119"/>
                    <a:pt x="923" y="1121"/>
                  </a:cubicBezTo>
                  <a:cubicBezTo>
                    <a:pt x="921" y="1120"/>
                    <a:pt x="919" y="1119"/>
                    <a:pt x="918" y="1118"/>
                  </a:cubicBezTo>
                  <a:cubicBezTo>
                    <a:pt x="912" y="1116"/>
                    <a:pt x="907" y="1113"/>
                    <a:pt x="902" y="1110"/>
                  </a:cubicBezTo>
                  <a:close/>
                  <a:moveTo>
                    <a:pt x="843" y="1036"/>
                  </a:moveTo>
                  <a:cubicBezTo>
                    <a:pt x="843" y="1036"/>
                    <a:pt x="843" y="1036"/>
                    <a:pt x="843" y="1036"/>
                  </a:cubicBezTo>
                  <a:cubicBezTo>
                    <a:pt x="840" y="1039"/>
                    <a:pt x="840" y="1045"/>
                    <a:pt x="842" y="1049"/>
                  </a:cubicBezTo>
                  <a:cubicBezTo>
                    <a:pt x="842" y="1049"/>
                    <a:pt x="842" y="1049"/>
                    <a:pt x="842" y="1049"/>
                  </a:cubicBezTo>
                  <a:cubicBezTo>
                    <a:pt x="842" y="1049"/>
                    <a:pt x="842" y="1049"/>
                    <a:pt x="842" y="1049"/>
                  </a:cubicBezTo>
                  <a:cubicBezTo>
                    <a:pt x="841" y="1048"/>
                    <a:pt x="840" y="1049"/>
                    <a:pt x="838" y="1049"/>
                  </a:cubicBezTo>
                  <a:cubicBezTo>
                    <a:pt x="837" y="1050"/>
                    <a:pt x="836" y="1050"/>
                    <a:pt x="835" y="1050"/>
                  </a:cubicBezTo>
                  <a:cubicBezTo>
                    <a:pt x="833" y="1051"/>
                    <a:pt x="830" y="1051"/>
                    <a:pt x="827" y="1051"/>
                  </a:cubicBezTo>
                  <a:cubicBezTo>
                    <a:pt x="824" y="1050"/>
                    <a:pt x="822" y="1050"/>
                    <a:pt x="819" y="1050"/>
                  </a:cubicBezTo>
                  <a:cubicBezTo>
                    <a:pt x="818" y="1050"/>
                    <a:pt x="817" y="1049"/>
                    <a:pt x="816" y="1049"/>
                  </a:cubicBezTo>
                  <a:cubicBezTo>
                    <a:pt x="813" y="1042"/>
                    <a:pt x="807" y="1038"/>
                    <a:pt x="800" y="1036"/>
                  </a:cubicBezTo>
                  <a:cubicBezTo>
                    <a:pt x="797" y="1036"/>
                    <a:pt x="795" y="1036"/>
                    <a:pt x="792" y="1036"/>
                  </a:cubicBezTo>
                  <a:cubicBezTo>
                    <a:pt x="793" y="1036"/>
                    <a:pt x="795" y="1035"/>
                    <a:pt x="795" y="1034"/>
                  </a:cubicBezTo>
                  <a:cubicBezTo>
                    <a:pt x="796" y="1034"/>
                    <a:pt x="796" y="1034"/>
                    <a:pt x="796" y="1034"/>
                  </a:cubicBezTo>
                  <a:cubicBezTo>
                    <a:pt x="799" y="1033"/>
                    <a:pt x="802" y="1032"/>
                    <a:pt x="804" y="1030"/>
                  </a:cubicBezTo>
                  <a:cubicBezTo>
                    <a:pt x="809" y="1025"/>
                    <a:pt x="808" y="1018"/>
                    <a:pt x="805" y="1013"/>
                  </a:cubicBezTo>
                  <a:cubicBezTo>
                    <a:pt x="801" y="1007"/>
                    <a:pt x="795" y="1003"/>
                    <a:pt x="790" y="1000"/>
                  </a:cubicBezTo>
                  <a:cubicBezTo>
                    <a:pt x="786" y="997"/>
                    <a:pt x="781" y="993"/>
                    <a:pt x="776" y="990"/>
                  </a:cubicBezTo>
                  <a:cubicBezTo>
                    <a:pt x="774" y="988"/>
                    <a:pt x="772" y="985"/>
                    <a:pt x="769" y="983"/>
                  </a:cubicBezTo>
                  <a:cubicBezTo>
                    <a:pt x="772" y="983"/>
                    <a:pt x="774" y="983"/>
                    <a:pt x="776" y="983"/>
                  </a:cubicBezTo>
                  <a:cubicBezTo>
                    <a:pt x="780" y="983"/>
                    <a:pt x="783" y="982"/>
                    <a:pt x="787" y="982"/>
                  </a:cubicBezTo>
                  <a:cubicBezTo>
                    <a:pt x="793" y="981"/>
                    <a:pt x="801" y="981"/>
                    <a:pt x="808" y="981"/>
                  </a:cubicBezTo>
                  <a:cubicBezTo>
                    <a:pt x="814" y="981"/>
                    <a:pt x="821" y="980"/>
                    <a:pt x="827" y="981"/>
                  </a:cubicBezTo>
                  <a:cubicBezTo>
                    <a:pt x="831" y="981"/>
                    <a:pt x="834" y="981"/>
                    <a:pt x="837" y="981"/>
                  </a:cubicBezTo>
                  <a:cubicBezTo>
                    <a:pt x="838" y="981"/>
                    <a:pt x="840" y="980"/>
                    <a:pt x="842" y="980"/>
                  </a:cubicBezTo>
                  <a:cubicBezTo>
                    <a:pt x="842" y="980"/>
                    <a:pt x="843" y="980"/>
                    <a:pt x="843" y="979"/>
                  </a:cubicBezTo>
                  <a:cubicBezTo>
                    <a:pt x="845" y="979"/>
                    <a:pt x="847" y="979"/>
                    <a:pt x="848" y="980"/>
                  </a:cubicBezTo>
                  <a:cubicBezTo>
                    <a:pt x="849" y="980"/>
                    <a:pt x="850" y="980"/>
                    <a:pt x="851" y="980"/>
                  </a:cubicBezTo>
                  <a:cubicBezTo>
                    <a:pt x="852" y="980"/>
                    <a:pt x="853" y="981"/>
                    <a:pt x="854" y="981"/>
                  </a:cubicBezTo>
                  <a:cubicBezTo>
                    <a:pt x="855" y="982"/>
                    <a:pt x="857" y="983"/>
                    <a:pt x="859" y="984"/>
                  </a:cubicBezTo>
                  <a:cubicBezTo>
                    <a:pt x="862" y="987"/>
                    <a:pt x="865" y="990"/>
                    <a:pt x="868" y="992"/>
                  </a:cubicBezTo>
                  <a:cubicBezTo>
                    <a:pt x="874" y="999"/>
                    <a:pt x="880" y="1005"/>
                    <a:pt x="884" y="1012"/>
                  </a:cubicBezTo>
                  <a:cubicBezTo>
                    <a:pt x="885" y="1015"/>
                    <a:pt x="886" y="1018"/>
                    <a:pt x="886" y="1022"/>
                  </a:cubicBezTo>
                  <a:cubicBezTo>
                    <a:pt x="885" y="1022"/>
                    <a:pt x="885" y="1022"/>
                    <a:pt x="885" y="1022"/>
                  </a:cubicBezTo>
                  <a:cubicBezTo>
                    <a:pt x="885" y="1023"/>
                    <a:pt x="885" y="1023"/>
                    <a:pt x="885" y="1023"/>
                  </a:cubicBezTo>
                  <a:cubicBezTo>
                    <a:pt x="885" y="1024"/>
                    <a:pt x="885" y="1025"/>
                    <a:pt x="885" y="1026"/>
                  </a:cubicBezTo>
                  <a:cubicBezTo>
                    <a:pt x="885" y="1026"/>
                    <a:pt x="884" y="1026"/>
                    <a:pt x="884" y="1027"/>
                  </a:cubicBezTo>
                  <a:cubicBezTo>
                    <a:pt x="884" y="1026"/>
                    <a:pt x="884" y="1028"/>
                    <a:pt x="884" y="1028"/>
                  </a:cubicBezTo>
                  <a:cubicBezTo>
                    <a:pt x="884" y="1029"/>
                    <a:pt x="883" y="1030"/>
                    <a:pt x="883" y="1030"/>
                  </a:cubicBezTo>
                  <a:cubicBezTo>
                    <a:pt x="883" y="1031"/>
                    <a:pt x="882" y="1031"/>
                    <a:pt x="882" y="1031"/>
                  </a:cubicBezTo>
                  <a:cubicBezTo>
                    <a:pt x="882" y="1030"/>
                    <a:pt x="883" y="1030"/>
                    <a:pt x="883" y="1029"/>
                  </a:cubicBezTo>
                  <a:cubicBezTo>
                    <a:pt x="883" y="1024"/>
                    <a:pt x="882" y="1019"/>
                    <a:pt x="880" y="1015"/>
                  </a:cubicBezTo>
                  <a:cubicBezTo>
                    <a:pt x="875" y="1006"/>
                    <a:pt x="868" y="999"/>
                    <a:pt x="861" y="993"/>
                  </a:cubicBezTo>
                  <a:cubicBezTo>
                    <a:pt x="860" y="992"/>
                    <a:pt x="859" y="994"/>
                    <a:pt x="860" y="994"/>
                  </a:cubicBezTo>
                  <a:cubicBezTo>
                    <a:pt x="863" y="997"/>
                    <a:pt x="865" y="1000"/>
                    <a:pt x="868" y="1003"/>
                  </a:cubicBezTo>
                  <a:cubicBezTo>
                    <a:pt x="871" y="1007"/>
                    <a:pt x="873" y="1011"/>
                    <a:pt x="875" y="1015"/>
                  </a:cubicBezTo>
                  <a:cubicBezTo>
                    <a:pt x="877" y="1019"/>
                    <a:pt x="878" y="1023"/>
                    <a:pt x="878" y="1028"/>
                  </a:cubicBezTo>
                  <a:cubicBezTo>
                    <a:pt x="878" y="1029"/>
                    <a:pt x="878" y="1031"/>
                    <a:pt x="877" y="1033"/>
                  </a:cubicBezTo>
                  <a:cubicBezTo>
                    <a:pt x="876" y="1035"/>
                    <a:pt x="874" y="1036"/>
                    <a:pt x="874" y="1038"/>
                  </a:cubicBezTo>
                  <a:cubicBezTo>
                    <a:pt x="874" y="1039"/>
                    <a:pt x="874" y="1039"/>
                    <a:pt x="874" y="1039"/>
                  </a:cubicBezTo>
                  <a:cubicBezTo>
                    <a:pt x="871" y="1042"/>
                    <a:pt x="867" y="1043"/>
                    <a:pt x="864" y="1045"/>
                  </a:cubicBezTo>
                  <a:cubicBezTo>
                    <a:pt x="863" y="1045"/>
                    <a:pt x="862" y="1046"/>
                    <a:pt x="861" y="1046"/>
                  </a:cubicBezTo>
                  <a:cubicBezTo>
                    <a:pt x="862" y="1042"/>
                    <a:pt x="862" y="1037"/>
                    <a:pt x="858" y="1035"/>
                  </a:cubicBezTo>
                  <a:cubicBezTo>
                    <a:pt x="854" y="1032"/>
                    <a:pt x="847" y="1032"/>
                    <a:pt x="843" y="1036"/>
                  </a:cubicBezTo>
                  <a:close/>
                  <a:moveTo>
                    <a:pt x="804" y="1074"/>
                  </a:moveTo>
                  <a:cubicBezTo>
                    <a:pt x="804" y="1074"/>
                    <a:pt x="804" y="1074"/>
                    <a:pt x="804" y="1074"/>
                  </a:cubicBezTo>
                  <a:cubicBezTo>
                    <a:pt x="804" y="1074"/>
                    <a:pt x="804" y="1074"/>
                    <a:pt x="804" y="1074"/>
                  </a:cubicBezTo>
                  <a:cubicBezTo>
                    <a:pt x="804" y="1074"/>
                    <a:pt x="804" y="1074"/>
                    <a:pt x="804" y="1074"/>
                  </a:cubicBezTo>
                  <a:cubicBezTo>
                    <a:pt x="803" y="1075"/>
                    <a:pt x="802" y="1076"/>
                    <a:pt x="801" y="1076"/>
                  </a:cubicBezTo>
                  <a:cubicBezTo>
                    <a:pt x="801" y="1077"/>
                    <a:pt x="800" y="1077"/>
                    <a:pt x="800" y="1078"/>
                  </a:cubicBezTo>
                  <a:cubicBezTo>
                    <a:pt x="800" y="1078"/>
                    <a:pt x="800" y="1078"/>
                    <a:pt x="800" y="1078"/>
                  </a:cubicBezTo>
                  <a:cubicBezTo>
                    <a:pt x="800" y="1078"/>
                    <a:pt x="799" y="1078"/>
                    <a:pt x="799" y="1078"/>
                  </a:cubicBezTo>
                  <a:cubicBezTo>
                    <a:pt x="798" y="1079"/>
                    <a:pt x="797" y="1079"/>
                    <a:pt x="796" y="1080"/>
                  </a:cubicBezTo>
                  <a:cubicBezTo>
                    <a:pt x="796" y="1080"/>
                    <a:pt x="796" y="1080"/>
                    <a:pt x="796" y="1080"/>
                  </a:cubicBezTo>
                  <a:cubicBezTo>
                    <a:pt x="796" y="1080"/>
                    <a:pt x="795" y="1080"/>
                    <a:pt x="795" y="1080"/>
                  </a:cubicBezTo>
                  <a:cubicBezTo>
                    <a:pt x="795" y="1080"/>
                    <a:pt x="794" y="1081"/>
                    <a:pt x="793" y="1081"/>
                  </a:cubicBezTo>
                  <a:cubicBezTo>
                    <a:pt x="793" y="1081"/>
                    <a:pt x="792" y="1081"/>
                    <a:pt x="792" y="1081"/>
                  </a:cubicBezTo>
                  <a:cubicBezTo>
                    <a:pt x="791" y="1081"/>
                    <a:pt x="791" y="1081"/>
                    <a:pt x="791" y="1081"/>
                  </a:cubicBezTo>
                  <a:cubicBezTo>
                    <a:pt x="791" y="1081"/>
                    <a:pt x="791" y="1081"/>
                    <a:pt x="791" y="1081"/>
                  </a:cubicBezTo>
                  <a:cubicBezTo>
                    <a:pt x="789" y="1081"/>
                    <a:pt x="788" y="1081"/>
                    <a:pt x="787" y="1081"/>
                  </a:cubicBezTo>
                  <a:cubicBezTo>
                    <a:pt x="787" y="1081"/>
                    <a:pt x="786" y="1081"/>
                    <a:pt x="786" y="1081"/>
                  </a:cubicBezTo>
                  <a:cubicBezTo>
                    <a:pt x="786" y="1081"/>
                    <a:pt x="786" y="1081"/>
                    <a:pt x="786" y="1081"/>
                  </a:cubicBezTo>
                  <a:cubicBezTo>
                    <a:pt x="785" y="1081"/>
                    <a:pt x="784" y="1081"/>
                    <a:pt x="784" y="1081"/>
                  </a:cubicBezTo>
                  <a:cubicBezTo>
                    <a:pt x="783" y="1080"/>
                    <a:pt x="782" y="1080"/>
                    <a:pt x="781" y="1080"/>
                  </a:cubicBezTo>
                  <a:cubicBezTo>
                    <a:pt x="781" y="1080"/>
                    <a:pt x="781" y="1080"/>
                    <a:pt x="780" y="1080"/>
                  </a:cubicBezTo>
                  <a:cubicBezTo>
                    <a:pt x="780" y="1080"/>
                    <a:pt x="780" y="1080"/>
                    <a:pt x="780" y="1080"/>
                  </a:cubicBezTo>
                  <a:cubicBezTo>
                    <a:pt x="780" y="1080"/>
                    <a:pt x="780" y="1080"/>
                    <a:pt x="780" y="1080"/>
                  </a:cubicBezTo>
                  <a:cubicBezTo>
                    <a:pt x="779" y="1079"/>
                    <a:pt x="778" y="1078"/>
                    <a:pt x="777" y="1078"/>
                  </a:cubicBezTo>
                  <a:cubicBezTo>
                    <a:pt x="776" y="1077"/>
                    <a:pt x="776" y="1077"/>
                    <a:pt x="776" y="1077"/>
                  </a:cubicBezTo>
                  <a:cubicBezTo>
                    <a:pt x="776" y="1077"/>
                    <a:pt x="776" y="1077"/>
                    <a:pt x="776" y="1077"/>
                  </a:cubicBezTo>
                  <a:cubicBezTo>
                    <a:pt x="775" y="1077"/>
                    <a:pt x="775" y="1076"/>
                    <a:pt x="774" y="1076"/>
                  </a:cubicBezTo>
                  <a:cubicBezTo>
                    <a:pt x="774" y="1075"/>
                    <a:pt x="773" y="1075"/>
                    <a:pt x="773" y="1074"/>
                  </a:cubicBezTo>
                  <a:cubicBezTo>
                    <a:pt x="773" y="1074"/>
                    <a:pt x="773" y="1074"/>
                    <a:pt x="773" y="1074"/>
                  </a:cubicBezTo>
                  <a:cubicBezTo>
                    <a:pt x="772" y="1074"/>
                    <a:pt x="772" y="1074"/>
                    <a:pt x="772" y="1074"/>
                  </a:cubicBezTo>
                  <a:cubicBezTo>
                    <a:pt x="772" y="1073"/>
                    <a:pt x="771" y="1071"/>
                    <a:pt x="770" y="1070"/>
                  </a:cubicBezTo>
                  <a:cubicBezTo>
                    <a:pt x="770" y="1070"/>
                    <a:pt x="770" y="1070"/>
                    <a:pt x="770" y="1070"/>
                  </a:cubicBezTo>
                  <a:cubicBezTo>
                    <a:pt x="770" y="1070"/>
                    <a:pt x="770" y="1070"/>
                    <a:pt x="770" y="1070"/>
                  </a:cubicBezTo>
                  <a:cubicBezTo>
                    <a:pt x="770" y="1069"/>
                    <a:pt x="770" y="1068"/>
                    <a:pt x="770" y="1068"/>
                  </a:cubicBezTo>
                  <a:cubicBezTo>
                    <a:pt x="769" y="1067"/>
                    <a:pt x="769" y="1067"/>
                    <a:pt x="769" y="1066"/>
                  </a:cubicBezTo>
                  <a:cubicBezTo>
                    <a:pt x="769" y="1066"/>
                    <a:pt x="769" y="1066"/>
                    <a:pt x="769" y="1066"/>
                  </a:cubicBezTo>
                  <a:cubicBezTo>
                    <a:pt x="769" y="1065"/>
                    <a:pt x="769" y="1065"/>
                    <a:pt x="769" y="1065"/>
                  </a:cubicBezTo>
                  <a:cubicBezTo>
                    <a:pt x="769" y="1064"/>
                    <a:pt x="769" y="1063"/>
                    <a:pt x="769" y="1062"/>
                  </a:cubicBezTo>
                  <a:cubicBezTo>
                    <a:pt x="769" y="1062"/>
                    <a:pt x="769" y="1062"/>
                    <a:pt x="769" y="1062"/>
                  </a:cubicBezTo>
                  <a:cubicBezTo>
                    <a:pt x="769" y="1061"/>
                    <a:pt x="769" y="1061"/>
                    <a:pt x="769" y="1061"/>
                  </a:cubicBezTo>
                  <a:cubicBezTo>
                    <a:pt x="769" y="1061"/>
                    <a:pt x="769" y="1060"/>
                    <a:pt x="770" y="1060"/>
                  </a:cubicBezTo>
                  <a:cubicBezTo>
                    <a:pt x="770" y="1059"/>
                    <a:pt x="770" y="1059"/>
                    <a:pt x="770" y="1058"/>
                  </a:cubicBezTo>
                  <a:cubicBezTo>
                    <a:pt x="770" y="1058"/>
                    <a:pt x="770" y="1058"/>
                    <a:pt x="770" y="1058"/>
                  </a:cubicBezTo>
                  <a:cubicBezTo>
                    <a:pt x="770" y="1057"/>
                    <a:pt x="770" y="1057"/>
                    <a:pt x="770" y="1057"/>
                  </a:cubicBezTo>
                  <a:cubicBezTo>
                    <a:pt x="771" y="1057"/>
                    <a:pt x="771" y="1056"/>
                    <a:pt x="771" y="1056"/>
                  </a:cubicBezTo>
                  <a:cubicBezTo>
                    <a:pt x="771" y="1055"/>
                    <a:pt x="771" y="1055"/>
                    <a:pt x="771" y="1055"/>
                  </a:cubicBezTo>
                  <a:cubicBezTo>
                    <a:pt x="771" y="1055"/>
                    <a:pt x="771" y="1055"/>
                    <a:pt x="771" y="1055"/>
                  </a:cubicBezTo>
                  <a:cubicBezTo>
                    <a:pt x="772" y="1055"/>
                    <a:pt x="773" y="1054"/>
                    <a:pt x="774" y="1054"/>
                  </a:cubicBezTo>
                  <a:cubicBezTo>
                    <a:pt x="776" y="1052"/>
                    <a:pt x="778" y="1051"/>
                    <a:pt x="780" y="1050"/>
                  </a:cubicBezTo>
                  <a:cubicBezTo>
                    <a:pt x="780" y="1050"/>
                    <a:pt x="780" y="1049"/>
                    <a:pt x="781" y="1049"/>
                  </a:cubicBezTo>
                  <a:cubicBezTo>
                    <a:pt x="782" y="1049"/>
                    <a:pt x="783" y="1048"/>
                    <a:pt x="785" y="1048"/>
                  </a:cubicBezTo>
                  <a:cubicBezTo>
                    <a:pt x="785" y="1048"/>
                    <a:pt x="786" y="1047"/>
                    <a:pt x="786" y="1046"/>
                  </a:cubicBezTo>
                  <a:cubicBezTo>
                    <a:pt x="788" y="1046"/>
                    <a:pt x="789" y="1045"/>
                    <a:pt x="790" y="1045"/>
                  </a:cubicBezTo>
                  <a:cubicBezTo>
                    <a:pt x="790" y="1045"/>
                    <a:pt x="791" y="1045"/>
                    <a:pt x="791" y="1045"/>
                  </a:cubicBezTo>
                  <a:cubicBezTo>
                    <a:pt x="792" y="1045"/>
                    <a:pt x="792" y="1045"/>
                    <a:pt x="793" y="1045"/>
                  </a:cubicBezTo>
                  <a:cubicBezTo>
                    <a:pt x="794" y="1045"/>
                    <a:pt x="795" y="1045"/>
                    <a:pt x="796" y="1045"/>
                  </a:cubicBezTo>
                  <a:cubicBezTo>
                    <a:pt x="796" y="1045"/>
                    <a:pt x="796" y="1045"/>
                    <a:pt x="796" y="1045"/>
                  </a:cubicBezTo>
                  <a:cubicBezTo>
                    <a:pt x="796" y="1045"/>
                    <a:pt x="796" y="1045"/>
                    <a:pt x="796" y="1045"/>
                  </a:cubicBezTo>
                  <a:cubicBezTo>
                    <a:pt x="796" y="1045"/>
                    <a:pt x="796" y="1045"/>
                    <a:pt x="797" y="1045"/>
                  </a:cubicBezTo>
                  <a:cubicBezTo>
                    <a:pt x="798" y="1045"/>
                    <a:pt x="798" y="1046"/>
                    <a:pt x="799" y="1046"/>
                  </a:cubicBezTo>
                  <a:cubicBezTo>
                    <a:pt x="799" y="1046"/>
                    <a:pt x="800" y="1046"/>
                    <a:pt x="800" y="1046"/>
                  </a:cubicBezTo>
                  <a:cubicBezTo>
                    <a:pt x="801" y="1047"/>
                    <a:pt x="801" y="1047"/>
                    <a:pt x="801" y="1047"/>
                  </a:cubicBezTo>
                  <a:cubicBezTo>
                    <a:pt x="802" y="1047"/>
                    <a:pt x="802" y="1047"/>
                    <a:pt x="803" y="1048"/>
                  </a:cubicBezTo>
                  <a:cubicBezTo>
                    <a:pt x="803" y="1048"/>
                    <a:pt x="803" y="1048"/>
                    <a:pt x="804" y="1048"/>
                  </a:cubicBezTo>
                  <a:cubicBezTo>
                    <a:pt x="804" y="1048"/>
                    <a:pt x="804" y="1048"/>
                    <a:pt x="804" y="1048"/>
                  </a:cubicBezTo>
                  <a:cubicBezTo>
                    <a:pt x="804" y="1048"/>
                    <a:pt x="804" y="1048"/>
                    <a:pt x="804" y="1048"/>
                  </a:cubicBezTo>
                  <a:cubicBezTo>
                    <a:pt x="804" y="1049"/>
                    <a:pt x="805" y="1050"/>
                    <a:pt x="806" y="1050"/>
                  </a:cubicBezTo>
                  <a:cubicBezTo>
                    <a:pt x="806" y="1051"/>
                    <a:pt x="806" y="1051"/>
                    <a:pt x="806" y="1051"/>
                  </a:cubicBezTo>
                  <a:cubicBezTo>
                    <a:pt x="807" y="1051"/>
                    <a:pt x="807" y="1052"/>
                    <a:pt x="807" y="1052"/>
                  </a:cubicBezTo>
                  <a:cubicBezTo>
                    <a:pt x="807" y="1053"/>
                    <a:pt x="807" y="1053"/>
                    <a:pt x="807" y="1053"/>
                  </a:cubicBezTo>
                  <a:cubicBezTo>
                    <a:pt x="808" y="1054"/>
                    <a:pt x="808" y="1054"/>
                    <a:pt x="808" y="1054"/>
                  </a:cubicBezTo>
                  <a:cubicBezTo>
                    <a:pt x="808" y="1055"/>
                    <a:pt x="808" y="1055"/>
                    <a:pt x="808" y="1056"/>
                  </a:cubicBezTo>
                  <a:cubicBezTo>
                    <a:pt x="808" y="1056"/>
                    <a:pt x="808" y="1057"/>
                    <a:pt x="808" y="1057"/>
                  </a:cubicBezTo>
                  <a:cubicBezTo>
                    <a:pt x="809" y="1059"/>
                    <a:pt x="809" y="1059"/>
                    <a:pt x="809" y="1060"/>
                  </a:cubicBezTo>
                  <a:cubicBezTo>
                    <a:pt x="809" y="1061"/>
                    <a:pt x="808" y="1061"/>
                    <a:pt x="808" y="1062"/>
                  </a:cubicBezTo>
                  <a:cubicBezTo>
                    <a:pt x="808" y="1062"/>
                    <a:pt x="808" y="1062"/>
                    <a:pt x="808" y="1063"/>
                  </a:cubicBezTo>
                  <a:cubicBezTo>
                    <a:pt x="808" y="1063"/>
                    <a:pt x="808" y="1063"/>
                    <a:pt x="808" y="1063"/>
                  </a:cubicBezTo>
                  <a:cubicBezTo>
                    <a:pt x="808" y="1064"/>
                    <a:pt x="808" y="1064"/>
                    <a:pt x="808" y="1065"/>
                  </a:cubicBezTo>
                  <a:cubicBezTo>
                    <a:pt x="806" y="1066"/>
                    <a:pt x="806" y="1068"/>
                    <a:pt x="806" y="1069"/>
                  </a:cubicBezTo>
                  <a:cubicBezTo>
                    <a:pt x="806" y="1070"/>
                    <a:pt x="806" y="1071"/>
                    <a:pt x="805" y="1072"/>
                  </a:cubicBezTo>
                  <a:cubicBezTo>
                    <a:pt x="805" y="1072"/>
                    <a:pt x="805" y="1073"/>
                    <a:pt x="804" y="1073"/>
                  </a:cubicBezTo>
                  <a:cubicBezTo>
                    <a:pt x="804" y="1074"/>
                    <a:pt x="804" y="1074"/>
                    <a:pt x="804" y="1074"/>
                  </a:cubicBezTo>
                  <a:close/>
                  <a:moveTo>
                    <a:pt x="800" y="1078"/>
                  </a:moveTo>
                  <a:cubicBezTo>
                    <a:pt x="800" y="1078"/>
                    <a:pt x="800" y="1078"/>
                    <a:pt x="800" y="1078"/>
                  </a:cubicBezTo>
                  <a:cubicBezTo>
                    <a:pt x="799" y="1078"/>
                    <a:pt x="799" y="1078"/>
                    <a:pt x="800" y="1078"/>
                  </a:cubicBezTo>
                  <a:close/>
                  <a:moveTo>
                    <a:pt x="763" y="977"/>
                  </a:moveTo>
                  <a:cubicBezTo>
                    <a:pt x="763" y="977"/>
                    <a:pt x="763" y="977"/>
                    <a:pt x="763" y="977"/>
                  </a:cubicBezTo>
                  <a:cubicBezTo>
                    <a:pt x="763" y="977"/>
                    <a:pt x="763" y="977"/>
                    <a:pt x="763" y="977"/>
                  </a:cubicBezTo>
                  <a:cubicBezTo>
                    <a:pt x="763" y="977"/>
                    <a:pt x="763" y="977"/>
                    <a:pt x="763" y="977"/>
                  </a:cubicBezTo>
                  <a:cubicBezTo>
                    <a:pt x="763" y="977"/>
                    <a:pt x="763" y="977"/>
                    <a:pt x="763" y="977"/>
                  </a:cubicBezTo>
                  <a:close/>
                  <a:moveTo>
                    <a:pt x="753" y="977"/>
                  </a:moveTo>
                  <a:cubicBezTo>
                    <a:pt x="753" y="977"/>
                    <a:pt x="753" y="977"/>
                    <a:pt x="753" y="977"/>
                  </a:cubicBezTo>
                  <a:cubicBezTo>
                    <a:pt x="753" y="977"/>
                    <a:pt x="753" y="977"/>
                    <a:pt x="754" y="977"/>
                  </a:cubicBezTo>
                  <a:cubicBezTo>
                    <a:pt x="756" y="981"/>
                    <a:pt x="760" y="984"/>
                    <a:pt x="763" y="987"/>
                  </a:cubicBezTo>
                  <a:cubicBezTo>
                    <a:pt x="766" y="990"/>
                    <a:pt x="769" y="994"/>
                    <a:pt x="773" y="997"/>
                  </a:cubicBezTo>
                  <a:cubicBezTo>
                    <a:pt x="778" y="1002"/>
                    <a:pt x="784" y="1005"/>
                    <a:pt x="788" y="1008"/>
                  </a:cubicBezTo>
                  <a:cubicBezTo>
                    <a:pt x="790" y="1009"/>
                    <a:pt x="791" y="1010"/>
                    <a:pt x="792" y="1011"/>
                  </a:cubicBezTo>
                  <a:cubicBezTo>
                    <a:pt x="793" y="1012"/>
                    <a:pt x="794" y="1013"/>
                    <a:pt x="796" y="1014"/>
                  </a:cubicBezTo>
                  <a:cubicBezTo>
                    <a:pt x="796" y="1015"/>
                    <a:pt x="797" y="1016"/>
                    <a:pt x="797" y="1016"/>
                  </a:cubicBezTo>
                  <a:cubicBezTo>
                    <a:pt x="797" y="1016"/>
                    <a:pt x="797" y="1016"/>
                    <a:pt x="797" y="1016"/>
                  </a:cubicBezTo>
                  <a:cubicBezTo>
                    <a:pt x="797" y="1016"/>
                    <a:pt x="797" y="1016"/>
                    <a:pt x="797" y="1016"/>
                  </a:cubicBezTo>
                  <a:cubicBezTo>
                    <a:pt x="798" y="1017"/>
                    <a:pt x="798" y="1017"/>
                    <a:pt x="798" y="1017"/>
                  </a:cubicBezTo>
                  <a:cubicBezTo>
                    <a:pt x="798" y="1018"/>
                    <a:pt x="798" y="1018"/>
                    <a:pt x="799" y="1019"/>
                  </a:cubicBezTo>
                  <a:cubicBezTo>
                    <a:pt x="799" y="1019"/>
                    <a:pt x="799" y="1019"/>
                    <a:pt x="799" y="1019"/>
                  </a:cubicBezTo>
                  <a:cubicBezTo>
                    <a:pt x="799" y="1020"/>
                    <a:pt x="799" y="1020"/>
                    <a:pt x="799" y="1021"/>
                  </a:cubicBezTo>
                  <a:cubicBezTo>
                    <a:pt x="799" y="1021"/>
                    <a:pt x="799" y="1021"/>
                    <a:pt x="799" y="1021"/>
                  </a:cubicBezTo>
                  <a:cubicBezTo>
                    <a:pt x="799" y="1021"/>
                    <a:pt x="799" y="1021"/>
                    <a:pt x="799" y="1021"/>
                  </a:cubicBezTo>
                  <a:cubicBezTo>
                    <a:pt x="799" y="1021"/>
                    <a:pt x="799" y="1021"/>
                    <a:pt x="799" y="1022"/>
                  </a:cubicBezTo>
                  <a:cubicBezTo>
                    <a:pt x="799" y="1022"/>
                    <a:pt x="799" y="1022"/>
                    <a:pt x="799" y="1022"/>
                  </a:cubicBezTo>
                  <a:cubicBezTo>
                    <a:pt x="799" y="1023"/>
                    <a:pt x="799" y="1023"/>
                    <a:pt x="799" y="1023"/>
                  </a:cubicBezTo>
                  <a:cubicBezTo>
                    <a:pt x="799" y="1023"/>
                    <a:pt x="799" y="1023"/>
                    <a:pt x="799" y="1023"/>
                  </a:cubicBezTo>
                  <a:cubicBezTo>
                    <a:pt x="799" y="1024"/>
                    <a:pt x="799" y="1024"/>
                    <a:pt x="799" y="1024"/>
                  </a:cubicBezTo>
                  <a:cubicBezTo>
                    <a:pt x="799" y="1024"/>
                    <a:pt x="799" y="1024"/>
                    <a:pt x="799" y="1024"/>
                  </a:cubicBezTo>
                  <a:cubicBezTo>
                    <a:pt x="798" y="1024"/>
                    <a:pt x="798" y="1024"/>
                    <a:pt x="798" y="1024"/>
                  </a:cubicBezTo>
                  <a:cubicBezTo>
                    <a:pt x="798" y="1025"/>
                    <a:pt x="798" y="1025"/>
                    <a:pt x="797" y="1025"/>
                  </a:cubicBezTo>
                  <a:cubicBezTo>
                    <a:pt x="798" y="1025"/>
                    <a:pt x="796" y="1025"/>
                    <a:pt x="796" y="1025"/>
                  </a:cubicBezTo>
                  <a:cubicBezTo>
                    <a:pt x="796" y="1025"/>
                    <a:pt x="796" y="1025"/>
                    <a:pt x="796" y="1025"/>
                  </a:cubicBezTo>
                  <a:cubicBezTo>
                    <a:pt x="795" y="1025"/>
                    <a:pt x="795" y="1025"/>
                    <a:pt x="795" y="1025"/>
                  </a:cubicBezTo>
                  <a:cubicBezTo>
                    <a:pt x="794" y="1025"/>
                    <a:pt x="794" y="1025"/>
                    <a:pt x="793" y="1025"/>
                  </a:cubicBezTo>
                  <a:cubicBezTo>
                    <a:pt x="792" y="1025"/>
                    <a:pt x="792" y="1025"/>
                    <a:pt x="792" y="1025"/>
                  </a:cubicBezTo>
                  <a:cubicBezTo>
                    <a:pt x="791" y="1025"/>
                    <a:pt x="790" y="1025"/>
                    <a:pt x="790" y="1025"/>
                  </a:cubicBezTo>
                  <a:cubicBezTo>
                    <a:pt x="789" y="1025"/>
                    <a:pt x="788" y="1025"/>
                    <a:pt x="788" y="1025"/>
                  </a:cubicBezTo>
                  <a:cubicBezTo>
                    <a:pt x="787" y="1024"/>
                    <a:pt x="786" y="1024"/>
                    <a:pt x="785" y="1024"/>
                  </a:cubicBezTo>
                  <a:cubicBezTo>
                    <a:pt x="784" y="1023"/>
                    <a:pt x="784" y="1023"/>
                    <a:pt x="783" y="1023"/>
                  </a:cubicBezTo>
                  <a:cubicBezTo>
                    <a:pt x="783" y="1023"/>
                    <a:pt x="783" y="1023"/>
                    <a:pt x="783" y="1023"/>
                  </a:cubicBezTo>
                  <a:cubicBezTo>
                    <a:pt x="783" y="1023"/>
                    <a:pt x="783" y="1023"/>
                    <a:pt x="782" y="1023"/>
                  </a:cubicBezTo>
                  <a:cubicBezTo>
                    <a:pt x="777" y="1020"/>
                    <a:pt x="774" y="1016"/>
                    <a:pt x="772" y="1011"/>
                  </a:cubicBezTo>
                  <a:cubicBezTo>
                    <a:pt x="768" y="1005"/>
                    <a:pt x="765" y="999"/>
                    <a:pt x="762" y="993"/>
                  </a:cubicBezTo>
                  <a:cubicBezTo>
                    <a:pt x="759" y="990"/>
                    <a:pt x="757" y="987"/>
                    <a:pt x="754" y="983"/>
                  </a:cubicBezTo>
                  <a:cubicBezTo>
                    <a:pt x="753" y="982"/>
                    <a:pt x="752" y="980"/>
                    <a:pt x="751" y="978"/>
                  </a:cubicBezTo>
                  <a:cubicBezTo>
                    <a:pt x="750" y="978"/>
                    <a:pt x="750" y="978"/>
                    <a:pt x="750" y="978"/>
                  </a:cubicBezTo>
                  <a:cubicBezTo>
                    <a:pt x="751" y="978"/>
                    <a:pt x="752" y="977"/>
                    <a:pt x="753" y="977"/>
                  </a:cubicBezTo>
                  <a:close/>
                  <a:moveTo>
                    <a:pt x="781" y="1039"/>
                  </a:moveTo>
                  <a:cubicBezTo>
                    <a:pt x="781" y="1039"/>
                    <a:pt x="781" y="1039"/>
                    <a:pt x="781" y="1039"/>
                  </a:cubicBezTo>
                  <a:cubicBezTo>
                    <a:pt x="779" y="1040"/>
                    <a:pt x="777" y="1041"/>
                    <a:pt x="776" y="1042"/>
                  </a:cubicBezTo>
                  <a:cubicBezTo>
                    <a:pt x="775" y="1041"/>
                    <a:pt x="774" y="1041"/>
                    <a:pt x="773" y="1041"/>
                  </a:cubicBezTo>
                  <a:cubicBezTo>
                    <a:pt x="773" y="1040"/>
                    <a:pt x="774" y="1040"/>
                    <a:pt x="774" y="1039"/>
                  </a:cubicBezTo>
                  <a:cubicBezTo>
                    <a:pt x="775" y="1038"/>
                    <a:pt x="775" y="1037"/>
                    <a:pt x="776" y="1036"/>
                  </a:cubicBezTo>
                  <a:cubicBezTo>
                    <a:pt x="778" y="1038"/>
                    <a:pt x="781" y="1038"/>
                    <a:pt x="784" y="1038"/>
                  </a:cubicBezTo>
                  <a:cubicBezTo>
                    <a:pt x="784" y="1038"/>
                    <a:pt x="784" y="1038"/>
                    <a:pt x="784" y="1038"/>
                  </a:cubicBezTo>
                  <a:cubicBezTo>
                    <a:pt x="783" y="1038"/>
                    <a:pt x="782" y="1039"/>
                    <a:pt x="781" y="1039"/>
                  </a:cubicBezTo>
                  <a:close/>
                  <a:moveTo>
                    <a:pt x="727" y="986"/>
                  </a:moveTo>
                  <a:cubicBezTo>
                    <a:pt x="727" y="986"/>
                    <a:pt x="727" y="986"/>
                    <a:pt x="727" y="986"/>
                  </a:cubicBezTo>
                  <a:cubicBezTo>
                    <a:pt x="727" y="986"/>
                    <a:pt x="727" y="986"/>
                    <a:pt x="727" y="986"/>
                  </a:cubicBezTo>
                  <a:cubicBezTo>
                    <a:pt x="727" y="986"/>
                    <a:pt x="727" y="986"/>
                    <a:pt x="727" y="986"/>
                  </a:cubicBezTo>
                  <a:close/>
                  <a:moveTo>
                    <a:pt x="878" y="979"/>
                  </a:moveTo>
                  <a:cubicBezTo>
                    <a:pt x="878" y="979"/>
                    <a:pt x="878" y="979"/>
                    <a:pt x="878" y="979"/>
                  </a:cubicBezTo>
                  <a:cubicBezTo>
                    <a:pt x="879" y="979"/>
                    <a:pt x="880" y="977"/>
                    <a:pt x="879" y="976"/>
                  </a:cubicBezTo>
                  <a:cubicBezTo>
                    <a:pt x="879" y="975"/>
                    <a:pt x="880" y="974"/>
                    <a:pt x="879" y="973"/>
                  </a:cubicBezTo>
                  <a:cubicBezTo>
                    <a:pt x="876" y="965"/>
                    <a:pt x="867" y="964"/>
                    <a:pt x="861" y="964"/>
                  </a:cubicBezTo>
                  <a:cubicBezTo>
                    <a:pt x="857" y="964"/>
                    <a:pt x="853" y="964"/>
                    <a:pt x="849" y="964"/>
                  </a:cubicBezTo>
                  <a:cubicBezTo>
                    <a:pt x="849" y="962"/>
                    <a:pt x="849" y="961"/>
                    <a:pt x="849" y="960"/>
                  </a:cubicBezTo>
                  <a:cubicBezTo>
                    <a:pt x="849" y="959"/>
                    <a:pt x="850" y="959"/>
                    <a:pt x="850" y="958"/>
                  </a:cubicBezTo>
                  <a:cubicBezTo>
                    <a:pt x="855" y="959"/>
                    <a:pt x="861" y="960"/>
                    <a:pt x="865" y="961"/>
                  </a:cubicBezTo>
                  <a:cubicBezTo>
                    <a:pt x="872" y="963"/>
                    <a:pt x="879" y="965"/>
                    <a:pt x="886" y="966"/>
                  </a:cubicBezTo>
                  <a:cubicBezTo>
                    <a:pt x="884" y="971"/>
                    <a:pt x="883" y="977"/>
                    <a:pt x="882" y="982"/>
                  </a:cubicBezTo>
                  <a:cubicBezTo>
                    <a:pt x="881" y="986"/>
                    <a:pt x="880" y="989"/>
                    <a:pt x="879" y="992"/>
                  </a:cubicBezTo>
                  <a:cubicBezTo>
                    <a:pt x="876" y="989"/>
                    <a:pt x="873" y="986"/>
                    <a:pt x="869" y="984"/>
                  </a:cubicBezTo>
                  <a:cubicBezTo>
                    <a:pt x="867" y="982"/>
                    <a:pt x="865" y="981"/>
                    <a:pt x="864" y="980"/>
                  </a:cubicBezTo>
                  <a:cubicBezTo>
                    <a:pt x="868" y="980"/>
                    <a:pt x="873" y="981"/>
                    <a:pt x="878" y="979"/>
                  </a:cubicBezTo>
                  <a:close/>
                  <a:moveTo>
                    <a:pt x="890" y="1007"/>
                  </a:moveTo>
                  <a:cubicBezTo>
                    <a:pt x="890" y="1007"/>
                    <a:pt x="890" y="1007"/>
                    <a:pt x="890" y="1007"/>
                  </a:cubicBezTo>
                  <a:cubicBezTo>
                    <a:pt x="889" y="1005"/>
                    <a:pt x="888" y="1003"/>
                    <a:pt x="886" y="1002"/>
                  </a:cubicBezTo>
                  <a:cubicBezTo>
                    <a:pt x="885" y="1000"/>
                    <a:pt x="884" y="998"/>
                    <a:pt x="882" y="996"/>
                  </a:cubicBezTo>
                  <a:cubicBezTo>
                    <a:pt x="883" y="991"/>
                    <a:pt x="884" y="987"/>
                    <a:pt x="885" y="982"/>
                  </a:cubicBezTo>
                  <a:cubicBezTo>
                    <a:pt x="886" y="977"/>
                    <a:pt x="887" y="972"/>
                    <a:pt x="888" y="967"/>
                  </a:cubicBezTo>
                  <a:cubicBezTo>
                    <a:pt x="891" y="967"/>
                    <a:pt x="894" y="968"/>
                    <a:pt x="897" y="968"/>
                  </a:cubicBezTo>
                  <a:cubicBezTo>
                    <a:pt x="898" y="969"/>
                    <a:pt x="900" y="969"/>
                    <a:pt x="901" y="969"/>
                  </a:cubicBezTo>
                  <a:cubicBezTo>
                    <a:pt x="899" y="972"/>
                    <a:pt x="898" y="976"/>
                    <a:pt x="897" y="979"/>
                  </a:cubicBezTo>
                  <a:cubicBezTo>
                    <a:pt x="895" y="983"/>
                    <a:pt x="894" y="987"/>
                    <a:pt x="893" y="991"/>
                  </a:cubicBezTo>
                  <a:cubicBezTo>
                    <a:pt x="892" y="997"/>
                    <a:pt x="890" y="1002"/>
                    <a:pt x="890" y="1007"/>
                  </a:cubicBezTo>
                  <a:close/>
                  <a:moveTo>
                    <a:pt x="870" y="1071"/>
                  </a:moveTo>
                  <a:cubicBezTo>
                    <a:pt x="870" y="1071"/>
                    <a:pt x="870" y="1071"/>
                    <a:pt x="870" y="1071"/>
                  </a:cubicBezTo>
                  <a:cubicBezTo>
                    <a:pt x="867" y="1073"/>
                    <a:pt x="864" y="1074"/>
                    <a:pt x="861" y="1075"/>
                  </a:cubicBezTo>
                  <a:cubicBezTo>
                    <a:pt x="859" y="1076"/>
                    <a:pt x="857" y="1076"/>
                    <a:pt x="855" y="1077"/>
                  </a:cubicBezTo>
                  <a:cubicBezTo>
                    <a:pt x="854" y="1077"/>
                    <a:pt x="854" y="1077"/>
                    <a:pt x="853" y="1077"/>
                  </a:cubicBezTo>
                  <a:cubicBezTo>
                    <a:pt x="852" y="1077"/>
                    <a:pt x="851" y="1078"/>
                    <a:pt x="850" y="1078"/>
                  </a:cubicBezTo>
                  <a:cubicBezTo>
                    <a:pt x="851" y="1076"/>
                    <a:pt x="851" y="1074"/>
                    <a:pt x="852" y="1072"/>
                  </a:cubicBezTo>
                  <a:cubicBezTo>
                    <a:pt x="853" y="1067"/>
                    <a:pt x="854" y="1062"/>
                    <a:pt x="854" y="1056"/>
                  </a:cubicBezTo>
                  <a:cubicBezTo>
                    <a:pt x="856" y="1057"/>
                    <a:pt x="858" y="1056"/>
                    <a:pt x="861" y="1056"/>
                  </a:cubicBezTo>
                  <a:cubicBezTo>
                    <a:pt x="862" y="1055"/>
                    <a:pt x="865" y="1054"/>
                    <a:pt x="867" y="1053"/>
                  </a:cubicBezTo>
                  <a:cubicBezTo>
                    <a:pt x="870" y="1052"/>
                    <a:pt x="872" y="1051"/>
                    <a:pt x="874" y="1050"/>
                  </a:cubicBezTo>
                  <a:cubicBezTo>
                    <a:pt x="876" y="1049"/>
                    <a:pt x="878" y="1047"/>
                    <a:pt x="880" y="1046"/>
                  </a:cubicBezTo>
                  <a:cubicBezTo>
                    <a:pt x="880" y="1045"/>
                    <a:pt x="881" y="1045"/>
                    <a:pt x="881" y="1045"/>
                  </a:cubicBezTo>
                  <a:cubicBezTo>
                    <a:pt x="882" y="1045"/>
                    <a:pt x="882" y="1045"/>
                    <a:pt x="882" y="1046"/>
                  </a:cubicBezTo>
                  <a:cubicBezTo>
                    <a:pt x="881" y="1047"/>
                    <a:pt x="881" y="1049"/>
                    <a:pt x="880" y="1051"/>
                  </a:cubicBezTo>
                  <a:cubicBezTo>
                    <a:pt x="879" y="1053"/>
                    <a:pt x="879" y="1056"/>
                    <a:pt x="878" y="1059"/>
                  </a:cubicBezTo>
                  <a:cubicBezTo>
                    <a:pt x="877" y="1062"/>
                    <a:pt x="876" y="1064"/>
                    <a:pt x="875" y="1066"/>
                  </a:cubicBezTo>
                  <a:cubicBezTo>
                    <a:pt x="874" y="1068"/>
                    <a:pt x="872" y="1070"/>
                    <a:pt x="870" y="1071"/>
                  </a:cubicBezTo>
                  <a:close/>
                  <a:moveTo>
                    <a:pt x="890" y="1043"/>
                  </a:moveTo>
                  <a:cubicBezTo>
                    <a:pt x="890" y="1043"/>
                    <a:pt x="890" y="1043"/>
                    <a:pt x="890" y="1043"/>
                  </a:cubicBezTo>
                  <a:cubicBezTo>
                    <a:pt x="892" y="1039"/>
                    <a:pt x="893" y="1036"/>
                    <a:pt x="894" y="1031"/>
                  </a:cubicBezTo>
                  <a:cubicBezTo>
                    <a:pt x="895" y="1029"/>
                    <a:pt x="895" y="1026"/>
                    <a:pt x="895" y="1024"/>
                  </a:cubicBezTo>
                  <a:cubicBezTo>
                    <a:pt x="895" y="1023"/>
                    <a:pt x="895" y="1022"/>
                    <a:pt x="895" y="1021"/>
                  </a:cubicBezTo>
                  <a:cubicBezTo>
                    <a:pt x="894" y="1020"/>
                    <a:pt x="894" y="1020"/>
                    <a:pt x="894" y="1019"/>
                  </a:cubicBezTo>
                  <a:cubicBezTo>
                    <a:pt x="894" y="1018"/>
                    <a:pt x="894" y="1017"/>
                    <a:pt x="893" y="1016"/>
                  </a:cubicBezTo>
                  <a:cubicBezTo>
                    <a:pt x="893" y="1008"/>
                    <a:pt x="895" y="1000"/>
                    <a:pt x="897" y="992"/>
                  </a:cubicBezTo>
                  <a:cubicBezTo>
                    <a:pt x="898" y="988"/>
                    <a:pt x="900" y="984"/>
                    <a:pt x="901" y="980"/>
                  </a:cubicBezTo>
                  <a:cubicBezTo>
                    <a:pt x="902" y="978"/>
                    <a:pt x="902" y="977"/>
                    <a:pt x="903" y="975"/>
                  </a:cubicBezTo>
                  <a:cubicBezTo>
                    <a:pt x="904" y="973"/>
                    <a:pt x="904" y="971"/>
                    <a:pt x="904" y="970"/>
                  </a:cubicBezTo>
                  <a:cubicBezTo>
                    <a:pt x="911" y="971"/>
                    <a:pt x="916" y="972"/>
                    <a:pt x="923" y="973"/>
                  </a:cubicBezTo>
                  <a:cubicBezTo>
                    <a:pt x="923" y="974"/>
                    <a:pt x="923" y="974"/>
                    <a:pt x="923" y="974"/>
                  </a:cubicBezTo>
                  <a:cubicBezTo>
                    <a:pt x="922" y="976"/>
                    <a:pt x="921" y="978"/>
                    <a:pt x="920" y="979"/>
                  </a:cubicBezTo>
                  <a:cubicBezTo>
                    <a:pt x="919" y="983"/>
                    <a:pt x="917" y="987"/>
                    <a:pt x="916" y="991"/>
                  </a:cubicBezTo>
                  <a:cubicBezTo>
                    <a:pt x="912" y="999"/>
                    <a:pt x="910" y="1007"/>
                    <a:pt x="907" y="1014"/>
                  </a:cubicBezTo>
                  <a:cubicBezTo>
                    <a:pt x="904" y="1021"/>
                    <a:pt x="902" y="1028"/>
                    <a:pt x="899" y="1035"/>
                  </a:cubicBezTo>
                  <a:cubicBezTo>
                    <a:pt x="897" y="1040"/>
                    <a:pt x="896" y="1046"/>
                    <a:pt x="896" y="1051"/>
                  </a:cubicBezTo>
                  <a:cubicBezTo>
                    <a:pt x="896" y="1051"/>
                    <a:pt x="896" y="1051"/>
                    <a:pt x="895" y="1051"/>
                  </a:cubicBezTo>
                  <a:cubicBezTo>
                    <a:pt x="894" y="1049"/>
                    <a:pt x="892" y="1047"/>
                    <a:pt x="890" y="1045"/>
                  </a:cubicBezTo>
                  <a:cubicBezTo>
                    <a:pt x="890" y="1045"/>
                    <a:pt x="890" y="1045"/>
                    <a:pt x="890" y="1045"/>
                  </a:cubicBezTo>
                  <a:cubicBezTo>
                    <a:pt x="890" y="1044"/>
                    <a:pt x="890" y="1044"/>
                    <a:pt x="890" y="1043"/>
                  </a:cubicBezTo>
                  <a:close/>
                  <a:moveTo>
                    <a:pt x="913" y="961"/>
                  </a:moveTo>
                  <a:cubicBezTo>
                    <a:pt x="913" y="961"/>
                    <a:pt x="913" y="961"/>
                    <a:pt x="913" y="961"/>
                  </a:cubicBezTo>
                  <a:cubicBezTo>
                    <a:pt x="912" y="958"/>
                    <a:pt x="912" y="955"/>
                    <a:pt x="911" y="951"/>
                  </a:cubicBezTo>
                  <a:cubicBezTo>
                    <a:pt x="909" y="944"/>
                    <a:pt x="907" y="937"/>
                    <a:pt x="906" y="930"/>
                  </a:cubicBezTo>
                  <a:cubicBezTo>
                    <a:pt x="904" y="918"/>
                    <a:pt x="902" y="906"/>
                    <a:pt x="905" y="894"/>
                  </a:cubicBezTo>
                  <a:cubicBezTo>
                    <a:pt x="906" y="894"/>
                    <a:pt x="906" y="894"/>
                    <a:pt x="906" y="894"/>
                  </a:cubicBezTo>
                  <a:cubicBezTo>
                    <a:pt x="915" y="897"/>
                    <a:pt x="924" y="899"/>
                    <a:pt x="934" y="901"/>
                  </a:cubicBezTo>
                  <a:cubicBezTo>
                    <a:pt x="933" y="903"/>
                    <a:pt x="933" y="905"/>
                    <a:pt x="932" y="907"/>
                  </a:cubicBezTo>
                  <a:cubicBezTo>
                    <a:pt x="932" y="910"/>
                    <a:pt x="932" y="914"/>
                    <a:pt x="931" y="917"/>
                  </a:cubicBezTo>
                  <a:cubicBezTo>
                    <a:pt x="931" y="924"/>
                    <a:pt x="932" y="932"/>
                    <a:pt x="934" y="940"/>
                  </a:cubicBezTo>
                  <a:cubicBezTo>
                    <a:pt x="935" y="947"/>
                    <a:pt x="937" y="954"/>
                    <a:pt x="940" y="961"/>
                  </a:cubicBezTo>
                  <a:cubicBezTo>
                    <a:pt x="940" y="964"/>
                    <a:pt x="941" y="966"/>
                    <a:pt x="942" y="968"/>
                  </a:cubicBezTo>
                  <a:cubicBezTo>
                    <a:pt x="940" y="967"/>
                    <a:pt x="938" y="967"/>
                    <a:pt x="936" y="966"/>
                  </a:cubicBezTo>
                  <a:cubicBezTo>
                    <a:pt x="928" y="965"/>
                    <a:pt x="921" y="964"/>
                    <a:pt x="913" y="962"/>
                  </a:cubicBezTo>
                  <a:cubicBezTo>
                    <a:pt x="913" y="961"/>
                    <a:pt x="913" y="961"/>
                    <a:pt x="913" y="961"/>
                  </a:cubicBezTo>
                  <a:close/>
                  <a:moveTo>
                    <a:pt x="967" y="908"/>
                  </a:moveTo>
                  <a:cubicBezTo>
                    <a:pt x="967" y="908"/>
                    <a:pt x="967" y="908"/>
                    <a:pt x="967" y="908"/>
                  </a:cubicBezTo>
                  <a:cubicBezTo>
                    <a:pt x="961" y="918"/>
                    <a:pt x="962" y="932"/>
                    <a:pt x="964" y="943"/>
                  </a:cubicBezTo>
                  <a:cubicBezTo>
                    <a:pt x="965" y="950"/>
                    <a:pt x="967" y="957"/>
                    <a:pt x="969" y="965"/>
                  </a:cubicBezTo>
                  <a:cubicBezTo>
                    <a:pt x="970" y="968"/>
                    <a:pt x="971" y="971"/>
                    <a:pt x="972" y="974"/>
                  </a:cubicBezTo>
                  <a:cubicBezTo>
                    <a:pt x="973" y="974"/>
                    <a:pt x="973" y="975"/>
                    <a:pt x="973" y="975"/>
                  </a:cubicBezTo>
                  <a:cubicBezTo>
                    <a:pt x="965" y="973"/>
                    <a:pt x="957" y="971"/>
                    <a:pt x="949" y="969"/>
                  </a:cubicBezTo>
                  <a:cubicBezTo>
                    <a:pt x="948" y="966"/>
                    <a:pt x="946" y="963"/>
                    <a:pt x="945" y="959"/>
                  </a:cubicBezTo>
                  <a:cubicBezTo>
                    <a:pt x="942" y="953"/>
                    <a:pt x="940" y="946"/>
                    <a:pt x="939" y="939"/>
                  </a:cubicBezTo>
                  <a:cubicBezTo>
                    <a:pt x="937" y="932"/>
                    <a:pt x="936" y="925"/>
                    <a:pt x="936" y="918"/>
                  </a:cubicBezTo>
                  <a:cubicBezTo>
                    <a:pt x="936" y="915"/>
                    <a:pt x="936" y="911"/>
                    <a:pt x="936" y="908"/>
                  </a:cubicBezTo>
                  <a:cubicBezTo>
                    <a:pt x="937" y="906"/>
                    <a:pt x="937" y="904"/>
                    <a:pt x="938" y="902"/>
                  </a:cubicBezTo>
                  <a:cubicBezTo>
                    <a:pt x="947" y="905"/>
                    <a:pt x="957" y="907"/>
                    <a:pt x="967" y="908"/>
                  </a:cubicBezTo>
                  <a:close/>
                  <a:moveTo>
                    <a:pt x="942" y="980"/>
                  </a:moveTo>
                  <a:cubicBezTo>
                    <a:pt x="942" y="980"/>
                    <a:pt x="942" y="980"/>
                    <a:pt x="942" y="980"/>
                  </a:cubicBezTo>
                  <a:cubicBezTo>
                    <a:pt x="943" y="981"/>
                    <a:pt x="945" y="982"/>
                    <a:pt x="946" y="983"/>
                  </a:cubicBezTo>
                  <a:cubicBezTo>
                    <a:pt x="947" y="984"/>
                    <a:pt x="947" y="985"/>
                    <a:pt x="948" y="986"/>
                  </a:cubicBezTo>
                  <a:cubicBezTo>
                    <a:pt x="949" y="987"/>
                    <a:pt x="949" y="987"/>
                    <a:pt x="950" y="988"/>
                  </a:cubicBezTo>
                  <a:cubicBezTo>
                    <a:pt x="951" y="990"/>
                    <a:pt x="953" y="992"/>
                    <a:pt x="954" y="994"/>
                  </a:cubicBezTo>
                  <a:cubicBezTo>
                    <a:pt x="954" y="995"/>
                    <a:pt x="955" y="996"/>
                    <a:pt x="955" y="997"/>
                  </a:cubicBezTo>
                  <a:cubicBezTo>
                    <a:pt x="954" y="997"/>
                    <a:pt x="954" y="997"/>
                    <a:pt x="953" y="997"/>
                  </a:cubicBezTo>
                  <a:cubicBezTo>
                    <a:pt x="945" y="1000"/>
                    <a:pt x="937" y="1005"/>
                    <a:pt x="930" y="1010"/>
                  </a:cubicBezTo>
                  <a:cubicBezTo>
                    <a:pt x="924" y="1015"/>
                    <a:pt x="918" y="1020"/>
                    <a:pt x="913" y="1026"/>
                  </a:cubicBezTo>
                  <a:cubicBezTo>
                    <a:pt x="909" y="1032"/>
                    <a:pt x="904" y="1038"/>
                    <a:pt x="900" y="1044"/>
                  </a:cubicBezTo>
                  <a:cubicBezTo>
                    <a:pt x="901" y="1041"/>
                    <a:pt x="902" y="1038"/>
                    <a:pt x="903" y="1035"/>
                  </a:cubicBezTo>
                  <a:cubicBezTo>
                    <a:pt x="906" y="1028"/>
                    <a:pt x="909" y="1021"/>
                    <a:pt x="911" y="1015"/>
                  </a:cubicBezTo>
                  <a:cubicBezTo>
                    <a:pt x="914" y="1007"/>
                    <a:pt x="917" y="1000"/>
                    <a:pt x="920" y="992"/>
                  </a:cubicBezTo>
                  <a:cubicBezTo>
                    <a:pt x="921" y="989"/>
                    <a:pt x="923" y="985"/>
                    <a:pt x="924" y="981"/>
                  </a:cubicBezTo>
                  <a:cubicBezTo>
                    <a:pt x="925" y="980"/>
                    <a:pt x="926" y="978"/>
                    <a:pt x="927" y="976"/>
                  </a:cubicBezTo>
                  <a:cubicBezTo>
                    <a:pt x="927" y="975"/>
                    <a:pt x="927" y="975"/>
                    <a:pt x="927" y="974"/>
                  </a:cubicBezTo>
                  <a:cubicBezTo>
                    <a:pt x="928" y="974"/>
                    <a:pt x="928" y="974"/>
                    <a:pt x="928" y="974"/>
                  </a:cubicBezTo>
                  <a:cubicBezTo>
                    <a:pt x="932" y="975"/>
                    <a:pt x="936" y="976"/>
                    <a:pt x="941" y="977"/>
                  </a:cubicBezTo>
                  <a:cubicBezTo>
                    <a:pt x="941" y="978"/>
                    <a:pt x="941" y="979"/>
                    <a:pt x="942" y="980"/>
                  </a:cubicBezTo>
                  <a:close/>
                  <a:moveTo>
                    <a:pt x="979" y="986"/>
                  </a:moveTo>
                  <a:cubicBezTo>
                    <a:pt x="979" y="986"/>
                    <a:pt x="979" y="986"/>
                    <a:pt x="979" y="986"/>
                  </a:cubicBezTo>
                  <a:cubicBezTo>
                    <a:pt x="978" y="988"/>
                    <a:pt x="978" y="992"/>
                    <a:pt x="978" y="994"/>
                  </a:cubicBezTo>
                  <a:cubicBezTo>
                    <a:pt x="978" y="994"/>
                    <a:pt x="978" y="994"/>
                    <a:pt x="978" y="994"/>
                  </a:cubicBezTo>
                  <a:cubicBezTo>
                    <a:pt x="977" y="994"/>
                    <a:pt x="977" y="994"/>
                    <a:pt x="977" y="994"/>
                  </a:cubicBezTo>
                  <a:cubicBezTo>
                    <a:pt x="977" y="994"/>
                    <a:pt x="977" y="994"/>
                    <a:pt x="977" y="994"/>
                  </a:cubicBezTo>
                  <a:cubicBezTo>
                    <a:pt x="976" y="994"/>
                    <a:pt x="976" y="993"/>
                    <a:pt x="975" y="994"/>
                  </a:cubicBezTo>
                  <a:cubicBezTo>
                    <a:pt x="972" y="993"/>
                    <a:pt x="968" y="993"/>
                    <a:pt x="965" y="994"/>
                  </a:cubicBezTo>
                  <a:cubicBezTo>
                    <a:pt x="964" y="994"/>
                    <a:pt x="962" y="994"/>
                    <a:pt x="961" y="994"/>
                  </a:cubicBezTo>
                  <a:cubicBezTo>
                    <a:pt x="960" y="991"/>
                    <a:pt x="959" y="988"/>
                    <a:pt x="957" y="985"/>
                  </a:cubicBezTo>
                  <a:cubicBezTo>
                    <a:pt x="956" y="983"/>
                    <a:pt x="954" y="981"/>
                    <a:pt x="953" y="980"/>
                  </a:cubicBezTo>
                  <a:cubicBezTo>
                    <a:pt x="956" y="980"/>
                    <a:pt x="959" y="981"/>
                    <a:pt x="961" y="982"/>
                  </a:cubicBezTo>
                  <a:cubicBezTo>
                    <a:pt x="967" y="983"/>
                    <a:pt x="973" y="984"/>
                    <a:pt x="980" y="985"/>
                  </a:cubicBezTo>
                  <a:cubicBezTo>
                    <a:pt x="979" y="986"/>
                    <a:pt x="979" y="986"/>
                    <a:pt x="979" y="986"/>
                  </a:cubicBezTo>
                  <a:close/>
                  <a:moveTo>
                    <a:pt x="979" y="977"/>
                  </a:moveTo>
                  <a:cubicBezTo>
                    <a:pt x="979" y="977"/>
                    <a:pt x="979" y="977"/>
                    <a:pt x="979" y="977"/>
                  </a:cubicBezTo>
                  <a:cubicBezTo>
                    <a:pt x="979" y="977"/>
                    <a:pt x="979" y="977"/>
                    <a:pt x="979" y="977"/>
                  </a:cubicBezTo>
                  <a:cubicBezTo>
                    <a:pt x="979" y="975"/>
                    <a:pt x="979" y="974"/>
                    <a:pt x="978" y="973"/>
                  </a:cubicBezTo>
                  <a:cubicBezTo>
                    <a:pt x="977" y="970"/>
                    <a:pt x="976" y="967"/>
                    <a:pt x="975" y="964"/>
                  </a:cubicBezTo>
                  <a:cubicBezTo>
                    <a:pt x="973" y="957"/>
                    <a:pt x="971" y="950"/>
                    <a:pt x="969" y="943"/>
                  </a:cubicBezTo>
                  <a:cubicBezTo>
                    <a:pt x="968" y="937"/>
                    <a:pt x="967" y="929"/>
                    <a:pt x="967" y="923"/>
                  </a:cubicBezTo>
                  <a:cubicBezTo>
                    <a:pt x="968" y="918"/>
                    <a:pt x="968" y="913"/>
                    <a:pt x="970" y="909"/>
                  </a:cubicBezTo>
                  <a:cubicBezTo>
                    <a:pt x="976" y="910"/>
                    <a:pt x="982" y="911"/>
                    <a:pt x="987" y="912"/>
                  </a:cubicBezTo>
                  <a:cubicBezTo>
                    <a:pt x="985" y="919"/>
                    <a:pt x="987" y="926"/>
                    <a:pt x="989" y="934"/>
                  </a:cubicBezTo>
                  <a:cubicBezTo>
                    <a:pt x="990" y="938"/>
                    <a:pt x="992" y="943"/>
                    <a:pt x="993" y="947"/>
                  </a:cubicBezTo>
                  <a:cubicBezTo>
                    <a:pt x="994" y="949"/>
                    <a:pt x="995" y="951"/>
                    <a:pt x="996" y="953"/>
                  </a:cubicBezTo>
                  <a:cubicBezTo>
                    <a:pt x="995" y="954"/>
                    <a:pt x="995" y="955"/>
                    <a:pt x="995" y="956"/>
                  </a:cubicBezTo>
                  <a:cubicBezTo>
                    <a:pt x="994" y="964"/>
                    <a:pt x="993" y="972"/>
                    <a:pt x="994" y="980"/>
                  </a:cubicBezTo>
                  <a:cubicBezTo>
                    <a:pt x="989" y="979"/>
                    <a:pt x="985" y="978"/>
                    <a:pt x="979" y="977"/>
                  </a:cubicBezTo>
                  <a:close/>
                  <a:moveTo>
                    <a:pt x="1007" y="916"/>
                  </a:moveTo>
                  <a:cubicBezTo>
                    <a:pt x="1007" y="916"/>
                    <a:pt x="1007" y="916"/>
                    <a:pt x="1007" y="916"/>
                  </a:cubicBezTo>
                  <a:cubicBezTo>
                    <a:pt x="1006" y="919"/>
                    <a:pt x="1004" y="923"/>
                    <a:pt x="1003" y="926"/>
                  </a:cubicBezTo>
                  <a:cubicBezTo>
                    <a:pt x="1001" y="932"/>
                    <a:pt x="999" y="937"/>
                    <a:pt x="998" y="943"/>
                  </a:cubicBezTo>
                  <a:cubicBezTo>
                    <a:pt x="997" y="940"/>
                    <a:pt x="995" y="936"/>
                    <a:pt x="994" y="933"/>
                  </a:cubicBezTo>
                  <a:cubicBezTo>
                    <a:pt x="993" y="929"/>
                    <a:pt x="992" y="925"/>
                    <a:pt x="991" y="920"/>
                  </a:cubicBezTo>
                  <a:cubicBezTo>
                    <a:pt x="991" y="918"/>
                    <a:pt x="991" y="916"/>
                    <a:pt x="991" y="913"/>
                  </a:cubicBezTo>
                  <a:cubicBezTo>
                    <a:pt x="995" y="914"/>
                    <a:pt x="999" y="915"/>
                    <a:pt x="1003" y="915"/>
                  </a:cubicBezTo>
                  <a:cubicBezTo>
                    <a:pt x="1005" y="916"/>
                    <a:pt x="1006" y="916"/>
                    <a:pt x="1008" y="916"/>
                  </a:cubicBezTo>
                  <a:cubicBezTo>
                    <a:pt x="1007" y="916"/>
                    <a:pt x="1007" y="916"/>
                    <a:pt x="1007" y="916"/>
                  </a:cubicBezTo>
                  <a:close/>
                  <a:moveTo>
                    <a:pt x="984" y="879"/>
                  </a:moveTo>
                  <a:cubicBezTo>
                    <a:pt x="984" y="879"/>
                    <a:pt x="984" y="879"/>
                    <a:pt x="984" y="879"/>
                  </a:cubicBezTo>
                  <a:cubicBezTo>
                    <a:pt x="984" y="880"/>
                    <a:pt x="984" y="881"/>
                    <a:pt x="984" y="883"/>
                  </a:cubicBezTo>
                  <a:cubicBezTo>
                    <a:pt x="983" y="882"/>
                    <a:pt x="982" y="880"/>
                    <a:pt x="981" y="879"/>
                  </a:cubicBezTo>
                  <a:cubicBezTo>
                    <a:pt x="979" y="877"/>
                    <a:pt x="978" y="874"/>
                    <a:pt x="977" y="872"/>
                  </a:cubicBezTo>
                  <a:cubicBezTo>
                    <a:pt x="979" y="872"/>
                    <a:pt x="982" y="872"/>
                    <a:pt x="984" y="872"/>
                  </a:cubicBezTo>
                  <a:cubicBezTo>
                    <a:pt x="985" y="872"/>
                    <a:pt x="985" y="872"/>
                    <a:pt x="986" y="872"/>
                  </a:cubicBezTo>
                  <a:cubicBezTo>
                    <a:pt x="985" y="874"/>
                    <a:pt x="985" y="877"/>
                    <a:pt x="984" y="879"/>
                  </a:cubicBezTo>
                  <a:close/>
                  <a:moveTo>
                    <a:pt x="846" y="957"/>
                  </a:moveTo>
                  <a:cubicBezTo>
                    <a:pt x="846" y="957"/>
                    <a:pt x="846" y="957"/>
                    <a:pt x="846" y="957"/>
                  </a:cubicBezTo>
                  <a:cubicBezTo>
                    <a:pt x="846" y="958"/>
                    <a:pt x="846" y="958"/>
                    <a:pt x="846" y="959"/>
                  </a:cubicBezTo>
                  <a:cubicBezTo>
                    <a:pt x="845" y="960"/>
                    <a:pt x="845" y="961"/>
                    <a:pt x="845" y="963"/>
                  </a:cubicBezTo>
                  <a:cubicBezTo>
                    <a:pt x="843" y="963"/>
                    <a:pt x="841" y="963"/>
                    <a:pt x="840" y="963"/>
                  </a:cubicBezTo>
                  <a:cubicBezTo>
                    <a:pt x="840" y="963"/>
                    <a:pt x="839" y="963"/>
                    <a:pt x="839" y="962"/>
                  </a:cubicBezTo>
                  <a:cubicBezTo>
                    <a:pt x="837" y="960"/>
                    <a:pt x="833" y="958"/>
                    <a:pt x="829" y="956"/>
                  </a:cubicBezTo>
                  <a:cubicBezTo>
                    <a:pt x="828" y="955"/>
                    <a:pt x="827" y="954"/>
                    <a:pt x="826" y="954"/>
                  </a:cubicBezTo>
                  <a:cubicBezTo>
                    <a:pt x="829" y="954"/>
                    <a:pt x="832" y="955"/>
                    <a:pt x="835" y="955"/>
                  </a:cubicBezTo>
                  <a:cubicBezTo>
                    <a:pt x="838" y="956"/>
                    <a:pt x="842" y="957"/>
                    <a:pt x="846" y="957"/>
                  </a:cubicBezTo>
                  <a:close/>
                  <a:moveTo>
                    <a:pt x="817" y="1065"/>
                  </a:moveTo>
                  <a:cubicBezTo>
                    <a:pt x="817" y="1065"/>
                    <a:pt x="817" y="1065"/>
                    <a:pt x="817" y="1065"/>
                  </a:cubicBezTo>
                  <a:cubicBezTo>
                    <a:pt x="818" y="1062"/>
                    <a:pt x="818" y="1059"/>
                    <a:pt x="818" y="1055"/>
                  </a:cubicBezTo>
                  <a:cubicBezTo>
                    <a:pt x="818" y="1055"/>
                    <a:pt x="818" y="1055"/>
                    <a:pt x="818" y="1055"/>
                  </a:cubicBezTo>
                  <a:cubicBezTo>
                    <a:pt x="821" y="1056"/>
                    <a:pt x="824" y="1056"/>
                    <a:pt x="828" y="1057"/>
                  </a:cubicBezTo>
                  <a:cubicBezTo>
                    <a:pt x="831" y="1057"/>
                    <a:pt x="834" y="1057"/>
                    <a:pt x="837" y="1057"/>
                  </a:cubicBezTo>
                  <a:cubicBezTo>
                    <a:pt x="837" y="1057"/>
                    <a:pt x="837" y="1057"/>
                    <a:pt x="837" y="1057"/>
                  </a:cubicBezTo>
                  <a:cubicBezTo>
                    <a:pt x="836" y="1059"/>
                    <a:pt x="835" y="1062"/>
                    <a:pt x="835" y="1064"/>
                  </a:cubicBezTo>
                  <a:cubicBezTo>
                    <a:pt x="834" y="1066"/>
                    <a:pt x="834" y="1068"/>
                    <a:pt x="834" y="1070"/>
                  </a:cubicBezTo>
                  <a:cubicBezTo>
                    <a:pt x="834" y="1071"/>
                    <a:pt x="834" y="1071"/>
                    <a:pt x="834" y="1072"/>
                  </a:cubicBezTo>
                  <a:cubicBezTo>
                    <a:pt x="834" y="1072"/>
                    <a:pt x="834" y="1072"/>
                    <a:pt x="834" y="1072"/>
                  </a:cubicBezTo>
                  <a:cubicBezTo>
                    <a:pt x="834" y="1072"/>
                    <a:pt x="834" y="1072"/>
                    <a:pt x="833" y="1072"/>
                  </a:cubicBezTo>
                  <a:cubicBezTo>
                    <a:pt x="833" y="1073"/>
                    <a:pt x="833" y="1074"/>
                    <a:pt x="833" y="1074"/>
                  </a:cubicBezTo>
                  <a:cubicBezTo>
                    <a:pt x="830" y="1072"/>
                    <a:pt x="827" y="1070"/>
                    <a:pt x="824" y="1068"/>
                  </a:cubicBezTo>
                  <a:cubicBezTo>
                    <a:pt x="822" y="1067"/>
                    <a:pt x="820" y="1066"/>
                    <a:pt x="817" y="1065"/>
                  </a:cubicBezTo>
                  <a:close/>
                  <a:moveTo>
                    <a:pt x="841" y="1079"/>
                  </a:moveTo>
                  <a:cubicBezTo>
                    <a:pt x="841" y="1079"/>
                    <a:pt x="841" y="1079"/>
                    <a:pt x="841" y="1079"/>
                  </a:cubicBezTo>
                  <a:cubicBezTo>
                    <a:pt x="842" y="1075"/>
                    <a:pt x="843" y="1072"/>
                    <a:pt x="844" y="1068"/>
                  </a:cubicBezTo>
                  <a:cubicBezTo>
                    <a:pt x="845" y="1064"/>
                    <a:pt x="845" y="1060"/>
                    <a:pt x="846" y="1056"/>
                  </a:cubicBezTo>
                  <a:cubicBezTo>
                    <a:pt x="846" y="1055"/>
                    <a:pt x="846" y="1052"/>
                    <a:pt x="845" y="1050"/>
                  </a:cubicBezTo>
                  <a:cubicBezTo>
                    <a:pt x="846" y="1050"/>
                    <a:pt x="847" y="1048"/>
                    <a:pt x="846" y="1047"/>
                  </a:cubicBezTo>
                  <a:cubicBezTo>
                    <a:pt x="843" y="1045"/>
                    <a:pt x="844" y="1041"/>
                    <a:pt x="847" y="1039"/>
                  </a:cubicBezTo>
                  <a:cubicBezTo>
                    <a:pt x="849" y="1037"/>
                    <a:pt x="854" y="1037"/>
                    <a:pt x="856" y="1039"/>
                  </a:cubicBezTo>
                  <a:cubicBezTo>
                    <a:pt x="857" y="1040"/>
                    <a:pt x="857" y="1041"/>
                    <a:pt x="857" y="1042"/>
                  </a:cubicBezTo>
                  <a:cubicBezTo>
                    <a:pt x="857" y="1043"/>
                    <a:pt x="856" y="1044"/>
                    <a:pt x="856" y="1045"/>
                  </a:cubicBezTo>
                  <a:cubicBezTo>
                    <a:pt x="855" y="1047"/>
                    <a:pt x="854" y="1048"/>
                    <a:pt x="853" y="1049"/>
                  </a:cubicBezTo>
                  <a:cubicBezTo>
                    <a:pt x="852" y="1050"/>
                    <a:pt x="850" y="1051"/>
                    <a:pt x="850" y="1052"/>
                  </a:cubicBezTo>
                  <a:cubicBezTo>
                    <a:pt x="849" y="1053"/>
                    <a:pt x="850" y="1053"/>
                    <a:pt x="850" y="1054"/>
                  </a:cubicBezTo>
                  <a:cubicBezTo>
                    <a:pt x="849" y="1060"/>
                    <a:pt x="848" y="1066"/>
                    <a:pt x="846" y="1071"/>
                  </a:cubicBezTo>
                  <a:cubicBezTo>
                    <a:pt x="845" y="1074"/>
                    <a:pt x="844" y="1077"/>
                    <a:pt x="844" y="1080"/>
                  </a:cubicBezTo>
                  <a:cubicBezTo>
                    <a:pt x="843" y="1081"/>
                    <a:pt x="843" y="1082"/>
                    <a:pt x="843" y="1083"/>
                  </a:cubicBezTo>
                  <a:cubicBezTo>
                    <a:pt x="842" y="1082"/>
                    <a:pt x="841" y="1081"/>
                    <a:pt x="841" y="1081"/>
                  </a:cubicBezTo>
                  <a:cubicBezTo>
                    <a:pt x="841" y="1080"/>
                    <a:pt x="841" y="1080"/>
                    <a:pt x="841" y="1079"/>
                  </a:cubicBezTo>
                  <a:close/>
                  <a:moveTo>
                    <a:pt x="884" y="1149"/>
                  </a:moveTo>
                  <a:cubicBezTo>
                    <a:pt x="884" y="1149"/>
                    <a:pt x="884" y="1149"/>
                    <a:pt x="884" y="1149"/>
                  </a:cubicBezTo>
                  <a:cubicBezTo>
                    <a:pt x="888" y="1145"/>
                    <a:pt x="891" y="1138"/>
                    <a:pt x="893" y="1133"/>
                  </a:cubicBezTo>
                  <a:cubicBezTo>
                    <a:pt x="895" y="1128"/>
                    <a:pt x="897" y="1124"/>
                    <a:pt x="899" y="1119"/>
                  </a:cubicBezTo>
                  <a:cubicBezTo>
                    <a:pt x="901" y="1128"/>
                    <a:pt x="903" y="1137"/>
                    <a:pt x="906" y="1145"/>
                  </a:cubicBezTo>
                  <a:cubicBezTo>
                    <a:pt x="908" y="1150"/>
                    <a:pt x="911" y="1156"/>
                    <a:pt x="914" y="1160"/>
                  </a:cubicBezTo>
                  <a:cubicBezTo>
                    <a:pt x="915" y="1161"/>
                    <a:pt x="916" y="1162"/>
                    <a:pt x="916" y="1163"/>
                  </a:cubicBezTo>
                  <a:cubicBezTo>
                    <a:pt x="915" y="1163"/>
                    <a:pt x="914" y="1163"/>
                    <a:pt x="913" y="1162"/>
                  </a:cubicBezTo>
                  <a:cubicBezTo>
                    <a:pt x="905" y="1160"/>
                    <a:pt x="896" y="1158"/>
                    <a:pt x="888" y="1154"/>
                  </a:cubicBezTo>
                  <a:cubicBezTo>
                    <a:pt x="886" y="1153"/>
                    <a:pt x="885" y="1151"/>
                    <a:pt x="883" y="1150"/>
                  </a:cubicBezTo>
                  <a:cubicBezTo>
                    <a:pt x="883" y="1150"/>
                    <a:pt x="884" y="1150"/>
                    <a:pt x="884" y="1149"/>
                  </a:cubicBezTo>
                  <a:close/>
                  <a:moveTo>
                    <a:pt x="953" y="1164"/>
                  </a:moveTo>
                  <a:cubicBezTo>
                    <a:pt x="953" y="1164"/>
                    <a:pt x="953" y="1164"/>
                    <a:pt x="953" y="1164"/>
                  </a:cubicBezTo>
                  <a:cubicBezTo>
                    <a:pt x="953" y="1164"/>
                    <a:pt x="953" y="1164"/>
                    <a:pt x="953" y="1164"/>
                  </a:cubicBezTo>
                  <a:cubicBezTo>
                    <a:pt x="951" y="1164"/>
                    <a:pt x="948" y="1163"/>
                    <a:pt x="946" y="1162"/>
                  </a:cubicBezTo>
                  <a:cubicBezTo>
                    <a:pt x="942" y="1161"/>
                    <a:pt x="938" y="1160"/>
                    <a:pt x="934" y="1159"/>
                  </a:cubicBezTo>
                  <a:cubicBezTo>
                    <a:pt x="926" y="1157"/>
                    <a:pt x="919" y="1150"/>
                    <a:pt x="912" y="1145"/>
                  </a:cubicBezTo>
                  <a:cubicBezTo>
                    <a:pt x="912" y="1144"/>
                    <a:pt x="912" y="1143"/>
                    <a:pt x="911" y="1142"/>
                  </a:cubicBezTo>
                  <a:cubicBezTo>
                    <a:pt x="909" y="1136"/>
                    <a:pt x="908" y="1130"/>
                    <a:pt x="906" y="1124"/>
                  </a:cubicBezTo>
                  <a:cubicBezTo>
                    <a:pt x="911" y="1131"/>
                    <a:pt x="917" y="1137"/>
                    <a:pt x="924" y="1141"/>
                  </a:cubicBezTo>
                  <a:cubicBezTo>
                    <a:pt x="929" y="1144"/>
                    <a:pt x="934" y="1146"/>
                    <a:pt x="939" y="1148"/>
                  </a:cubicBezTo>
                  <a:cubicBezTo>
                    <a:pt x="944" y="1150"/>
                    <a:pt x="949" y="1153"/>
                    <a:pt x="954" y="1153"/>
                  </a:cubicBezTo>
                  <a:cubicBezTo>
                    <a:pt x="955" y="1154"/>
                    <a:pt x="956" y="1152"/>
                    <a:pt x="955" y="1151"/>
                  </a:cubicBezTo>
                  <a:cubicBezTo>
                    <a:pt x="951" y="1149"/>
                    <a:pt x="947" y="1147"/>
                    <a:pt x="942" y="1145"/>
                  </a:cubicBezTo>
                  <a:cubicBezTo>
                    <a:pt x="937" y="1143"/>
                    <a:pt x="932" y="1141"/>
                    <a:pt x="927" y="1138"/>
                  </a:cubicBezTo>
                  <a:cubicBezTo>
                    <a:pt x="919" y="1134"/>
                    <a:pt x="911" y="1128"/>
                    <a:pt x="906" y="1119"/>
                  </a:cubicBezTo>
                  <a:cubicBezTo>
                    <a:pt x="912" y="1123"/>
                    <a:pt x="919" y="1126"/>
                    <a:pt x="925" y="1128"/>
                  </a:cubicBezTo>
                  <a:cubicBezTo>
                    <a:pt x="932" y="1131"/>
                    <a:pt x="939" y="1133"/>
                    <a:pt x="946" y="1135"/>
                  </a:cubicBezTo>
                  <a:cubicBezTo>
                    <a:pt x="960" y="1139"/>
                    <a:pt x="974" y="1143"/>
                    <a:pt x="984" y="1154"/>
                  </a:cubicBezTo>
                  <a:cubicBezTo>
                    <a:pt x="985" y="1156"/>
                    <a:pt x="986" y="1158"/>
                    <a:pt x="988" y="1160"/>
                  </a:cubicBezTo>
                  <a:cubicBezTo>
                    <a:pt x="984" y="1160"/>
                    <a:pt x="980" y="1161"/>
                    <a:pt x="975" y="1162"/>
                  </a:cubicBezTo>
                  <a:cubicBezTo>
                    <a:pt x="968" y="1163"/>
                    <a:pt x="960" y="1163"/>
                    <a:pt x="953" y="1164"/>
                  </a:cubicBezTo>
                  <a:close/>
                  <a:moveTo>
                    <a:pt x="1060" y="1161"/>
                  </a:moveTo>
                  <a:cubicBezTo>
                    <a:pt x="1060" y="1161"/>
                    <a:pt x="1060" y="1161"/>
                    <a:pt x="1060" y="1161"/>
                  </a:cubicBezTo>
                  <a:cubicBezTo>
                    <a:pt x="1060" y="1162"/>
                    <a:pt x="1060" y="1163"/>
                    <a:pt x="1060" y="1163"/>
                  </a:cubicBezTo>
                  <a:cubicBezTo>
                    <a:pt x="1059" y="1162"/>
                    <a:pt x="1058" y="1161"/>
                    <a:pt x="1056" y="1159"/>
                  </a:cubicBezTo>
                  <a:cubicBezTo>
                    <a:pt x="1055" y="1158"/>
                    <a:pt x="1053" y="1161"/>
                    <a:pt x="1054" y="1162"/>
                  </a:cubicBezTo>
                  <a:cubicBezTo>
                    <a:pt x="1055" y="1163"/>
                    <a:pt x="1056" y="1164"/>
                    <a:pt x="1056" y="1165"/>
                  </a:cubicBezTo>
                  <a:cubicBezTo>
                    <a:pt x="1052" y="1163"/>
                    <a:pt x="1047" y="1161"/>
                    <a:pt x="1043" y="1161"/>
                  </a:cubicBezTo>
                  <a:cubicBezTo>
                    <a:pt x="1036" y="1160"/>
                    <a:pt x="1030" y="1159"/>
                    <a:pt x="1024" y="1159"/>
                  </a:cubicBezTo>
                  <a:cubicBezTo>
                    <a:pt x="1024" y="1159"/>
                    <a:pt x="1024" y="1159"/>
                    <a:pt x="1024" y="1159"/>
                  </a:cubicBezTo>
                  <a:cubicBezTo>
                    <a:pt x="1018" y="1151"/>
                    <a:pt x="1015" y="1143"/>
                    <a:pt x="1015" y="1134"/>
                  </a:cubicBezTo>
                  <a:cubicBezTo>
                    <a:pt x="1016" y="1129"/>
                    <a:pt x="1016" y="1125"/>
                    <a:pt x="1017" y="1120"/>
                  </a:cubicBezTo>
                  <a:cubicBezTo>
                    <a:pt x="1017" y="1120"/>
                    <a:pt x="1017" y="1120"/>
                    <a:pt x="1017" y="1119"/>
                  </a:cubicBezTo>
                  <a:cubicBezTo>
                    <a:pt x="1018" y="1124"/>
                    <a:pt x="1019" y="1128"/>
                    <a:pt x="1022" y="1132"/>
                  </a:cubicBezTo>
                  <a:cubicBezTo>
                    <a:pt x="1024" y="1135"/>
                    <a:pt x="1027" y="1138"/>
                    <a:pt x="1030" y="1141"/>
                  </a:cubicBezTo>
                  <a:cubicBezTo>
                    <a:pt x="1033" y="1144"/>
                    <a:pt x="1036" y="1147"/>
                    <a:pt x="1040" y="1150"/>
                  </a:cubicBezTo>
                  <a:cubicBezTo>
                    <a:pt x="1043" y="1153"/>
                    <a:pt x="1047" y="1155"/>
                    <a:pt x="1052" y="1156"/>
                  </a:cubicBezTo>
                  <a:cubicBezTo>
                    <a:pt x="1052" y="1157"/>
                    <a:pt x="1053" y="1155"/>
                    <a:pt x="1052" y="1155"/>
                  </a:cubicBezTo>
                  <a:cubicBezTo>
                    <a:pt x="1050" y="1152"/>
                    <a:pt x="1046" y="1149"/>
                    <a:pt x="1043" y="1147"/>
                  </a:cubicBezTo>
                  <a:cubicBezTo>
                    <a:pt x="1039" y="1145"/>
                    <a:pt x="1036" y="1142"/>
                    <a:pt x="1033" y="1139"/>
                  </a:cubicBezTo>
                  <a:cubicBezTo>
                    <a:pt x="1028" y="1135"/>
                    <a:pt x="1023" y="1129"/>
                    <a:pt x="1020" y="1123"/>
                  </a:cubicBezTo>
                  <a:cubicBezTo>
                    <a:pt x="1024" y="1127"/>
                    <a:pt x="1029" y="1130"/>
                    <a:pt x="1033" y="1132"/>
                  </a:cubicBezTo>
                  <a:cubicBezTo>
                    <a:pt x="1038" y="1135"/>
                    <a:pt x="1044" y="1138"/>
                    <a:pt x="1049" y="1140"/>
                  </a:cubicBezTo>
                  <a:cubicBezTo>
                    <a:pt x="1052" y="1142"/>
                    <a:pt x="1055" y="1143"/>
                    <a:pt x="1058" y="1145"/>
                  </a:cubicBezTo>
                  <a:cubicBezTo>
                    <a:pt x="1059" y="1145"/>
                    <a:pt x="1061" y="1146"/>
                    <a:pt x="1062" y="1147"/>
                  </a:cubicBezTo>
                  <a:cubicBezTo>
                    <a:pt x="1062" y="1148"/>
                    <a:pt x="1063" y="1148"/>
                    <a:pt x="1063" y="1148"/>
                  </a:cubicBezTo>
                  <a:cubicBezTo>
                    <a:pt x="1062" y="1153"/>
                    <a:pt x="1061" y="1157"/>
                    <a:pt x="1060" y="1161"/>
                  </a:cubicBezTo>
                  <a:close/>
                  <a:moveTo>
                    <a:pt x="1046" y="1133"/>
                  </a:moveTo>
                  <a:cubicBezTo>
                    <a:pt x="1046" y="1133"/>
                    <a:pt x="1046" y="1133"/>
                    <a:pt x="1046" y="1133"/>
                  </a:cubicBezTo>
                  <a:cubicBezTo>
                    <a:pt x="1046" y="1133"/>
                    <a:pt x="1046" y="1132"/>
                    <a:pt x="1046" y="1132"/>
                  </a:cubicBezTo>
                  <a:cubicBezTo>
                    <a:pt x="1046" y="1132"/>
                    <a:pt x="1046" y="1132"/>
                    <a:pt x="1046" y="1132"/>
                  </a:cubicBezTo>
                  <a:cubicBezTo>
                    <a:pt x="1046" y="1132"/>
                    <a:pt x="1046" y="1133"/>
                    <a:pt x="1046" y="1133"/>
                  </a:cubicBezTo>
                  <a:cubicBezTo>
                    <a:pt x="1046" y="1133"/>
                    <a:pt x="1046" y="1133"/>
                    <a:pt x="1046" y="1133"/>
                  </a:cubicBezTo>
                  <a:cubicBezTo>
                    <a:pt x="1046" y="1133"/>
                    <a:pt x="1046" y="1133"/>
                    <a:pt x="1046" y="1133"/>
                  </a:cubicBezTo>
                  <a:close/>
                  <a:moveTo>
                    <a:pt x="1053" y="1106"/>
                  </a:moveTo>
                  <a:cubicBezTo>
                    <a:pt x="1053" y="1106"/>
                    <a:pt x="1053" y="1106"/>
                    <a:pt x="1053" y="1106"/>
                  </a:cubicBezTo>
                  <a:cubicBezTo>
                    <a:pt x="1052" y="1105"/>
                    <a:pt x="1051" y="1104"/>
                    <a:pt x="1050" y="1103"/>
                  </a:cubicBezTo>
                  <a:cubicBezTo>
                    <a:pt x="1048" y="1101"/>
                    <a:pt x="1046" y="1100"/>
                    <a:pt x="1044" y="1099"/>
                  </a:cubicBezTo>
                  <a:cubicBezTo>
                    <a:pt x="1042" y="1099"/>
                    <a:pt x="1039" y="1098"/>
                    <a:pt x="1037" y="1098"/>
                  </a:cubicBezTo>
                  <a:cubicBezTo>
                    <a:pt x="1039" y="1094"/>
                    <a:pt x="1040" y="1090"/>
                    <a:pt x="1041" y="1086"/>
                  </a:cubicBezTo>
                  <a:cubicBezTo>
                    <a:pt x="1044" y="1087"/>
                    <a:pt x="1046" y="1087"/>
                    <a:pt x="1049" y="1088"/>
                  </a:cubicBezTo>
                  <a:cubicBezTo>
                    <a:pt x="1051" y="1089"/>
                    <a:pt x="1054" y="1090"/>
                    <a:pt x="1056" y="1090"/>
                  </a:cubicBezTo>
                  <a:cubicBezTo>
                    <a:pt x="1057" y="1090"/>
                    <a:pt x="1058" y="1090"/>
                    <a:pt x="1058" y="1090"/>
                  </a:cubicBezTo>
                  <a:cubicBezTo>
                    <a:pt x="1056" y="1096"/>
                    <a:pt x="1055" y="1101"/>
                    <a:pt x="1053" y="1106"/>
                  </a:cubicBezTo>
                  <a:close/>
                  <a:moveTo>
                    <a:pt x="1030" y="1122"/>
                  </a:moveTo>
                  <a:cubicBezTo>
                    <a:pt x="1030" y="1122"/>
                    <a:pt x="1030" y="1122"/>
                    <a:pt x="1030" y="1122"/>
                  </a:cubicBezTo>
                  <a:cubicBezTo>
                    <a:pt x="1029" y="1119"/>
                    <a:pt x="1029" y="1116"/>
                    <a:pt x="1029" y="1114"/>
                  </a:cubicBezTo>
                  <a:cubicBezTo>
                    <a:pt x="1029" y="1111"/>
                    <a:pt x="1030" y="1107"/>
                    <a:pt x="1032" y="1105"/>
                  </a:cubicBezTo>
                  <a:cubicBezTo>
                    <a:pt x="1033" y="1105"/>
                    <a:pt x="1034" y="1104"/>
                    <a:pt x="1034" y="1104"/>
                  </a:cubicBezTo>
                  <a:cubicBezTo>
                    <a:pt x="1037" y="1103"/>
                    <a:pt x="1040" y="1104"/>
                    <a:pt x="1042" y="1105"/>
                  </a:cubicBezTo>
                  <a:cubicBezTo>
                    <a:pt x="1043" y="1106"/>
                    <a:pt x="1045" y="1106"/>
                    <a:pt x="1046" y="1107"/>
                  </a:cubicBezTo>
                  <a:cubicBezTo>
                    <a:pt x="1048" y="1109"/>
                    <a:pt x="1049" y="1110"/>
                    <a:pt x="1051" y="1111"/>
                  </a:cubicBezTo>
                  <a:cubicBezTo>
                    <a:pt x="1051" y="1111"/>
                    <a:pt x="1052" y="1111"/>
                    <a:pt x="1052" y="1111"/>
                  </a:cubicBezTo>
                  <a:cubicBezTo>
                    <a:pt x="1051" y="1114"/>
                    <a:pt x="1051" y="1117"/>
                    <a:pt x="1051" y="1120"/>
                  </a:cubicBezTo>
                  <a:cubicBezTo>
                    <a:pt x="1048" y="1120"/>
                    <a:pt x="1046" y="1122"/>
                    <a:pt x="1044" y="1124"/>
                  </a:cubicBezTo>
                  <a:cubicBezTo>
                    <a:pt x="1044" y="1124"/>
                    <a:pt x="1044" y="1124"/>
                    <a:pt x="1044" y="1124"/>
                  </a:cubicBezTo>
                  <a:cubicBezTo>
                    <a:pt x="1042" y="1124"/>
                    <a:pt x="1041" y="1126"/>
                    <a:pt x="1042" y="1127"/>
                  </a:cubicBezTo>
                  <a:cubicBezTo>
                    <a:pt x="1042" y="1127"/>
                    <a:pt x="1042" y="1127"/>
                    <a:pt x="1042" y="1127"/>
                  </a:cubicBezTo>
                  <a:cubicBezTo>
                    <a:pt x="1042" y="1128"/>
                    <a:pt x="1042" y="1130"/>
                    <a:pt x="1042" y="1131"/>
                  </a:cubicBezTo>
                  <a:cubicBezTo>
                    <a:pt x="1040" y="1131"/>
                    <a:pt x="1039" y="1130"/>
                    <a:pt x="1038" y="1129"/>
                  </a:cubicBezTo>
                  <a:cubicBezTo>
                    <a:pt x="1035" y="1128"/>
                    <a:pt x="1033" y="1126"/>
                    <a:pt x="1030" y="1124"/>
                  </a:cubicBezTo>
                  <a:cubicBezTo>
                    <a:pt x="1030" y="1124"/>
                    <a:pt x="1030" y="1122"/>
                    <a:pt x="1030" y="1122"/>
                  </a:cubicBezTo>
                  <a:close/>
                  <a:moveTo>
                    <a:pt x="1081" y="1095"/>
                  </a:moveTo>
                  <a:cubicBezTo>
                    <a:pt x="1081" y="1095"/>
                    <a:pt x="1081" y="1095"/>
                    <a:pt x="1081" y="1095"/>
                  </a:cubicBezTo>
                  <a:cubicBezTo>
                    <a:pt x="1080" y="1098"/>
                    <a:pt x="1079" y="1100"/>
                    <a:pt x="1078" y="1103"/>
                  </a:cubicBezTo>
                  <a:cubicBezTo>
                    <a:pt x="1078" y="1103"/>
                    <a:pt x="1078" y="1103"/>
                    <a:pt x="1078" y="1103"/>
                  </a:cubicBezTo>
                  <a:cubicBezTo>
                    <a:pt x="1074" y="1109"/>
                    <a:pt x="1072" y="1116"/>
                    <a:pt x="1071" y="1123"/>
                  </a:cubicBezTo>
                  <a:cubicBezTo>
                    <a:pt x="1071" y="1125"/>
                    <a:pt x="1070" y="1128"/>
                    <a:pt x="1070" y="1130"/>
                  </a:cubicBezTo>
                  <a:cubicBezTo>
                    <a:pt x="1070" y="1131"/>
                    <a:pt x="1070" y="1133"/>
                    <a:pt x="1070" y="1134"/>
                  </a:cubicBezTo>
                  <a:cubicBezTo>
                    <a:pt x="1070" y="1134"/>
                    <a:pt x="1070" y="1134"/>
                    <a:pt x="1070" y="1134"/>
                  </a:cubicBezTo>
                  <a:cubicBezTo>
                    <a:pt x="1070" y="1135"/>
                    <a:pt x="1070" y="1137"/>
                    <a:pt x="1069" y="1138"/>
                  </a:cubicBezTo>
                  <a:cubicBezTo>
                    <a:pt x="1068" y="1139"/>
                    <a:pt x="1067" y="1141"/>
                    <a:pt x="1066" y="1142"/>
                  </a:cubicBezTo>
                  <a:cubicBezTo>
                    <a:pt x="1065" y="1142"/>
                    <a:pt x="1064" y="1141"/>
                    <a:pt x="1063" y="1140"/>
                  </a:cubicBezTo>
                  <a:cubicBezTo>
                    <a:pt x="1062" y="1139"/>
                    <a:pt x="1060" y="1139"/>
                    <a:pt x="1059" y="1138"/>
                  </a:cubicBezTo>
                  <a:cubicBezTo>
                    <a:pt x="1059" y="1137"/>
                    <a:pt x="1059" y="1137"/>
                    <a:pt x="1059" y="1136"/>
                  </a:cubicBezTo>
                  <a:cubicBezTo>
                    <a:pt x="1055" y="1130"/>
                    <a:pt x="1056" y="1120"/>
                    <a:pt x="1057" y="1113"/>
                  </a:cubicBezTo>
                  <a:cubicBezTo>
                    <a:pt x="1059" y="1106"/>
                    <a:pt x="1061" y="1100"/>
                    <a:pt x="1063" y="1093"/>
                  </a:cubicBezTo>
                  <a:cubicBezTo>
                    <a:pt x="1066" y="1086"/>
                    <a:pt x="1068" y="1080"/>
                    <a:pt x="1070" y="1073"/>
                  </a:cubicBezTo>
                  <a:cubicBezTo>
                    <a:pt x="1071" y="1070"/>
                    <a:pt x="1071" y="1067"/>
                    <a:pt x="1072" y="1064"/>
                  </a:cubicBezTo>
                  <a:cubicBezTo>
                    <a:pt x="1073" y="1068"/>
                    <a:pt x="1074" y="1074"/>
                    <a:pt x="1075" y="1078"/>
                  </a:cubicBezTo>
                  <a:cubicBezTo>
                    <a:pt x="1075" y="1086"/>
                    <a:pt x="1074" y="1095"/>
                    <a:pt x="1075" y="1103"/>
                  </a:cubicBezTo>
                  <a:cubicBezTo>
                    <a:pt x="1075" y="1104"/>
                    <a:pt x="1076" y="1105"/>
                    <a:pt x="1077" y="1103"/>
                  </a:cubicBezTo>
                  <a:cubicBezTo>
                    <a:pt x="1080" y="1096"/>
                    <a:pt x="1080" y="1086"/>
                    <a:pt x="1079" y="1078"/>
                  </a:cubicBezTo>
                  <a:cubicBezTo>
                    <a:pt x="1079" y="1074"/>
                    <a:pt x="1078" y="1069"/>
                    <a:pt x="1076" y="1065"/>
                  </a:cubicBezTo>
                  <a:cubicBezTo>
                    <a:pt x="1076" y="1063"/>
                    <a:pt x="1074" y="1061"/>
                    <a:pt x="1073" y="1059"/>
                  </a:cubicBezTo>
                  <a:cubicBezTo>
                    <a:pt x="1074" y="1060"/>
                    <a:pt x="1076" y="1062"/>
                    <a:pt x="1077" y="1064"/>
                  </a:cubicBezTo>
                  <a:cubicBezTo>
                    <a:pt x="1081" y="1069"/>
                    <a:pt x="1084" y="1075"/>
                    <a:pt x="1085" y="1081"/>
                  </a:cubicBezTo>
                  <a:cubicBezTo>
                    <a:pt x="1085" y="1082"/>
                    <a:pt x="1085" y="1084"/>
                    <a:pt x="1085" y="1085"/>
                  </a:cubicBezTo>
                  <a:cubicBezTo>
                    <a:pt x="1085" y="1085"/>
                    <a:pt x="1085" y="1085"/>
                    <a:pt x="1086" y="1085"/>
                  </a:cubicBezTo>
                  <a:cubicBezTo>
                    <a:pt x="1084" y="1088"/>
                    <a:pt x="1083" y="1092"/>
                    <a:pt x="1081" y="1095"/>
                  </a:cubicBezTo>
                  <a:close/>
                  <a:moveTo>
                    <a:pt x="1065" y="1067"/>
                  </a:moveTo>
                  <a:cubicBezTo>
                    <a:pt x="1065" y="1067"/>
                    <a:pt x="1065" y="1067"/>
                    <a:pt x="1065" y="1067"/>
                  </a:cubicBezTo>
                  <a:cubicBezTo>
                    <a:pt x="1064" y="1073"/>
                    <a:pt x="1062" y="1080"/>
                    <a:pt x="1059" y="1086"/>
                  </a:cubicBezTo>
                  <a:cubicBezTo>
                    <a:pt x="1059" y="1086"/>
                    <a:pt x="1058" y="1086"/>
                    <a:pt x="1057" y="1086"/>
                  </a:cubicBezTo>
                  <a:cubicBezTo>
                    <a:pt x="1055" y="1085"/>
                    <a:pt x="1052" y="1085"/>
                    <a:pt x="1050" y="1085"/>
                  </a:cubicBezTo>
                  <a:cubicBezTo>
                    <a:pt x="1047" y="1084"/>
                    <a:pt x="1045" y="1084"/>
                    <a:pt x="1042" y="1083"/>
                  </a:cubicBezTo>
                  <a:cubicBezTo>
                    <a:pt x="1042" y="1082"/>
                    <a:pt x="1043" y="1080"/>
                    <a:pt x="1043" y="1079"/>
                  </a:cubicBezTo>
                  <a:cubicBezTo>
                    <a:pt x="1045" y="1072"/>
                    <a:pt x="1047" y="1066"/>
                    <a:pt x="1049" y="1059"/>
                  </a:cubicBezTo>
                  <a:cubicBezTo>
                    <a:pt x="1052" y="1060"/>
                    <a:pt x="1055" y="1060"/>
                    <a:pt x="1058" y="1061"/>
                  </a:cubicBezTo>
                  <a:cubicBezTo>
                    <a:pt x="1059" y="1062"/>
                    <a:pt x="1062" y="1063"/>
                    <a:pt x="1064" y="1063"/>
                  </a:cubicBezTo>
                  <a:cubicBezTo>
                    <a:pt x="1064" y="1063"/>
                    <a:pt x="1065" y="1063"/>
                    <a:pt x="1065" y="1063"/>
                  </a:cubicBezTo>
                  <a:cubicBezTo>
                    <a:pt x="1065" y="1064"/>
                    <a:pt x="1065" y="1066"/>
                    <a:pt x="1065" y="1067"/>
                  </a:cubicBezTo>
                  <a:close/>
                  <a:moveTo>
                    <a:pt x="1047" y="1042"/>
                  </a:moveTo>
                  <a:cubicBezTo>
                    <a:pt x="1047" y="1042"/>
                    <a:pt x="1047" y="1042"/>
                    <a:pt x="1047" y="1042"/>
                  </a:cubicBezTo>
                  <a:cubicBezTo>
                    <a:pt x="1047" y="1040"/>
                    <a:pt x="1046" y="1038"/>
                    <a:pt x="1045" y="1036"/>
                  </a:cubicBezTo>
                  <a:cubicBezTo>
                    <a:pt x="1043" y="1034"/>
                    <a:pt x="1040" y="1032"/>
                    <a:pt x="1038" y="1031"/>
                  </a:cubicBezTo>
                  <a:cubicBezTo>
                    <a:pt x="1035" y="1030"/>
                    <a:pt x="1032" y="1028"/>
                    <a:pt x="1029" y="1029"/>
                  </a:cubicBezTo>
                  <a:cubicBezTo>
                    <a:pt x="1030" y="1028"/>
                    <a:pt x="1028" y="1026"/>
                    <a:pt x="1027" y="1026"/>
                  </a:cubicBezTo>
                  <a:cubicBezTo>
                    <a:pt x="1022" y="1030"/>
                    <a:pt x="1019" y="1035"/>
                    <a:pt x="1019" y="1041"/>
                  </a:cubicBezTo>
                  <a:cubicBezTo>
                    <a:pt x="1019" y="1047"/>
                    <a:pt x="1023" y="1052"/>
                    <a:pt x="1028" y="1054"/>
                  </a:cubicBezTo>
                  <a:cubicBezTo>
                    <a:pt x="1032" y="1055"/>
                    <a:pt x="1035" y="1055"/>
                    <a:pt x="1038" y="1054"/>
                  </a:cubicBezTo>
                  <a:cubicBezTo>
                    <a:pt x="1040" y="1054"/>
                    <a:pt x="1042" y="1053"/>
                    <a:pt x="1044" y="1052"/>
                  </a:cubicBezTo>
                  <a:cubicBezTo>
                    <a:pt x="1041" y="1060"/>
                    <a:pt x="1039" y="1068"/>
                    <a:pt x="1036" y="1076"/>
                  </a:cubicBezTo>
                  <a:cubicBezTo>
                    <a:pt x="1035" y="1080"/>
                    <a:pt x="1034" y="1084"/>
                    <a:pt x="1033" y="1088"/>
                  </a:cubicBezTo>
                  <a:cubicBezTo>
                    <a:pt x="1031" y="1092"/>
                    <a:pt x="1030" y="1096"/>
                    <a:pt x="1028" y="1099"/>
                  </a:cubicBezTo>
                  <a:cubicBezTo>
                    <a:pt x="1028" y="1100"/>
                    <a:pt x="1028" y="1101"/>
                    <a:pt x="1028" y="1102"/>
                  </a:cubicBezTo>
                  <a:cubicBezTo>
                    <a:pt x="1026" y="1104"/>
                    <a:pt x="1025" y="1108"/>
                    <a:pt x="1024" y="1111"/>
                  </a:cubicBezTo>
                  <a:cubicBezTo>
                    <a:pt x="1024" y="1114"/>
                    <a:pt x="1024" y="1117"/>
                    <a:pt x="1025" y="1120"/>
                  </a:cubicBezTo>
                  <a:cubicBezTo>
                    <a:pt x="1025" y="1120"/>
                    <a:pt x="1025" y="1120"/>
                    <a:pt x="1025" y="1120"/>
                  </a:cubicBezTo>
                  <a:cubicBezTo>
                    <a:pt x="1025" y="1120"/>
                    <a:pt x="1024" y="1120"/>
                    <a:pt x="1024" y="1120"/>
                  </a:cubicBezTo>
                  <a:cubicBezTo>
                    <a:pt x="1022" y="1118"/>
                    <a:pt x="1020" y="1116"/>
                    <a:pt x="1019" y="1114"/>
                  </a:cubicBezTo>
                  <a:cubicBezTo>
                    <a:pt x="1018" y="1112"/>
                    <a:pt x="1018" y="1109"/>
                    <a:pt x="1018" y="1107"/>
                  </a:cubicBezTo>
                  <a:cubicBezTo>
                    <a:pt x="1018" y="1104"/>
                    <a:pt x="1014" y="1104"/>
                    <a:pt x="1014" y="1106"/>
                  </a:cubicBezTo>
                  <a:cubicBezTo>
                    <a:pt x="1013" y="1108"/>
                    <a:pt x="1013" y="1110"/>
                    <a:pt x="1013" y="1112"/>
                  </a:cubicBezTo>
                  <a:cubicBezTo>
                    <a:pt x="1013" y="1115"/>
                    <a:pt x="1013" y="1118"/>
                    <a:pt x="1012" y="1121"/>
                  </a:cubicBezTo>
                  <a:cubicBezTo>
                    <a:pt x="1012" y="1123"/>
                    <a:pt x="1012" y="1125"/>
                    <a:pt x="1012" y="1126"/>
                  </a:cubicBezTo>
                  <a:cubicBezTo>
                    <a:pt x="1012" y="1126"/>
                    <a:pt x="1011" y="1126"/>
                    <a:pt x="1011" y="1125"/>
                  </a:cubicBezTo>
                  <a:cubicBezTo>
                    <a:pt x="1009" y="1124"/>
                    <a:pt x="1007" y="1123"/>
                    <a:pt x="1005" y="1122"/>
                  </a:cubicBezTo>
                  <a:cubicBezTo>
                    <a:pt x="1001" y="1119"/>
                    <a:pt x="996" y="1118"/>
                    <a:pt x="991" y="1118"/>
                  </a:cubicBezTo>
                  <a:cubicBezTo>
                    <a:pt x="987" y="1117"/>
                    <a:pt x="983" y="1119"/>
                    <a:pt x="983" y="1124"/>
                  </a:cubicBezTo>
                  <a:cubicBezTo>
                    <a:pt x="983" y="1125"/>
                    <a:pt x="983" y="1125"/>
                    <a:pt x="984" y="1126"/>
                  </a:cubicBezTo>
                  <a:cubicBezTo>
                    <a:pt x="980" y="1125"/>
                    <a:pt x="976" y="1124"/>
                    <a:pt x="972" y="1124"/>
                  </a:cubicBezTo>
                  <a:cubicBezTo>
                    <a:pt x="974" y="1120"/>
                    <a:pt x="974" y="1117"/>
                    <a:pt x="974" y="1114"/>
                  </a:cubicBezTo>
                  <a:cubicBezTo>
                    <a:pt x="975" y="1110"/>
                    <a:pt x="975" y="1107"/>
                    <a:pt x="975" y="1103"/>
                  </a:cubicBezTo>
                  <a:cubicBezTo>
                    <a:pt x="977" y="1103"/>
                    <a:pt x="979" y="1104"/>
                    <a:pt x="981" y="1104"/>
                  </a:cubicBezTo>
                  <a:cubicBezTo>
                    <a:pt x="983" y="1104"/>
                    <a:pt x="985" y="1104"/>
                    <a:pt x="987" y="1104"/>
                  </a:cubicBezTo>
                  <a:cubicBezTo>
                    <a:pt x="990" y="1104"/>
                    <a:pt x="994" y="1104"/>
                    <a:pt x="995" y="1101"/>
                  </a:cubicBezTo>
                  <a:cubicBezTo>
                    <a:pt x="995" y="1100"/>
                    <a:pt x="995" y="1099"/>
                    <a:pt x="995" y="1099"/>
                  </a:cubicBezTo>
                  <a:cubicBezTo>
                    <a:pt x="997" y="1093"/>
                    <a:pt x="997" y="1085"/>
                    <a:pt x="998" y="1079"/>
                  </a:cubicBezTo>
                  <a:cubicBezTo>
                    <a:pt x="998" y="1071"/>
                    <a:pt x="998" y="1064"/>
                    <a:pt x="998" y="1055"/>
                  </a:cubicBezTo>
                  <a:cubicBezTo>
                    <a:pt x="998" y="1039"/>
                    <a:pt x="995" y="1023"/>
                    <a:pt x="989" y="1009"/>
                  </a:cubicBezTo>
                  <a:cubicBezTo>
                    <a:pt x="987" y="1006"/>
                    <a:pt x="985" y="1003"/>
                    <a:pt x="984" y="1001"/>
                  </a:cubicBezTo>
                  <a:cubicBezTo>
                    <a:pt x="983" y="1000"/>
                    <a:pt x="983" y="999"/>
                    <a:pt x="982" y="999"/>
                  </a:cubicBezTo>
                  <a:cubicBezTo>
                    <a:pt x="982" y="998"/>
                    <a:pt x="982" y="997"/>
                    <a:pt x="982" y="996"/>
                  </a:cubicBezTo>
                  <a:cubicBezTo>
                    <a:pt x="983" y="994"/>
                    <a:pt x="983" y="992"/>
                    <a:pt x="983" y="990"/>
                  </a:cubicBezTo>
                  <a:cubicBezTo>
                    <a:pt x="983" y="989"/>
                    <a:pt x="983" y="987"/>
                    <a:pt x="983" y="986"/>
                  </a:cubicBezTo>
                  <a:cubicBezTo>
                    <a:pt x="983" y="986"/>
                    <a:pt x="983" y="986"/>
                    <a:pt x="983" y="986"/>
                  </a:cubicBezTo>
                  <a:cubicBezTo>
                    <a:pt x="986" y="987"/>
                    <a:pt x="991" y="988"/>
                    <a:pt x="995" y="988"/>
                  </a:cubicBezTo>
                  <a:cubicBezTo>
                    <a:pt x="995" y="988"/>
                    <a:pt x="995" y="988"/>
                    <a:pt x="995" y="988"/>
                  </a:cubicBezTo>
                  <a:cubicBezTo>
                    <a:pt x="996" y="992"/>
                    <a:pt x="997" y="996"/>
                    <a:pt x="998" y="999"/>
                  </a:cubicBezTo>
                  <a:cubicBezTo>
                    <a:pt x="999" y="1002"/>
                    <a:pt x="999" y="1004"/>
                    <a:pt x="1001" y="1006"/>
                  </a:cubicBezTo>
                  <a:cubicBezTo>
                    <a:pt x="1000" y="1007"/>
                    <a:pt x="1001" y="1008"/>
                    <a:pt x="1002" y="1009"/>
                  </a:cubicBezTo>
                  <a:cubicBezTo>
                    <a:pt x="1002" y="1009"/>
                    <a:pt x="1003" y="1010"/>
                    <a:pt x="1003" y="1010"/>
                  </a:cubicBezTo>
                  <a:cubicBezTo>
                    <a:pt x="1003" y="1010"/>
                    <a:pt x="1003" y="1010"/>
                    <a:pt x="1003" y="1010"/>
                  </a:cubicBezTo>
                  <a:cubicBezTo>
                    <a:pt x="1004" y="1011"/>
                    <a:pt x="1005" y="1011"/>
                    <a:pt x="1006" y="1011"/>
                  </a:cubicBezTo>
                  <a:cubicBezTo>
                    <a:pt x="1007" y="1011"/>
                    <a:pt x="1009" y="1011"/>
                    <a:pt x="1009" y="1011"/>
                  </a:cubicBezTo>
                  <a:cubicBezTo>
                    <a:pt x="1010" y="1011"/>
                    <a:pt x="1010" y="1011"/>
                    <a:pt x="1010" y="1011"/>
                  </a:cubicBezTo>
                  <a:cubicBezTo>
                    <a:pt x="1011" y="1013"/>
                    <a:pt x="1010" y="1015"/>
                    <a:pt x="1010" y="1016"/>
                  </a:cubicBezTo>
                  <a:cubicBezTo>
                    <a:pt x="1011" y="1018"/>
                    <a:pt x="1011" y="1020"/>
                    <a:pt x="1011" y="1022"/>
                  </a:cubicBezTo>
                  <a:cubicBezTo>
                    <a:pt x="1011" y="1027"/>
                    <a:pt x="1011" y="1032"/>
                    <a:pt x="1011" y="1036"/>
                  </a:cubicBezTo>
                  <a:cubicBezTo>
                    <a:pt x="1010" y="1044"/>
                    <a:pt x="1009" y="1053"/>
                    <a:pt x="1009" y="1062"/>
                  </a:cubicBezTo>
                  <a:cubicBezTo>
                    <a:pt x="1008" y="1070"/>
                    <a:pt x="1006" y="1079"/>
                    <a:pt x="1005" y="1087"/>
                  </a:cubicBezTo>
                  <a:cubicBezTo>
                    <a:pt x="1004" y="1092"/>
                    <a:pt x="1003" y="1096"/>
                    <a:pt x="1003" y="1101"/>
                  </a:cubicBezTo>
                  <a:cubicBezTo>
                    <a:pt x="1002" y="1103"/>
                    <a:pt x="1002" y="1105"/>
                    <a:pt x="1002" y="1107"/>
                  </a:cubicBezTo>
                  <a:cubicBezTo>
                    <a:pt x="1002" y="1109"/>
                    <a:pt x="1002" y="1111"/>
                    <a:pt x="1003" y="1113"/>
                  </a:cubicBezTo>
                  <a:cubicBezTo>
                    <a:pt x="1003" y="1115"/>
                    <a:pt x="1005" y="1115"/>
                    <a:pt x="1006" y="1113"/>
                  </a:cubicBezTo>
                  <a:cubicBezTo>
                    <a:pt x="1007" y="1111"/>
                    <a:pt x="1007" y="1110"/>
                    <a:pt x="1008" y="1108"/>
                  </a:cubicBezTo>
                  <a:cubicBezTo>
                    <a:pt x="1008" y="1105"/>
                    <a:pt x="1008" y="1103"/>
                    <a:pt x="1009" y="1101"/>
                  </a:cubicBezTo>
                  <a:cubicBezTo>
                    <a:pt x="1009" y="1097"/>
                    <a:pt x="1009" y="1092"/>
                    <a:pt x="1010" y="1088"/>
                  </a:cubicBezTo>
                  <a:cubicBezTo>
                    <a:pt x="1011" y="1079"/>
                    <a:pt x="1013" y="1071"/>
                    <a:pt x="1014" y="1062"/>
                  </a:cubicBezTo>
                  <a:cubicBezTo>
                    <a:pt x="1015" y="1053"/>
                    <a:pt x="1016" y="1045"/>
                    <a:pt x="1016" y="1036"/>
                  </a:cubicBezTo>
                  <a:cubicBezTo>
                    <a:pt x="1016" y="1032"/>
                    <a:pt x="1016" y="1027"/>
                    <a:pt x="1016" y="1022"/>
                  </a:cubicBezTo>
                  <a:cubicBezTo>
                    <a:pt x="1016" y="1020"/>
                    <a:pt x="1015" y="1018"/>
                    <a:pt x="1015" y="1016"/>
                  </a:cubicBezTo>
                  <a:cubicBezTo>
                    <a:pt x="1015" y="1014"/>
                    <a:pt x="1014" y="1013"/>
                    <a:pt x="1014" y="1011"/>
                  </a:cubicBezTo>
                  <a:cubicBezTo>
                    <a:pt x="1015" y="1011"/>
                    <a:pt x="1016" y="1011"/>
                    <a:pt x="1018" y="1011"/>
                  </a:cubicBezTo>
                  <a:cubicBezTo>
                    <a:pt x="1020" y="1011"/>
                    <a:pt x="1023" y="1011"/>
                    <a:pt x="1026" y="1011"/>
                  </a:cubicBezTo>
                  <a:cubicBezTo>
                    <a:pt x="1030" y="1011"/>
                    <a:pt x="1034" y="1010"/>
                    <a:pt x="1038" y="1009"/>
                  </a:cubicBezTo>
                  <a:cubicBezTo>
                    <a:pt x="1046" y="1008"/>
                    <a:pt x="1055" y="1006"/>
                    <a:pt x="1062" y="1004"/>
                  </a:cubicBezTo>
                  <a:cubicBezTo>
                    <a:pt x="1062" y="1005"/>
                    <a:pt x="1061" y="1007"/>
                    <a:pt x="1061" y="1009"/>
                  </a:cubicBezTo>
                  <a:cubicBezTo>
                    <a:pt x="1059" y="1013"/>
                    <a:pt x="1058" y="1016"/>
                    <a:pt x="1056" y="1020"/>
                  </a:cubicBezTo>
                  <a:cubicBezTo>
                    <a:pt x="1054" y="1024"/>
                    <a:pt x="1052" y="1029"/>
                    <a:pt x="1050" y="1033"/>
                  </a:cubicBezTo>
                  <a:cubicBezTo>
                    <a:pt x="1049" y="1036"/>
                    <a:pt x="1048" y="1039"/>
                    <a:pt x="1047" y="1042"/>
                  </a:cubicBezTo>
                  <a:close/>
                  <a:moveTo>
                    <a:pt x="1042" y="1046"/>
                  </a:moveTo>
                  <a:cubicBezTo>
                    <a:pt x="1042" y="1046"/>
                    <a:pt x="1042" y="1046"/>
                    <a:pt x="1042" y="1046"/>
                  </a:cubicBezTo>
                  <a:cubicBezTo>
                    <a:pt x="1042" y="1046"/>
                    <a:pt x="1042" y="1046"/>
                    <a:pt x="1042" y="1047"/>
                  </a:cubicBezTo>
                  <a:cubicBezTo>
                    <a:pt x="1041" y="1047"/>
                    <a:pt x="1041" y="1047"/>
                    <a:pt x="1041" y="1047"/>
                  </a:cubicBezTo>
                  <a:cubicBezTo>
                    <a:pt x="1040" y="1048"/>
                    <a:pt x="1040" y="1048"/>
                    <a:pt x="1039" y="1049"/>
                  </a:cubicBezTo>
                  <a:cubicBezTo>
                    <a:pt x="1034" y="1051"/>
                    <a:pt x="1028" y="1050"/>
                    <a:pt x="1025" y="1046"/>
                  </a:cubicBezTo>
                  <a:cubicBezTo>
                    <a:pt x="1022" y="1042"/>
                    <a:pt x="1023" y="1036"/>
                    <a:pt x="1026" y="1032"/>
                  </a:cubicBezTo>
                  <a:cubicBezTo>
                    <a:pt x="1026" y="1032"/>
                    <a:pt x="1026" y="1032"/>
                    <a:pt x="1026" y="1032"/>
                  </a:cubicBezTo>
                  <a:cubicBezTo>
                    <a:pt x="1026" y="1032"/>
                    <a:pt x="1027" y="1033"/>
                    <a:pt x="1028" y="1034"/>
                  </a:cubicBezTo>
                  <a:cubicBezTo>
                    <a:pt x="1031" y="1034"/>
                    <a:pt x="1033" y="1034"/>
                    <a:pt x="1036" y="1035"/>
                  </a:cubicBezTo>
                  <a:cubicBezTo>
                    <a:pt x="1038" y="1036"/>
                    <a:pt x="1040" y="1038"/>
                    <a:pt x="1041" y="1040"/>
                  </a:cubicBezTo>
                  <a:cubicBezTo>
                    <a:pt x="1041" y="1041"/>
                    <a:pt x="1042" y="1041"/>
                    <a:pt x="1042" y="1043"/>
                  </a:cubicBezTo>
                  <a:cubicBezTo>
                    <a:pt x="1042" y="1043"/>
                    <a:pt x="1042" y="1043"/>
                    <a:pt x="1042" y="1043"/>
                  </a:cubicBezTo>
                  <a:cubicBezTo>
                    <a:pt x="1042" y="1043"/>
                    <a:pt x="1042" y="1043"/>
                    <a:pt x="1042" y="1043"/>
                  </a:cubicBezTo>
                  <a:cubicBezTo>
                    <a:pt x="1042" y="1044"/>
                    <a:pt x="1042" y="1044"/>
                    <a:pt x="1042" y="1044"/>
                  </a:cubicBezTo>
                  <a:cubicBezTo>
                    <a:pt x="1042" y="1044"/>
                    <a:pt x="1042" y="1044"/>
                    <a:pt x="1042" y="1044"/>
                  </a:cubicBezTo>
                  <a:cubicBezTo>
                    <a:pt x="1042" y="1045"/>
                    <a:pt x="1042" y="1045"/>
                    <a:pt x="1042" y="1045"/>
                  </a:cubicBezTo>
                  <a:cubicBezTo>
                    <a:pt x="1042" y="1045"/>
                    <a:pt x="1042" y="1045"/>
                    <a:pt x="1042" y="1045"/>
                  </a:cubicBezTo>
                  <a:cubicBezTo>
                    <a:pt x="1042" y="1045"/>
                    <a:pt x="1042" y="1046"/>
                    <a:pt x="1042" y="1046"/>
                  </a:cubicBezTo>
                  <a:close/>
                  <a:moveTo>
                    <a:pt x="1062" y="1024"/>
                  </a:moveTo>
                  <a:cubicBezTo>
                    <a:pt x="1062" y="1024"/>
                    <a:pt x="1062" y="1024"/>
                    <a:pt x="1062" y="1024"/>
                  </a:cubicBezTo>
                  <a:cubicBezTo>
                    <a:pt x="1063" y="1021"/>
                    <a:pt x="1065" y="1018"/>
                    <a:pt x="1066" y="1015"/>
                  </a:cubicBezTo>
                  <a:cubicBezTo>
                    <a:pt x="1068" y="1015"/>
                    <a:pt x="1070" y="1015"/>
                    <a:pt x="1072" y="1015"/>
                  </a:cubicBezTo>
                  <a:cubicBezTo>
                    <a:pt x="1076" y="1015"/>
                    <a:pt x="1079" y="1016"/>
                    <a:pt x="1083" y="1017"/>
                  </a:cubicBezTo>
                  <a:cubicBezTo>
                    <a:pt x="1086" y="1018"/>
                    <a:pt x="1089" y="1019"/>
                    <a:pt x="1092" y="1020"/>
                  </a:cubicBezTo>
                  <a:cubicBezTo>
                    <a:pt x="1095" y="1021"/>
                    <a:pt x="1099" y="1023"/>
                    <a:pt x="1101" y="1022"/>
                  </a:cubicBezTo>
                  <a:cubicBezTo>
                    <a:pt x="1102" y="1022"/>
                    <a:pt x="1102" y="1022"/>
                    <a:pt x="1102" y="1021"/>
                  </a:cubicBezTo>
                  <a:cubicBezTo>
                    <a:pt x="1113" y="1031"/>
                    <a:pt x="1124" y="1039"/>
                    <a:pt x="1135" y="1049"/>
                  </a:cubicBezTo>
                  <a:cubicBezTo>
                    <a:pt x="1135" y="1049"/>
                    <a:pt x="1136" y="1050"/>
                    <a:pt x="1137" y="1050"/>
                  </a:cubicBezTo>
                  <a:cubicBezTo>
                    <a:pt x="1137" y="1051"/>
                    <a:pt x="1136" y="1052"/>
                    <a:pt x="1135" y="1053"/>
                  </a:cubicBezTo>
                  <a:cubicBezTo>
                    <a:pt x="1133" y="1052"/>
                    <a:pt x="1131" y="1051"/>
                    <a:pt x="1129" y="1050"/>
                  </a:cubicBezTo>
                  <a:cubicBezTo>
                    <a:pt x="1126" y="1049"/>
                    <a:pt x="1122" y="1048"/>
                    <a:pt x="1118" y="1047"/>
                  </a:cubicBezTo>
                  <a:cubicBezTo>
                    <a:pt x="1111" y="1045"/>
                    <a:pt x="1104" y="1044"/>
                    <a:pt x="1097" y="1042"/>
                  </a:cubicBezTo>
                  <a:cubicBezTo>
                    <a:pt x="1090" y="1041"/>
                    <a:pt x="1083" y="1040"/>
                    <a:pt x="1076" y="1038"/>
                  </a:cubicBezTo>
                  <a:cubicBezTo>
                    <a:pt x="1072" y="1038"/>
                    <a:pt x="1069" y="1037"/>
                    <a:pt x="1065" y="1036"/>
                  </a:cubicBezTo>
                  <a:cubicBezTo>
                    <a:pt x="1063" y="1035"/>
                    <a:pt x="1060" y="1034"/>
                    <a:pt x="1058" y="1034"/>
                  </a:cubicBezTo>
                  <a:cubicBezTo>
                    <a:pt x="1059" y="1030"/>
                    <a:pt x="1061" y="1027"/>
                    <a:pt x="1062" y="1024"/>
                  </a:cubicBezTo>
                  <a:close/>
                  <a:moveTo>
                    <a:pt x="1141" y="1045"/>
                  </a:moveTo>
                  <a:cubicBezTo>
                    <a:pt x="1141" y="1045"/>
                    <a:pt x="1141" y="1045"/>
                    <a:pt x="1141" y="1045"/>
                  </a:cubicBezTo>
                  <a:cubicBezTo>
                    <a:pt x="1141" y="1044"/>
                    <a:pt x="1140" y="1044"/>
                    <a:pt x="1140" y="1043"/>
                  </a:cubicBezTo>
                  <a:cubicBezTo>
                    <a:pt x="1138" y="1041"/>
                    <a:pt x="1136" y="1040"/>
                    <a:pt x="1134" y="1038"/>
                  </a:cubicBezTo>
                  <a:cubicBezTo>
                    <a:pt x="1136" y="1037"/>
                    <a:pt x="1139" y="1036"/>
                    <a:pt x="1141" y="1035"/>
                  </a:cubicBezTo>
                  <a:cubicBezTo>
                    <a:pt x="1143" y="1037"/>
                    <a:pt x="1145" y="1038"/>
                    <a:pt x="1146" y="1039"/>
                  </a:cubicBezTo>
                  <a:cubicBezTo>
                    <a:pt x="1144" y="1041"/>
                    <a:pt x="1143" y="1043"/>
                    <a:pt x="1141" y="1045"/>
                  </a:cubicBezTo>
                  <a:close/>
                  <a:moveTo>
                    <a:pt x="1222" y="999"/>
                  </a:moveTo>
                  <a:cubicBezTo>
                    <a:pt x="1222" y="999"/>
                    <a:pt x="1222" y="999"/>
                    <a:pt x="1222" y="999"/>
                  </a:cubicBezTo>
                  <a:cubicBezTo>
                    <a:pt x="1222" y="1000"/>
                    <a:pt x="1223" y="1000"/>
                    <a:pt x="1223" y="1000"/>
                  </a:cubicBezTo>
                  <a:cubicBezTo>
                    <a:pt x="1222" y="1000"/>
                    <a:pt x="1222" y="1000"/>
                    <a:pt x="1221" y="1001"/>
                  </a:cubicBezTo>
                  <a:cubicBezTo>
                    <a:pt x="1221" y="1000"/>
                    <a:pt x="1222" y="1000"/>
                    <a:pt x="1222" y="999"/>
                  </a:cubicBezTo>
                  <a:close/>
                  <a:moveTo>
                    <a:pt x="1118" y="965"/>
                  </a:moveTo>
                  <a:cubicBezTo>
                    <a:pt x="1118" y="965"/>
                    <a:pt x="1118" y="965"/>
                    <a:pt x="1118" y="965"/>
                  </a:cubicBezTo>
                  <a:cubicBezTo>
                    <a:pt x="1116" y="967"/>
                    <a:pt x="1113" y="968"/>
                    <a:pt x="1110" y="969"/>
                  </a:cubicBezTo>
                  <a:cubicBezTo>
                    <a:pt x="1109" y="970"/>
                    <a:pt x="1108" y="970"/>
                    <a:pt x="1106" y="971"/>
                  </a:cubicBezTo>
                  <a:cubicBezTo>
                    <a:pt x="1107" y="966"/>
                    <a:pt x="1105" y="961"/>
                    <a:pt x="1104" y="957"/>
                  </a:cubicBezTo>
                  <a:cubicBezTo>
                    <a:pt x="1103" y="955"/>
                    <a:pt x="1102" y="952"/>
                    <a:pt x="1101" y="950"/>
                  </a:cubicBezTo>
                  <a:cubicBezTo>
                    <a:pt x="1101" y="949"/>
                    <a:pt x="1102" y="948"/>
                    <a:pt x="1102" y="947"/>
                  </a:cubicBezTo>
                  <a:cubicBezTo>
                    <a:pt x="1103" y="944"/>
                    <a:pt x="1103" y="940"/>
                    <a:pt x="1102" y="937"/>
                  </a:cubicBezTo>
                  <a:cubicBezTo>
                    <a:pt x="1102" y="934"/>
                    <a:pt x="1101" y="931"/>
                    <a:pt x="1101" y="928"/>
                  </a:cubicBezTo>
                  <a:cubicBezTo>
                    <a:pt x="1102" y="930"/>
                    <a:pt x="1104" y="931"/>
                    <a:pt x="1106" y="933"/>
                  </a:cubicBezTo>
                  <a:cubicBezTo>
                    <a:pt x="1112" y="938"/>
                    <a:pt x="1119" y="942"/>
                    <a:pt x="1125" y="947"/>
                  </a:cubicBezTo>
                  <a:cubicBezTo>
                    <a:pt x="1122" y="952"/>
                    <a:pt x="1119" y="958"/>
                    <a:pt x="1118" y="965"/>
                  </a:cubicBezTo>
                  <a:close/>
                  <a:moveTo>
                    <a:pt x="1075" y="871"/>
                  </a:moveTo>
                  <a:cubicBezTo>
                    <a:pt x="1075" y="871"/>
                    <a:pt x="1075" y="871"/>
                    <a:pt x="1075" y="871"/>
                  </a:cubicBezTo>
                  <a:cubicBezTo>
                    <a:pt x="1075" y="871"/>
                    <a:pt x="1075" y="872"/>
                    <a:pt x="1075" y="873"/>
                  </a:cubicBezTo>
                  <a:cubicBezTo>
                    <a:pt x="1071" y="871"/>
                    <a:pt x="1066" y="869"/>
                    <a:pt x="1062" y="867"/>
                  </a:cubicBezTo>
                  <a:cubicBezTo>
                    <a:pt x="1062" y="866"/>
                    <a:pt x="1061" y="866"/>
                    <a:pt x="1061" y="866"/>
                  </a:cubicBezTo>
                  <a:cubicBezTo>
                    <a:pt x="1061" y="866"/>
                    <a:pt x="1061" y="866"/>
                    <a:pt x="1061" y="866"/>
                  </a:cubicBezTo>
                  <a:cubicBezTo>
                    <a:pt x="1061" y="866"/>
                    <a:pt x="1060" y="865"/>
                    <a:pt x="1060" y="865"/>
                  </a:cubicBezTo>
                  <a:cubicBezTo>
                    <a:pt x="1060" y="864"/>
                    <a:pt x="1060" y="864"/>
                    <a:pt x="1060" y="864"/>
                  </a:cubicBezTo>
                  <a:cubicBezTo>
                    <a:pt x="1060" y="864"/>
                    <a:pt x="1060" y="864"/>
                    <a:pt x="1060" y="864"/>
                  </a:cubicBezTo>
                  <a:cubicBezTo>
                    <a:pt x="1060" y="864"/>
                    <a:pt x="1060" y="864"/>
                    <a:pt x="1060" y="864"/>
                  </a:cubicBezTo>
                  <a:cubicBezTo>
                    <a:pt x="1059" y="863"/>
                    <a:pt x="1059" y="863"/>
                    <a:pt x="1059" y="862"/>
                  </a:cubicBezTo>
                  <a:cubicBezTo>
                    <a:pt x="1059" y="862"/>
                    <a:pt x="1059" y="862"/>
                    <a:pt x="1059" y="861"/>
                  </a:cubicBezTo>
                  <a:cubicBezTo>
                    <a:pt x="1059" y="861"/>
                    <a:pt x="1059" y="861"/>
                    <a:pt x="1059" y="861"/>
                  </a:cubicBezTo>
                  <a:cubicBezTo>
                    <a:pt x="1059" y="861"/>
                    <a:pt x="1059" y="860"/>
                    <a:pt x="1059" y="860"/>
                  </a:cubicBezTo>
                  <a:cubicBezTo>
                    <a:pt x="1059" y="859"/>
                    <a:pt x="1059" y="858"/>
                    <a:pt x="1059" y="858"/>
                  </a:cubicBezTo>
                  <a:cubicBezTo>
                    <a:pt x="1059" y="857"/>
                    <a:pt x="1059" y="856"/>
                    <a:pt x="1060" y="855"/>
                  </a:cubicBezTo>
                  <a:cubicBezTo>
                    <a:pt x="1060" y="855"/>
                    <a:pt x="1060" y="855"/>
                    <a:pt x="1060" y="854"/>
                  </a:cubicBezTo>
                  <a:cubicBezTo>
                    <a:pt x="1061" y="854"/>
                    <a:pt x="1061" y="854"/>
                    <a:pt x="1061" y="854"/>
                  </a:cubicBezTo>
                  <a:cubicBezTo>
                    <a:pt x="1062" y="853"/>
                    <a:pt x="1062" y="852"/>
                    <a:pt x="1061" y="851"/>
                  </a:cubicBezTo>
                  <a:cubicBezTo>
                    <a:pt x="1062" y="849"/>
                    <a:pt x="1064" y="847"/>
                    <a:pt x="1065" y="845"/>
                  </a:cubicBezTo>
                  <a:cubicBezTo>
                    <a:pt x="1066" y="845"/>
                    <a:pt x="1066" y="845"/>
                    <a:pt x="1066" y="845"/>
                  </a:cubicBezTo>
                  <a:cubicBezTo>
                    <a:pt x="1066" y="844"/>
                    <a:pt x="1066" y="844"/>
                    <a:pt x="1066" y="844"/>
                  </a:cubicBezTo>
                  <a:cubicBezTo>
                    <a:pt x="1067" y="844"/>
                    <a:pt x="1067" y="843"/>
                    <a:pt x="1068" y="842"/>
                  </a:cubicBezTo>
                  <a:cubicBezTo>
                    <a:pt x="1069" y="841"/>
                    <a:pt x="1070" y="840"/>
                    <a:pt x="1071" y="839"/>
                  </a:cubicBezTo>
                  <a:cubicBezTo>
                    <a:pt x="1072" y="838"/>
                    <a:pt x="1073" y="837"/>
                    <a:pt x="1074" y="836"/>
                  </a:cubicBezTo>
                  <a:cubicBezTo>
                    <a:pt x="1075" y="835"/>
                    <a:pt x="1075" y="835"/>
                    <a:pt x="1076" y="834"/>
                  </a:cubicBezTo>
                  <a:cubicBezTo>
                    <a:pt x="1076" y="834"/>
                    <a:pt x="1076" y="834"/>
                    <a:pt x="1076" y="834"/>
                  </a:cubicBezTo>
                  <a:cubicBezTo>
                    <a:pt x="1077" y="834"/>
                    <a:pt x="1077" y="834"/>
                    <a:pt x="1077" y="833"/>
                  </a:cubicBezTo>
                  <a:cubicBezTo>
                    <a:pt x="1079" y="832"/>
                    <a:pt x="1082" y="830"/>
                    <a:pt x="1084" y="829"/>
                  </a:cubicBezTo>
                  <a:cubicBezTo>
                    <a:pt x="1084" y="829"/>
                    <a:pt x="1084" y="829"/>
                    <a:pt x="1084" y="829"/>
                  </a:cubicBezTo>
                  <a:cubicBezTo>
                    <a:pt x="1085" y="829"/>
                    <a:pt x="1086" y="828"/>
                    <a:pt x="1087" y="828"/>
                  </a:cubicBezTo>
                  <a:cubicBezTo>
                    <a:pt x="1089" y="829"/>
                    <a:pt x="1090" y="829"/>
                    <a:pt x="1091" y="829"/>
                  </a:cubicBezTo>
                  <a:cubicBezTo>
                    <a:pt x="1093" y="830"/>
                    <a:pt x="1094" y="830"/>
                    <a:pt x="1096" y="831"/>
                  </a:cubicBezTo>
                  <a:cubicBezTo>
                    <a:pt x="1091" y="834"/>
                    <a:pt x="1087" y="839"/>
                    <a:pt x="1083" y="844"/>
                  </a:cubicBezTo>
                  <a:cubicBezTo>
                    <a:pt x="1079" y="849"/>
                    <a:pt x="1076" y="855"/>
                    <a:pt x="1075" y="861"/>
                  </a:cubicBezTo>
                  <a:cubicBezTo>
                    <a:pt x="1075" y="864"/>
                    <a:pt x="1075" y="867"/>
                    <a:pt x="1075" y="871"/>
                  </a:cubicBezTo>
                  <a:close/>
                  <a:moveTo>
                    <a:pt x="1064" y="834"/>
                  </a:moveTo>
                  <a:cubicBezTo>
                    <a:pt x="1064" y="834"/>
                    <a:pt x="1064" y="834"/>
                    <a:pt x="1064" y="834"/>
                  </a:cubicBezTo>
                  <a:cubicBezTo>
                    <a:pt x="1062" y="837"/>
                    <a:pt x="1059" y="841"/>
                    <a:pt x="1057" y="845"/>
                  </a:cubicBezTo>
                  <a:cubicBezTo>
                    <a:pt x="1055" y="843"/>
                    <a:pt x="1054" y="842"/>
                    <a:pt x="1052" y="841"/>
                  </a:cubicBezTo>
                  <a:cubicBezTo>
                    <a:pt x="1050" y="839"/>
                    <a:pt x="1049" y="837"/>
                    <a:pt x="1047" y="836"/>
                  </a:cubicBezTo>
                  <a:cubicBezTo>
                    <a:pt x="1054" y="835"/>
                    <a:pt x="1060" y="834"/>
                    <a:pt x="1066" y="832"/>
                  </a:cubicBezTo>
                  <a:cubicBezTo>
                    <a:pt x="1066" y="833"/>
                    <a:pt x="1065" y="834"/>
                    <a:pt x="1064" y="834"/>
                  </a:cubicBezTo>
                  <a:close/>
                  <a:moveTo>
                    <a:pt x="1042" y="837"/>
                  </a:moveTo>
                  <a:cubicBezTo>
                    <a:pt x="1042" y="837"/>
                    <a:pt x="1042" y="837"/>
                    <a:pt x="1042" y="837"/>
                  </a:cubicBezTo>
                  <a:cubicBezTo>
                    <a:pt x="1044" y="840"/>
                    <a:pt x="1047" y="842"/>
                    <a:pt x="1049" y="844"/>
                  </a:cubicBezTo>
                  <a:cubicBezTo>
                    <a:pt x="1051" y="846"/>
                    <a:pt x="1053" y="847"/>
                    <a:pt x="1055" y="849"/>
                  </a:cubicBezTo>
                  <a:cubicBezTo>
                    <a:pt x="1053" y="854"/>
                    <a:pt x="1052" y="858"/>
                    <a:pt x="1053" y="863"/>
                  </a:cubicBezTo>
                  <a:cubicBezTo>
                    <a:pt x="1052" y="862"/>
                    <a:pt x="1050" y="862"/>
                    <a:pt x="1049" y="861"/>
                  </a:cubicBezTo>
                  <a:cubicBezTo>
                    <a:pt x="1041" y="859"/>
                    <a:pt x="1034" y="858"/>
                    <a:pt x="1026" y="857"/>
                  </a:cubicBezTo>
                  <a:cubicBezTo>
                    <a:pt x="1026" y="854"/>
                    <a:pt x="1023" y="851"/>
                    <a:pt x="1020" y="849"/>
                  </a:cubicBezTo>
                  <a:cubicBezTo>
                    <a:pt x="1018" y="847"/>
                    <a:pt x="1015" y="846"/>
                    <a:pt x="1012" y="844"/>
                  </a:cubicBezTo>
                  <a:cubicBezTo>
                    <a:pt x="1022" y="842"/>
                    <a:pt x="1032" y="840"/>
                    <a:pt x="1042" y="837"/>
                  </a:cubicBezTo>
                  <a:close/>
                  <a:moveTo>
                    <a:pt x="1007" y="845"/>
                  </a:moveTo>
                  <a:cubicBezTo>
                    <a:pt x="1007" y="845"/>
                    <a:pt x="1007" y="845"/>
                    <a:pt x="1007" y="845"/>
                  </a:cubicBezTo>
                  <a:cubicBezTo>
                    <a:pt x="1010" y="848"/>
                    <a:pt x="1014" y="849"/>
                    <a:pt x="1017" y="852"/>
                  </a:cubicBezTo>
                  <a:cubicBezTo>
                    <a:pt x="1018" y="853"/>
                    <a:pt x="1020" y="854"/>
                    <a:pt x="1021" y="855"/>
                  </a:cubicBezTo>
                  <a:cubicBezTo>
                    <a:pt x="1021" y="856"/>
                    <a:pt x="1022" y="856"/>
                    <a:pt x="1022" y="857"/>
                  </a:cubicBezTo>
                  <a:cubicBezTo>
                    <a:pt x="1018" y="856"/>
                    <a:pt x="1013" y="855"/>
                    <a:pt x="1009" y="854"/>
                  </a:cubicBezTo>
                  <a:cubicBezTo>
                    <a:pt x="1008" y="853"/>
                    <a:pt x="1008" y="853"/>
                    <a:pt x="1007" y="853"/>
                  </a:cubicBezTo>
                  <a:cubicBezTo>
                    <a:pt x="1006" y="853"/>
                    <a:pt x="1006" y="853"/>
                    <a:pt x="1005" y="852"/>
                  </a:cubicBezTo>
                  <a:cubicBezTo>
                    <a:pt x="1004" y="852"/>
                    <a:pt x="1004" y="852"/>
                    <a:pt x="1004" y="852"/>
                  </a:cubicBezTo>
                  <a:cubicBezTo>
                    <a:pt x="1002" y="851"/>
                    <a:pt x="1000" y="850"/>
                    <a:pt x="998" y="849"/>
                  </a:cubicBezTo>
                  <a:cubicBezTo>
                    <a:pt x="995" y="847"/>
                    <a:pt x="992" y="849"/>
                    <a:pt x="991" y="852"/>
                  </a:cubicBezTo>
                  <a:cubicBezTo>
                    <a:pt x="990" y="856"/>
                    <a:pt x="988" y="860"/>
                    <a:pt x="987" y="864"/>
                  </a:cubicBezTo>
                  <a:cubicBezTo>
                    <a:pt x="987" y="864"/>
                    <a:pt x="987" y="864"/>
                    <a:pt x="987" y="864"/>
                  </a:cubicBezTo>
                  <a:cubicBezTo>
                    <a:pt x="986" y="863"/>
                    <a:pt x="984" y="863"/>
                    <a:pt x="983" y="863"/>
                  </a:cubicBezTo>
                  <a:cubicBezTo>
                    <a:pt x="979" y="863"/>
                    <a:pt x="976" y="863"/>
                    <a:pt x="973" y="863"/>
                  </a:cubicBezTo>
                  <a:cubicBezTo>
                    <a:pt x="973" y="863"/>
                    <a:pt x="972" y="863"/>
                    <a:pt x="972" y="863"/>
                  </a:cubicBezTo>
                  <a:cubicBezTo>
                    <a:pt x="972" y="863"/>
                    <a:pt x="972" y="863"/>
                    <a:pt x="972" y="862"/>
                  </a:cubicBezTo>
                  <a:cubicBezTo>
                    <a:pt x="971" y="860"/>
                    <a:pt x="969" y="858"/>
                    <a:pt x="967" y="857"/>
                  </a:cubicBezTo>
                  <a:cubicBezTo>
                    <a:pt x="965" y="856"/>
                    <a:pt x="963" y="856"/>
                    <a:pt x="962" y="855"/>
                  </a:cubicBezTo>
                  <a:cubicBezTo>
                    <a:pt x="973" y="853"/>
                    <a:pt x="984" y="850"/>
                    <a:pt x="995" y="848"/>
                  </a:cubicBezTo>
                  <a:cubicBezTo>
                    <a:pt x="999" y="847"/>
                    <a:pt x="1003" y="846"/>
                    <a:pt x="1007" y="845"/>
                  </a:cubicBezTo>
                  <a:close/>
                  <a:moveTo>
                    <a:pt x="959" y="858"/>
                  </a:moveTo>
                  <a:cubicBezTo>
                    <a:pt x="959" y="858"/>
                    <a:pt x="959" y="858"/>
                    <a:pt x="959" y="858"/>
                  </a:cubicBezTo>
                  <a:cubicBezTo>
                    <a:pt x="961" y="859"/>
                    <a:pt x="963" y="860"/>
                    <a:pt x="965" y="861"/>
                  </a:cubicBezTo>
                  <a:cubicBezTo>
                    <a:pt x="966" y="862"/>
                    <a:pt x="968" y="863"/>
                    <a:pt x="970" y="864"/>
                  </a:cubicBezTo>
                  <a:cubicBezTo>
                    <a:pt x="968" y="864"/>
                    <a:pt x="965" y="864"/>
                    <a:pt x="962" y="865"/>
                  </a:cubicBezTo>
                  <a:cubicBezTo>
                    <a:pt x="961" y="865"/>
                    <a:pt x="959" y="865"/>
                    <a:pt x="958" y="865"/>
                  </a:cubicBezTo>
                  <a:cubicBezTo>
                    <a:pt x="958" y="865"/>
                    <a:pt x="958" y="865"/>
                    <a:pt x="957" y="865"/>
                  </a:cubicBezTo>
                  <a:cubicBezTo>
                    <a:pt x="957" y="865"/>
                    <a:pt x="957" y="865"/>
                    <a:pt x="957" y="865"/>
                  </a:cubicBezTo>
                  <a:cubicBezTo>
                    <a:pt x="956" y="866"/>
                    <a:pt x="955" y="866"/>
                    <a:pt x="954" y="866"/>
                  </a:cubicBezTo>
                  <a:cubicBezTo>
                    <a:pt x="950" y="866"/>
                    <a:pt x="945" y="866"/>
                    <a:pt x="940" y="866"/>
                  </a:cubicBezTo>
                  <a:cubicBezTo>
                    <a:pt x="935" y="866"/>
                    <a:pt x="930" y="866"/>
                    <a:pt x="924" y="867"/>
                  </a:cubicBezTo>
                  <a:cubicBezTo>
                    <a:pt x="920" y="867"/>
                    <a:pt x="916" y="867"/>
                    <a:pt x="912" y="867"/>
                  </a:cubicBezTo>
                  <a:cubicBezTo>
                    <a:pt x="928" y="863"/>
                    <a:pt x="943" y="860"/>
                    <a:pt x="958" y="856"/>
                  </a:cubicBezTo>
                  <a:cubicBezTo>
                    <a:pt x="958" y="857"/>
                    <a:pt x="958" y="858"/>
                    <a:pt x="959" y="858"/>
                  </a:cubicBezTo>
                  <a:close/>
                  <a:moveTo>
                    <a:pt x="883" y="875"/>
                  </a:moveTo>
                  <a:cubicBezTo>
                    <a:pt x="883" y="875"/>
                    <a:pt x="883" y="875"/>
                    <a:pt x="883" y="875"/>
                  </a:cubicBezTo>
                  <a:cubicBezTo>
                    <a:pt x="883" y="876"/>
                    <a:pt x="884" y="876"/>
                    <a:pt x="885" y="876"/>
                  </a:cubicBezTo>
                  <a:cubicBezTo>
                    <a:pt x="886" y="876"/>
                    <a:pt x="887" y="877"/>
                    <a:pt x="888" y="876"/>
                  </a:cubicBezTo>
                  <a:cubicBezTo>
                    <a:pt x="889" y="876"/>
                    <a:pt x="889" y="876"/>
                    <a:pt x="890" y="876"/>
                  </a:cubicBezTo>
                  <a:cubicBezTo>
                    <a:pt x="890" y="876"/>
                    <a:pt x="890" y="876"/>
                    <a:pt x="891" y="876"/>
                  </a:cubicBezTo>
                  <a:cubicBezTo>
                    <a:pt x="891" y="878"/>
                    <a:pt x="893" y="880"/>
                    <a:pt x="894" y="882"/>
                  </a:cubicBezTo>
                  <a:cubicBezTo>
                    <a:pt x="888" y="880"/>
                    <a:pt x="883" y="878"/>
                    <a:pt x="877" y="877"/>
                  </a:cubicBezTo>
                  <a:cubicBezTo>
                    <a:pt x="879" y="876"/>
                    <a:pt x="881" y="876"/>
                    <a:pt x="883" y="875"/>
                  </a:cubicBezTo>
                  <a:close/>
                  <a:moveTo>
                    <a:pt x="838" y="903"/>
                  </a:moveTo>
                  <a:cubicBezTo>
                    <a:pt x="838" y="903"/>
                    <a:pt x="838" y="903"/>
                    <a:pt x="838" y="903"/>
                  </a:cubicBezTo>
                  <a:cubicBezTo>
                    <a:pt x="838" y="914"/>
                    <a:pt x="840" y="926"/>
                    <a:pt x="842" y="939"/>
                  </a:cubicBezTo>
                  <a:cubicBezTo>
                    <a:pt x="843" y="942"/>
                    <a:pt x="844" y="945"/>
                    <a:pt x="844" y="948"/>
                  </a:cubicBezTo>
                  <a:cubicBezTo>
                    <a:pt x="843" y="947"/>
                    <a:pt x="841" y="947"/>
                    <a:pt x="839" y="947"/>
                  </a:cubicBezTo>
                  <a:cubicBezTo>
                    <a:pt x="836" y="946"/>
                    <a:pt x="833" y="946"/>
                    <a:pt x="830" y="945"/>
                  </a:cubicBezTo>
                  <a:cubicBezTo>
                    <a:pt x="827" y="944"/>
                    <a:pt x="824" y="943"/>
                    <a:pt x="821" y="943"/>
                  </a:cubicBezTo>
                  <a:cubicBezTo>
                    <a:pt x="821" y="941"/>
                    <a:pt x="820" y="939"/>
                    <a:pt x="820" y="937"/>
                  </a:cubicBezTo>
                  <a:cubicBezTo>
                    <a:pt x="818" y="931"/>
                    <a:pt x="817" y="926"/>
                    <a:pt x="816" y="920"/>
                  </a:cubicBezTo>
                  <a:cubicBezTo>
                    <a:pt x="814" y="915"/>
                    <a:pt x="813" y="909"/>
                    <a:pt x="813" y="904"/>
                  </a:cubicBezTo>
                  <a:cubicBezTo>
                    <a:pt x="812" y="901"/>
                    <a:pt x="812" y="899"/>
                    <a:pt x="812" y="897"/>
                  </a:cubicBezTo>
                  <a:cubicBezTo>
                    <a:pt x="812" y="896"/>
                    <a:pt x="812" y="896"/>
                    <a:pt x="812" y="896"/>
                  </a:cubicBezTo>
                  <a:cubicBezTo>
                    <a:pt x="821" y="893"/>
                    <a:pt x="830" y="890"/>
                    <a:pt x="839" y="887"/>
                  </a:cubicBezTo>
                  <a:cubicBezTo>
                    <a:pt x="839" y="888"/>
                    <a:pt x="839" y="888"/>
                    <a:pt x="839" y="888"/>
                  </a:cubicBezTo>
                  <a:cubicBezTo>
                    <a:pt x="838" y="892"/>
                    <a:pt x="838" y="897"/>
                    <a:pt x="838" y="903"/>
                  </a:cubicBezTo>
                  <a:close/>
                  <a:moveTo>
                    <a:pt x="810" y="912"/>
                  </a:moveTo>
                  <a:cubicBezTo>
                    <a:pt x="810" y="912"/>
                    <a:pt x="810" y="912"/>
                    <a:pt x="810" y="912"/>
                  </a:cubicBezTo>
                  <a:cubicBezTo>
                    <a:pt x="811" y="918"/>
                    <a:pt x="812" y="924"/>
                    <a:pt x="813" y="930"/>
                  </a:cubicBezTo>
                  <a:cubicBezTo>
                    <a:pt x="814" y="934"/>
                    <a:pt x="815" y="938"/>
                    <a:pt x="816" y="942"/>
                  </a:cubicBezTo>
                  <a:cubicBezTo>
                    <a:pt x="813" y="941"/>
                    <a:pt x="810" y="941"/>
                    <a:pt x="807" y="940"/>
                  </a:cubicBezTo>
                  <a:cubicBezTo>
                    <a:pt x="802" y="938"/>
                    <a:pt x="797" y="937"/>
                    <a:pt x="792" y="935"/>
                  </a:cubicBezTo>
                  <a:cubicBezTo>
                    <a:pt x="791" y="934"/>
                    <a:pt x="791" y="932"/>
                    <a:pt x="790" y="930"/>
                  </a:cubicBezTo>
                  <a:cubicBezTo>
                    <a:pt x="789" y="927"/>
                    <a:pt x="788" y="924"/>
                    <a:pt x="787" y="920"/>
                  </a:cubicBezTo>
                  <a:cubicBezTo>
                    <a:pt x="786" y="917"/>
                    <a:pt x="785" y="914"/>
                    <a:pt x="784" y="910"/>
                  </a:cubicBezTo>
                  <a:cubicBezTo>
                    <a:pt x="784" y="909"/>
                    <a:pt x="784" y="907"/>
                    <a:pt x="784" y="906"/>
                  </a:cubicBezTo>
                  <a:cubicBezTo>
                    <a:pt x="791" y="903"/>
                    <a:pt x="799" y="900"/>
                    <a:pt x="806" y="898"/>
                  </a:cubicBezTo>
                  <a:cubicBezTo>
                    <a:pt x="807" y="898"/>
                    <a:pt x="808" y="897"/>
                    <a:pt x="808" y="897"/>
                  </a:cubicBezTo>
                  <a:cubicBezTo>
                    <a:pt x="808" y="903"/>
                    <a:pt x="809" y="907"/>
                    <a:pt x="810" y="912"/>
                  </a:cubicBezTo>
                  <a:close/>
                  <a:moveTo>
                    <a:pt x="783" y="920"/>
                  </a:moveTo>
                  <a:cubicBezTo>
                    <a:pt x="783" y="920"/>
                    <a:pt x="783" y="920"/>
                    <a:pt x="783" y="920"/>
                  </a:cubicBezTo>
                  <a:cubicBezTo>
                    <a:pt x="784" y="925"/>
                    <a:pt x="786" y="929"/>
                    <a:pt x="787" y="934"/>
                  </a:cubicBezTo>
                  <a:cubicBezTo>
                    <a:pt x="787" y="934"/>
                    <a:pt x="787" y="934"/>
                    <a:pt x="786" y="934"/>
                  </a:cubicBezTo>
                  <a:cubicBezTo>
                    <a:pt x="783" y="932"/>
                    <a:pt x="779" y="932"/>
                    <a:pt x="776" y="931"/>
                  </a:cubicBezTo>
                  <a:cubicBezTo>
                    <a:pt x="775" y="931"/>
                    <a:pt x="774" y="931"/>
                    <a:pt x="773" y="931"/>
                  </a:cubicBezTo>
                  <a:cubicBezTo>
                    <a:pt x="773" y="928"/>
                    <a:pt x="771" y="924"/>
                    <a:pt x="770" y="922"/>
                  </a:cubicBezTo>
                  <a:cubicBezTo>
                    <a:pt x="768" y="919"/>
                    <a:pt x="767" y="916"/>
                    <a:pt x="766" y="912"/>
                  </a:cubicBezTo>
                  <a:cubicBezTo>
                    <a:pt x="771" y="910"/>
                    <a:pt x="775" y="909"/>
                    <a:pt x="780" y="907"/>
                  </a:cubicBezTo>
                  <a:cubicBezTo>
                    <a:pt x="780" y="912"/>
                    <a:pt x="781" y="916"/>
                    <a:pt x="783" y="920"/>
                  </a:cubicBezTo>
                  <a:close/>
                  <a:moveTo>
                    <a:pt x="763" y="913"/>
                  </a:moveTo>
                  <a:cubicBezTo>
                    <a:pt x="763" y="913"/>
                    <a:pt x="763" y="913"/>
                    <a:pt x="763" y="913"/>
                  </a:cubicBezTo>
                  <a:cubicBezTo>
                    <a:pt x="763" y="916"/>
                    <a:pt x="764" y="919"/>
                    <a:pt x="766" y="922"/>
                  </a:cubicBezTo>
                  <a:cubicBezTo>
                    <a:pt x="767" y="924"/>
                    <a:pt x="768" y="926"/>
                    <a:pt x="769" y="928"/>
                  </a:cubicBezTo>
                  <a:cubicBezTo>
                    <a:pt x="769" y="929"/>
                    <a:pt x="769" y="930"/>
                    <a:pt x="770" y="930"/>
                  </a:cubicBezTo>
                  <a:cubicBezTo>
                    <a:pt x="770" y="930"/>
                    <a:pt x="770" y="930"/>
                    <a:pt x="770" y="930"/>
                  </a:cubicBezTo>
                  <a:cubicBezTo>
                    <a:pt x="769" y="930"/>
                    <a:pt x="768" y="930"/>
                    <a:pt x="767" y="931"/>
                  </a:cubicBezTo>
                  <a:cubicBezTo>
                    <a:pt x="764" y="930"/>
                    <a:pt x="761" y="929"/>
                    <a:pt x="758" y="928"/>
                  </a:cubicBezTo>
                  <a:cubicBezTo>
                    <a:pt x="756" y="927"/>
                    <a:pt x="754" y="927"/>
                    <a:pt x="752" y="926"/>
                  </a:cubicBezTo>
                  <a:cubicBezTo>
                    <a:pt x="752" y="923"/>
                    <a:pt x="752" y="920"/>
                    <a:pt x="752" y="918"/>
                  </a:cubicBezTo>
                  <a:cubicBezTo>
                    <a:pt x="756" y="916"/>
                    <a:pt x="759" y="915"/>
                    <a:pt x="763" y="913"/>
                  </a:cubicBezTo>
                  <a:close/>
                  <a:moveTo>
                    <a:pt x="748" y="919"/>
                  </a:moveTo>
                  <a:cubicBezTo>
                    <a:pt x="748" y="919"/>
                    <a:pt x="748" y="919"/>
                    <a:pt x="748" y="919"/>
                  </a:cubicBezTo>
                  <a:cubicBezTo>
                    <a:pt x="748" y="921"/>
                    <a:pt x="749" y="924"/>
                    <a:pt x="750" y="926"/>
                  </a:cubicBezTo>
                  <a:cubicBezTo>
                    <a:pt x="748" y="925"/>
                    <a:pt x="745" y="925"/>
                    <a:pt x="743" y="924"/>
                  </a:cubicBezTo>
                  <a:cubicBezTo>
                    <a:pt x="742" y="924"/>
                    <a:pt x="740" y="923"/>
                    <a:pt x="738" y="923"/>
                  </a:cubicBezTo>
                  <a:cubicBezTo>
                    <a:pt x="741" y="921"/>
                    <a:pt x="745" y="920"/>
                    <a:pt x="748" y="919"/>
                  </a:cubicBezTo>
                  <a:close/>
                  <a:moveTo>
                    <a:pt x="719" y="930"/>
                  </a:moveTo>
                  <a:cubicBezTo>
                    <a:pt x="719" y="930"/>
                    <a:pt x="719" y="930"/>
                    <a:pt x="719" y="930"/>
                  </a:cubicBezTo>
                  <a:cubicBezTo>
                    <a:pt x="721" y="932"/>
                    <a:pt x="722" y="933"/>
                    <a:pt x="723" y="934"/>
                  </a:cubicBezTo>
                  <a:cubicBezTo>
                    <a:pt x="726" y="938"/>
                    <a:pt x="729" y="941"/>
                    <a:pt x="732" y="945"/>
                  </a:cubicBezTo>
                  <a:cubicBezTo>
                    <a:pt x="734" y="948"/>
                    <a:pt x="737" y="952"/>
                    <a:pt x="739" y="955"/>
                  </a:cubicBezTo>
                  <a:cubicBezTo>
                    <a:pt x="741" y="957"/>
                    <a:pt x="742" y="958"/>
                    <a:pt x="744" y="960"/>
                  </a:cubicBezTo>
                  <a:cubicBezTo>
                    <a:pt x="744" y="960"/>
                    <a:pt x="744" y="961"/>
                    <a:pt x="744" y="961"/>
                  </a:cubicBezTo>
                  <a:cubicBezTo>
                    <a:pt x="742" y="961"/>
                    <a:pt x="739" y="961"/>
                    <a:pt x="737" y="960"/>
                  </a:cubicBezTo>
                  <a:cubicBezTo>
                    <a:pt x="735" y="957"/>
                    <a:pt x="733" y="954"/>
                    <a:pt x="730" y="951"/>
                  </a:cubicBezTo>
                  <a:cubicBezTo>
                    <a:pt x="728" y="948"/>
                    <a:pt x="725" y="944"/>
                    <a:pt x="722" y="940"/>
                  </a:cubicBezTo>
                  <a:cubicBezTo>
                    <a:pt x="719" y="938"/>
                    <a:pt x="717" y="935"/>
                    <a:pt x="715" y="932"/>
                  </a:cubicBezTo>
                  <a:cubicBezTo>
                    <a:pt x="716" y="931"/>
                    <a:pt x="718" y="931"/>
                    <a:pt x="719" y="930"/>
                  </a:cubicBezTo>
                  <a:close/>
                  <a:moveTo>
                    <a:pt x="696" y="941"/>
                  </a:moveTo>
                  <a:cubicBezTo>
                    <a:pt x="696" y="941"/>
                    <a:pt x="696" y="941"/>
                    <a:pt x="696" y="941"/>
                  </a:cubicBezTo>
                  <a:cubicBezTo>
                    <a:pt x="697" y="941"/>
                    <a:pt x="697" y="941"/>
                    <a:pt x="697" y="941"/>
                  </a:cubicBezTo>
                  <a:cubicBezTo>
                    <a:pt x="700" y="941"/>
                    <a:pt x="704" y="940"/>
                    <a:pt x="707" y="940"/>
                  </a:cubicBezTo>
                  <a:cubicBezTo>
                    <a:pt x="707" y="940"/>
                    <a:pt x="708" y="940"/>
                    <a:pt x="708" y="940"/>
                  </a:cubicBezTo>
                  <a:cubicBezTo>
                    <a:pt x="708" y="940"/>
                    <a:pt x="709" y="941"/>
                    <a:pt x="709" y="941"/>
                  </a:cubicBezTo>
                  <a:cubicBezTo>
                    <a:pt x="711" y="944"/>
                    <a:pt x="714" y="947"/>
                    <a:pt x="716" y="949"/>
                  </a:cubicBezTo>
                  <a:cubicBezTo>
                    <a:pt x="718" y="951"/>
                    <a:pt x="721" y="953"/>
                    <a:pt x="723" y="955"/>
                  </a:cubicBezTo>
                  <a:cubicBezTo>
                    <a:pt x="724" y="956"/>
                    <a:pt x="726" y="957"/>
                    <a:pt x="727" y="958"/>
                  </a:cubicBezTo>
                  <a:cubicBezTo>
                    <a:pt x="727" y="959"/>
                    <a:pt x="728" y="959"/>
                    <a:pt x="728" y="960"/>
                  </a:cubicBezTo>
                  <a:cubicBezTo>
                    <a:pt x="725" y="959"/>
                    <a:pt x="723" y="959"/>
                    <a:pt x="720" y="959"/>
                  </a:cubicBezTo>
                  <a:cubicBezTo>
                    <a:pt x="720" y="959"/>
                    <a:pt x="720" y="959"/>
                    <a:pt x="720" y="959"/>
                  </a:cubicBezTo>
                  <a:cubicBezTo>
                    <a:pt x="718" y="958"/>
                    <a:pt x="717" y="958"/>
                    <a:pt x="715" y="958"/>
                  </a:cubicBezTo>
                  <a:cubicBezTo>
                    <a:pt x="712" y="957"/>
                    <a:pt x="708" y="957"/>
                    <a:pt x="705" y="958"/>
                  </a:cubicBezTo>
                  <a:cubicBezTo>
                    <a:pt x="697" y="960"/>
                    <a:pt x="693" y="969"/>
                    <a:pt x="697" y="976"/>
                  </a:cubicBezTo>
                  <a:cubicBezTo>
                    <a:pt x="700" y="981"/>
                    <a:pt x="707" y="984"/>
                    <a:pt x="713" y="985"/>
                  </a:cubicBezTo>
                  <a:cubicBezTo>
                    <a:pt x="714" y="985"/>
                    <a:pt x="714" y="985"/>
                    <a:pt x="715" y="985"/>
                  </a:cubicBezTo>
                  <a:cubicBezTo>
                    <a:pt x="714" y="988"/>
                    <a:pt x="714" y="990"/>
                    <a:pt x="715" y="993"/>
                  </a:cubicBezTo>
                  <a:cubicBezTo>
                    <a:pt x="717" y="998"/>
                    <a:pt x="723" y="998"/>
                    <a:pt x="727" y="998"/>
                  </a:cubicBezTo>
                  <a:cubicBezTo>
                    <a:pt x="733" y="998"/>
                    <a:pt x="738" y="996"/>
                    <a:pt x="743" y="993"/>
                  </a:cubicBezTo>
                  <a:cubicBezTo>
                    <a:pt x="745" y="992"/>
                    <a:pt x="747" y="992"/>
                    <a:pt x="749" y="990"/>
                  </a:cubicBezTo>
                  <a:cubicBezTo>
                    <a:pt x="749" y="991"/>
                    <a:pt x="750" y="992"/>
                    <a:pt x="750" y="992"/>
                  </a:cubicBezTo>
                  <a:cubicBezTo>
                    <a:pt x="753" y="996"/>
                    <a:pt x="756" y="999"/>
                    <a:pt x="757" y="1003"/>
                  </a:cubicBezTo>
                  <a:cubicBezTo>
                    <a:pt x="758" y="1007"/>
                    <a:pt x="758" y="1010"/>
                    <a:pt x="758" y="1014"/>
                  </a:cubicBezTo>
                  <a:cubicBezTo>
                    <a:pt x="759" y="1016"/>
                    <a:pt x="759" y="1018"/>
                    <a:pt x="760" y="1020"/>
                  </a:cubicBezTo>
                  <a:cubicBezTo>
                    <a:pt x="760" y="1021"/>
                    <a:pt x="760" y="1021"/>
                    <a:pt x="760" y="1021"/>
                  </a:cubicBezTo>
                  <a:cubicBezTo>
                    <a:pt x="759" y="1022"/>
                    <a:pt x="757" y="1023"/>
                    <a:pt x="756" y="1025"/>
                  </a:cubicBezTo>
                  <a:cubicBezTo>
                    <a:pt x="754" y="1026"/>
                    <a:pt x="753" y="1029"/>
                    <a:pt x="753" y="1032"/>
                  </a:cubicBezTo>
                  <a:cubicBezTo>
                    <a:pt x="753" y="1033"/>
                    <a:pt x="753" y="1035"/>
                    <a:pt x="754" y="1036"/>
                  </a:cubicBezTo>
                  <a:cubicBezTo>
                    <a:pt x="750" y="1034"/>
                    <a:pt x="746" y="1034"/>
                    <a:pt x="741" y="1033"/>
                  </a:cubicBezTo>
                  <a:cubicBezTo>
                    <a:pt x="737" y="1032"/>
                    <a:pt x="732" y="1031"/>
                    <a:pt x="727" y="1029"/>
                  </a:cubicBezTo>
                  <a:cubicBezTo>
                    <a:pt x="719" y="1028"/>
                    <a:pt x="712" y="1025"/>
                    <a:pt x="705" y="1023"/>
                  </a:cubicBezTo>
                  <a:cubicBezTo>
                    <a:pt x="700" y="1022"/>
                    <a:pt x="696" y="1021"/>
                    <a:pt x="692" y="1019"/>
                  </a:cubicBezTo>
                  <a:cubicBezTo>
                    <a:pt x="694" y="1017"/>
                    <a:pt x="695" y="1016"/>
                    <a:pt x="696" y="1014"/>
                  </a:cubicBezTo>
                  <a:cubicBezTo>
                    <a:pt x="699" y="1009"/>
                    <a:pt x="699" y="1003"/>
                    <a:pt x="696" y="999"/>
                  </a:cubicBezTo>
                  <a:cubicBezTo>
                    <a:pt x="691" y="994"/>
                    <a:pt x="683" y="992"/>
                    <a:pt x="678" y="996"/>
                  </a:cubicBezTo>
                  <a:cubicBezTo>
                    <a:pt x="674" y="999"/>
                    <a:pt x="672" y="1004"/>
                    <a:pt x="673" y="1009"/>
                  </a:cubicBezTo>
                  <a:cubicBezTo>
                    <a:pt x="673" y="1008"/>
                    <a:pt x="672" y="1008"/>
                    <a:pt x="671" y="1008"/>
                  </a:cubicBezTo>
                  <a:cubicBezTo>
                    <a:pt x="669" y="1006"/>
                    <a:pt x="667" y="1004"/>
                    <a:pt x="664" y="1003"/>
                  </a:cubicBezTo>
                  <a:cubicBezTo>
                    <a:pt x="660" y="1000"/>
                    <a:pt x="655" y="997"/>
                    <a:pt x="651" y="993"/>
                  </a:cubicBezTo>
                  <a:cubicBezTo>
                    <a:pt x="646" y="989"/>
                    <a:pt x="642" y="985"/>
                    <a:pt x="640" y="980"/>
                  </a:cubicBezTo>
                  <a:cubicBezTo>
                    <a:pt x="638" y="978"/>
                    <a:pt x="637" y="975"/>
                    <a:pt x="636" y="972"/>
                  </a:cubicBezTo>
                  <a:cubicBezTo>
                    <a:pt x="636" y="971"/>
                    <a:pt x="636" y="970"/>
                    <a:pt x="636" y="969"/>
                  </a:cubicBezTo>
                  <a:cubicBezTo>
                    <a:pt x="656" y="959"/>
                    <a:pt x="676" y="949"/>
                    <a:pt x="696" y="941"/>
                  </a:cubicBezTo>
                  <a:close/>
                  <a:moveTo>
                    <a:pt x="629" y="972"/>
                  </a:moveTo>
                  <a:cubicBezTo>
                    <a:pt x="629" y="972"/>
                    <a:pt x="629" y="972"/>
                    <a:pt x="629" y="972"/>
                  </a:cubicBezTo>
                  <a:cubicBezTo>
                    <a:pt x="629" y="976"/>
                    <a:pt x="631" y="979"/>
                    <a:pt x="632" y="982"/>
                  </a:cubicBezTo>
                  <a:cubicBezTo>
                    <a:pt x="635" y="987"/>
                    <a:pt x="639" y="992"/>
                    <a:pt x="644" y="997"/>
                  </a:cubicBezTo>
                  <a:cubicBezTo>
                    <a:pt x="649" y="1001"/>
                    <a:pt x="654" y="1005"/>
                    <a:pt x="659" y="1008"/>
                  </a:cubicBezTo>
                  <a:cubicBezTo>
                    <a:pt x="662" y="1010"/>
                    <a:pt x="664" y="1011"/>
                    <a:pt x="667" y="1013"/>
                  </a:cubicBezTo>
                  <a:cubicBezTo>
                    <a:pt x="669" y="1014"/>
                    <a:pt x="670" y="1015"/>
                    <a:pt x="672" y="1016"/>
                  </a:cubicBezTo>
                  <a:cubicBezTo>
                    <a:pt x="670" y="1019"/>
                    <a:pt x="669" y="1023"/>
                    <a:pt x="667" y="1027"/>
                  </a:cubicBezTo>
                  <a:cubicBezTo>
                    <a:pt x="665" y="1030"/>
                    <a:pt x="663" y="1033"/>
                    <a:pt x="662" y="1037"/>
                  </a:cubicBezTo>
                  <a:cubicBezTo>
                    <a:pt x="658" y="1035"/>
                    <a:pt x="653" y="1033"/>
                    <a:pt x="649" y="1031"/>
                  </a:cubicBezTo>
                  <a:cubicBezTo>
                    <a:pt x="643" y="1028"/>
                    <a:pt x="638" y="1025"/>
                    <a:pt x="633" y="1021"/>
                  </a:cubicBezTo>
                  <a:cubicBezTo>
                    <a:pt x="628" y="1017"/>
                    <a:pt x="623" y="1012"/>
                    <a:pt x="618" y="1007"/>
                  </a:cubicBezTo>
                  <a:cubicBezTo>
                    <a:pt x="617" y="1005"/>
                    <a:pt x="615" y="1003"/>
                    <a:pt x="614" y="1001"/>
                  </a:cubicBezTo>
                  <a:cubicBezTo>
                    <a:pt x="613" y="999"/>
                    <a:pt x="612" y="997"/>
                    <a:pt x="611" y="994"/>
                  </a:cubicBezTo>
                  <a:cubicBezTo>
                    <a:pt x="611" y="993"/>
                    <a:pt x="610" y="991"/>
                    <a:pt x="610" y="990"/>
                  </a:cubicBezTo>
                  <a:cubicBezTo>
                    <a:pt x="611" y="989"/>
                    <a:pt x="611" y="987"/>
                    <a:pt x="612" y="986"/>
                  </a:cubicBezTo>
                  <a:cubicBezTo>
                    <a:pt x="613" y="984"/>
                    <a:pt x="614" y="981"/>
                    <a:pt x="615" y="979"/>
                  </a:cubicBezTo>
                  <a:cubicBezTo>
                    <a:pt x="616" y="979"/>
                    <a:pt x="616" y="979"/>
                    <a:pt x="616" y="979"/>
                  </a:cubicBezTo>
                  <a:cubicBezTo>
                    <a:pt x="620" y="977"/>
                    <a:pt x="624" y="975"/>
                    <a:pt x="629" y="972"/>
                  </a:cubicBezTo>
                  <a:close/>
                  <a:moveTo>
                    <a:pt x="604" y="995"/>
                  </a:moveTo>
                  <a:cubicBezTo>
                    <a:pt x="604" y="995"/>
                    <a:pt x="604" y="995"/>
                    <a:pt x="604" y="995"/>
                  </a:cubicBezTo>
                  <a:cubicBezTo>
                    <a:pt x="605" y="999"/>
                    <a:pt x="608" y="1004"/>
                    <a:pt x="612" y="1006"/>
                  </a:cubicBezTo>
                  <a:cubicBezTo>
                    <a:pt x="612" y="1006"/>
                    <a:pt x="612" y="1006"/>
                    <a:pt x="612" y="1006"/>
                  </a:cubicBezTo>
                  <a:cubicBezTo>
                    <a:pt x="610" y="1010"/>
                    <a:pt x="610" y="1015"/>
                    <a:pt x="608" y="1019"/>
                  </a:cubicBezTo>
                  <a:cubicBezTo>
                    <a:pt x="607" y="1024"/>
                    <a:pt x="606" y="1030"/>
                    <a:pt x="604" y="1034"/>
                  </a:cubicBezTo>
                  <a:cubicBezTo>
                    <a:pt x="601" y="1044"/>
                    <a:pt x="597" y="1053"/>
                    <a:pt x="594" y="1063"/>
                  </a:cubicBezTo>
                  <a:cubicBezTo>
                    <a:pt x="591" y="1073"/>
                    <a:pt x="589" y="1083"/>
                    <a:pt x="585" y="1093"/>
                  </a:cubicBezTo>
                  <a:cubicBezTo>
                    <a:pt x="584" y="1096"/>
                    <a:pt x="583" y="1099"/>
                    <a:pt x="582" y="1102"/>
                  </a:cubicBezTo>
                  <a:cubicBezTo>
                    <a:pt x="583" y="1100"/>
                    <a:pt x="583" y="1097"/>
                    <a:pt x="583" y="1095"/>
                  </a:cubicBezTo>
                  <a:cubicBezTo>
                    <a:pt x="584" y="1085"/>
                    <a:pt x="586" y="1076"/>
                    <a:pt x="587" y="1067"/>
                  </a:cubicBezTo>
                  <a:cubicBezTo>
                    <a:pt x="589" y="1048"/>
                    <a:pt x="590" y="1029"/>
                    <a:pt x="586" y="1010"/>
                  </a:cubicBezTo>
                  <a:cubicBezTo>
                    <a:pt x="586" y="1007"/>
                    <a:pt x="585" y="1004"/>
                    <a:pt x="584" y="1001"/>
                  </a:cubicBezTo>
                  <a:cubicBezTo>
                    <a:pt x="583" y="1000"/>
                    <a:pt x="583" y="998"/>
                    <a:pt x="583" y="997"/>
                  </a:cubicBezTo>
                  <a:cubicBezTo>
                    <a:pt x="590" y="993"/>
                    <a:pt x="597" y="989"/>
                    <a:pt x="605" y="985"/>
                  </a:cubicBezTo>
                  <a:cubicBezTo>
                    <a:pt x="604" y="988"/>
                    <a:pt x="603" y="991"/>
                    <a:pt x="604" y="995"/>
                  </a:cubicBezTo>
                  <a:close/>
                  <a:moveTo>
                    <a:pt x="579" y="999"/>
                  </a:moveTo>
                  <a:cubicBezTo>
                    <a:pt x="579" y="999"/>
                    <a:pt x="579" y="999"/>
                    <a:pt x="579" y="999"/>
                  </a:cubicBezTo>
                  <a:cubicBezTo>
                    <a:pt x="580" y="1001"/>
                    <a:pt x="581" y="1003"/>
                    <a:pt x="581" y="1005"/>
                  </a:cubicBezTo>
                  <a:cubicBezTo>
                    <a:pt x="582" y="1010"/>
                    <a:pt x="583" y="1014"/>
                    <a:pt x="583" y="1019"/>
                  </a:cubicBezTo>
                  <a:cubicBezTo>
                    <a:pt x="584" y="1029"/>
                    <a:pt x="584" y="1038"/>
                    <a:pt x="584" y="1047"/>
                  </a:cubicBezTo>
                  <a:cubicBezTo>
                    <a:pt x="583" y="1057"/>
                    <a:pt x="582" y="1067"/>
                    <a:pt x="581" y="1076"/>
                  </a:cubicBezTo>
                  <a:cubicBezTo>
                    <a:pt x="580" y="1085"/>
                    <a:pt x="578" y="1095"/>
                    <a:pt x="577" y="1105"/>
                  </a:cubicBezTo>
                  <a:cubicBezTo>
                    <a:pt x="576" y="1108"/>
                    <a:pt x="576" y="1111"/>
                    <a:pt x="575" y="1114"/>
                  </a:cubicBezTo>
                  <a:cubicBezTo>
                    <a:pt x="575" y="1115"/>
                    <a:pt x="575" y="1115"/>
                    <a:pt x="575" y="1115"/>
                  </a:cubicBezTo>
                  <a:cubicBezTo>
                    <a:pt x="574" y="1116"/>
                    <a:pt x="573" y="1117"/>
                    <a:pt x="573" y="1118"/>
                  </a:cubicBezTo>
                  <a:cubicBezTo>
                    <a:pt x="572" y="1119"/>
                    <a:pt x="571" y="1120"/>
                    <a:pt x="571" y="1122"/>
                  </a:cubicBezTo>
                  <a:cubicBezTo>
                    <a:pt x="569" y="1124"/>
                    <a:pt x="568" y="1127"/>
                    <a:pt x="567" y="1130"/>
                  </a:cubicBezTo>
                  <a:cubicBezTo>
                    <a:pt x="566" y="1133"/>
                    <a:pt x="565" y="1136"/>
                    <a:pt x="564" y="1139"/>
                  </a:cubicBezTo>
                  <a:cubicBezTo>
                    <a:pt x="561" y="1146"/>
                    <a:pt x="558" y="1153"/>
                    <a:pt x="557" y="1160"/>
                  </a:cubicBezTo>
                  <a:cubicBezTo>
                    <a:pt x="556" y="1167"/>
                    <a:pt x="558" y="1174"/>
                    <a:pt x="562" y="1180"/>
                  </a:cubicBezTo>
                  <a:cubicBezTo>
                    <a:pt x="562" y="1180"/>
                    <a:pt x="561" y="1180"/>
                    <a:pt x="561" y="1181"/>
                  </a:cubicBezTo>
                  <a:cubicBezTo>
                    <a:pt x="560" y="1183"/>
                    <a:pt x="559" y="1184"/>
                    <a:pt x="558" y="1186"/>
                  </a:cubicBezTo>
                  <a:cubicBezTo>
                    <a:pt x="558" y="1186"/>
                    <a:pt x="558" y="1186"/>
                    <a:pt x="558" y="1186"/>
                  </a:cubicBezTo>
                  <a:cubicBezTo>
                    <a:pt x="554" y="1184"/>
                    <a:pt x="549" y="1182"/>
                    <a:pt x="544" y="1181"/>
                  </a:cubicBezTo>
                  <a:cubicBezTo>
                    <a:pt x="542" y="1181"/>
                    <a:pt x="541" y="1181"/>
                    <a:pt x="539" y="1181"/>
                  </a:cubicBezTo>
                  <a:cubicBezTo>
                    <a:pt x="539" y="1181"/>
                    <a:pt x="539" y="1181"/>
                    <a:pt x="539" y="1180"/>
                  </a:cubicBezTo>
                  <a:cubicBezTo>
                    <a:pt x="540" y="1179"/>
                    <a:pt x="540" y="1178"/>
                    <a:pt x="540" y="1177"/>
                  </a:cubicBezTo>
                  <a:cubicBezTo>
                    <a:pt x="540" y="1174"/>
                    <a:pt x="540" y="1171"/>
                    <a:pt x="540" y="1168"/>
                  </a:cubicBezTo>
                  <a:cubicBezTo>
                    <a:pt x="541" y="1163"/>
                    <a:pt x="541" y="1157"/>
                    <a:pt x="541" y="1151"/>
                  </a:cubicBezTo>
                  <a:cubicBezTo>
                    <a:pt x="542" y="1141"/>
                    <a:pt x="542" y="1130"/>
                    <a:pt x="542" y="1118"/>
                  </a:cubicBezTo>
                  <a:cubicBezTo>
                    <a:pt x="542" y="1096"/>
                    <a:pt x="541" y="1074"/>
                    <a:pt x="541" y="1051"/>
                  </a:cubicBezTo>
                  <a:cubicBezTo>
                    <a:pt x="541" y="1046"/>
                    <a:pt x="541" y="1041"/>
                    <a:pt x="541" y="1036"/>
                  </a:cubicBezTo>
                  <a:cubicBezTo>
                    <a:pt x="540" y="1033"/>
                    <a:pt x="540" y="1031"/>
                    <a:pt x="540" y="1028"/>
                  </a:cubicBezTo>
                  <a:cubicBezTo>
                    <a:pt x="540" y="1026"/>
                    <a:pt x="540" y="1024"/>
                    <a:pt x="539" y="1022"/>
                  </a:cubicBezTo>
                  <a:cubicBezTo>
                    <a:pt x="552" y="1014"/>
                    <a:pt x="566" y="1006"/>
                    <a:pt x="579" y="999"/>
                  </a:cubicBezTo>
                  <a:close/>
                  <a:moveTo>
                    <a:pt x="534" y="1025"/>
                  </a:moveTo>
                  <a:cubicBezTo>
                    <a:pt x="534" y="1025"/>
                    <a:pt x="534" y="1025"/>
                    <a:pt x="534" y="1025"/>
                  </a:cubicBezTo>
                  <a:cubicBezTo>
                    <a:pt x="534" y="1026"/>
                    <a:pt x="534" y="1027"/>
                    <a:pt x="534" y="1028"/>
                  </a:cubicBezTo>
                  <a:cubicBezTo>
                    <a:pt x="535" y="1031"/>
                    <a:pt x="535" y="1033"/>
                    <a:pt x="535" y="1036"/>
                  </a:cubicBezTo>
                  <a:cubicBezTo>
                    <a:pt x="535" y="1040"/>
                    <a:pt x="535" y="1045"/>
                    <a:pt x="535" y="1050"/>
                  </a:cubicBezTo>
                  <a:cubicBezTo>
                    <a:pt x="535" y="1062"/>
                    <a:pt x="535" y="1073"/>
                    <a:pt x="536" y="1084"/>
                  </a:cubicBezTo>
                  <a:cubicBezTo>
                    <a:pt x="536" y="1086"/>
                    <a:pt x="536" y="1089"/>
                    <a:pt x="536" y="1092"/>
                  </a:cubicBezTo>
                  <a:cubicBezTo>
                    <a:pt x="534" y="1090"/>
                    <a:pt x="532" y="1087"/>
                    <a:pt x="529" y="1086"/>
                  </a:cubicBezTo>
                  <a:cubicBezTo>
                    <a:pt x="526" y="1085"/>
                    <a:pt x="522" y="1085"/>
                    <a:pt x="519" y="1085"/>
                  </a:cubicBezTo>
                  <a:cubicBezTo>
                    <a:pt x="516" y="1085"/>
                    <a:pt x="512" y="1086"/>
                    <a:pt x="510" y="1088"/>
                  </a:cubicBezTo>
                  <a:cubicBezTo>
                    <a:pt x="509" y="1090"/>
                    <a:pt x="509" y="1091"/>
                    <a:pt x="510" y="1091"/>
                  </a:cubicBezTo>
                  <a:cubicBezTo>
                    <a:pt x="508" y="1094"/>
                    <a:pt x="507" y="1097"/>
                    <a:pt x="506" y="1100"/>
                  </a:cubicBezTo>
                  <a:cubicBezTo>
                    <a:pt x="506" y="1105"/>
                    <a:pt x="509" y="1111"/>
                    <a:pt x="513" y="1114"/>
                  </a:cubicBezTo>
                  <a:cubicBezTo>
                    <a:pt x="517" y="1118"/>
                    <a:pt x="523" y="1119"/>
                    <a:pt x="528" y="1117"/>
                  </a:cubicBezTo>
                  <a:cubicBezTo>
                    <a:pt x="531" y="1116"/>
                    <a:pt x="535" y="1113"/>
                    <a:pt x="537" y="1110"/>
                  </a:cubicBezTo>
                  <a:cubicBezTo>
                    <a:pt x="537" y="1112"/>
                    <a:pt x="537" y="1115"/>
                    <a:pt x="537" y="1117"/>
                  </a:cubicBezTo>
                  <a:cubicBezTo>
                    <a:pt x="537" y="1128"/>
                    <a:pt x="537" y="1139"/>
                    <a:pt x="536" y="1150"/>
                  </a:cubicBezTo>
                  <a:cubicBezTo>
                    <a:pt x="536" y="1156"/>
                    <a:pt x="535" y="1162"/>
                    <a:pt x="535" y="1167"/>
                  </a:cubicBezTo>
                  <a:cubicBezTo>
                    <a:pt x="535" y="1170"/>
                    <a:pt x="535" y="1173"/>
                    <a:pt x="535" y="1176"/>
                  </a:cubicBezTo>
                  <a:cubicBezTo>
                    <a:pt x="535" y="1177"/>
                    <a:pt x="535" y="1178"/>
                    <a:pt x="535" y="1180"/>
                  </a:cubicBezTo>
                  <a:cubicBezTo>
                    <a:pt x="535" y="1180"/>
                    <a:pt x="535" y="1181"/>
                    <a:pt x="535" y="1181"/>
                  </a:cubicBezTo>
                  <a:cubicBezTo>
                    <a:pt x="530" y="1182"/>
                    <a:pt x="525" y="1183"/>
                    <a:pt x="520" y="1185"/>
                  </a:cubicBezTo>
                  <a:cubicBezTo>
                    <a:pt x="520" y="1183"/>
                    <a:pt x="521" y="1181"/>
                    <a:pt x="521" y="1179"/>
                  </a:cubicBezTo>
                  <a:cubicBezTo>
                    <a:pt x="525" y="1169"/>
                    <a:pt x="528" y="1158"/>
                    <a:pt x="526" y="1146"/>
                  </a:cubicBezTo>
                  <a:cubicBezTo>
                    <a:pt x="525" y="1144"/>
                    <a:pt x="524" y="1141"/>
                    <a:pt x="523" y="1139"/>
                  </a:cubicBezTo>
                  <a:cubicBezTo>
                    <a:pt x="523" y="1139"/>
                    <a:pt x="523" y="1139"/>
                    <a:pt x="523" y="1138"/>
                  </a:cubicBezTo>
                  <a:cubicBezTo>
                    <a:pt x="522" y="1136"/>
                    <a:pt x="520" y="1135"/>
                    <a:pt x="519" y="1133"/>
                  </a:cubicBezTo>
                  <a:cubicBezTo>
                    <a:pt x="516" y="1130"/>
                    <a:pt x="513" y="1127"/>
                    <a:pt x="509" y="1125"/>
                  </a:cubicBezTo>
                  <a:cubicBezTo>
                    <a:pt x="505" y="1122"/>
                    <a:pt x="500" y="1119"/>
                    <a:pt x="495" y="1117"/>
                  </a:cubicBezTo>
                  <a:cubicBezTo>
                    <a:pt x="495" y="1117"/>
                    <a:pt x="495" y="1117"/>
                    <a:pt x="495" y="1117"/>
                  </a:cubicBezTo>
                  <a:cubicBezTo>
                    <a:pt x="495" y="1116"/>
                    <a:pt x="495" y="1115"/>
                    <a:pt x="495" y="1115"/>
                  </a:cubicBezTo>
                  <a:cubicBezTo>
                    <a:pt x="494" y="1113"/>
                    <a:pt x="494" y="1111"/>
                    <a:pt x="494" y="1110"/>
                  </a:cubicBezTo>
                  <a:cubicBezTo>
                    <a:pt x="493" y="1106"/>
                    <a:pt x="492" y="1103"/>
                    <a:pt x="492" y="1100"/>
                  </a:cubicBezTo>
                  <a:cubicBezTo>
                    <a:pt x="491" y="1093"/>
                    <a:pt x="491" y="1086"/>
                    <a:pt x="491" y="1079"/>
                  </a:cubicBezTo>
                  <a:cubicBezTo>
                    <a:pt x="491" y="1073"/>
                    <a:pt x="491" y="1066"/>
                    <a:pt x="492" y="1059"/>
                  </a:cubicBezTo>
                  <a:cubicBezTo>
                    <a:pt x="493" y="1056"/>
                    <a:pt x="493" y="1053"/>
                    <a:pt x="494" y="1050"/>
                  </a:cubicBezTo>
                  <a:cubicBezTo>
                    <a:pt x="507" y="1042"/>
                    <a:pt x="520" y="1034"/>
                    <a:pt x="534" y="1025"/>
                  </a:cubicBezTo>
                  <a:close/>
                  <a:moveTo>
                    <a:pt x="514" y="1091"/>
                  </a:moveTo>
                  <a:cubicBezTo>
                    <a:pt x="514" y="1091"/>
                    <a:pt x="514" y="1091"/>
                    <a:pt x="514" y="1091"/>
                  </a:cubicBezTo>
                  <a:cubicBezTo>
                    <a:pt x="516" y="1091"/>
                    <a:pt x="517" y="1090"/>
                    <a:pt x="520" y="1090"/>
                  </a:cubicBezTo>
                  <a:cubicBezTo>
                    <a:pt x="522" y="1091"/>
                    <a:pt x="525" y="1091"/>
                    <a:pt x="528" y="1092"/>
                  </a:cubicBezTo>
                  <a:cubicBezTo>
                    <a:pt x="530" y="1093"/>
                    <a:pt x="532" y="1095"/>
                    <a:pt x="533" y="1097"/>
                  </a:cubicBezTo>
                  <a:cubicBezTo>
                    <a:pt x="535" y="1099"/>
                    <a:pt x="535" y="1101"/>
                    <a:pt x="534" y="1103"/>
                  </a:cubicBezTo>
                  <a:cubicBezTo>
                    <a:pt x="533" y="1106"/>
                    <a:pt x="531" y="1109"/>
                    <a:pt x="528" y="1111"/>
                  </a:cubicBezTo>
                  <a:cubicBezTo>
                    <a:pt x="526" y="1112"/>
                    <a:pt x="524" y="1113"/>
                    <a:pt x="521" y="1113"/>
                  </a:cubicBezTo>
                  <a:cubicBezTo>
                    <a:pt x="520" y="1113"/>
                    <a:pt x="517" y="1112"/>
                    <a:pt x="516" y="1110"/>
                  </a:cubicBezTo>
                  <a:cubicBezTo>
                    <a:pt x="514" y="1109"/>
                    <a:pt x="513" y="1107"/>
                    <a:pt x="512" y="1105"/>
                  </a:cubicBezTo>
                  <a:cubicBezTo>
                    <a:pt x="510" y="1100"/>
                    <a:pt x="511" y="1095"/>
                    <a:pt x="514" y="1091"/>
                  </a:cubicBezTo>
                  <a:close/>
                  <a:moveTo>
                    <a:pt x="487" y="1100"/>
                  </a:moveTo>
                  <a:cubicBezTo>
                    <a:pt x="487" y="1100"/>
                    <a:pt x="487" y="1100"/>
                    <a:pt x="487" y="1100"/>
                  </a:cubicBezTo>
                  <a:cubicBezTo>
                    <a:pt x="488" y="1103"/>
                    <a:pt x="488" y="1107"/>
                    <a:pt x="489" y="1110"/>
                  </a:cubicBezTo>
                  <a:cubicBezTo>
                    <a:pt x="489" y="1112"/>
                    <a:pt x="490" y="1113"/>
                    <a:pt x="490" y="1115"/>
                  </a:cubicBezTo>
                  <a:cubicBezTo>
                    <a:pt x="489" y="1114"/>
                    <a:pt x="488" y="1114"/>
                    <a:pt x="487" y="1113"/>
                  </a:cubicBezTo>
                  <a:cubicBezTo>
                    <a:pt x="476" y="1109"/>
                    <a:pt x="465" y="1106"/>
                    <a:pt x="454" y="1104"/>
                  </a:cubicBezTo>
                  <a:cubicBezTo>
                    <a:pt x="454" y="1103"/>
                    <a:pt x="453" y="1103"/>
                    <a:pt x="453" y="1102"/>
                  </a:cubicBezTo>
                  <a:cubicBezTo>
                    <a:pt x="452" y="1100"/>
                    <a:pt x="451" y="1097"/>
                    <a:pt x="450" y="1094"/>
                  </a:cubicBezTo>
                  <a:cubicBezTo>
                    <a:pt x="449" y="1092"/>
                    <a:pt x="448" y="1088"/>
                    <a:pt x="447" y="1086"/>
                  </a:cubicBezTo>
                  <a:cubicBezTo>
                    <a:pt x="447" y="1085"/>
                    <a:pt x="447" y="1084"/>
                    <a:pt x="447" y="1083"/>
                  </a:cubicBezTo>
                  <a:cubicBezTo>
                    <a:pt x="458" y="1075"/>
                    <a:pt x="468" y="1068"/>
                    <a:pt x="479" y="1061"/>
                  </a:cubicBezTo>
                  <a:cubicBezTo>
                    <a:pt x="482" y="1059"/>
                    <a:pt x="486" y="1056"/>
                    <a:pt x="489" y="1054"/>
                  </a:cubicBezTo>
                  <a:cubicBezTo>
                    <a:pt x="489" y="1055"/>
                    <a:pt x="489" y="1056"/>
                    <a:pt x="488" y="1057"/>
                  </a:cubicBezTo>
                  <a:cubicBezTo>
                    <a:pt x="487" y="1064"/>
                    <a:pt x="486" y="1072"/>
                    <a:pt x="486" y="1079"/>
                  </a:cubicBezTo>
                  <a:cubicBezTo>
                    <a:pt x="486" y="1086"/>
                    <a:pt x="486" y="1093"/>
                    <a:pt x="487" y="1100"/>
                  </a:cubicBezTo>
                  <a:close/>
                  <a:moveTo>
                    <a:pt x="444" y="1085"/>
                  </a:moveTo>
                  <a:cubicBezTo>
                    <a:pt x="444" y="1085"/>
                    <a:pt x="444" y="1085"/>
                    <a:pt x="444" y="1085"/>
                  </a:cubicBezTo>
                  <a:cubicBezTo>
                    <a:pt x="444" y="1085"/>
                    <a:pt x="444" y="1085"/>
                    <a:pt x="444" y="1085"/>
                  </a:cubicBezTo>
                  <a:cubicBezTo>
                    <a:pt x="444" y="1088"/>
                    <a:pt x="445" y="1092"/>
                    <a:pt x="446" y="1095"/>
                  </a:cubicBezTo>
                  <a:cubicBezTo>
                    <a:pt x="446" y="1098"/>
                    <a:pt x="447" y="1100"/>
                    <a:pt x="449" y="1103"/>
                  </a:cubicBezTo>
                  <a:cubicBezTo>
                    <a:pt x="444" y="1102"/>
                    <a:pt x="439" y="1101"/>
                    <a:pt x="434" y="1101"/>
                  </a:cubicBezTo>
                  <a:cubicBezTo>
                    <a:pt x="430" y="1101"/>
                    <a:pt x="426" y="1101"/>
                    <a:pt x="422" y="1101"/>
                  </a:cubicBezTo>
                  <a:cubicBezTo>
                    <a:pt x="430" y="1095"/>
                    <a:pt x="437" y="1090"/>
                    <a:pt x="444" y="1085"/>
                  </a:cubicBezTo>
                  <a:close/>
                  <a:moveTo>
                    <a:pt x="363" y="1151"/>
                  </a:moveTo>
                  <a:cubicBezTo>
                    <a:pt x="363" y="1151"/>
                    <a:pt x="363" y="1151"/>
                    <a:pt x="363" y="1151"/>
                  </a:cubicBezTo>
                  <a:cubicBezTo>
                    <a:pt x="363" y="1157"/>
                    <a:pt x="362" y="1161"/>
                    <a:pt x="362" y="1166"/>
                  </a:cubicBezTo>
                  <a:cubicBezTo>
                    <a:pt x="361" y="1176"/>
                    <a:pt x="360" y="1186"/>
                    <a:pt x="358" y="1196"/>
                  </a:cubicBezTo>
                  <a:cubicBezTo>
                    <a:pt x="357" y="1204"/>
                    <a:pt x="356" y="1212"/>
                    <a:pt x="354" y="1220"/>
                  </a:cubicBezTo>
                  <a:cubicBezTo>
                    <a:pt x="353" y="1218"/>
                    <a:pt x="353" y="1215"/>
                    <a:pt x="352" y="1212"/>
                  </a:cubicBezTo>
                  <a:cubicBezTo>
                    <a:pt x="350" y="1206"/>
                    <a:pt x="348" y="1200"/>
                    <a:pt x="347" y="1194"/>
                  </a:cubicBezTo>
                  <a:cubicBezTo>
                    <a:pt x="345" y="1184"/>
                    <a:pt x="346" y="1173"/>
                    <a:pt x="344" y="1164"/>
                  </a:cubicBezTo>
                  <a:cubicBezTo>
                    <a:pt x="350" y="1158"/>
                    <a:pt x="356" y="1153"/>
                    <a:pt x="363" y="1147"/>
                  </a:cubicBezTo>
                  <a:cubicBezTo>
                    <a:pt x="363" y="1149"/>
                    <a:pt x="363" y="1150"/>
                    <a:pt x="363" y="1151"/>
                  </a:cubicBezTo>
                  <a:close/>
                  <a:moveTo>
                    <a:pt x="339" y="1167"/>
                  </a:moveTo>
                  <a:cubicBezTo>
                    <a:pt x="339" y="1167"/>
                    <a:pt x="339" y="1167"/>
                    <a:pt x="339" y="1167"/>
                  </a:cubicBezTo>
                  <a:cubicBezTo>
                    <a:pt x="340" y="1171"/>
                    <a:pt x="340" y="1174"/>
                    <a:pt x="341" y="1178"/>
                  </a:cubicBezTo>
                  <a:cubicBezTo>
                    <a:pt x="341" y="1184"/>
                    <a:pt x="342" y="1189"/>
                    <a:pt x="343" y="1195"/>
                  </a:cubicBezTo>
                  <a:cubicBezTo>
                    <a:pt x="344" y="1201"/>
                    <a:pt x="345" y="1207"/>
                    <a:pt x="347" y="1213"/>
                  </a:cubicBezTo>
                  <a:cubicBezTo>
                    <a:pt x="348" y="1217"/>
                    <a:pt x="349" y="1220"/>
                    <a:pt x="350" y="1224"/>
                  </a:cubicBezTo>
                  <a:cubicBezTo>
                    <a:pt x="351" y="1226"/>
                    <a:pt x="351" y="1228"/>
                    <a:pt x="352" y="1231"/>
                  </a:cubicBezTo>
                  <a:cubicBezTo>
                    <a:pt x="352" y="1232"/>
                    <a:pt x="351" y="1234"/>
                    <a:pt x="351" y="1236"/>
                  </a:cubicBezTo>
                  <a:cubicBezTo>
                    <a:pt x="350" y="1236"/>
                    <a:pt x="349" y="1236"/>
                    <a:pt x="348" y="1236"/>
                  </a:cubicBezTo>
                  <a:cubicBezTo>
                    <a:pt x="345" y="1236"/>
                    <a:pt x="343" y="1236"/>
                    <a:pt x="341" y="1236"/>
                  </a:cubicBezTo>
                  <a:cubicBezTo>
                    <a:pt x="338" y="1235"/>
                    <a:pt x="336" y="1235"/>
                    <a:pt x="333" y="1236"/>
                  </a:cubicBezTo>
                  <a:cubicBezTo>
                    <a:pt x="332" y="1236"/>
                    <a:pt x="330" y="1236"/>
                    <a:pt x="328" y="1237"/>
                  </a:cubicBezTo>
                  <a:cubicBezTo>
                    <a:pt x="328" y="1236"/>
                    <a:pt x="328" y="1235"/>
                    <a:pt x="327" y="1233"/>
                  </a:cubicBezTo>
                  <a:cubicBezTo>
                    <a:pt x="326" y="1231"/>
                    <a:pt x="325" y="1229"/>
                    <a:pt x="324" y="1226"/>
                  </a:cubicBezTo>
                  <a:cubicBezTo>
                    <a:pt x="322" y="1222"/>
                    <a:pt x="320" y="1217"/>
                    <a:pt x="318" y="1212"/>
                  </a:cubicBezTo>
                  <a:cubicBezTo>
                    <a:pt x="316" y="1204"/>
                    <a:pt x="314" y="1197"/>
                    <a:pt x="313" y="1190"/>
                  </a:cubicBezTo>
                  <a:cubicBezTo>
                    <a:pt x="319" y="1184"/>
                    <a:pt x="326" y="1178"/>
                    <a:pt x="333" y="1173"/>
                  </a:cubicBezTo>
                  <a:cubicBezTo>
                    <a:pt x="335" y="1171"/>
                    <a:pt x="337" y="1169"/>
                    <a:pt x="339" y="1167"/>
                  </a:cubicBezTo>
                  <a:close/>
                  <a:moveTo>
                    <a:pt x="309" y="1193"/>
                  </a:moveTo>
                  <a:cubicBezTo>
                    <a:pt x="309" y="1193"/>
                    <a:pt x="309" y="1193"/>
                    <a:pt x="309" y="1193"/>
                  </a:cubicBezTo>
                  <a:cubicBezTo>
                    <a:pt x="310" y="1200"/>
                    <a:pt x="311" y="1206"/>
                    <a:pt x="313" y="1212"/>
                  </a:cubicBezTo>
                  <a:cubicBezTo>
                    <a:pt x="315" y="1218"/>
                    <a:pt x="317" y="1223"/>
                    <a:pt x="319" y="1228"/>
                  </a:cubicBezTo>
                  <a:cubicBezTo>
                    <a:pt x="319" y="1229"/>
                    <a:pt x="319" y="1230"/>
                    <a:pt x="320" y="1231"/>
                  </a:cubicBezTo>
                  <a:cubicBezTo>
                    <a:pt x="312" y="1225"/>
                    <a:pt x="305" y="1219"/>
                    <a:pt x="297" y="1212"/>
                  </a:cubicBezTo>
                  <a:cubicBezTo>
                    <a:pt x="295" y="1211"/>
                    <a:pt x="294" y="1209"/>
                    <a:pt x="292" y="1208"/>
                  </a:cubicBezTo>
                  <a:cubicBezTo>
                    <a:pt x="298" y="1203"/>
                    <a:pt x="303" y="1198"/>
                    <a:pt x="309" y="1193"/>
                  </a:cubicBezTo>
                  <a:close/>
                  <a:moveTo>
                    <a:pt x="913" y="1327"/>
                  </a:moveTo>
                  <a:cubicBezTo>
                    <a:pt x="913" y="1327"/>
                    <a:pt x="913" y="1327"/>
                    <a:pt x="913" y="1327"/>
                  </a:cubicBezTo>
                  <a:cubicBezTo>
                    <a:pt x="910" y="1330"/>
                    <a:pt x="907" y="1333"/>
                    <a:pt x="904" y="1336"/>
                  </a:cubicBezTo>
                  <a:cubicBezTo>
                    <a:pt x="900" y="1341"/>
                    <a:pt x="895" y="1344"/>
                    <a:pt x="890" y="1347"/>
                  </a:cubicBezTo>
                  <a:cubicBezTo>
                    <a:pt x="890" y="1346"/>
                    <a:pt x="890" y="1345"/>
                    <a:pt x="890" y="1344"/>
                  </a:cubicBezTo>
                  <a:cubicBezTo>
                    <a:pt x="891" y="1339"/>
                    <a:pt x="892" y="1335"/>
                    <a:pt x="893" y="1331"/>
                  </a:cubicBezTo>
                  <a:cubicBezTo>
                    <a:pt x="893" y="1327"/>
                    <a:pt x="894" y="1324"/>
                    <a:pt x="895" y="1321"/>
                  </a:cubicBezTo>
                  <a:cubicBezTo>
                    <a:pt x="895" y="1321"/>
                    <a:pt x="895" y="1320"/>
                    <a:pt x="895" y="1320"/>
                  </a:cubicBezTo>
                  <a:cubicBezTo>
                    <a:pt x="896" y="1319"/>
                    <a:pt x="896" y="1319"/>
                    <a:pt x="896" y="1319"/>
                  </a:cubicBezTo>
                  <a:cubicBezTo>
                    <a:pt x="896" y="1318"/>
                    <a:pt x="896" y="1318"/>
                    <a:pt x="897" y="1317"/>
                  </a:cubicBezTo>
                  <a:cubicBezTo>
                    <a:pt x="897" y="1317"/>
                    <a:pt x="897" y="1317"/>
                    <a:pt x="897" y="1316"/>
                  </a:cubicBezTo>
                  <a:cubicBezTo>
                    <a:pt x="903" y="1320"/>
                    <a:pt x="908" y="1323"/>
                    <a:pt x="913" y="1326"/>
                  </a:cubicBezTo>
                  <a:cubicBezTo>
                    <a:pt x="913" y="1326"/>
                    <a:pt x="913" y="1326"/>
                    <a:pt x="913" y="1327"/>
                  </a:cubicBezTo>
                  <a:close/>
                  <a:moveTo>
                    <a:pt x="861" y="1302"/>
                  </a:moveTo>
                  <a:cubicBezTo>
                    <a:pt x="861" y="1302"/>
                    <a:pt x="861" y="1302"/>
                    <a:pt x="861" y="1302"/>
                  </a:cubicBezTo>
                  <a:cubicBezTo>
                    <a:pt x="850" y="1302"/>
                    <a:pt x="840" y="1301"/>
                    <a:pt x="829" y="1300"/>
                  </a:cubicBezTo>
                  <a:cubicBezTo>
                    <a:pt x="818" y="1299"/>
                    <a:pt x="808" y="1298"/>
                    <a:pt x="797" y="1296"/>
                  </a:cubicBezTo>
                  <a:cubicBezTo>
                    <a:pt x="792" y="1295"/>
                    <a:pt x="787" y="1294"/>
                    <a:pt x="782" y="1292"/>
                  </a:cubicBezTo>
                  <a:cubicBezTo>
                    <a:pt x="777" y="1291"/>
                    <a:pt x="772" y="1290"/>
                    <a:pt x="767" y="1288"/>
                  </a:cubicBezTo>
                  <a:cubicBezTo>
                    <a:pt x="764" y="1286"/>
                    <a:pt x="760" y="1284"/>
                    <a:pt x="756" y="1283"/>
                  </a:cubicBezTo>
                  <a:cubicBezTo>
                    <a:pt x="757" y="1281"/>
                    <a:pt x="757" y="1278"/>
                    <a:pt x="757" y="1275"/>
                  </a:cubicBezTo>
                  <a:cubicBezTo>
                    <a:pt x="762" y="1279"/>
                    <a:pt x="766" y="1281"/>
                    <a:pt x="772" y="1283"/>
                  </a:cubicBezTo>
                  <a:cubicBezTo>
                    <a:pt x="780" y="1286"/>
                    <a:pt x="788" y="1288"/>
                    <a:pt x="796" y="1289"/>
                  </a:cubicBezTo>
                  <a:cubicBezTo>
                    <a:pt x="806" y="1292"/>
                    <a:pt x="815" y="1294"/>
                    <a:pt x="825" y="1295"/>
                  </a:cubicBezTo>
                  <a:cubicBezTo>
                    <a:pt x="835" y="1296"/>
                    <a:pt x="845" y="1297"/>
                    <a:pt x="856" y="1298"/>
                  </a:cubicBezTo>
                  <a:cubicBezTo>
                    <a:pt x="859" y="1299"/>
                    <a:pt x="862" y="1299"/>
                    <a:pt x="865" y="1298"/>
                  </a:cubicBezTo>
                  <a:cubicBezTo>
                    <a:pt x="866" y="1299"/>
                    <a:pt x="867" y="1299"/>
                    <a:pt x="869" y="1299"/>
                  </a:cubicBezTo>
                  <a:cubicBezTo>
                    <a:pt x="870" y="1299"/>
                    <a:pt x="872" y="1299"/>
                    <a:pt x="873" y="1299"/>
                  </a:cubicBezTo>
                  <a:cubicBezTo>
                    <a:pt x="875" y="1300"/>
                    <a:pt x="876" y="1301"/>
                    <a:pt x="877" y="1302"/>
                  </a:cubicBezTo>
                  <a:cubicBezTo>
                    <a:pt x="878" y="1303"/>
                    <a:pt x="878" y="1303"/>
                    <a:pt x="879" y="1303"/>
                  </a:cubicBezTo>
                  <a:cubicBezTo>
                    <a:pt x="873" y="1303"/>
                    <a:pt x="867" y="1303"/>
                    <a:pt x="861" y="1302"/>
                  </a:cubicBezTo>
                  <a:close/>
                  <a:moveTo>
                    <a:pt x="999" y="1187"/>
                  </a:moveTo>
                  <a:cubicBezTo>
                    <a:pt x="999" y="1187"/>
                    <a:pt x="999" y="1187"/>
                    <a:pt x="999" y="1187"/>
                  </a:cubicBezTo>
                  <a:cubicBezTo>
                    <a:pt x="990" y="1186"/>
                    <a:pt x="981" y="1186"/>
                    <a:pt x="972" y="1186"/>
                  </a:cubicBezTo>
                  <a:cubicBezTo>
                    <a:pt x="967" y="1186"/>
                    <a:pt x="963" y="1187"/>
                    <a:pt x="958" y="1187"/>
                  </a:cubicBezTo>
                  <a:cubicBezTo>
                    <a:pt x="954" y="1188"/>
                    <a:pt x="949" y="1189"/>
                    <a:pt x="945" y="1191"/>
                  </a:cubicBezTo>
                  <a:cubicBezTo>
                    <a:pt x="944" y="1192"/>
                    <a:pt x="944" y="1192"/>
                    <a:pt x="943" y="1192"/>
                  </a:cubicBezTo>
                  <a:cubicBezTo>
                    <a:pt x="940" y="1191"/>
                    <a:pt x="936" y="1190"/>
                    <a:pt x="933" y="1189"/>
                  </a:cubicBezTo>
                  <a:cubicBezTo>
                    <a:pt x="937" y="1188"/>
                    <a:pt x="941" y="1186"/>
                    <a:pt x="945" y="1185"/>
                  </a:cubicBezTo>
                  <a:cubicBezTo>
                    <a:pt x="950" y="1185"/>
                    <a:pt x="955" y="1183"/>
                    <a:pt x="959" y="1183"/>
                  </a:cubicBezTo>
                  <a:cubicBezTo>
                    <a:pt x="968" y="1181"/>
                    <a:pt x="978" y="1181"/>
                    <a:pt x="987" y="1182"/>
                  </a:cubicBezTo>
                  <a:cubicBezTo>
                    <a:pt x="997" y="1184"/>
                    <a:pt x="1007" y="1187"/>
                    <a:pt x="1016" y="1190"/>
                  </a:cubicBezTo>
                  <a:cubicBezTo>
                    <a:pt x="1016" y="1191"/>
                    <a:pt x="1017" y="1191"/>
                    <a:pt x="1017" y="1191"/>
                  </a:cubicBezTo>
                  <a:cubicBezTo>
                    <a:pt x="1011" y="1189"/>
                    <a:pt x="1005" y="1188"/>
                    <a:pt x="999" y="1187"/>
                  </a:cubicBezTo>
                  <a:close/>
                  <a:moveTo>
                    <a:pt x="988" y="1224"/>
                  </a:moveTo>
                  <a:cubicBezTo>
                    <a:pt x="988" y="1224"/>
                    <a:pt x="988" y="1224"/>
                    <a:pt x="988" y="1224"/>
                  </a:cubicBezTo>
                  <a:cubicBezTo>
                    <a:pt x="981" y="1215"/>
                    <a:pt x="971" y="1207"/>
                    <a:pt x="961" y="1201"/>
                  </a:cubicBezTo>
                  <a:cubicBezTo>
                    <a:pt x="961" y="1200"/>
                    <a:pt x="960" y="1200"/>
                    <a:pt x="960" y="1200"/>
                  </a:cubicBezTo>
                  <a:cubicBezTo>
                    <a:pt x="965" y="1199"/>
                    <a:pt x="970" y="1197"/>
                    <a:pt x="976" y="1196"/>
                  </a:cubicBezTo>
                  <a:cubicBezTo>
                    <a:pt x="980" y="1195"/>
                    <a:pt x="984" y="1194"/>
                    <a:pt x="987" y="1194"/>
                  </a:cubicBezTo>
                  <a:cubicBezTo>
                    <a:pt x="989" y="1193"/>
                    <a:pt x="991" y="1193"/>
                    <a:pt x="993" y="1193"/>
                  </a:cubicBezTo>
                  <a:cubicBezTo>
                    <a:pt x="995" y="1193"/>
                    <a:pt x="997" y="1193"/>
                    <a:pt x="999" y="1193"/>
                  </a:cubicBezTo>
                  <a:cubicBezTo>
                    <a:pt x="999" y="1193"/>
                    <a:pt x="1000" y="1193"/>
                    <a:pt x="1000" y="1192"/>
                  </a:cubicBezTo>
                  <a:cubicBezTo>
                    <a:pt x="1014" y="1194"/>
                    <a:pt x="1027" y="1199"/>
                    <a:pt x="1039" y="1205"/>
                  </a:cubicBezTo>
                  <a:cubicBezTo>
                    <a:pt x="1024" y="1211"/>
                    <a:pt x="1009" y="1217"/>
                    <a:pt x="994" y="1222"/>
                  </a:cubicBezTo>
                  <a:cubicBezTo>
                    <a:pt x="992" y="1222"/>
                    <a:pt x="990" y="1223"/>
                    <a:pt x="988" y="1224"/>
                  </a:cubicBezTo>
                  <a:close/>
                  <a:moveTo>
                    <a:pt x="1151" y="1146"/>
                  </a:moveTo>
                  <a:cubicBezTo>
                    <a:pt x="1151" y="1146"/>
                    <a:pt x="1151" y="1146"/>
                    <a:pt x="1151" y="1146"/>
                  </a:cubicBezTo>
                  <a:cubicBezTo>
                    <a:pt x="1152" y="1144"/>
                    <a:pt x="1152" y="1142"/>
                    <a:pt x="1152" y="1140"/>
                  </a:cubicBezTo>
                  <a:cubicBezTo>
                    <a:pt x="1155" y="1141"/>
                    <a:pt x="1157" y="1141"/>
                    <a:pt x="1159" y="1141"/>
                  </a:cubicBezTo>
                  <a:cubicBezTo>
                    <a:pt x="1162" y="1141"/>
                    <a:pt x="1166" y="1142"/>
                    <a:pt x="1169" y="1142"/>
                  </a:cubicBezTo>
                  <a:cubicBezTo>
                    <a:pt x="1169" y="1142"/>
                    <a:pt x="1169" y="1142"/>
                    <a:pt x="1169" y="1142"/>
                  </a:cubicBezTo>
                  <a:cubicBezTo>
                    <a:pt x="1162" y="1146"/>
                    <a:pt x="1156" y="1151"/>
                    <a:pt x="1149" y="1155"/>
                  </a:cubicBezTo>
                  <a:cubicBezTo>
                    <a:pt x="1150" y="1152"/>
                    <a:pt x="1151" y="1149"/>
                    <a:pt x="1151" y="1146"/>
                  </a:cubicBezTo>
                  <a:close/>
                  <a:moveTo>
                    <a:pt x="1174" y="1138"/>
                  </a:moveTo>
                  <a:cubicBezTo>
                    <a:pt x="1174" y="1138"/>
                    <a:pt x="1174" y="1138"/>
                    <a:pt x="1174" y="1138"/>
                  </a:cubicBezTo>
                  <a:cubicBezTo>
                    <a:pt x="1173" y="1138"/>
                    <a:pt x="1172" y="1138"/>
                    <a:pt x="1171" y="1138"/>
                  </a:cubicBezTo>
                  <a:cubicBezTo>
                    <a:pt x="1168" y="1137"/>
                    <a:pt x="1165" y="1137"/>
                    <a:pt x="1162" y="1137"/>
                  </a:cubicBezTo>
                  <a:cubicBezTo>
                    <a:pt x="1159" y="1137"/>
                    <a:pt x="1156" y="1137"/>
                    <a:pt x="1153" y="1137"/>
                  </a:cubicBezTo>
                  <a:cubicBezTo>
                    <a:pt x="1153" y="1137"/>
                    <a:pt x="1153" y="1137"/>
                    <a:pt x="1153" y="1137"/>
                  </a:cubicBezTo>
                  <a:cubicBezTo>
                    <a:pt x="1154" y="1132"/>
                    <a:pt x="1154" y="1127"/>
                    <a:pt x="1154" y="1123"/>
                  </a:cubicBezTo>
                  <a:cubicBezTo>
                    <a:pt x="1154" y="1121"/>
                    <a:pt x="1154" y="1120"/>
                    <a:pt x="1154" y="1118"/>
                  </a:cubicBezTo>
                  <a:cubicBezTo>
                    <a:pt x="1161" y="1119"/>
                    <a:pt x="1169" y="1122"/>
                    <a:pt x="1176" y="1125"/>
                  </a:cubicBezTo>
                  <a:cubicBezTo>
                    <a:pt x="1180" y="1126"/>
                    <a:pt x="1183" y="1128"/>
                    <a:pt x="1187" y="1129"/>
                  </a:cubicBezTo>
                  <a:cubicBezTo>
                    <a:pt x="1187" y="1129"/>
                    <a:pt x="1187" y="1129"/>
                    <a:pt x="1187" y="1129"/>
                  </a:cubicBezTo>
                  <a:cubicBezTo>
                    <a:pt x="1185" y="1131"/>
                    <a:pt x="1182" y="1133"/>
                    <a:pt x="1180" y="1135"/>
                  </a:cubicBezTo>
                  <a:cubicBezTo>
                    <a:pt x="1178" y="1136"/>
                    <a:pt x="1176" y="1137"/>
                    <a:pt x="1174" y="1138"/>
                  </a:cubicBezTo>
                  <a:close/>
                  <a:moveTo>
                    <a:pt x="1195" y="1123"/>
                  </a:moveTo>
                  <a:cubicBezTo>
                    <a:pt x="1195" y="1123"/>
                    <a:pt x="1195" y="1123"/>
                    <a:pt x="1195" y="1123"/>
                  </a:cubicBezTo>
                  <a:cubicBezTo>
                    <a:pt x="1195" y="1123"/>
                    <a:pt x="1194" y="1124"/>
                    <a:pt x="1194" y="1124"/>
                  </a:cubicBezTo>
                  <a:cubicBezTo>
                    <a:pt x="1194" y="1124"/>
                    <a:pt x="1194" y="1124"/>
                    <a:pt x="1193" y="1125"/>
                  </a:cubicBezTo>
                  <a:cubicBezTo>
                    <a:pt x="1193" y="1125"/>
                    <a:pt x="1193" y="1125"/>
                    <a:pt x="1192" y="1125"/>
                  </a:cubicBezTo>
                  <a:cubicBezTo>
                    <a:pt x="1191" y="1125"/>
                    <a:pt x="1189" y="1125"/>
                    <a:pt x="1187" y="1124"/>
                  </a:cubicBezTo>
                  <a:cubicBezTo>
                    <a:pt x="1184" y="1123"/>
                    <a:pt x="1180" y="1121"/>
                    <a:pt x="1177" y="1120"/>
                  </a:cubicBezTo>
                  <a:cubicBezTo>
                    <a:pt x="1169" y="1117"/>
                    <a:pt x="1162" y="1115"/>
                    <a:pt x="1154" y="1114"/>
                  </a:cubicBezTo>
                  <a:cubicBezTo>
                    <a:pt x="1154" y="1114"/>
                    <a:pt x="1154" y="1114"/>
                    <a:pt x="1154" y="1114"/>
                  </a:cubicBezTo>
                  <a:cubicBezTo>
                    <a:pt x="1153" y="1109"/>
                    <a:pt x="1153" y="1104"/>
                    <a:pt x="1152" y="1099"/>
                  </a:cubicBezTo>
                  <a:cubicBezTo>
                    <a:pt x="1151" y="1097"/>
                    <a:pt x="1151" y="1095"/>
                    <a:pt x="1150" y="1093"/>
                  </a:cubicBezTo>
                  <a:cubicBezTo>
                    <a:pt x="1151" y="1093"/>
                    <a:pt x="1153" y="1093"/>
                    <a:pt x="1154" y="1094"/>
                  </a:cubicBezTo>
                  <a:cubicBezTo>
                    <a:pt x="1157" y="1095"/>
                    <a:pt x="1160" y="1096"/>
                    <a:pt x="1164" y="1097"/>
                  </a:cubicBezTo>
                  <a:cubicBezTo>
                    <a:pt x="1167" y="1099"/>
                    <a:pt x="1171" y="1100"/>
                    <a:pt x="1174" y="1102"/>
                  </a:cubicBezTo>
                  <a:cubicBezTo>
                    <a:pt x="1176" y="1102"/>
                    <a:pt x="1177" y="1103"/>
                    <a:pt x="1179" y="1104"/>
                  </a:cubicBezTo>
                  <a:cubicBezTo>
                    <a:pt x="1181" y="1105"/>
                    <a:pt x="1182" y="1106"/>
                    <a:pt x="1184" y="1105"/>
                  </a:cubicBezTo>
                  <a:cubicBezTo>
                    <a:pt x="1184" y="1105"/>
                    <a:pt x="1184" y="1104"/>
                    <a:pt x="1184" y="1104"/>
                  </a:cubicBezTo>
                  <a:cubicBezTo>
                    <a:pt x="1186" y="1106"/>
                    <a:pt x="1188" y="1108"/>
                    <a:pt x="1189" y="1110"/>
                  </a:cubicBezTo>
                  <a:cubicBezTo>
                    <a:pt x="1192" y="1113"/>
                    <a:pt x="1195" y="1117"/>
                    <a:pt x="1198" y="1119"/>
                  </a:cubicBezTo>
                  <a:cubicBezTo>
                    <a:pt x="1198" y="1119"/>
                    <a:pt x="1199" y="1119"/>
                    <a:pt x="1199" y="1120"/>
                  </a:cubicBezTo>
                  <a:cubicBezTo>
                    <a:pt x="1198" y="1121"/>
                    <a:pt x="1197" y="1122"/>
                    <a:pt x="1195" y="1123"/>
                  </a:cubicBezTo>
                  <a:close/>
                  <a:moveTo>
                    <a:pt x="1166" y="1084"/>
                  </a:moveTo>
                  <a:cubicBezTo>
                    <a:pt x="1166" y="1084"/>
                    <a:pt x="1166" y="1084"/>
                    <a:pt x="1166" y="1084"/>
                  </a:cubicBezTo>
                  <a:cubicBezTo>
                    <a:pt x="1170" y="1088"/>
                    <a:pt x="1174" y="1093"/>
                    <a:pt x="1178" y="1097"/>
                  </a:cubicBezTo>
                  <a:cubicBezTo>
                    <a:pt x="1177" y="1097"/>
                    <a:pt x="1177" y="1097"/>
                    <a:pt x="1177" y="1097"/>
                  </a:cubicBezTo>
                  <a:cubicBezTo>
                    <a:pt x="1173" y="1095"/>
                    <a:pt x="1170" y="1094"/>
                    <a:pt x="1166" y="1092"/>
                  </a:cubicBezTo>
                  <a:cubicBezTo>
                    <a:pt x="1162" y="1091"/>
                    <a:pt x="1158" y="1090"/>
                    <a:pt x="1155" y="1088"/>
                  </a:cubicBezTo>
                  <a:cubicBezTo>
                    <a:pt x="1153" y="1088"/>
                    <a:pt x="1151" y="1087"/>
                    <a:pt x="1148" y="1087"/>
                  </a:cubicBezTo>
                  <a:cubicBezTo>
                    <a:pt x="1147" y="1084"/>
                    <a:pt x="1146" y="1081"/>
                    <a:pt x="1144" y="1078"/>
                  </a:cubicBezTo>
                  <a:cubicBezTo>
                    <a:pt x="1142" y="1076"/>
                    <a:pt x="1138" y="1076"/>
                    <a:pt x="1137" y="1079"/>
                  </a:cubicBezTo>
                  <a:cubicBezTo>
                    <a:pt x="1136" y="1082"/>
                    <a:pt x="1135" y="1085"/>
                    <a:pt x="1133" y="1088"/>
                  </a:cubicBezTo>
                  <a:cubicBezTo>
                    <a:pt x="1132" y="1089"/>
                    <a:pt x="1132" y="1091"/>
                    <a:pt x="1131" y="1092"/>
                  </a:cubicBezTo>
                  <a:cubicBezTo>
                    <a:pt x="1131" y="1088"/>
                    <a:pt x="1130" y="1085"/>
                    <a:pt x="1129" y="1082"/>
                  </a:cubicBezTo>
                  <a:cubicBezTo>
                    <a:pt x="1129" y="1081"/>
                    <a:pt x="1129" y="1080"/>
                    <a:pt x="1129" y="1079"/>
                  </a:cubicBezTo>
                  <a:cubicBezTo>
                    <a:pt x="1129" y="1079"/>
                    <a:pt x="1129" y="1079"/>
                    <a:pt x="1129" y="1078"/>
                  </a:cubicBezTo>
                  <a:cubicBezTo>
                    <a:pt x="1129" y="1078"/>
                    <a:pt x="1128" y="1077"/>
                    <a:pt x="1128" y="1077"/>
                  </a:cubicBezTo>
                  <a:cubicBezTo>
                    <a:pt x="1127" y="1075"/>
                    <a:pt x="1126" y="1073"/>
                    <a:pt x="1125" y="1071"/>
                  </a:cubicBezTo>
                  <a:cubicBezTo>
                    <a:pt x="1125" y="1070"/>
                    <a:pt x="1125" y="1070"/>
                    <a:pt x="1125" y="1070"/>
                  </a:cubicBezTo>
                  <a:cubicBezTo>
                    <a:pt x="1125" y="1069"/>
                    <a:pt x="1124" y="1069"/>
                    <a:pt x="1124" y="1069"/>
                  </a:cubicBezTo>
                  <a:cubicBezTo>
                    <a:pt x="1122" y="1068"/>
                    <a:pt x="1121" y="1069"/>
                    <a:pt x="1121" y="1071"/>
                  </a:cubicBezTo>
                  <a:cubicBezTo>
                    <a:pt x="1121" y="1071"/>
                    <a:pt x="1121" y="1072"/>
                    <a:pt x="1122" y="1073"/>
                  </a:cubicBezTo>
                  <a:cubicBezTo>
                    <a:pt x="1121" y="1074"/>
                    <a:pt x="1121" y="1074"/>
                    <a:pt x="1121" y="1075"/>
                  </a:cubicBezTo>
                  <a:cubicBezTo>
                    <a:pt x="1120" y="1075"/>
                    <a:pt x="1119" y="1075"/>
                    <a:pt x="1117" y="1075"/>
                  </a:cubicBezTo>
                  <a:cubicBezTo>
                    <a:pt x="1115" y="1074"/>
                    <a:pt x="1113" y="1074"/>
                    <a:pt x="1111" y="1074"/>
                  </a:cubicBezTo>
                  <a:cubicBezTo>
                    <a:pt x="1110" y="1074"/>
                    <a:pt x="1109" y="1074"/>
                    <a:pt x="1108" y="1074"/>
                  </a:cubicBezTo>
                  <a:cubicBezTo>
                    <a:pt x="1107" y="1071"/>
                    <a:pt x="1105" y="1069"/>
                    <a:pt x="1103" y="1066"/>
                  </a:cubicBezTo>
                  <a:cubicBezTo>
                    <a:pt x="1100" y="1064"/>
                    <a:pt x="1096" y="1061"/>
                    <a:pt x="1092" y="1060"/>
                  </a:cubicBezTo>
                  <a:cubicBezTo>
                    <a:pt x="1090" y="1060"/>
                    <a:pt x="1088" y="1061"/>
                    <a:pt x="1089" y="1064"/>
                  </a:cubicBezTo>
                  <a:cubicBezTo>
                    <a:pt x="1090" y="1068"/>
                    <a:pt x="1090" y="1072"/>
                    <a:pt x="1089" y="1076"/>
                  </a:cubicBezTo>
                  <a:cubicBezTo>
                    <a:pt x="1087" y="1070"/>
                    <a:pt x="1083" y="1064"/>
                    <a:pt x="1079" y="1059"/>
                  </a:cubicBezTo>
                  <a:cubicBezTo>
                    <a:pt x="1077" y="1056"/>
                    <a:pt x="1075" y="1054"/>
                    <a:pt x="1072" y="1052"/>
                  </a:cubicBezTo>
                  <a:cubicBezTo>
                    <a:pt x="1071" y="1050"/>
                    <a:pt x="1069" y="1049"/>
                    <a:pt x="1067" y="1048"/>
                  </a:cubicBezTo>
                  <a:cubicBezTo>
                    <a:pt x="1066" y="1048"/>
                    <a:pt x="1065" y="1048"/>
                    <a:pt x="1064" y="1048"/>
                  </a:cubicBezTo>
                  <a:cubicBezTo>
                    <a:pt x="1063" y="1048"/>
                    <a:pt x="1062" y="1049"/>
                    <a:pt x="1062" y="1049"/>
                  </a:cubicBezTo>
                  <a:cubicBezTo>
                    <a:pt x="1062" y="1051"/>
                    <a:pt x="1063" y="1052"/>
                    <a:pt x="1063" y="1054"/>
                  </a:cubicBezTo>
                  <a:cubicBezTo>
                    <a:pt x="1064" y="1055"/>
                    <a:pt x="1064" y="1056"/>
                    <a:pt x="1065" y="1057"/>
                  </a:cubicBezTo>
                  <a:cubicBezTo>
                    <a:pt x="1065" y="1058"/>
                    <a:pt x="1065" y="1059"/>
                    <a:pt x="1065" y="1059"/>
                  </a:cubicBezTo>
                  <a:cubicBezTo>
                    <a:pt x="1063" y="1059"/>
                    <a:pt x="1060" y="1058"/>
                    <a:pt x="1059" y="1057"/>
                  </a:cubicBezTo>
                  <a:cubicBezTo>
                    <a:pt x="1056" y="1056"/>
                    <a:pt x="1053" y="1056"/>
                    <a:pt x="1050" y="1056"/>
                  </a:cubicBezTo>
                  <a:cubicBezTo>
                    <a:pt x="1051" y="1054"/>
                    <a:pt x="1052" y="1052"/>
                    <a:pt x="1052" y="1050"/>
                  </a:cubicBezTo>
                  <a:cubicBezTo>
                    <a:pt x="1054" y="1045"/>
                    <a:pt x="1055" y="1041"/>
                    <a:pt x="1057" y="1037"/>
                  </a:cubicBezTo>
                  <a:cubicBezTo>
                    <a:pt x="1059" y="1038"/>
                    <a:pt x="1061" y="1038"/>
                    <a:pt x="1063" y="1039"/>
                  </a:cubicBezTo>
                  <a:cubicBezTo>
                    <a:pt x="1066" y="1040"/>
                    <a:pt x="1070" y="1041"/>
                    <a:pt x="1073" y="1042"/>
                  </a:cubicBezTo>
                  <a:cubicBezTo>
                    <a:pt x="1081" y="1044"/>
                    <a:pt x="1087" y="1045"/>
                    <a:pt x="1095" y="1046"/>
                  </a:cubicBezTo>
                  <a:cubicBezTo>
                    <a:pt x="1102" y="1048"/>
                    <a:pt x="1109" y="1049"/>
                    <a:pt x="1116" y="1051"/>
                  </a:cubicBezTo>
                  <a:cubicBezTo>
                    <a:pt x="1120" y="1052"/>
                    <a:pt x="1123" y="1053"/>
                    <a:pt x="1127" y="1054"/>
                  </a:cubicBezTo>
                  <a:cubicBezTo>
                    <a:pt x="1129" y="1055"/>
                    <a:pt x="1132" y="1056"/>
                    <a:pt x="1134" y="1057"/>
                  </a:cubicBezTo>
                  <a:cubicBezTo>
                    <a:pt x="1133" y="1059"/>
                    <a:pt x="1135" y="1061"/>
                    <a:pt x="1137" y="1061"/>
                  </a:cubicBezTo>
                  <a:cubicBezTo>
                    <a:pt x="1139" y="1061"/>
                    <a:pt x="1142" y="1061"/>
                    <a:pt x="1145" y="1060"/>
                  </a:cubicBezTo>
                  <a:cubicBezTo>
                    <a:pt x="1146" y="1065"/>
                    <a:pt x="1150" y="1068"/>
                    <a:pt x="1153" y="1072"/>
                  </a:cubicBezTo>
                  <a:cubicBezTo>
                    <a:pt x="1157" y="1076"/>
                    <a:pt x="1161" y="1080"/>
                    <a:pt x="1166" y="1084"/>
                  </a:cubicBezTo>
                  <a:close/>
                  <a:moveTo>
                    <a:pt x="1195" y="1043"/>
                  </a:moveTo>
                  <a:cubicBezTo>
                    <a:pt x="1195" y="1043"/>
                    <a:pt x="1195" y="1043"/>
                    <a:pt x="1195" y="1043"/>
                  </a:cubicBezTo>
                  <a:cubicBezTo>
                    <a:pt x="1198" y="1040"/>
                    <a:pt x="1202" y="1038"/>
                    <a:pt x="1205" y="1036"/>
                  </a:cubicBezTo>
                  <a:cubicBezTo>
                    <a:pt x="1207" y="1035"/>
                    <a:pt x="1207" y="1031"/>
                    <a:pt x="1205" y="1030"/>
                  </a:cubicBezTo>
                  <a:cubicBezTo>
                    <a:pt x="1201" y="1029"/>
                    <a:pt x="1197" y="1027"/>
                    <a:pt x="1193" y="1026"/>
                  </a:cubicBezTo>
                  <a:cubicBezTo>
                    <a:pt x="1191" y="1025"/>
                    <a:pt x="1189" y="1025"/>
                    <a:pt x="1187" y="1024"/>
                  </a:cubicBezTo>
                  <a:cubicBezTo>
                    <a:pt x="1185" y="1024"/>
                    <a:pt x="1184" y="1024"/>
                    <a:pt x="1183" y="1024"/>
                  </a:cubicBezTo>
                  <a:cubicBezTo>
                    <a:pt x="1183" y="1023"/>
                    <a:pt x="1183" y="1023"/>
                    <a:pt x="1182" y="1023"/>
                  </a:cubicBezTo>
                  <a:cubicBezTo>
                    <a:pt x="1184" y="1022"/>
                    <a:pt x="1185" y="1021"/>
                    <a:pt x="1187" y="1020"/>
                  </a:cubicBezTo>
                  <a:cubicBezTo>
                    <a:pt x="1189" y="1019"/>
                    <a:pt x="1191" y="1018"/>
                    <a:pt x="1193" y="1017"/>
                  </a:cubicBezTo>
                  <a:cubicBezTo>
                    <a:pt x="1195" y="1017"/>
                    <a:pt x="1197" y="1016"/>
                    <a:pt x="1199" y="1015"/>
                  </a:cubicBezTo>
                  <a:cubicBezTo>
                    <a:pt x="1204" y="1014"/>
                    <a:pt x="1208" y="1013"/>
                    <a:pt x="1212" y="1010"/>
                  </a:cubicBezTo>
                  <a:cubicBezTo>
                    <a:pt x="1215" y="1009"/>
                    <a:pt x="1218" y="1008"/>
                    <a:pt x="1221" y="1006"/>
                  </a:cubicBezTo>
                  <a:cubicBezTo>
                    <a:pt x="1223" y="1006"/>
                    <a:pt x="1226" y="1005"/>
                    <a:pt x="1228" y="1004"/>
                  </a:cubicBezTo>
                  <a:cubicBezTo>
                    <a:pt x="1229" y="1004"/>
                    <a:pt x="1230" y="1003"/>
                    <a:pt x="1231" y="1003"/>
                  </a:cubicBezTo>
                  <a:cubicBezTo>
                    <a:pt x="1233" y="1004"/>
                    <a:pt x="1236" y="1005"/>
                    <a:pt x="1239" y="1006"/>
                  </a:cubicBezTo>
                  <a:cubicBezTo>
                    <a:pt x="1251" y="1010"/>
                    <a:pt x="1262" y="1014"/>
                    <a:pt x="1275" y="1014"/>
                  </a:cubicBezTo>
                  <a:cubicBezTo>
                    <a:pt x="1273" y="1015"/>
                    <a:pt x="1271" y="1016"/>
                    <a:pt x="1269" y="1017"/>
                  </a:cubicBezTo>
                  <a:cubicBezTo>
                    <a:pt x="1262" y="1020"/>
                    <a:pt x="1254" y="1022"/>
                    <a:pt x="1246" y="1024"/>
                  </a:cubicBezTo>
                  <a:cubicBezTo>
                    <a:pt x="1229" y="1030"/>
                    <a:pt x="1210" y="1034"/>
                    <a:pt x="1194" y="1044"/>
                  </a:cubicBezTo>
                  <a:cubicBezTo>
                    <a:pt x="1193" y="1044"/>
                    <a:pt x="1192" y="1045"/>
                    <a:pt x="1191" y="1046"/>
                  </a:cubicBezTo>
                  <a:cubicBezTo>
                    <a:pt x="1193" y="1045"/>
                    <a:pt x="1194" y="1044"/>
                    <a:pt x="1195" y="1043"/>
                  </a:cubicBezTo>
                  <a:close/>
                  <a:moveTo>
                    <a:pt x="1148" y="914"/>
                  </a:moveTo>
                  <a:cubicBezTo>
                    <a:pt x="1148" y="914"/>
                    <a:pt x="1148" y="914"/>
                    <a:pt x="1148" y="914"/>
                  </a:cubicBezTo>
                  <a:cubicBezTo>
                    <a:pt x="1150" y="912"/>
                    <a:pt x="1151" y="911"/>
                    <a:pt x="1153" y="909"/>
                  </a:cubicBezTo>
                  <a:cubicBezTo>
                    <a:pt x="1154" y="909"/>
                    <a:pt x="1155" y="908"/>
                    <a:pt x="1156" y="908"/>
                  </a:cubicBezTo>
                  <a:cubicBezTo>
                    <a:pt x="1156" y="908"/>
                    <a:pt x="1156" y="908"/>
                    <a:pt x="1156" y="908"/>
                  </a:cubicBezTo>
                  <a:cubicBezTo>
                    <a:pt x="1157" y="908"/>
                    <a:pt x="1157" y="908"/>
                    <a:pt x="1157" y="908"/>
                  </a:cubicBezTo>
                  <a:cubicBezTo>
                    <a:pt x="1157" y="908"/>
                    <a:pt x="1158" y="908"/>
                    <a:pt x="1158" y="908"/>
                  </a:cubicBezTo>
                  <a:cubicBezTo>
                    <a:pt x="1159" y="908"/>
                    <a:pt x="1159" y="908"/>
                    <a:pt x="1159" y="908"/>
                  </a:cubicBezTo>
                  <a:cubicBezTo>
                    <a:pt x="1160" y="908"/>
                    <a:pt x="1160" y="908"/>
                    <a:pt x="1161" y="908"/>
                  </a:cubicBezTo>
                  <a:cubicBezTo>
                    <a:pt x="1162" y="909"/>
                    <a:pt x="1163" y="909"/>
                    <a:pt x="1164" y="909"/>
                  </a:cubicBezTo>
                  <a:cubicBezTo>
                    <a:pt x="1165" y="909"/>
                    <a:pt x="1165" y="910"/>
                    <a:pt x="1165" y="910"/>
                  </a:cubicBezTo>
                  <a:cubicBezTo>
                    <a:pt x="1165" y="910"/>
                    <a:pt x="1165" y="910"/>
                    <a:pt x="1165" y="910"/>
                  </a:cubicBezTo>
                  <a:cubicBezTo>
                    <a:pt x="1166" y="910"/>
                    <a:pt x="1166" y="910"/>
                    <a:pt x="1167" y="911"/>
                  </a:cubicBezTo>
                  <a:cubicBezTo>
                    <a:pt x="1168" y="911"/>
                    <a:pt x="1168" y="911"/>
                    <a:pt x="1169" y="912"/>
                  </a:cubicBezTo>
                  <a:cubicBezTo>
                    <a:pt x="1169" y="912"/>
                    <a:pt x="1169" y="912"/>
                    <a:pt x="1169" y="912"/>
                  </a:cubicBezTo>
                  <a:cubicBezTo>
                    <a:pt x="1170" y="912"/>
                    <a:pt x="1170" y="912"/>
                    <a:pt x="1170" y="912"/>
                  </a:cubicBezTo>
                  <a:cubicBezTo>
                    <a:pt x="1170" y="912"/>
                    <a:pt x="1170" y="912"/>
                    <a:pt x="1170" y="913"/>
                  </a:cubicBezTo>
                  <a:cubicBezTo>
                    <a:pt x="1171" y="913"/>
                    <a:pt x="1172" y="914"/>
                    <a:pt x="1172" y="915"/>
                  </a:cubicBezTo>
                  <a:cubicBezTo>
                    <a:pt x="1173" y="915"/>
                    <a:pt x="1173" y="915"/>
                    <a:pt x="1173" y="915"/>
                  </a:cubicBezTo>
                  <a:cubicBezTo>
                    <a:pt x="1173" y="916"/>
                    <a:pt x="1173" y="916"/>
                    <a:pt x="1173" y="916"/>
                  </a:cubicBezTo>
                  <a:cubicBezTo>
                    <a:pt x="1174" y="916"/>
                    <a:pt x="1174" y="917"/>
                    <a:pt x="1174" y="918"/>
                  </a:cubicBezTo>
                  <a:cubicBezTo>
                    <a:pt x="1174" y="918"/>
                    <a:pt x="1174" y="918"/>
                    <a:pt x="1174" y="918"/>
                  </a:cubicBezTo>
                  <a:cubicBezTo>
                    <a:pt x="1174" y="918"/>
                    <a:pt x="1174" y="918"/>
                    <a:pt x="1174" y="918"/>
                  </a:cubicBezTo>
                  <a:cubicBezTo>
                    <a:pt x="1175" y="919"/>
                    <a:pt x="1175" y="919"/>
                    <a:pt x="1175" y="920"/>
                  </a:cubicBezTo>
                  <a:cubicBezTo>
                    <a:pt x="1175" y="919"/>
                    <a:pt x="1175" y="921"/>
                    <a:pt x="1175" y="921"/>
                  </a:cubicBezTo>
                  <a:cubicBezTo>
                    <a:pt x="1175" y="922"/>
                    <a:pt x="1175" y="923"/>
                    <a:pt x="1175" y="923"/>
                  </a:cubicBezTo>
                  <a:cubicBezTo>
                    <a:pt x="1175" y="924"/>
                    <a:pt x="1175" y="924"/>
                    <a:pt x="1175" y="924"/>
                  </a:cubicBezTo>
                  <a:cubicBezTo>
                    <a:pt x="1173" y="926"/>
                    <a:pt x="1172" y="929"/>
                    <a:pt x="1170" y="931"/>
                  </a:cubicBezTo>
                  <a:cubicBezTo>
                    <a:pt x="1169" y="934"/>
                    <a:pt x="1167" y="936"/>
                    <a:pt x="1166" y="938"/>
                  </a:cubicBezTo>
                  <a:cubicBezTo>
                    <a:pt x="1166" y="938"/>
                    <a:pt x="1165" y="939"/>
                    <a:pt x="1165" y="939"/>
                  </a:cubicBezTo>
                  <a:cubicBezTo>
                    <a:pt x="1157" y="935"/>
                    <a:pt x="1149" y="929"/>
                    <a:pt x="1141" y="925"/>
                  </a:cubicBezTo>
                  <a:cubicBezTo>
                    <a:pt x="1144" y="922"/>
                    <a:pt x="1146" y="918"/>
                    <a:pt x="1148" y="914"/>
                  </a:cubicBezTo>
                  <a:close/>
                  <a:moveTo>
                    <a:pt x="1183" y="902"/>
                  </a:moveTo>
                  <a:cubicBezTo>
                    <a:pt x="1183" y="902"/>
                    <a:pt x="1183" y="902"/>
                    <a:pt x="1183" y="902"/>
                  </a:cubicBezTo>
                  <a:cubicBezTo>
                    <a:pt x="1183" y="906"/>
                    <a:pt x="1182" y="910"/>
                    <a:pt x="1181" y="914"/>
                  </a:cubicBezTo>
                  <a:cubicBezTo>
                    <a:pt x="1181" y="913"/>
                    <a:pt x="1180" y="913"/>
                    <a:pt x="1180" y="912"/>
                  </a:cubicBezTo>
                  <a:cubicBezTo>
                    <a:pt x="1181" y="910"/>
                    <a:pt x="1182" y="908"/>
                    <a:pt x="1182" y="906"/>
                  </a:cubicBezTo>
                  <a:cubicBezTo>
                    <a:pt x="1183" y="905"/>
                    <a:pt x="1183" y="904"/>
                    <a:pt x="1183" y="902"/>
                  </a:cubicBezTo>
                  <a:close/>
                  <a:moveTo>
                    <a:pt x="1187" y="928"/>
                  </a:moveTo>
                  <a:cubicBezTo>
                    <a:pt x="1187" y="928"/>
                    <a:pt x="1187" y="928"/>
                    <a:pt x="1187" y="928"/>
                  </a:cubicBezTo>
                  <a:cubicBezTo>
                    <a:pt x="1188" y="928"/>
                    <a:pt x="1189" y="928"/>
                    <a:pt x="1191" y="929"/>
                  </a:cubicBezTo>
                  <a:cubicBezTo>
                    <a:pt x="1191" y="929"/>
                    <a:pt x="1192" y="929"/>
                    <a:pt x="1192" y="929"/>
                  </a:cubicBezTo>
                  <a:cubicBezTo>
                    <a:pt x="1193" y="929"/>
                    <a:pt x="1193" y="929"/>
                    <a:pt x="1193" y="930"/>
                  </a:cubicBezTo>
                  <a:cubicBezTo>
                    <a:pt x="1194" y="930"/>
                    <a:pt x="1194" y="930"/>
                    <a:pt x="1194" y="930"/>
                  </a:cubicBezTo>
                  <a:cubicBezTo>
                    <a:pt x="1195" y="930"/>
                    <a:pt x="1195" y="930"/>
                    <a:pt x="1195" y="930"/>
                  </a:cubicBezTo>
                  <a:cubicBezTo>
                    <a:pt x="1195" y="930"/>
                    <a:pt x="1195" y="930"/>
                    <a:pt x="1195" y="930"/>
                  </a:cubicBezTo>
                  <a:cubicBezTo>
                    <a:pt x="1197" y="931"/>
                    <a:pt x="1198" y="932"/>
                    <a:pt x="1199" y="932"/>
                  </a:cubicBezTo>
                  <a:cubicBezTo>
                    <a:pt x="1199" y="932"/>
                    <a:pt x="1199" y="933"/>
                    <a:pt x="1200" y="933"/>
                  </a:cubicBezTo>
                  <a:cubicBezTo>
                    <a:pt x="1200" y="934"/>
                    <a:pt x="1200" y="934"/>
                    <a:pt x="1200" y="934"/>
                  </a:cubicBezTo>
                  <a:cubicBezTo>
                    <a:pt x="1201" y="934"/>
                    <a:pt x="1201" y="935"/>
                    <a:pt x="1202" y="935"/>
                  </a:cubicBezTo>
                  <a:cubicBezTo>
                    <a:pt x="1202" y="935"/>
                    <a:pt x="1202" y="936"/>
                    <a:pt x="1202" y="936"/>
                  </a:cubicBezTo>
                  <a:cubicBezTo>
                    <a:pt x="1202" y="936"/>
                    <a:pt x="1202" y="937"/>
                    <a:pt x="1203" y="937"/>
                  </a:cubicBezTo>
                  <a:cubicBezTo>
                    <a:pt x="1203" y="937"/>
                    <a:pt x="1203" y="937"/>
                    <a:pt x="1203" y="938"/>
                  </a:cubicBezTo>
                  <a:cubicBezTo>
                    <a:pt x="1203" y="938"/>
                    <a:pt x="1203" y="938"/>
                    <a:pt x="1203" y="938"/>
                  </a:cubicBezTo>
                  <a:cubicBezTo>
                    <a:pt x="1203" y="938"/>
                    <a:pt x="1203" y="938"/>
                    <a:pt x="1203" y="938"/>
                  </a:cubicBezTo>
                  <a:cubicBezTo>
                    <a:pt x="1204" y="939"/>
                    <a:pt x="1204" y="940"/>
                    <a:pt x="1204" y="940"/>
                  </a:cubicBezTo>
                  <a:cubicBezTo>
                    <a:pt x="1204" y="941"/>
                    <a:pt x="1204" y="941"/>
                    <a:pt x="1204" y="941"/>
                  </a:cubicBezTo>
                  <a:cubicBezTo>
                    <a:pt x="1204" y="941"/>
                    <a:pt x="1204" y="942"/>
                    <a:pt x="1204" y="942"/>
                  </a:cubicBezTo>
                  <a:cubicBezTo>
                    <a:pt x="1204" y="943"/>
                    <a:pt x="1204" y="943"/>
                    <a:pt x="1204" y="943"/>
                  </a:cubicBezTo>
                  <a:cubicBezTo>
                    <a:pt x="1204" y="944"/>
                    <a:pt x="1204" y="944"/>
                    <a:pt x="1203" y="944"/>
                  </a:cubicBezTo>
                  <a:cubicBezTo>
                    <a:pt x="1203" y="946"/>
                    <a:pt x="1202" y="947"/>
                    <a:pt x="1201" y="949"/>
                  </a:cubicBezTo>
                  <a:cubicBezTo>
                    <a:pt x="1200" y="950"/>
                    <a:pt x="1199" y="951"/>
                    <a:pt x="1198" y="953"/>
                  </a:cubicBezTo>
                  <a:cubicBezTo>
                    <a:pt x="1197" y="954"/>
                    <a:pt x="1197" y="955"/>
                    <a:pt x="1197" y="955"/>
                  </a:cubicBezTo>
                  <a:cubicBezTo>
                    <a:pt x="1196" y="956"/>
                    <a:pt x="1196" y="956"/>
                    <a:pt x="1196" y="956"/>
                  </a:cubicBezTo>
                  <a:cubicBezTo>
                    <a:pt x="1193" y="954"/>
                    <a:pt x="1189" y="952"/>
                    <a:pt x="1185" y="950"/>
                  </a:cubicBezTo>
                  <a:cubicBezTo>
                    <a:pt x="1181" y="947"/>
                    <a:pt x="1175" y="944"/>
                    <a:pt x="1170" y="942"/>
                  </a:cubicBezTo>
                  <a:cubicBezTo>
                    <a:pt x="1171" y="941"/>
                    <a:pt x="1171" y="941"/>
                    <a:pt x="1171" y="941"/>
                  </a:cubicBezTo>
                  <a:cubicBezTo>
                    <a:pt x="1172" y="939"/>
                    <a:pt x="1174" y="937"/>
                    <a:pt x="1176" y="934"/>
                  </a:cubicBezTo>
                  <a:cubicBezTo>
                    <a:pt x="1177" y="932"/>
                    <a:pt x="1178" y="929"/>
                    <a:pt x="1179" y="927"/>
                  </a:cubicBezTo>
                  <a:cubicBezTo>
                    <a:pt x="1180" y="927"/>
                    <a:pt x="1180" y="927"/>
                    <a:pt x="1180" y="927"/>
                  </a:cubicBezTo>
                  <a:cubicBezTo>
                    <a:pt x="1180" y="927"/>
                    <a:pt x="1180" y="927"/>
                    <a:pt x="1180" y="927"/>
                  </a:cubicBezTo>
                  <a:cubicBezTo>
                    <a:pt x="1181" y="927"/>
                    <a:pt x="1181" y="927"/>
                    <a:pt x="1181" y="927"/>
                  </a:cubicBezTo>
                  <a:cubicBezTo>
                    <a:pt x="1181" y="927"/>
                    <a:pt x="1183" y="927"/>
                    <a:pt x="1182" y="927"/>
                  </a:cubicBezTo>
                  <a:cubicBezTo>
                    <a:pt x="1183" y="927"/>
                    <a:pt x="1185" y="928"/>
                    <a:pt x="1187" y="928"/>
                  </a:cubicBezTo>
                  <a:close/>
                  <a:moveTo>
                    <a:pt x="1233" y="936"/>
                  </a:moveTo>
                  <a:cubicBezTo>
                    <a:pt x="1233" y="936"/>
                    <a:pt x="1233" y="936"/>
                    <a:pt x="1233" y="936"/>
                  </a:cubicBezTo>
                  <a:cubicBezTo>
                    <a:pt x="1236" y="937"/>
                    <a:pt x="1238" y="939"/>
                    <a:pt x="1238" y="941"/>
                  </a:cubicBezTo>
                  <a:cubicBezTo>
                    <a:pt x="1238" y="944"/>
                    <a:pt x="1236" y="946"/>
                    <a:pt x="1234" y="948"/>
                  </a:cubicBezTo>
                  <a:cubicBezTo>
                    <a:pt x="1233" y="948"/>
                    <a:pt x="1233" y="948"/>
                    <a:pt x="1232" y="948"/>
                  </a:cubicBezTo>
                  <a:cubicBezTo>
                    <a:pt x="1230" y="945"/>
                    <a:pt x="1226" y="943"/>
                    <a:pt x="1222" y="941"/>
                  </a:cubicBezTo>
                  <a:cubicBezTo>
                    <a:pt x="1224" y="937"/>
                    <a:pt x="1229" y="935"/>
                    <a:pt x="1233" y="936"/>
                  </a:cubicBezTo>
                  <a:close/>
                  <a:moveTo>
                    <a:pt x="1217" y="949"/>
                  </a:moveTo>
                  <a:cubicBezTo>
                    <a:pt x="1217" y="949"/>
                    <a:pt x="1217" y="949"/>
                    <a:pt x="1217" y="949"/>
                  </a:cubicBezTo>
                  <a:cubicBezTo>
                    <a:pt x="1218" y="949"/>
                    <a:pt x="1218" y="949"/>
                    <a:pt x="1219" y="949"/>
                  </a:cubicBezTo>
                  <a:cubicBezTo>
                    <a:pt x="1219" y="949"/>
                    <a:pt x="1219" y="949"/>
                    <a:pt x="1219" y="949"/>
                  </a:cubicBezTo>
                  <a:cubicBezTo>
                    <a:pt x="1219" y="949"/>
                    <a:pt x="1219" y="949"/>
                    <a:pt x="1219" y="949"/>
                  </a:cubicBezTo>
                  <a:cubicBezTo>
                    <a:pt x="1220" y="950"/>
                    <a:pt x="1221" y="950"/>
                    <a:pt x="1222" y="951"/>
                  </a:cubicBezTo>
                  <a:cubicBezTo>
                    <a:pt x="1223" y="951"/>
                    <a:pt x="1223" y="951"/>
                    <a:pt x="1223" y="952"/>
                  </a:cubicBezTo>
                  <a:cubicBezTo>
                    <a:pt x="1224" y="952"/>
                    <a:pt x="1224" y="952"/>
                    <a:pt x="1224" y="952"/>
                  </a:cubicBezTo>
                  <a:cubicBezTo>
                    <a:pt x="1225" y="953"/>
                    <a:pt x="1225" y="953"/>
                    <a:pt x="1226" y="954"/>
                  </a:cubicBezTo>
                  <a:cubicBezTo>
                    <a:pt x="1226" y="954"/>
                    <a:pt x="1226" y="954"/>
                    <a:pt x="1226" y="954"/>
                  </a:cubicBezTo>
                  <a:cubicBezTo>
                    <a:pt x="1226" y="954"/>
                    <a:pt x="1227" y="955"/>
                    <a:pt x="1227" y="955"/>
                  </a:cubicBezTo>
                  <a:cubicBezTo>
                    <a:pt x="1227" y="956"/>
                    <a:pt x="1228" y="956"/>
                    <a:pt x="1228" y="957"/>
                  </a:cubicBezTo>
                  <a:cubicBezTo>
                    <a:pt x="1228" y="957"/>
                    <a:pt x="1228" y="957"/>
                    <a:pt x="1228" y="957"/>
                  </a:cubicBezTo>
                  <a:cubicBezTo>
                    <a:pt x="1228" y="958"/>
                    <a:pt x="1228" y="958"/>
                    <a:pt x="1229" y="959"/>
                  </a:cubicBezTo>
                  <a:cubicBezTo>
                    <a:pt x="1229" y="959"/>
                    <a:pt x="1229" y="959"/>
                    <a:pt x="1229" y="959"/>
                  </a:cubicBezTo>
                  <a:cubicBezTo>
                    <a:pt x="1229" y="960"/>
                    <a:pt x="1229" y="960"/>
                    <a:pt x="1229" y="960"/>
                  </a:cubicBezTo>
                  <a:cubicBezTo>
                    <a:pt x="1229" y="961"/>
                    <a:pt x="1229" y="962"/>
                    <a:pt x="1229" y="964"/>
                  </a:cubicBezTo>
                  <a:cubicBezTo>
                    <a:pt x="1229" y="964"/>
                    <a:pt x="1229" y="964"/>
                    <a:pt x="1229" y="964"/>
                  </a:cubicBezTo>
                  <a:cubicBezTo>
                    <a:pt x="1229" y="964"/>
                    <a:pt x="1229" y="964"/>
                    <a:pt x="1229" y="964"/>
                  </a:cubicBezTo>
                  <a:cubicBezTo>
                    <a:pt x="1229" y="965"/>
                    <a:pt x="1229" y="965"/>
                    <a:pt x="1228" y="966"/>
                  </a:cubicBezTo>
                  <a:cubicBezTo>
                    <a:pt x="1228" y="967"/>
                    <a:pt x="1228" y="968"/>
                    <a:pt x="1227" y="969"/>
                  </a:cubicBezTo>
                  <a:cubicBezTo>
                    <a:pt x="1227" y="970"/>
                    <a:pt x="1227" y="971"/>
                    <a:pt x="1226" y="972"/>
                  </a:cubicBezTo>
                  <a:cubicBezTo>
                    <a:pt x="1226" y="972"/>
                    <a:pt x="1226" y="973"/>
                    <a:pt x="1226" y="973"/>
                  </a:cubicBezTo>
                  <a:cubicBezTo>
                    <a:pt x="1223" y="972"/>
                    <a:pt x="1221" y="970"/>
                    <a:pt x="1218" y="969"/>
                  </a:cubicBezTo>
                  <a:cubicBezTo>
                    <a:pt x="1213" y="966"/>
                    <a:pt x="1207" y="962"/>
                    <a:pt x="1202" y="959"/>
                  </a:cubicBezTo>
                  <a:cubicBezTo>
                    <a:pt x="1202" y="958"/>
                    <a:pt x="1202" y="958"/>
                    <a:pt x="1202" y="958"/>
                  </a:cubicBezTo>
                  <a:cubicBezTo>
                    <a:pt x="1202" y="958"/>
                    <a:pt x="1203" y="957"/>
                    <a:pt x="1203" y="956"/>
                  </a:cubicBezTo>
                  <a:cubicBezTo>
                    <a:pt x="1204" y="955"/>
                    <a:pt x="1205" y="953"/>
                    <a:pt x="1206" y="952"/>
                  </a:cubicBezTo>
                  <a:cubicBezTo>
                    <a:pt x="1207" y="951"/>
                    <a:pt x="1208" y="949"/>
                    <a:pt x="1209" y="947"/>
                  </a:cubicBezTo>
                  <a:cubicBezTo>
                    <a:pt x="1210" y="947"/>
                    <a:pt x="1212" y="947"/>
                    <a:pt x="1214" y="948"/>
                  </a:cubicBezTo>
                  <a:cubicBezTo>
                    <a:pt x="1215" y="948"/>
                    <a:pt x="1216" y="948"/>
                    <a:pt x="1217" y="949"/>
                  </a:cubicBezTo>
                  <a:close/>
                  <a:moveTo>
                    <a:pt x="1207" y="927"/>
                  </a:moveTo>
                  <a:cubicBezTo>
                    <a:pt x="1207" y="927"/>
                    <a:pt x="1207" y="927"/>
                    <a:pt x="1207" y="927"/>
                  </a:cubicBezTo>
                  <a:cubicBezTo>
                    <a:pt x="1207" y="928"/>
                    <a:pt x="1207" y="928"/>
                    <a:pt x="1207" y="928"/>
                  </a:cubicBezTo>
                  <a:cubicBezTo>
                    <a:pt x="1205" y="926"/>
                    <a:pt x="1203" y="925"/>
                    <a:pt x="1200" y="924"/>
                  </a:cubicBezTo>
                  <a:cubicBezTo>
                    <a:pt x="1199" y="923"/>
                    <a:pt x="1197" y="923"/>
                    <a:pt x="1196" y="922"/>
                  </a:cubicBezTo>
                  <a:cubicBezTo>
                    <a:pt x="1196" y="922"/>
                    <a:pt x="1197" y="921"/>
                    <a:pt x="1197" y="920"/>
                  </a:cubicBezTo>
                  <a:cubicBezTo>
                    <a:pt x="1198" y="918"/>
                    <a:pt x="1200" y="915"/>
                    <a:pt x="1203" y="913"/>
                  </a:cubicBezTo>
                  <a:cubicBezTo>
                    <a:pt x="1205" y="912"/>
                    <a:pt x="1207" y="911"/>
                    <a:pt x="1209" y="913"/>
                  </a:cubicBezTo>
                  <a:cubicBezTo>
                    <a:pt x="1209" y="913"/>
                    <a:pt x="1210" y="914"/>
                    <a:pt x="1210" y="915"/>
                  </a:cubicBezTo>
                  <a:cubicBezTo>
                    <a:pt x="1210" y="915"/>
                    <a:pt x="1210" y="916"/>
                    <a:pt x="1210" y="916"/>
                  </a:cubicBezTo>
                  <a:cubicBezTo>
                    <a:pt x="1210" y="917"/>
                    <a:pt x="1210" y="918"/>
                    <a:pt x="1210" y="919"/>
                  </a:cubicBezTo>
                  <a:cubicBezTo>
                    <a:pt x="1209" y="920"/>
                    <a:pt x="1209" y="922"/>
                    <a:pt x="1208" y="923"/>
                  </a:cubicBezTo>
                  <a:cubicBezTo>
                    <a:pt x="1208" y="924"/>
                    <a:pt x="1207" y="926"/>
                    <a:pt x="1207" y="927"/>
                  </a:cubicBezTo>
                  <a:close/>
                  <a:moveTo>
                    <a:pt x="1177" y="905"/>
                  </a:moveTo>
                  <a:cubicBezTo>
                    <a:pt x="1177" y="905"/>
                    <a:pt x="1177" y="905"/>
                    <a:pt x="1177" y="905"/>
                  </a:cubicBezTo>
                  <a:cubicBezTo>
                    <a:pt x="1177" y="906"/>
                    <a:pt x="1177" y="907"/>
                    <a:pt x="1176" y="908"/>
                  </a:cubicBezTo>
                  <a:cubicBezTo>
                    <a:pt x="1172" y="904"/>
                    <a:pt x="1167" y="901"/>
                    <a:pt x="1161" y="900"/>
                  </a:cubicBezTo>
                  <a:cubicBezTo>
                    <a:pt x="1165" y="895"/>
                    <a:pt x="1172" y="891"/>
                    <a:pt x="1177" y="896"/>
                  </a:cubicBezTo>
                  <a:cubicBezTo>
                    <a:pt x="1179" y="898"/>
                    <a:pt x="1178" y="902"/>
                    <a:pt x="1177" y="905"/>
                  </a:cubicBezTo>
                  <a:close/>
                  <a:moveTo>
                    <a:pt x="1283" y="934"/>
                  </a:moveTo>
                  <a:cubicBezTo>
                    <a:pt x="1283" y="934"/>
                    <a:pt x="1283" y="934"/>
                    <a:pt x="1283" y="934"/>
                  </a:cubicBezTo>
                  <a:cubicBezTo>
                    <a:pt x="1285" y="937"/>
                    <a:pt x="1286" y="940"/>
                    <a:pt x="1288" y="943"/>
                  </a:cubicBezTo>
                  <a:cubicBezTo>
                    <a:pt x="1290" y="947"/>
                    <a:pt x="1291" y="951"/>
                    <a:pt x="1292" y="955"/>
                  </a:cubicBezTo>
                  <a:cubicBezTo>
                    <a:pt x="1293" y="963"/>
                    <a:pt x="1291" y="971"/>
                    <a:pt x="1286" y="977"/>
                  </a:cubicBezTo>
                  <a:cubicBezTo>
                    <a:pt x="1283" y="979"/>
                    <a:pt x="1282" y="981"/>
                    <a:pt x="1279" y="982"/>
                  </a:cubicBezTo>
                  <a:cubicBezTo>
                    <a:pt x="1277" y="984"/>
                    <a:pt x="1275" y="984"/>
                    <a:pt x="1272" y="985"/>
                  </a:cubicBezTo>
                  <a:cubicBezTo>
                    <a:pt x="1269" y="986"/>
                    <a:pt x="1267" y="986"/>
                    <a:pt x="1264" y="986"/>
                  </a:cubicBezTo>
                  <a:cubicBezTo>
                    <a:pt x="1261" y="986"/>
                    <a:pt x="1258" y="985"/>
                    <a:pt x="1255" y="985"/>
                  </a:cubicBezTo>
                  <a:cubicBezTo>
                    <a:pt x="1255" y="985"/>
                    <a:pt x="1255" y="985"/>
                    <a:pt x="1254" y="985"/>
                  </a:cubicBezTo>
                  <a:cubicBezTo>
                    <a:pt x="1258" y="985"/>
                    <a:pt x="1262" y="982"/>
                    <a:pt x="1265" y="979"/>
                  </a:cubicBezTo>
                  <a:cubicBezTo>
                    <a:pt x="1269" y="975"/>
                    <a:pt x="1271" y="971"/>
                    <a:pt x="1273" y="966"/>
                  </a:cubicBezTo>
                  <a:cubicBezTo>
                    <a:pt x="1276" y="954"/>
                    <a:pt x="1274" y="942"/>
                    <a:pt x="1271" y="931"/>
                  </a:cubicBezTo>
                  <a:cubicBezTo>
                    <a:pt x="1270" y="929"/>
                    <a:pt x="1270" y="927"/>
                    <a:pt x="1269" y="925"/>
                  </a:cubicBezTo>
                  <a:cubicBezTo>
                    <a:pt x="1274" y="928"/>
                    <a:pt x="1279" y="931"/>
                    <a:pt x="1283" y="934"/>
                  </a:cubicBezTo>
                  <a:close/>
                  <a:moveTo>
                    <a:pt x="1262" y="921"/>
                  </a:moveTo>
                  <a:cubicBezTo>
                    <a:pt x="1262" y="921"/>
                    <a:pt x="1262" y="921"/>
                    <a:pt x="1262" y="921"/>
                  </a:cubicBezTo>
                  <a:cubicBezTo>
                    <a:pt x="1265" y="926"/>
                    <a:pt x="1266" y="934"/>
                    <a:pt x="1267" y="940"/>
                  </a:cubicBezTo>
                  <a:cubicBezTo>
                    <a:pt x="1268" y="945"/>
                    <a:pt x="1269" y="951"/>
                    <a:pt x="1268" y="956"/>
                  </a:cubicBezTo>
                  <a:cubicBezTo>
                    <a:pt x="1268" y="961"/>
                    <a:pt x="1266" y="966"/>
                    <a:pt x="1264" y="970"/>
                  </a:cubicBezTo>
                  <a:cubicBezTo>
                    <a:pt x="1263" y="973"/>
                    <a:pt x="1261" y="975"/>
                    <a:pt x="1259" y="976"/>
                  </a:cubicBezTo>
                  <a:cubicBezTo>
                    <a:pt x="1257" y="977"/>
                    <a:pt x="1256" y="978"/>
                    <a:pt x="1255" y="978"/>
                  </a:cubicBezTo>
                  <a:cubicBezTo>
                    <a:pt x="1254" y="979"/>
                    <a:pt x="1252" y="979"/>
                    <a:pt x="1251" y="980"/>
                  </a:cubicBezTo>
                  <a:cubicBezTo>
                    <a:pt x="1250" y="981"/>
                    <a:pt x="1250" y="983"/>
                    <a:pt x="1251" y="984"/>
                  </a:cubicBezTo>
                  <a:cubicBezTo>
                    <a:pt x="1244" y="982"/>
                    <a:pt x="1239" y="980"/>
                    <a:pt x="1233" y="977"/>
                  </a:cubicBezTo>
                  <a:cubicBezTo>
                    <a:pt x="1234" y="975"/>
                    <a:pt x="1234" y="973"/>
                    <a:pt x="1235" y="972"/>
                  </a:cubicBezTo>
                  <a:cubicBezTo>
                    <a:pt x="1236" y="969"/>
                    <a:pt x="1237" y="967"/>
                    <a:pt x="1237" y="964"/>
                  </a:cubicBezTo>
                  <a:cubicBezTo>
                    <a:pt x="1237" y="960"/>
                    <a:pt x="1237" y="957"/>
                    <a:pt x="1235" y="953"/>
                  </a:cubicBezTo>
                  <a:cubicBezTo>
                    <a:pt x="1239" y="952"/>
                    <a:pt x="1241" y="950"/>
                    <a:pt x="1243" y="947"/>
                  </a:cubicBezTo>
                  <a:cubicBezTo>
                    <a:pt x="1244" y="943"/>
                    <a:pt x="1245" y="939"/>
                    <a:pt x="1243" y="936"/>
                  </a:cubicBezTo>
                  <a:cubicBezTo>
                    <a:pt x="1241" y="933"/>
                    <a:pt x="1237" y="930"/>
                    <a:pt x="1234" y="930"/>
                  </a:cubicBezTo>
                  <a:cubicBezTo>
                    <a:pt x="1232" y="930"/>
                    <a:pt x="1231" y="930"/>
                    <a:pt x="1229" y="930"/>
                  </a:cubicBezTo>
                  <a:cubicBezTo>
                    <a:pt x="1230" y="928"/>
                    <a:pt x="1230" y="926"/>
                    <a:pt x="1229" y="924"/>
                  </a:cubicBezTo>
                  <a:cubicBezTo>
                    <a:pt x="1229" y="922"/>
                    <a:pt x="1229" y="920"/>
                    <a:pt x="1228" y="917"/>
                  </a:cubicBezTo>
                  <a:cubicBezTo>
                    <a:pt x="1227" y="913"/>
                    <a:pt x="1226" y="909"/>
                    <a:pt x="1223" y="906"/>
                  </a:cubicBezTo>
                  <a:cubicBezTo>
                    <a:pt x="1221" y="902"/>
                    <a:pt x="1219" y="898"/>
                    <a:pt x="1216" y="895"/>
                  </a:cubicBezTo>
                  <a:cubicBezTo>
                    <a:pt x="1215" y="894"/>
                    <a:pt x="1214" y="893"/>
                    <a:pt x="1213" y="891"/>
                  </a:cubicBezTo>
                  <a:cubicBezTo>
                    <a:pt x="1225" y="899"/>
                    <a:pt x="1237" y="907"/>
                    <a:pt x="1250" y="914"/>
                  </a:cubicBezTo>
                  <a:cubicBezTo>
                    <a:pt x="1254" y="916"/>
                    <a:pt x="1258" y="918"/>
                    <a:pt x="1262" y="921"/>
                  </a:cubicBezTo>
                  <a:close/>
                  <a:moveTo>
                    <a:pt x="1205" y="886"/>
                  </a:moveTo>
                  <a:cubicBezTo>
                    <a:pt x="1205" y="886"/>
                    <a:pt x="1205" y="886"/>
                    <a:pt x="1205" y="886"/>
                  </a:cubicBezTo>
                  <a:cubicBezTo>
                    <a:pt x="1205" y="886"/>
                    <a:pt x="1205" y="886"/>
                    <a:pt x="1205" y="886"/>
                  </a:cubicBezTo>
                  <a:cubicBezTo>
                    <a:pt x="1207" y="890"/>
                    <a:pt x="1209" y="893"/>
                    <a:pt x="1211" y="897"/>
                  </a:cubicBezTo>
                  <a:cubicBezTo>
                    <a:pt x="1214" y="900"/>
                    <a:pt x="1216" y="904"/>
                    <a:pt x="1218" y="907"/>
                  </a:cubicBezTo>
                  <a:cubicBezTo>
                    <a:pt x="1220" y="911"/>
                    <a:pt x="1222" y="914"/>
                    <a:pt x="1223" y="918"/>
                  </a:cubicBezTo>
                  <a:cubicBezTo>
                    <a:pt x="1223" y="920"/>
                    <a:pt x="1224" y="922"/>
                    <a:pt x="1224" y="924"/>
                  </a:cubicBezTo>
                  <a:cubicBezTo>
                    <a:pt x="1224" y="926"/>
                    <a:pt x="1223" y="929"/>
                    <a:pt x="1224" y="931"/>
                  </a:cubicBezTo>
                  <a:cubicBezTo>
                    <a:pt x="1225" y="931"/>
                    <a:pt x="1225" y="931"/>
                    <a:pt x="1225" y="931"/>
                  </a:cubicBezTo>
                  <a:cubicBezTo>
                    <a:pt x="1221" y="934"/>
                    <a:pt x="1218" y="936"/>
                    <a:pt x="1217" y="940"/>
                  </a:cubicBezTo>
                  <a:cubicBezTo>
                    <a:pt x="1215" y="939"/>
                    <a:pt x="1213" y="939"/>
                    <a:pt x="1212" y="939"/>
                  </a:cubicBezTo>
                  <a:cubicBezTo>
                    <a:pt x="1211" y="936"/>
                    <a:pt x="1210" y="934"/>
                    <a:pt x="1209" y="932"/>
                  </a:cubicBezTo>
                  <a:cubicBezTo>
                    <a:pt x="1209" y="932"/>
                    <a:pt x="1209" y="932"/>
                    <a:pt x="1209" y="932"/>
                  </a:cubicBezTo>
                  <a:cubicBezTo>
                    <a:pt x="1211" y="932"/>
                    <a:pt x="1212" y="930"/>
                    <a:pt x="1213" y="928"/>
                  </a:cubicBezTo>
                  <a:cubicBezTo>
                    <a:pt x="1216" y="923"/>
                    <a:pt x="1218" y="914"/>
                    <a:pt x="1213" y="909"/>
                  </a:cubicBezTo>
                  <a:cubicBezTo>
                    <a:pt x="1208" y="904"/>
                    <a:pt x="1202" y="907"/>
                    <a:pt x="1197" y="911"/>
                  </a:cubicBezTo>
                  <a:cubicBezTo>
                    <a:pt x="1195" y="914"/>
                    <a:pt x="1193" y="917"/>
                    <a:pt x="1192" y="921"/>
                  </a:cubicBezTo>
                  <a:cubicBezTo>
                    <a:pt x="1190" y="921"/>
                    <a:pt x="1189" y="921"/>
                    <a:pt x="1188" y="920"/>
                  </a:cubicBezTo>
                  <a:cubicBezTo>
                    <a:pt x="1187" y="920"/>
                    <a:pt x="1185" y="920"/>
                    <a:pt x="1183" y="920"/>
                  </a:cubicBezTo>
                  <a:cubicBezTo>
                    <a:pt x="1183" y="920"/>
                    <a:pt x="1183" y="920"/>
                    <a:pt x="1183" y="920"/>
                  </a:cubicBezTo>
                  <a:cubicBezTo>
                    <a:pt x="1184" y="919"/>
                    <a:pt x="1184" y="918"/>
                    <a:pt x="1185" y="917"/>
                  </a:cubicBezTo>
                  <a:cubicBezTo>
                    <a:pt x="1187" y="913"/>
                    <a:pt x="1188" y="910"/>
                    <a:pt x="1188" y="906"/>
                  </a:cubicBezTo>
                  <a:cubicBezTo>
                    <a:pt x="1189" y="898"/>
                    <a:pt x="1187" y="891"/>
                    <a:pt x="1184" y="884"/>
                  </a:cubicBezTo>
                  <a:cubicBezTo>
                    <a:pt x="1182" y="880"/>
                    <a:pt x="1181" y="877"/>
                    <a:pt x="1179" y="873"/>
                  </a:cubicBezTo>
                  <a:cubicBezTo>
                    <a:pt x="1178" y="871"/>
                    <a:pt x="1176" y="869"/>
                    <a:pt x="1175" y="867"/>
                  </a:cubicBezTo>
                  <a:cubicBezTo>
                    <a:pt x="1183" y="872"/>
                    <a:pt x="1191" y="877"/>
                    <a:pt x="1199" y="882"/>
                  </a:cubicBezTo>
                  <a:cubicBezTo>
                    <a:pt x="1201" y="884"/>
                    <a:pt x="1203" y="885"/>
                    <a:pt x="1205" y="886"/>
                  </a:cubicBezTo>
                  <a:close/>
                  <a:moveTo>
                    <a:pt x="1165" y="861"/>
                  </a:moveTo>
                  <a:cubicBezTo>
                    <a:pt x="1165" y="861"/>
                    <a:pt x="1165" y="861"/>
                    <a:pt x="1165" y="861"/>
                  </a:cubicBezTo>
                  <a:cubicBezTo>
                    <a:pt x="1169" y="866"/>
                    <a:pt x="1173" y="873"/>
                    <a:pt x="1176" y="879"/>
                  </a:cubicBezTo>
                  <a:cubicBezTo>
                    <a:pt x="1179" y="884"/>
                    <a:pt x="1181" y="889"/>
                    <a:pt x="1182" y="895"/>
                  </a:cubicBezTo>
                  <a:cubicBezTo>
                    <a:pt x="1182" y="894"/>
                    <a:pt x="1181" y="893"/>
                    <a:pt x="1180" y="892"/>
                  </a:cubicBezTo>
                  <a:cubicBezTo>
                    <a:pt x="1176" y="888"/>
                    <a:pt x="1169" y="888"/>
                    <a:pt x="1164" y="891"/>
                  </a:cubicBezTo>
                  <a:cubicBezTo>
                    <a:pt x="1161" y="893"/>
                    <a:pt x="1158" y="896"/>
                    <a:pt x="1157" y="900"/>
                  </a:cubicBezTo>
                  <a:cubicBezTo>
                    <a:pt x="1153" y="901"/>
                    <a:pt x="1149" y="903"/>
                    <a:pt x="1146" y="906"/>
                  </a:cubicBezTo>
                  <a:cubicBezTo>
                    <a:pt x="1147" y="906"/>
                    <a:pt x="1147" y="905"/>
                    <a:pt x="1147" y="905"/>
                  </a:cubicBezTo>
                  <a:cubicBezTo>
                    <a:pt x="1147" y="901"/>
                    <a:pt x="1147" y="898"/>
                    <a:pt x="1146" y="895"/>
                  </a:cubicBezTo>
                  <a:cubicBezTo>
                    <a:pt x="1145" y="889"/>
                    <a:pt x="1142" y="883"/>
                    <a:pt x="1139" y="878"/>
                  </a:cubicBezTo>
                  <a:cubicBezTo>
                    <a:pt x="1131" y="867"/>
                    <a:pt x="1120" y="858"/>
                    <a:pt x="1110" y="849"/>
                  </a:cubicBezTo>
                  <a:cubicBezTo>
                    <a:pt x="1107" y="846"/>
                    <a:pt x="1102" y="842"/>
                    <a:pt x="1099" y="837"/>
                  </a:cubicBezTo>
                  <a:cubicBezTo>
                    <a:pt x="1098" y="836"/>
                    <a:pt x="1096" y="838"/>
                    <a:pt x="1097" y="839"/>
                  </a:cubicBezTo>
                  <a:cubicBezTo>
                    <a:pt x="1100" y="844"/>
                    <a:pt x="1104" y="848"/>
                    <a:pt x="1108" y="852"/>
                  </a:cubicBezTo>
                  <a:cubicBezTo>
                    <a:pt x="1112" y="856"/>
                    <a:pt x="1117" y="861"/>
                    <a:pt x="1122" y="866"/>
                  </a:cubicBezTo>
                  <a:cubicBezTo>
                    <a:pt x="1130" y="875"/>
                    <a:pt x="1140" y="885"/>
                    <a:pt x="1142" y="897"/>
                  </a:cubicBezTo>
                  <a:cubicBezTo>
                    <a:pt x="1142" y="900"/>
                    <a:pt x="1142" y="902"/>
                    <a:pt x="1142" y="905"/>
                  </a:cubicBezTo>
                  <a:cubicBezTo>
                    <a:pt x="1141" y="906"/>
                    <a:pt x="1141" y="907"/>
                    <a:pt x="1141" y="908"/>
                  </a:cubicBezTo>
                  <a:cubicBezTo>
                    <a:pt x="1141" y="909"/>
                    <a:pt x="1140" y="910"/>
                    <a:pt x="1140" y="910"/>
                  </a:cubicBezTo>
                  <a:cubicBezTo>
                    <a:pt x="1140" y="911"/>
                    <a:pt x="1141" y="911"/>
                    <a:pt x="1141" y="912"/>
                  </a:cubicBezTo>
                  <a:cubicBezTo>
                    <a:pt x="1141" y="912"/>
                    <a:pt x="1141" y="912"/>
                    <a:pt x="1141" y="912"/>
                  </a:cubicBezTo>
                  <a:cubicBezTo>
                    <a:pt x="1141" y="912"/>
                    <a:pt x="1141" y="912"/>
                    <a:pt x="1141" y="912"/>
                  </a:cubicBezTo>
                  <a:cubicBezTo>
                    <a:pt x="1141" y="913"/>
                    <a:pt x="1141" y="913"/>
                    <a:pt x="1141" y="913"/>
                  </a:cubicBezTo>
                  <a:cubicBezTo>
                    <a:pt x="1140" y="916"/>
                    <a:pt x="1138" y="919"/>
                    <a:pt x="1137" y="922"/>
                  </a:cubicBezTo>
                  <a:cubicBezTo>
                    <a:pt x="1130" y="917"/>
                    <a:pt x="1123" y="912"/>
                    <a:pt x="1116" y="907"/>
                  </a:cubicBezTo>
                  <a:cubicBezTo>
                    <a:pt x="1112" y="904"/>
                    <a:pt x="1109" y="901"/>
                    <a:pt x="1105" y="898"/>
                  </a:cubicBezTo>
                  <a:cubicBezTo>
                    <a:pt x="1103" y="896"/>
                    <a:pt x="1102" y="895"/>
                    <a:pt x="1100" y="893"/>
                  </a:cubicBezTo>
                  <a:cubicBezTo>
                    <a:pt x="1100" y="890"/>
                    <a:pt x="1100" y="886"/>
                    <a:pt x="1097" y="883"/>
                  </a:cubicBezTo>
                  <a:cubicBezTo>
                    <a:pt x="1095" y="880"/>
                    <a:pt x="1092" y="879"/>
                    <a:pt x="1089" y="878"/>
                  </a:cubicBezTo>
                  <a:cubicBezTo>
                    <a:pt x="1086" y="877"/>
                    <a:pt x="1084" y="876"/>
                    <a:pt x="1082" y="875"/>
                  </a:cubicBezTo>
                  <a:cubicBezTo>
                    <a:pt x="1081" y="873"/>
                    <a:pt x="1081" y="872"/>
                    <a:pt x="1080" y="869"/>
                  </a:cubicBezTo>
                  <a:cubicBezTo>
                    <a:pt x="1080" y="867"/>
                    <a:pt x="1080" y="864"/>
                    <a:pt x="1081" y="861"/>
                  </a:cubicBezTo>
                  <a:cubicBezTo>
                    <a:pt x="1082" y="856"/>
                    <a:pt x="1084" y="851"/>
                    <a:pt x="1087" y="847"/>
                  </a:cubicBezTo>
                  <a:cubicBezTo>
                    <a:pt x="1091" y="842"/>
                    <a:pt x="1096" y="838"/>
                    <a:pt x="1100" y="834"/>
                  </a:cubicBezTo>
                  <a:cubicBezTo>
                    <a:pt x="1102" y="833"/>
                    <a:pt x="1105" y="831"/>
                    <a:pt x="1107" y="830"/>
                  </a:cubicBezTo>
                  <a:cubicBezTo>
                    <a:pt x="1108" y="829"/>
                    <a:pt x="1109" y="828"/>
                    <a:pt x="1110" y="828"/>
                  </a:cubicBezTo>
                  <a:cubicBezTo>
                    <a:pt x="1110" y="827"/>
                    <a:pt x="1111" y="827"/>
                    <a:pt x="1111" y="827"/>
                  </a:cubicBezTo>
                  <a:cubicBezTo>
                    <a:pt x="1116" y="829"/>
                    <a:pt x="1120" y="832"/>
                    <a:pt x="1125" y="834"/>
                  </a:cubicBezTo>
                  <a:cubicBezTo>
                    <a:pt x="1132" y="839"/>
                    <a:pt x="1140" y="844"/>
                    <a:pt x="1148" y="849"/>
                  </a:cubicBezTo>
                  <a:cubicBezTo>
                    <a:pt x="1154" y="853"/>
                    <a:pt x="1159" y="857"/>
                    <a:pt x="1165" y="861"/>
                  </a:cubicBezTo>
                  <a:close/>
                  <a:moveTo>
                    <a:pt x="378" y="1383"/>
                  </a:moveTo>
                  <a:cubicBezTo>
                    <a:pt x="378" y="1383"/>
                    <a:pt x="378" y="1383"/>
                    <a:pt x="378" y="1383"/>
                  </a:cubicBezTo>
                  <a:cubicBezTo>
                    <a:pt x="370" y="1386"/>
                    <a:pt x="363" y="1389"/>
                    <a:pt x="356" y="1391"/>
                  </a:cubicBezTo>
                  <a:cubicBezTo>
                    <a:pt x="356" y="1374"/>
                    <a:pt x="357" y="1356"/>
                    <a:pt x="357" y="1339"/>
                  </a:cubicBezTo>
                  <a:cubicBezTo>
                    <a:pt x="357" y="1329"/>
                    <a:pt x="357" y="1319"/>
                    <a:pt x="357" y="1309"/>
                  </a:cubicBezTo>
                  <a:cubicBezTo>
                    <a:pt x="357" y="1305"/>
                    <a:pt x="357" y="1301"/>
                    <a:pt x="356" y="1298"/>
                  </a:cubicBezTo>
                  <a:cubicBezTo>
                    <a:pt x="358" y="1298"/>
                    <a:pt x="359" y="1299"/>
                    <a:pt x="360" y="1299"/>
                  </a:cubicBezTo>
                  <a:cubicBezTo>
                    <a:pt x="365" y="1301"/>
                    <a:pt x="369" y="1302"/>
                    <a:pt x="373" y="1303"/>
                  </a:cubicBezTo>
                  <a:cubicBezTo>
                    <a:pt x="383" y="1306"/>
                    <a:pt x="393" y="1310"/>
                    <a:pt x="402" y="1313"/>
                  </a:cubicBezTo>
                  <a:cubicBezTo>
                    <a:pt x="412" y="1316"/>
                    <a:pt x="422" y="1319"/>
                    <a:pt x="432" y="1321"/>
                  </a:cubicBezTo>
                  <a:cubicBezTo>
                    <a:pt x="437" y="1323"/>
                    <a:pt x="442" y="1324"/>
                    <a:pt x="446" y="1325"/>
                  </a:cubicBezTo>
                  <a:cubicBezTo>
                    <a:pt x="447" y="1325"/>
                    <a:pt x="449" y="1326"/>
                    <a:pt x="450" y="1326"/>
                  </a:cubicBezTo>
                  <a:cubicBezTo>
                    <a:pt x="460" y="1330"/>
                    <a:pt x="470" y="1333"/>
                    <a:pt x="481" y="1336"/>
                  </a:cubicBezTo>
                  <a:cubicBezTo>
                    <a:pt x="479" y="1337"/>
                    <a:pt x="477" y="1338"/>
                    <a:pt x="474" y="1339"/>
                  </a:cubicBezTo>
                  <a:cubicBezTo>
                    <a:pt x="470" y="1341"/>
                    <a:pt x="466" y="1344"/>
                    <a:pt x="461" y="1346"/>
                  </a:cubicBezTo>
                  <a:cubicBezTo>
                    <a:pt x="452" y="1351"/>
                    <a:pt x="443" y="1355"/>
                    <a:pt x="435" y="1360"/>
                  </a:cubicBezTo>
                  <a:cubicBezTo>
                    <a:pt x="426" y="1364"/>
                    <a:pt x="416" y="1367"/>
                    <a:pt x="407" y="1371"/>
                  </a:cubicBezTo>
                  <a:cubicBezTo>
                    <a:pt x="397" y="1375"/>
                    <a:pt x="388" y="1379"/>
                    <a:pt x="378" y="1383"/>
                  </a:cubicBezTo>
                  <a:close/>
                  <a:moveTo>
                    <a:pt x="841" y="1478"/>
                  </a:moveTo>
                  <a:cubicBezTo>
                    <a:pt x="841" y="1478"/>
                    <a:pt x="841" y="1478"/>
                    <a:pt x="841" y="1478"/>
                  </a:cubicBezTo>
                  <a:cubicBezTo>
                    <a:pt x="826" y="1494"/>
                    <a:pt x="803" y="1501"/>
                    <a:pt x="783" y="1510"/>
                  </a:cubicBezTo>
                  <a:cubicBezTo>
                    <a:pt x="760" y="1520"/>
                    <a:pt x="735" y="1528"/>
                    <a:pt x="710" y="1533"/>
                  </a:cubicBezTo>
                  <a:cubicBezTo>
                    <a:pt x="685" y="1537"/>
                    <a:pt x="659" y="1539"/>
                    <a:pt x="634" y="1537"/>
                  </a:cubicBezTo>
                  <a:cubicBezTo>
                    <a:pt x="610" y="1535"/>
                    <a:pt x="585" y="1531"/>
                    <a:pt x="563" y="1521"/>
                  </a:cubicBezTo>
                  <a:cubicBezTo>
                    <a:pt x="542" y="1513"/>
                    <a:pt x="523" y="1500"/>
                    <a:pt x="505" y="1486"/>
                  </a:cubicBezTo>
                  <a:cubicBezTo>
                    <a:pt x="486" y="1471"/>
                    <a:pt x="469" y="1454"/>
                    <a:pt x="453" y="1436"/>
                  </a:cubicBezTo>
                  <a:cubicBezTo>
                    <a:pt x="445" y="1426"/>
                    <a:pt x="438" y="1416"/>
                    <a:pt x="431" y="1406"/>
                  </a:cubicBezTo>
                  <a:cubicBezTo>
                    <a:pt x="424" y="1397"/>
                    <a:pt x="419" y="1388"/>
                    <a:pt x="413" y="1379"/>
                  </a:cubicBezTo>
                  <a:cubicBezTo>
                    <a:pt x="421" y="1376"/>
                    <a:pt x="430" y="1373"/>
                    <a:pt x="438" y="1369"/>
                  </a:cubicBezTo>
                  <a:cubicBezTo>
                    <a:pt x="443" y="1384"/>
                    <a:pt x="454" y="1396"/>
                    <a:pt x="464" y="1408"/>
                  </a:cubicBezTo>
                  <a:cubicBezTo>
                    <a:pt x="475" y="1421"/>
                    <a:pt x="485" y="1435"/>
                    <a:pt x="496" y="1447"/>
                  </a:cubicBezTo>
                  <a:cubicBezTo>
                    <a:pt x="496" y="1451"/>
                    <a:pt x="496" y="1454"/>
                    <a:pt x="496" y="1458"/>
                  </a:cubicBezTo>
                  <a:cubicBezTo>
                    <a:pt x="496" y="1460"/>
                    <a:pt x="497" y="1461"/>
                    <a:pt x="498" y="1462"/>
                  </a:cubicBezTo>
                  <a:cubicBezTo>
                    <a:pt x="500" y="1464"/>
                    <a:pt x="502" y="1463"/>
                    <a:pt x="504" y="1461"/>
                  </a:cubicBezTo>
                  <a:cubicBezTo>
                    <a:pt x="505" y="1460"/>
                    <a:pt x="507" y="1459"/>
                    <a:pt x="509" y="1458"/>
                  </a:cubicBezTo>
                  <a:cubicBezTo>
                    <a:pt x="509" y="1457"/>
                    <a:pt x="510" y="1457"/>
                    <a:pt x="511" y="1457"/>
                  </a:cubicBezTo>
                  <a:cubicBezTo>
                    <a:pt x="522" y="1466"/>
                    <a:pt x="534" y="1475"/>
                    <a:pt x="547" y="1482"/>
                  </a:cubicBezTo>
                  <a:cubicBezTo>
                    <a:pt x="561" y="1490"/>
                    <a:pt x="576" y="1497"/>
                    <a:pt x="591" y="1501"/>
                  </a:cubicBezTo>
                  <a:cubicBezTo>
                    <a:pt x="622" y="1511"/>
                    <a:pt x="655" y="1514"/>
                    <a:pt x="687" y="1511"/>
                  </a:cubicBezTo>
                  <a:cubicBezTo>
                    <a:pt x="719" y="1509"/>
                    <a:pt x="751" y="1499"/>
                    <a:pt x="780" y="1483"/>
                  </a:cubicBezTo>
                  <a:cubicBezTo>
                    <a:pt x="788" y="1478"/>
                    <a:pt x="796" y="1473"/>
                    <a:pt x="804" y="1468"/>
                  </a:cubicBezTo>
                  <a:cubicBezTo>
                    <a:pt x="812" y="1461"/>
                    <a:pt x="820" y="1455"/>
                    <a:pt x="826" y="1447"/>
                  </a:cubicBezTo>
                  <a:cubicBezTo>
                    <a:pt x="827" y="1448"/>
                    <a:pt x="827" y="1449"/>
                    <a:pt x="827" y="1449"/>
                  </a:cubicBezTo>
                  <a:cubicBezTo>
                    <a:pt x="833" y="1458"/>
                    <a:pt x="838" y="1468"/>
                    <a:pt x="843" y="1476"/>
                  </a:cubicBezTo>
                  <a:cubicBezTo>
                    <a:pt x="842" y="1477"/>
                    <a:pt x="841" y="1477"/>
                    <a:pt x="841" y="1478"/>
                  </a:cubicBezTo>
                  <a:close/>
                  <a:moveTo>
                    <a:pt x="893" y="1437"/>
                  </a:moveTo>
                  <a:cubicBezTo>
                    <a:pt x="893" y="1437"/>
                    <a:pt x="893" y="1437"/>
                    <a:pt x="893" y="1437"/>
                  </a:cubicBezTo>
                  <a:cubicBezTo>
                    <a:pt x="882" y="1454"/>
                    <a:pt x="871" y="1471"/>
                    <a:pt x="861" y="1488"/>
                  </a:cubicBezTo>
                  <a:cubicBezTo>
                    <a:pt x="852" y="1474"/>
                    <a:pt x="843" y="1459"/>
                    <a:pt x="835" y="1445"/>
                  </a:cubicBezTo>
                  <a:cubicBezTo>
                    <a:pt x="826" y="1430"/>
                    <a:pt x="816" y="1415"/>
                    <a:pt x="807" y="1400"/>
                  </a:cubicBezTo>
                  <a:cubicBezTo>
                    <a:pt x="807" y="1400"/>
                    <a:pt x="807" y="1400"/>
                    <a:pt x="807" y="1400"/>
                  </a:cubicBezTo>
                  <a:cubicBezTo>
                    <a:pt x="810" y="1403"/>
                    <a:pt x="813" y="1404"/>
                    <a:pt x="816" y="1405"/>
                  </a:cubicBezTo>
                  <a:cubicBezTo>
                    <a:pt x="821" y="1406"/>
                    <a:pt x="825" y="1407"/>
                    <a:pt x="830" y="1407"/>
                  </a:cubicBezTo>
                  <a:cubicBezTo>
                    <a:pt x="838" y="1408"/>
                    <a:pt x="847" y="1408"/>
                    <a:pt x="856" y="1408"/>
                  </a:cubicBezTo>
                  <a:cubicBezTo>
                    <a:pt x="865" y="1408"/>
                    <a:pt x="875" y="1408"/>
                    <a:pt x="884" y="1408"/>
                  </a:cubicBezTo>
                  <a:cubicBezTo>
                    <a:pt x="893" y="1408"/>
                    <a:pt x="903" y="1408"/>
                    <a:pt x="912" y="1408"/>
                  </a:cubicBezTo>
                  <a:cubicBezTo>
                    <a:pt x="912" y="1408"/>
                    <a:pt x="912" y="1408"/>
                    <a:pt x="912" y="1408"/>
                  </a:cubicBezTo>
                  <a:cubicBezTo>
                    <a:pt x="911" y="1410"/>
                    <a:pt x="910" y="1411"/>
                    <a:pt x="909" y="1413"/>
                  </a:cubicBezTo>
                  <a:cubicBezTo>
                    <a:pt x="904" y="1420"/>
                    <a:pt x="898" y="1428"/>
                    <a:pt x="893" y="1437"/>
                  </a:cubicBezTo>
                  <a:close/>
                  <a:moveTo>
                    <a:pt x="961" y="1427"/>
                  </a:moveTo>
                  <a:cubicBezTo>
                    <a:pt x="961" y="1427"/>
                    <a:pt x="961" y="1427"/>
                    <a:pt x="961" y="1427"/>
                  </a:cubicBezTo>
                  <a:cubicBezTo>
                    <a:pt x="959" y="1423"/>
                    <a:pt x="956" y="1419"/>
                    <a:pt x="954" y="1416"/>
                  </a:cubicBezTo>
                  <a:cubicBezTo>
                    <a:pt x="951" y="1411"/>
                    <a:pt x="948" y="1406"/>
                    <a:pt x="945" y="1402"/>
                  </a:cubicBezTo>
                  <a:cubicBezTo>
                    <a:pt x="948" y="1402"/>
                    <a:pt x="951" y="1402"/>
                    <a:pt x="954" y="1402"/>
                  </a:cubicBezTo>
                  <a:cubicBezTo>
                    <a:pt x="959" y="1401"/>
                    <a:pt x="964" y="1400"/>
                    <a:pt x="969" y="1399"/>
                  </a:cubicBezTo>
                  <a:cubicBezTo>
                    <a:pt x="967" y="1408"/>
                    <a:pt x="964" y="1416"/>
                    <a:pt x="961" y="1424"/>
                  </a:cubicBezTo>
                  <a:cubicBezTo>
                    <a:pt x="961" y="1425"/>
                    <a:pt x="961" y="1426"/>
                    <a:pt x="961" y="1427"/>
                  </a:cubicBezTo>
                  <a:cubicBezTo>
                    <a:pt x="961" y="1427"/>
                    <a:pt x="961" y="1427"/>
                    <a:pt x="961" y="1427"/>
                  </a:cubicBezTo>
                  <a:close/>
                  <a:moveTo>
                    <a:pt x="1245" y="1128"/>
                  </a:moveTo>
                  <a:cubicBezTo>
                    <a:pt x="1245" y="1128"/>
                    <a:pt x="1245" y="1128"/>
                    <a:pt x="1245" y="1128"/>
                  </a:cubicBezTo>
                  <a:cubicBezTo>
                    <a:pt x="1243" y="1153"/>
                    <a:pt x="1238" y="1177"/>
                    <a:pt x="1231" y="1202"/>
                  </a:cubicBezTo>
                  <a:cubicBezTo>
                    <a:pt x="1230" y="1207"/>
                    <a:pt x="1228" y="1213"/>
                    <a:pt x="1226" y="1219"/>
                  </a:cubicBezTo>
                  <a:cubicBezTo>
                    <a:pt x="1225" y="1221"/>
                    <a:pt x="1224" y="1224"/>
                    <a:pt x="1223" y="1226"/>
                  </a:cubicBezTo>
                  <a:cubicBezTo>
                    <a:pt x="1223" y="1227"/>
                    <a:pt x="1222" y="1228"/>
                    <a:pt x="1222" y="1229"/>
                  </a:cubicBezTo>
                  <a:cubicBezTo>
                    <a:pt x="1222" y="1230"/>
                    <a:pt x="1221" y="1231"/>
                    <a:pt x="1221" y="1231"/>
                  </a:cubicBezTo>
                  <a:cubicBezTo>
                    <a:pt x="1221" y="1232"/>
                    <a:pt x="1221" y="1232"/>
                    <a:pt x="1220" y="1233"/>
                  </a:cubicBezTo>
                  <a:cubicBezTo>
                    <a:pt x="1216" y="1243"/>
                    <a:pt x="1211" y="1254"/>
                    <a:pt x="1205" y="1264"/>
                  </a:cubicBezTo>
                  <a:cubicBezTo>
                    <a:pt x="1200" y="1273"/>
                    <a:pt x="1193" y="1283"/>
                    <a:pt x="1187" y="1292"/>
                  </a:cubicBezTo>
                  <a:cubicBezTo>
                    <a:pt x="1185" y="1294"/>
                    <a:pt x="1184" y="1296"/>
                    <a:pt x="1182" y="1299"/>
                  </a:cubicBezTo>
                  <a:cubicBezTo>
                    <a:pt x="1182" y="1299"/>
                    <a:pt x="1181" y="1299"/>
                    <a:pt x="1181" y="1300"/>
                  </a:cubicBezTo>
                  <a:cubicBezTo>
                    <a:pt x="1181" y="1300"/>
                    <a:pt x="1181" y="1301"/>
                    <a:pt x="1181" y="1301"/>
                  </a:cubicBezTo>
                  <a:cubicBezTo>
                    <a:pt x="1180" y="1302"/>
                    <a:pt x="1179" y="1304"/>
                    <a:pt x="1178" y="1305"/>
                  </a:cubicBezTo>
                  <a:cubicBezTo>
                    <a:pt x="1174" y="1310"/>
                    <a:pt x="1170" y="1314"/>
                    <a:pt x="1167" y="1318"/>
                  </a:cubicBezTo>
                  <a:cubicBezTo>
                    <a:pt x="1152" y="1336"/>
                    <a:pt x="1136" y="1352"/>
                    <a:pt x="1119" y="1367"/>
                  </a:cubicBezTo>
                  <a:cubicBezTo>
                    <a:pt x="1110" y="1375"/>
                    <a:pt x="1102" y="1382"/>
                    <a:pt x="1093" y="1389"/>
                  </a:cubicBezTo>
                  <a:cubicBezTo>
                    <a:pt x="1091" y="1391"/>
                    <a:pt x="1089" y="1392"/>
                    <a:pt x="1087" y="1394"/>
                  </a:cubicBezTo>
                  <a:cubicBezTo>
                    <a:pt x="1087" y="1394"/>
                    <a:pt x="1086" y="1395"/>
                    <a:pt x="1085" y="1395"/>
                  </a:cubicBezTo>
                  <a:cubicBezTo>
                    <a:pt x="1085" y="1395"/>
                    <a:pt x="1085" y="1395"/>
                    <a:pt x="1085" y="1395"/>
                  </a:cubicBezTo>
                  <a:cubicBezTo>
                    <a:pt x="1085" y="1395"/>
                    <a:pt x="1085" y="1396"/>
                    <a:pt x="1085" y="1396"/>
                  </a:cubicBezTo>
                  <a:cubicBezTo>
                    <a:pt x="1084" y="1397"/>
                    <a:pt x="1083" y="1398"/>
                    <a:pt x="1082" y="1399"/>
                  </a:cubicBezTo>
                  <a:cubicBezTo>
                    <a:pt x="1077" y="1403"/>
                    <a:pt x="1071" y="1407"/>
                    <a:pt x="1066" y="1410"/>
                  </a:cubicBezTo>
                  <a:cubicBezTo>
                    <a:pt x="1049" y="1422"/>
                    <a:pt x="1031" y="1434"/>
                    <a:pt x="1012" y="1445"/>
                  </a:cubicBezTo>
                  <a:cubicBezTo>
                    <a:pt x="1004" y="1450"/>
                    <a:pt x="994" y="1455"/>
                    <a:pt x="985" y="1460"/>
                  </a:cubicBezTo>
                  <a:cubicBezTo>
                    <a:pt x="978" y="1464"/>
                    <a:pt x="971" y="1467"/>
                    <a:pt x="964" y="1471"/>
                  </a:cubicBezTo>
                  <a:cubicBezTo>
                    <a:pt x="966" y="1466"/>
                    <a:pt x="968" y="1461"/>
                    <a:pt x="969" y="1456"/>
                  </a:cubicBezTo>
                  <a:cubicBezTo>
                    <a:pt x="972" y="1447"/>
                    <a:pt x="973" y="1436"/>
                    <a:pt x="976" y="1426"/>
                  </a:cubicBezTo>
                  <a:cubicBezTo>
                    <a:pt x="979" y="1416"/>
                    <a:pt x="982" y="1407"/>
                    <a:pt x="985" y="1397"/>
                  </a:cubicBezTo>
                  <a:cubicBezTo>
                    <a:pt x="988" y="1387"/>
                    <a:pt x="992" y="1378"/>
                    <a:pt x="993" y="1368"/>
                  </a:cubicBezTo>
                  <a:cubicBezTo>
                    <a:pt x="994" y="1361"/>
                    <a:pt x="993" y="1354"/>
                    <a:pt x="989" y="1349"/>
                  </a:cubicBezTo>
                  <a:cubicBezTo>
                    <a:pt x="985" y="1343"/>
                    <a:pt x="980" y="1339"/>
                    <a:pt x="973" y="1336"/>
                  </a:cubicBezTo>
                  <a:cubicBezTo>
                    <a:pt x="966" y="1333"/>
                    <a:pt x="959" y="1331"/>
                    <a:pt x="951" y="1328"/>
                  </a:cubicBezTo>
                  <a:cubicBezTo>
                    <a:pt x="949" y="1327"/>
                    <a:pt x="947" y="1326"/>
                    <a:pt x="946" y="1325"/>
                  </a:cubicBezTo>
                  <a:cubicBezTo>
                    <a:pt x="945" y="1325"/>
                    <a:pt x="944" y="1325"/>
                    <a:pt x="943" y="1324"/>
                  </a:cubicBezTo>
                  <a:cubicBezTo>
                    <a:pt x="943" y="1324"/>
                    <a:pt x="943" y="1324"/>
                    <a:pt x="943" y="1324"/>
                  </a:cubicBezTo>
                  <a:cubicBezTo>
                    <a:pt x="942" y="1324"/>
                    <a:pt x="942" y="1324"/>
                    <a:pt x="941" y="1323"/>
                  </a:cubicBezTo>
                  <a:cubicBezTo>
                    <a:pt x="937" y="1322"/>
                    <a:pt x="934" y="1320"/>
                    <a:pt x="930" y="1318"/>
                  </a:cubicBezTo>
                  <a:cubicBezTo>
                    <a:pt x="914" y="1311"/>
                    <a:pt x="899" y="1302"/>
                    <a:pt x="885" y="1293"/>
                  </a:cubicBezTo>
                  <a:cubicBezTo>
                    <a:pt x="881" y="1290"/>
                    <a:pt x="878" y="1288"/>
                    <a:pt x="874" y="1285"/>
                  </a:cubicBezTo>
                  <a:cubicBezTo>
                    <a:pt x="874" y="1285"/>
                    <a:pt x="873" y="1284"/>
                    <a:pt x="872" y="1283"/>
                  </a:cubicBezTo>
                  <a:cubicBezTo>
                    <a:pt x="872" y="1283"/>
                    <a:pt x="871" y="1282"/>
                    <a:pt x="871" y="1282"/>
                  </a:cubicBezTo>
                  <a:cubicBezTo>
                    <a:pt x="870" y="1282"/>
                    <a:pt x="870" y="1282"/>
                    <a:pt x="870" y="1281"/>
                  </a:cubicBezTo>
                  <a:cubicBezTo>
                    <a:pt x="869" y="1281"/>
                    <a:pt x="868" y="1280"/>
                    <a:pt x="867" y="1280"/>
                  </a:cubicBezTo>
                  <a:cubicBezTo>
                    <a:pt x="867" y="1280"/>
                    <a:pt x="867" y="1280"/>
                    <a:pt x="867" y="1279"/>
                  </a:cubicBezTo>
                  <a:cubicBezTo>
                    <a:pt x="867" y="1279"/>
                    <a:pt x="867" y="1279"/>
                    <a:pt x="867" y="1279"/>
                  </a:cubicBezTo>
                  <a:cubicBezTo>
                    <a:pt x="866" y="1279"/>
                    <a:pt x="866" y="1278"/>
                    <a:pt x="865" y="1278"/>
                  </a:cubicBezTo>
                  <a:cubicBezTo>
                    <a:pt x="862" y="1275"/>
                    <a:pt x="859" y="1272"/>
                    <a:pt x="856" y="1269"/>
                  </a:cubicBezTo>
                  <a:cubicBezTo>
                    <a:pt x="854" y="1268"/>
                    <a:pt x="852" y="1266"/>
                    <a:pt x="851" y="1265"/>
                  </a:cubicBezTo>
                  <a:cubicBezTo>
                    <a:pt x="852" y="1265"/>
                    <a:pt x="853" y="1265"/>
                    <a:pt x="854" y="1265"/>
                  </a:cubicBezTo>
                  <a:cubicBezTo>
                    <a:pt x="857" y="1265"/>
                    <a:pt x="861" y="1265"/>
                    <a:pt x="864" y="1265"/>
                  </a:cubicBezTo>
                  <a:cubicBezTo>
                    <a:pt x="870" y="1265"/>
                    <a:pt x="876" y="1264"/>
                    <a:pt x="883" y="1263"/>
                  </a:cubicBezTo>
                  <a:cubicBezTo>
                    <a:pt x="895" y="1262"/>
                    <a:pt x="908" y="1260"/>
                    <a:pt x="921" y="1258"/>
                  </a:cubicBezTo>
                  <a:cubicBezTo>
                    <a:pt x="927" y="1257"/>
                    <a:pt x="933" y="1256"/>
                    <a:pt x="938" y="1254"/>
                  </a:cubicBezTo>
                  <a:cubicBezTo>
                    <a:pt x="939" y="1256"/>
                    <a:pt x="941" y="1258"/>
                    <a:pt x="942" y="1259"/>
                  </a:cubicBezTo>
                  <a:cubicBezTo>
                    <a:pt x="944" y="1261"/>
                    <a:pt x="946" y="1263"/>
                    <a:pt x="948" y="1265"/>
                  </a:cubicBezTo>
                  <a:cubicBezTo>
                    <a:pt x="952" y="1268"/>
                    <a:pt x="956" y="1271"/>
                    <a:pt x="961" y="1270"/>
                  </a:cubicBezTo>
                  <a:cubicBezTo>
                    <a:pt x="967" y="1270"/>
                    <a:pt x="971" y="1266"/>
                    <a:pt x="972" y="1261"/>
                  </a:cubicBezTo>
                  <a:cubicBezTo>
                    <a:pt x="973" y="1258"/>
                    <a:pt x="973" y="1256"/>
                    <a:pt x="972" y="1254"/>
                  </a:cubicBezTo>
                  <a:cubicBezTo>
                    <a:pt x="985" y="1260"/>
                    <a:pt x="996" y="1270"/>
                    <a:pt x="1004" y="1283"/>
                  </a:cubicBezTo>
                  <a:cubicBezTo>
                    <a:pt x="1005" y="1284"/>
                    <a:pt x="1006" y="1286"/>
                    <a:pt x="1008" y="1288"/>
                  </a:cubicBezTo>
                  <a:cubicBezTo>
                    <a:pt x="1007" y="1288"/>
                    <a:pt x="1006" y="1288"/>
                    <a:pt x="1005" y="1289"/>
                  </a:cubicBezTo>
                  <a:cubicBezTo>
                    <a:pt x="1002" y="1290"/>
                    <a:pt x="1000" y="1292"/>
                    <a:pt x="999" y="1295"/>
                  </a:cubicBezTo>
                  <a:cubicBezTo>
                    <a:pt x="996" y="1299"/>
                    <a:pt x="995" y="1305"/>
                    <a:pt x="995" y="1311"/>
                  </a:cubicBezTo>
                  <a:cubicBezTo>
                    <a:pt x="997" y="1323"/>
                    <a:pt x="1004" y="1334"/>
                    <a:pt x="1015" y="1338"/>
                  </a:cubicBezTo>
                  <a:cubicBezTo>
                    <a:pt x="1026" y="1342"/>
                    <a:pt x="1039" y="1337"/>
                    <a:pt x="1047" y="1328"/>
                  </a:cubicBezTo>
                  <a:cubicBezTo>
                    <a:pt x="1054" y="1320"/>
                    <a:pt x="1057" y="1309"/>
                    <a:pt x="1055" y="1298"/>
                  </a:cubicBezTo>
                  <a:cubicBezTo>
                    <a:pt x="1053" y="1289"/>
                    <a:pt x="1046" y="1282"/>
                    <a:pt x="1037" y="1280"/>
                  </a:cubicBezTo>
                  <a:cubicBezTo>
                    <a:pt x="1033" y="1279"/>
                    <a:pt x="1028" y="1279"/>
                    <a:pt x="1024" y="1280"/>
                  </a:cubicBezTo>
                  <a:cubicBezTo>
                    <a:pt x="1022" y="1272"/>
                    <a:pt x="1018" y="1265"/>
                    <a:pt x="1014" y="1259"/>
                  </a:cubicBezTo>
                  <a:cubicBezTo>
                    <a:pt x="1009" y="1251"/>
                    <a:pt x="1005" y="1243"/>
                    <a:pt x="999" y="1236"/>
                  </a:cubicBezTo>
                  <a:cubicBezTo>
                    <a:pt x="999" y="1236"/>
                    <a:pt x="999" y="1236"/>
                    <a:pt x="999" y="1236"/>
                  </a:cubicBezTo>
                  <a:cubicBezTo>
                    <a:pt x="1043" y="1220"/>
                    <a:pt x="1087" y="1204"/>
                    <a:pt x="1129" y="1183"/>
                  </a:cubicBezTo>
                  <a:cubicBezTo>
                    <a:pt x="1148" y="1173"/>
                    <a:pt x="1166" y="1163"/>
                    <a:pt x="1183" y="1150"/>
                  </a:cubicBezTo>
                  <a:cubicBezTo>
                    <a:pt x="1199" y="1139"/>
                    <a:pt x="1215" y="1127"/>
                    <a:pt x="1228" y="1113"/>
                  </a:cubicBezTo>
                  <a:cubicBezTo>
                    <a:pt x="1231" y="1108"/>
                    <a:pt x="1235" y="1104"/>
                    <a:pt x="1239" y="1099"/>
                  </a:cubicBezTo>
                  <a:cubicBezTo>
                    <a:pt x="1240" y="1097"/>
                    <a:pt x="1241" y="1095"/>
                    <a:pt x="1243" y="1092"/>
                  </a:cubicBezTo>
                  <a:cubicBezTo>
                    <a:pt x="1244" y="1090"/>
                    <a:pt x="1245" y="1088"/>
                    <a:pt x="1246" y="1085"/>
                  </a:cubicBezTo>
                  <a:cubicBezTo>
                    <a:pt x="1246" y="1087"/>
                    <a:pt x="1246" y="1088"/>
                    <a:pt x="1246" y="1090"/>
                  </a:cubicBezTo>
                  <a:cubicBezTo>
                    <a:pt x="1246" y="1103"/>
                    <a:pt x="1245" y="1115"/>
                    <a:pt x="1245" y="1128"/>
                  </a:cubicBezTo>
                  <a:close/>
                  <a:moveTo>
                    <a:pt x="1311" y="1030"/>
                  </a:moveTo>
                  <a:cubicBezTo>
                    <a:pt x="1311" y="1030"/>
                    <a:pt x="1311" y="1030"/>
                    <a:pt x="1311" y="1030"/>
                  </a:cubicBezTo>
                  <a:cubicBezTo>
                    <a:pt x="1312" y="1030"/>
                    <a:pt x="1312" y="1030"/>
                    <a:pt x="1313" y="1030"/>
                  </a:cubicBezTo>
                  <a:cubicBezTo>
                    <a:pt x="1314" y="1029"/>
                    <a:pt x="1314" y="1029"/>
                    <a:pt x="1314" y="1029"/>
                  </a:cubicBezTo>
                  <a:cubicBezTo>
                    <a:pt x="1314" y="1029"/>
                    <a:pt x="1314" y="1029"/>
                    <a:pt x="1315" y="1029"/>
                  </a:cubicBezTo>
                  <a:cubicBezTo>
                    <a:pt x="1315" y="1029"/>
                    <a:pt x="1315" y="1029"/>
                    <a:pt x="1315" y="1029"/>
                  </a:cubicBezTo>
                  <a:cubicBezTo>
                    <a:pt x="1315" y="1029"/>
                    <a:pt x="1315" y="1029"/>
                    <a:pt x="1315" y="1029"/>
                  </a:cubicBezTo>
                  <a:cubicBezTo>
                    <a:pt x="1315" y="1029"/>
                    <a:pt x="1315" y="1029"/>
                    <a:pt x="1315" y="1029"/>
                  </a:cubicBezTo>
                  <a:cubicBezTo>
                    <a:pt x="1315" y="1029"/>
                    <a:pt x="1316" y="1029"/>
                    <a:pt x="1316" y="1030"/>
                  </a:cubicBezTo>
                  <a:cubicBezTo>
                    <a:pt x="1316" y="1030"/>
                    <a:pt x="1316" y="1030"/>
                    <a:pt x="1316" y="1030"/>
                  </a:cubicBezTo>
                  <a:cubicBezTo>
                    <a:pt x="1317" y="1030"/>
                    <a:pt x="1317" y="1030"/>
                    <a:pt x="1317" y="1030"/>
                  </a:cubicBezTo>
                  <a:cubicBezTo>
                    <a:pt x="1317" y="1030"/>
                    <a:pt x="1317" y="1030"/>
                    <a:pt x="1317" y="1030"/>
                  </a:cubicBezTo>
                  <a:cubicBezTo>
                    <a:pt x="1317" y="1030"/>
                    <a:pt x="1317" y="1031"/>
                    <a:pt x="1318" y="1031"/>
                  </a:cubicBezTo>
                  <a:cubicBezTo>
                    <a:pt x="1318" y="1031"/>
                    <a:pt x="1318" y="1031"/>
                    <a:pt x="1318" y="1031"/>
                  </a:cubicBezTo>
                  <a:cubicBezTo>
                    <a:pt x="1318" y="1032"/>
                    <a:pt x="1318" y="1032"/>
                    <a:pt x="1318" y="1032"/>
                  </a:cubicBezTo>
                  <a:cubicBezTo>
                    <a:pt x="1318" y="1033"/>
                    <a:pt x="1318" y="1033"/>
                    <a:pt x="1318" y="1033"/>
                  </a:cubicBezTo>
                  <a:cubicBezTo>
                    <a:pt x="1318" y="1034"/>
                    <a:pt x="1318" y="1034"/>
                    <a:pt x="1319" y="1034"/>
                  </a:cubicBezTo>
                  <a:cubicBezTo>
                    <a:pt x="1319" y="1034"/>
                    <a:pt x="1319" y="1035"/>
                    <a:pt x="1319" y="1035"/>
                  </a:cubicBezTo>
                  <a:cubicBezTo>
                    <a:pt x="1319" y="1036"/>
                    <a:pt x="1319" y="1037"/>
                    <a:pt x="1318" y="1038"/>
                  </a:cubicBezTo>
                  <a:cubicBezTo>
                    <a:pt x="1318" y="1038"/>
                    <a:pt x="1318" y="1038"/>
                    <a:pt x="1318" y="1038"/>
                  </a:cubicBezTo>
                  <a:cubicBezTo>
                    <a:pt x="1318" y="1038"/>
                    <a:pt x="1318" y="1038"/>
                    <a:pt x="1318" y="1038"/>
                  </a:cubicBezTo>
                  <a:cubicBezTo>
                    <a:pt x="1318" y="1039"/>
                    <a:pt x="1318" y="1039"/>
                    <a:pt x="1318" y="1039"/>
                  </a:cubicBezTo>
                  <a:cubicBezTo>
                    <a:pt x="1318" y="1040"/>
                    <a:pt x="1318" y="1041"/>
                    <a:pt x="1317" y="1042"/>
                  </a:cubicBezTo>
                  <a:cubicBezTo>
                    <a:pt x="1317" y="1043"/>
                    <a:pt x="1317" y="1043"/>
                    <a:pt x="1317" y="1043"/>
                  </a:cubicBezTo>
                  <a:cubicBezTo>
                    <a:pt x="1317" y="1043"/>
                    <a:pt x="1317" y="1044"/>
                    <a:pt x="1317" y="1044"/>
                  </a:cubicBezTo>
                  <a:cubicBezTo>
                    <a:pt x="1316" y="1045"/>
                    <a:pt x="1316" y="1046"/>
                    <a:pt x="1315" y="1046"/>
                  </a:cubicBezTo>
                  <a:cubicBezTo>
                    <a:pt x="1315" y="1047"/>
                    <a:pt x="1315" y="1047"/>
                    <a:pt x="1315" y="1047"/>
                  </a:cubicBezTo>
                  <a:cubicBezTo>
                    <a:pt x="1314" y="1048"/>
                    <a:pt x="1314" y="1048"/>
                    <a:pt x="1314" y="1048"/>
                  </a:cubicBezTo>
                  <a:cubicBezTo>
                    <a:pt x="1313" y="1049"/>
                    <a:pt x="1313" y="1049"/>
                    <a:pt x="1313" y="1049"/>
                  </a:cubicBezTo>
                  <a:cubicBezTo>
                    <a:pt x="1313" y="1049"/>
                    <a:pt x="1313" y="1049"/>
                    <a:pt x="1313" y="1049"/>
                  </a:cubicBezTo>
                  <a:cubicBezTo>
                    <a:pt x="1313" y="1049"/>
                    <a:pt x="1313" y="1049"/>
                    <a:pt x="1312" y="1049"/>
                  </a:cubicBezTo>
                  <a:cubicBezTo>
                    <a:pt x="1312" y="1049"/>
                    <a:pt x="1312" y="1049"/>
                    <a:pt x="1312" y="1049"/>
                  </a:cubicBezTo>
                  <a:cubicBezTo>
                    <a:pt x="1312" y="1050"/>
                    <a:pt x="1312" y="1050"/>
                    <a:pt x="1311" y="1050"/>
                  </a:cubicBezTo>
                  <a:cubicBezTo>
                    <a:pt x="1311" y="1050"/>
                    <a:pt x="1311" y="1051"/>
                    <a:pt x="1310" y="1051"/>
                  </a:cubicBezTo>
                  <a:cubicBezTo>
                    <a:pt x="1310" y="1051"/>
                    <a:pt x="1310" y="1051"/>
                    <a:pt x="1310" y="1051"/>
                  </a:cubicBezTo>
                  <a:cubicBezTo>
                    <a:pt x="1309" y="1051"/>
                    <a:pt x="1309" y="1051"/>
                    <a:pt x="1308" y="1051"/>
                  </a:cubicBezTo>
                  <a:cubicBezTo>
                    <a:pt x="1308" y="1051"/>
                    <a:pt x="1308" y="1051"/>
                    <a:pt x="1308" y="1051"/>
                  </a:cubicBezTo>
                  <a:cubicBezTo>
                    <a:pt x="1308" y="1051"/>
                    <a:pt x="1308" y="1051"/>
                    <a:pt x="1308" y="1051"/>
                  </a:cubicBezTo>
                  <a:cubicBezTo>
                    <a:pt x="1308" y="1051"/>
                    <a:pt x="1307" y="1051"/>
                    <a:pt x="1307" y="1051"/>
                  </a:cubicBezTo>
                  <a:cubicBezTo>
                    <a:pt x="1307" y="1051"/>
                    <a:pt x="1307" y="1051"/>
                    <a:pt x="1306" y="1051"/>
                  </a:cubicBezTo>
                  <a:cubicBezTo>
                    <a:pt x="1306" y="1051"/>
                    <a:pt x="1306" y="1051"/>
                    <a:pt x="1306" y="1051"/>
                  </a:cubicBezTo>
                  <a:cubicBezTo>
                    <a:pt x="1306" y="1051"/>
                    <a:pt x="1306" y="1051"/>
                    <a:pt x="1306" y="1051"/>
                  </a:cubicBezTo>
                  <a:cubicBezTo>
                    <a:pt x="1305" y="1051"/>
                    <a:pt x="1305" y="1051"/>
                    <a:pt x="1304" y="1051"/>
                  </a:cubicBezTo>
                  <a:cubicBezTo>
                    <a:pt x="1304" y="1050"/>
                    <a:pt x="1304" y="1050"/>
                    <a:pt x="1304" y="1050"/>
                  </a:cubicBezTo>
                  <a:cubicBezTo>
                    <a:pt x="1303" y="1050"/>
                    <a:pt x="1303" y="1050"/>
                    <a:pt x="1303" y="1050"/>
                  </a:cubicBezTo>
                  <a:cubicBezTo>
                    <a:pt x="1302" y="1049"/>
                    <a:pt x="1301" y="1049"/>
                    <a:pt x="1300" y="1048"/>
                  </a:cubicBezTo>
                  <a:cubicBezTo>
                    <a:pt x="1298" y="1045"/>
                    <a:pt x="1297" y="1041"/>
                    <a:pt x="1298" y="1038"/>
                  </a:cubicBezTo>
                  <a:cubicBezTo>
                    <a:pt x="1299" y="1036"/>
                    <a:pt x="1300" y="1033"/>
                    <a:pt x="1301" y="1031"/>
                  </a:cubicBezTo>
                  <a:cubicBezTo>
                    <a:pt x="1302" y="1031"/>
                    <a:pt x="1302" y="1030"/>
                    <a:pt x="1303" y="1029"/>
                  </a:cubicBezTo>
                  <a:cubicBezTo>
                    <a:pt x="1303" y="1030"/>
                    <a:pt x="1303" y="1030"/>
                    <a:pt x="1303" y="1030"/>
                  </a:cubicBezTo>
                  <a:cubicBezTo>
                    <a:pt x="1303" y="1031"/>
                    <a:pt x="1304" y="1032"/>
                    <a:pt x="1304" y="1032"/>
                  </a:cubicBezTo>
                  <a:cubicBezTo>
                    <a:pt x="1305" y="1033"/>
                    <a:pt x="1307" y="1032"/>
                    <a:pt x="1308" y="1031"/>
                  </a:cubicBezTo>
                  <a:cubicBezTo>
                    <a:pt x="1309" y="1031"/>
                    <a:pt x="1310" y="1030"/>
                    <a:pt x="1311" y="1030"/>
                  </a:cubicBezTo>
                  <a:close/>
                  <a:moveTo>
                    <a:pt x="1317" y="994"/>
                  </a:moveTo>
                  <a:cubicBezTo>
                    <a:pt x="1317" y="994"/>
                    <a:pt x="1317" y="994"/>
                    <a:pt x="1317" y="994"/>
                  </a:cubicBezTo>
                  <a:cubicBezTo>
                    <a:pt x="1316" y="996"/>
                    <a:pt x="1316" y="997"/>
                    <a:pt x="1315" y="999"/>
                  </a:cubicBezTo>
                  <a:cubicBezTo>
                    <a:pt x="1314" y="1002"/>
                    <a:pt x="1312" y="1005"/>
                    <a:pt x="1310" y="1008"/>
                  </a:cubicBezTo>
                  <a:cubicBezTo>
                    <a:pt x="1308" y="1011"/>
                    <a:pt x="1307" y="1013"/>
                    <a:pt x="1304" y="1015"/>
                  </a:cubicBezTo>
                  <a:cubicBezTo>
                    <a:pt x="1302" y="1018"/>
                    <a:pt x="1300" y="1021"/>
                    <a:pt x="1297" y="1023"/>
                  </a:cubicBezTo>
                  <a:cubicBezTo>
                    <a:pt x="1294" y="1026"/>
                    <a:pt x="1292" y="1028"/>
                    <a:pt x="1289" y="1030"/>
                  </a:cubicBezTo>
                  <a:cubicBezTo>
                    <a:pt x="1285" y="1033"/>
                    <a:pt x="1281" y="1035"/>
                    <a:pt x="1278" y="1037"/>
                  </a:cubicBezTo>
                  <a:cubicBezTo>
                    <a:pt x="1274" y="1039"/>
                    <a:pt x="1270" y="1041"/>
                    <a:pt x="1266" y="1042"/>
                  </a:cubicBezTo>
                  <a:cubicBezTo>
                    <a:pt x="1262" y="1044"/>
                    <a:pt x="1258" y="1045"/>
                    <a:pt x="1255" y="1046"/>
                  </a:cubicBezTo>
                  <a:cubicBezTo>
                    <a:pt x="1253" y="1047"/>
                    <a:pt x="1251" y="1047"/>
                    <a:pt x="1249" y="1047"/>
                  </a:cubicBezTo>
                  <a:cubicBezTo>
                    <a:pt x="1248" y="1048"/>
                    <a:pt x="1247" y="1048"/>
                    <a:pt x="1246" y="1048"/>
                  </a:cubicBezTo>
                  <a:cubicBezTo>
                    <a:pt x="1245" y="1048"/>
                    <a:pt x="1243" y="1049"/>
                    <a:pt x="1243" y="1050"/>
                  </a:cubicBezTo>
                  <a:cubicBezTo>
                    <a:pt x="1242" y="1050"/>
                    <a:pt x="1242" y="1050"/>
                    <a:pt x="1242" y="1051"/>
                  </a:cubicBezTo>
                  <a:cubicBezTo>
                    <a:pt x="1237" y="1051"/>
                    <a:pt x="1233" y="1052"/>
                    <a:pt x="1229" y="1053"/>
                  </a:cubicBezTo>
                  <a:cubicBezTo>
                    <a:pt x="1221" y="1055"/>
                    <a:pt x="1214" y="1058"/>
                    <a:pt x="1207" y="1061"/>
                  </a:cubicBezTo>
                  <a:cubicBezTo>
                    <a:pt x="1207" y="1061"/>
                    <a:pt x="1206" y="1062"/>
                    <a:pt x="1205" y="1062"/>
                  </a:cubicBezTo>
                  <a:cubicBezTo>
                    <a:pt x="1204" y="1061"/>
                    <a:pt x="1201" y="1062"/>
                    <a:pt x="1201" y="1063"/>
                  </a:cubicBezTo>
                  <a:cubicBezTo>
                    <a:pt x="1196" y="1065"/>
                    <a:pt x="1192" y="1067"/>
                    <a:pt x="1187" y="1069"/>
                  </a:cubicBezTo>
                  <a:cubicBezTo>
                    <a:pt x="1186" y="1069"/>
                    <a:pt x="1185" y="1070"/>
                    <a:pt x="1184" y="1070"/>
                  </a:cubicBezTo>
                  <a:cubicBezTo>
                    <a:pt x="1183" y="1070"/>
                    <a:pt x="1182" y="1070"/>
                    <a:pt x="1182" y="1071"/>
                  </a:cubicBezTo>
                  <a:cubicBezTo>
                    <a:pt x="1178" y="1073"/>
                    <a:pt x="1174" y="1074"/>
                    <a:pt x="1169" y="1076"/>
                  </a:cubicBezTo>
                  <a:cubicBezTo>
                    <a:pt x="1166" y="1073"/>
                    <a:pt x="1162" y="1070"/>
                    <a:pt x="1159" y="1067"/>
                  </a:cubicBezTo>
                  <a:cubicBezTo>
                    <a:pt x="1157" y="1065"/>
                    <a:pt x="1155" y="1063"/>
                    <a:pt x="1153" y="1061"/>
                  </a:cubicBezTo>
                  <a:cubicBezTo>
                    <a:pt x="1152" y="1060"/>
                    <a:pt x="1151" y="1059"/>
                    <a:pt x="1151" y="1059"/>
                  </a:cubicBezTo>
                  <a:cubicBezTo>
                    <a:pt x="1154" y="1057"/>
                    <a:pt x="1157" y="1055"/>
                    <a:pt x="1159" y="1054"/>
                  </a:cubicBezTo>
                  <a:cubicBezTo>
                    <a:pt x="1166" y="1061"/>
                    <a:pt x="1177" y="1062"/>
                    <a:pt x="1185" y="1066"/>
                  </a:cubicBezTo>
                  <a:cubicBezTo>
                    <a:pt x="1187" y="1067"/>
                    <a:pt x="1189" y="1065"/>
                    <a:pt x="1189" y="1064"/>
                  </a:cubicBezTo>
                  <a:cubicBezTo>
                    <a:pt x="1190" y="1060"/>
                    <a:pt x="1190" y="1055"/>
                    <a:pt x="1190" y="1051"/>
                  </a:cubicBezTo>
                  <a:cubicBezTo>
                    <a:pt x="1197" y="1047"/>
                    <a:pt x="1205" y="1044"/>
                    <a:pt x="1212" y="1041"/>
                  </a:cubicBezTo>
                  <a:cubicBezTo>
                    <a:pt x="1221" y="1037"/>
                    <a:pt x="1230" y="1035"/>
                    <a:pt x="1239" y="1032"/>
                  </a:cubicBezTo>
                  <a:cubicBezTo>
                    <a:pt x="1255" y="1028"/>
                    <a:pt x="1271" y="1024"/>
                    <a:pt x="1283" y="1015"/>
                  </a:cubicBezTo>
                  <a:cubicBezTo>
                    <a:pt x="1284" y="1014"/>
                    <a:pt x="1284" y="1014"/>
                    <a:pt x="1285" y="1014"/>
                  </a:cubicBezTo>
                  <a:cubicBezTo>
                    <a:pt x="1285" y="1014"/>
                    <a:pt x="1285" y="1014"/>
                    <a:pt x="1286" y="1014"/>
                  </a:cubicBezTo>
                  <a:cubicBezTo>
                    <a:pt x="1293" y="1012"/>
                    <a:pt x="1300" y="1009"/>
                    <a:pt x="1305" y="1005"/>
                  </a:cubicBezTo>
                  <a:cubicBezTo>
                    <a:pt x="1312" y="1000"/>
                    <a:pt x="1316" y="992"/>
                    <a:pt x="1319" y="985"/>
                  </a:cubicBezTo>
                  <a:cubicBezTo>
                    <a:pt x="1319" y="984"/>
                    <a:pt x="1319" y="984"/>
                    <a:pt x="1320" y="983"/>
                  </a:cubicBezTo>
                  <a:cubicBezTo>
                    <a:pt x="1319" y="985"/>
                    <a:pt x="1319" y="987"/>
                    <a:pt x="1318" y="989"/>
                  </a:cubicBezTo>
                  <a:cubicBezTo>
                    <a:pt x="1318" y="991"/>
                    <a:pt x="1318" y="992"/>
                    <a:pt x="1317" y="994"/>
                  </a:cubicBezTo>
                  <a:close/>
                  <a:moveTo>
                    <a:pt x="1381" y="1021"/>
                  </a:moveTo>
                  <a:cubicBezTo>
                    <a:pt x="1381" y="1021"/>
                    <a:pt x="1381" y="1021"/>
                    <a:pt x="1381" y="1021"/>
                  </a:cubicBezTo>
                  <a:cubicBezTo>
                    <a:pt x="1377" y="1012"/>
                    <a:pt x="1373" y="1004"/>
                    <a:pt x="1367" y="997"/>
                  </a:cubicBezTo>
                  <a:cubicBezTo>
                    <a:pt x="1362" y="988"/>
                    <a:pt x="1356" y="981"/>
                    <a:pt x="1350" y="975"/>
                  </a:cubicBezTo>
                  <a:cubicBezTo>
                    <a:pt x="1324" y="948"/>
                    <a:pt x="1293" y="929"/>
                    <a:pt x="1261" y="911"/>
                  </a:cubicBezTo>
                  <a:cubicBezTo>
                    <a:pt x="1245" y="900"/>
                    <a:pt x="1228" y="891"/>
                    <a:pt x="1211" y="881"/>
                  </a:cubicBezTo>
                  <a:cubicBezTo>
                    <a:pt x="1194" y="871"/>
                    <a:pt x="1178" y="860"/>
                    <a:pt x="1161" y="850"/>
                  </a:cubicBezTo>
                  <a:cubicBezTo>
                    <a:pt x="1158" y="848"/>
                    <a:pt x="1156" y="846"/>
                    <a:pt x="1153" y="844"/>
                  </a:cubicBezTo>
                  <a:cubicBezTo>
                    <a:pt x="1150" y="842"/>
                    <a:pt x="1148" y="840"/>
                    <a:pt x="1146" y="837"/>
                  </a:cubicBezTo>
                  <a:cubicBezTo>
                    <a:pt x="1145" y="836"/>
                    <a:pt x="1143" y="837"/>
                    <a:pt x="1144" y="838"/>
                  </a:cubicBezTo>
                  <a:cubicBezTo>
                    <a:pt x="1144" y="838"/>
                    <a:pt x="1144" y="839"/>
                    <a:pt x="1144" y="839"/>
                  </a:cubicBezTo>
                  <a:cubicBezTo>
                    <a:pt x="1140" y="836"/>
                    <a:pt x="1135" y="833"/>
                    <a:pt x="1131" y="831"/>
                  </a:cubicBezTo>
                  <a:cubicBezTo>
                    <a:pt x="1126" y="828"/>
                    <a:pt x="1120" y="825"/>
                    <a:pt x="1115" y="823"/>
                  </a:cubicBezTo>
                  <a:cubicBezTo>
                    <a:pt x="1125" y="821"/>
                    <a:pt x="1135" y="819"/>
                    <a:pt x="1145" y="818"/>
                  </a:cubicBezTo>
                  <a:cubicBezTo>
                    <a:pt x="1148" y="819"/>
                    <a:pt x="1151" y="820"/>
                    <a:pt x="1154" y="822"/>
                  </a:cubicBezTo>
                  <a:cubicBezTo>
                    <a:pt x="1157" y="824"/>
                    <a:pt x="1161" y="827"/>
                    <a:pt x="1165" y="829"/>
                  </a:cubicBezTo>
                  <a:cubicBezTo>
                    <a:pt x="1173" y="834"/>
                    <a:pt x="1181" y="840"/>
                    <a:pt x="1188" y="845"/>
                  </a:cubicBezTo>
                  <a:cubicBezTo>
                    <a:pt x="1206" y="856"/>
                    <a:pt x="1224" y="865"/>
                    <a:pt x="1242" y="875"/>
                  </a:cubicBezTo>
                  <a:cubicBezTo>
                    <a:pt x="1259" y="884"/>
                    <a:pt x="1277" y="895"/>
                    <a:pt x="1295" y="904"/>
                  </a:cubicBezTo>
                  <a:cubicBezTo>
                    <a:pt x="1314" y="913"/>
                    <a:pt x="1332" y="921"/>
                    <a:pt x="1352" y="927"/>
                  </a:cubicBezTo>
                  <a:cubicBezTo>
                    <a:pt x="1369" y="934"/>
                    <a:pt x="1386" y="939"/>
                    <a:pt x="1404" y="941"/>
                  </a:cubicBezTo>
                  <a:cubicBezTo>
                    <a:pt x="1413" y="942"/>
                    <a:pt x="1423" y="942"/>
                    <a:pt x="1431" y="941"/>
                  </a:cubicBezTo>
                  <a:cubicBezTo>
                    <a:pt x="1438" y="941"/>
                    <a:pt x="1445" y="940"/>
                    <a:pt x="1452" y="938"/>
                  </a:cubicBezTo>
                  <a:cubicBezTo>
                    <a:pt x="1452" y="938"/>
                    <a:pt x="1452" y="938"/>
                    <a:pt x="1452" y="938"/>
                  </a:cubicBezTo>
                  <a:cubicBezTo>
                    <a:pt x="1452" y="938"/>
                    <a:pt x="1453" y="938"/>
                    <a:pt x="1453" y="938"/>
                  </a:cubicBezTo>
                  <a:cubicBezTo>
                    <a:pt x="1452" y="938"/>
                    <a:pt x="1454" y="937"/>
                    <a:pt x="1454" y="937"/>
                  </a:cubicBezTo>
                  <a:cubicBezTo>
                    <a:pt x="1457" y="937"/>
                    <a:pt x="1459" y="937"/>
                    <a:pt x="1462" y="936"/>
                  </a:cubicBezTo>
                  <a:cubicBezTo>
                    <a:pt x="1465" y="935"/>
                    <a:pt x="1468" y="935"/>
                    <a:pt x="1471" y="934"/>
                  </a:cubicBezTo>
                  <a:cubicBezTo>
                    <a:pt x="1469" y="935"/>
                    <a:pt x="1467" y="936"/>
                    <a:pt x="1466" y="937"/>
                  </a:cubicBezTo>
                  <a:cubicBezTo>
                    <a:pt x="1459" y="941"/>
                    <a:pt x="1453" y="946"/>
                    <a:pt x="1448" y="951"/>
                  </a:cubicBezTo>
                  <a:cubicBezTo>
                    <a:pt x="1437" y="961"/>
                    <a:pt x="1428" y="974"/>
                    <a:pt x="1421" y="987"/>
                  </a:cubicBezTo>
                  <a:cubicBezTo>
                    <a:pt x="1414" y="1000"/>
                    <a:pt x="1408" y="1013"/>
                    <a:pt x="1404" y="1026"/>
                  </a:cubicBezTo>
                  <a:cubicBezTo>
                    <a:pt x="1402" y="1034"/>
                    <a:pt x="1400" y="1042"/>
                    <a:pt x="1398" y="1050"/>
                  </a:cubicBezTo>
                  <a:cubicBezTo>
                    <a:pt x="1398" y="1053"/>
                    <a:pt x="1398" y="1056"/>
                    <a:pt x="1397" y="1059"/>
                  </a:cubicBezTo>
                  <a:cubicBezTo>
                    <a:pt x="1397" y="1060"/>
                    <a:pt x="1397" y="1060"/>
                    <a:pt x="1397" y="1061"/>
                  </a:cubicBezTo>
                  <a:cubicBezTo>
                    <a:pt x="1395" y="1056"/>
                    <a:pt x="1394" y="1052"/>
                    <a:pt x="1392" y="1047"/>
                  </a:cubicBezTo>
                  <a:cubicBezTo>
                    <a:pt x="1388" y="1039"/>
                    <a:pt x="1385" y="1030"/>
                    <a:pt x="1381" y="1021"/>
                  </a:cubicBezTo>
                  <a:close/>
                  <a:moveTo>
                    <a:pt x="1431" y="1067"/>
                  </a:moveTo>
                  <a:cubicBezTo>
                    <a:pt x="1431" y="1067"/>
                    <a:pt x="1431" y="1067"/>
                    <a:pt x="1431" y="1067"/>
                  </a:cubicBezTo>
                  <a:cubicBezTo>
                    <a:pt x="1428" y="1070"/>
                    <a:pt x="1425" y="1072"/>
                    <a:pt x="1422" y="1074"/>
                  </a:cubicBezTo>
                  <a:cubicBezTo>
                    <a:pt x="1421" y="1074"/>
                    <a:pt x="1420" y="1074"/>
                    <a:pt x="1420" y="1075"/>
                  </a:cubicBezTo>
                  <a:cubicBezTo>
                    <a:pt x="1420" y="1075"/>
                    <a:pt x="1420" y="1075"/>
                    <a:pt x="1420" y="1075"/>
                  </a:cubicBezTo>
                  <a:cubicBezTo>
                    <a:pt x="1419" y="1075"/>
                    <a:pt x="1419" y="1075"/>
                    <a:pt x="1419" y="1075"/>
                  </a:cubicBezTo>
                  <a:cubicBezTo>
                    <a:pt x="1419" y="1075"/>
                    <a:pt x="1419" y="1075"/>
                    <a:pt x="1418" y="1075"/>
                  </a:cubicBezTo>
                  <a:cubicBezTo>
                    <a:pt x="1417" y="1076"/>
                    <a:pt x="1416" y="1076"/>
                    <a:pt x="1414" y="1076"/>
                  </a:cubicBezTo>
                  <a:cubicBezTo>
                    <a:pt x="1414" y="1076"/>
                    <a:pt x="1413" y="1076"/>
                    <a:pt x="1413" y="1076"/>
                  </a:cubicBezTo>
                  <a:cubicBezTo>
                    <a:pt x="1412" y="1076"/>
                    <a:pt x="1412" y="1076"/>
                    <a:pt x="1411" y="1076"/>
                  </a:cubicBezTo>
                  <a:cubicBezTo>
                    <a:pt x="1411" y="1076"/>
                    <a:pt x="1411" y="1076"/>
                    <a:pt x="1410" y="1076"/>
                  </a:cubicBezTo>
                  <a:cubicBezTo>
                    <a:pt x="1410" y="1076"/>
                    <a:pt x="1409" y="1076"/>
                    <a:pt x="1409" y="1075"/>
                  </a:cubicBezTo>
                  <a:cubicBezTo>
                    <a:pt x="1408" y="1075"/>
                    <a:pt x="1408" y="1075"/>
                    <a:pt x="1408" y="1075"/>
                  </a:cubicBezTo>
                  <a:cubicBezTo>
                    <a:pt x="1407" y="1075"/>
                    <a:pt x="1407" y="1075"/>
                    <a:pt x="1407" y="1075"/>
                  </a:cubicBezTo>
                  <a:cubicBezTo>
                    <a:pt x="1407" y="1074"/>
                    <a:pt x="1407" y="1074"/>
                    <a:pt x="1407" y="1074"/>
                  </a:cubicBezTo>
                  <a:cubicBezTo>
                    <a:pt x="1406" y="1074"/>
                    <a:pt x="1406" y="1073"/>
                    <a:pt x="1405" y="1073"/>
                  </a:cubicBezTo>
                  <a:cubicBezTo>
                    <a:pt x="1405" y="1072"/>
                    <a:pt x="1405" y="1072"/>
                    <a:pt x="1406" y="1072"/>
                  </a:cubicBezTo>
                  <a:cubicBezTo>
                    <a:pt x="1406" y="1071"/>
                    <a:pt x="1406" y="1071"/>
                    <a:pt x="1406" y="1070"/>
                  </a:cubicBezTo>
                  <a:cubicBezTo>
                    <a:pt x="1408" y="1070"/>
                    <a:pt x="1410" y="1069"/>
                    <a:pt x="1412" y="1068"/>
                  </a:cubicBezTo>
                  <a:cubicBezTo>
                    <a:pt x="1412" y="1068"/>
                    <a:pt x="1412" y="1068"/>
                    <a:pt x="1412" y="1068"/>
                  </a:cubicBezTo>
                  <a:cubicBezTo>
                    <a:pt x="1414" y="1067"/>
                    <a:pt x="1416" y="1066"/>
                    <a:pt x="1417" y="1065"/>
                  </a:cubicBezTo>
                  <a:cubicBezTo>
                    <a:pt x="1420" y="1063"/>
                    <a:pt x="1423" y="1060"/>
                    <a:pt x="1427" y="1057"/>
                  </a:cubicBezTo>
                  <a:cubicBezTo>
                    <a:pt x="1434" y="1052"/>
                    <a:pt x="1441" y="1047"/>
                    <a:pt x="1448" y="1041"/>
                  </a:cubicBezTo>
                  <a:cubicBezTo>
                    <a:pt x="1460" y="1030"/>
                    <a:pt x="1472" y="1016"/>
                    <a:pt x="1481" y="1001"/>
                  </a:cubicBezTo>
                  <a:cubicBezTo>
                    <a:pt x="1487" y="989"/>
                    <a:pt x="1493" y="976"/>
                    <a:pt x="1496" y="963"/>
                  </a:cubicBezTo>
                  <a:cubicBezTo>
                    <a:pt x="1497" y="956"/>
                    <a:pt x="1498" y="949"/>
                    <a:pt x="1497" y="942"/>
                  </a:cubicBezTo>
                  <a:cubicBezTo>
                    <a:pt x="1497" y="939"/>
                    <a:pt x="1496" y="936"/>
                    <a:pt x="1494" y="932"/>
                  </a:cubicBezTo>
                  <a:cubicBezTo>
                    <a:pt x="1494" y="932"/>
                    <a:pt x="1494" y="932"/>
                    <a:pt x="1494" y="932"/>
                  </a:cubicBezTo>
                  <a:cubicBezTo>
                    <a:pt x="1495" y="933"/>
                    <a:pt x="1495" y="933"/>
                    <a:pt x="1495" y="934"/>
                  </a:cubicBezTo>
                  <a:cubicBezTo>
                    <a:pt x="1496" y="934"/>
                    <a:pt x="1496" y="934"/>
                    <a:pt x="1496" y="934"/>
                  </a:cubicBezTo>
                  <a:cubicBezTo>
                    <a:pt x="1496" y="934"/>
                    <a:pt x="1496" y="934"/>
                    <a:pt x="1496" y="934"/>
                  </a:cubicBezTo>
                  <a:cubicBezTo>
                    <a:pt x="1496" y="934"/>
                    <a:pt x="1496" y="934"/>
                    <a:pt x="1497" y="935"/>
                  </a:cubicBezTo>
                  <a:cubicBezTo>
                    <a:pt x="1497" y="935"/>
                    <a:pt x="1497" y="935"/>
                    <a:pt x="1497" y="935"/>
                  </a:cubicBezTo>
                  <a:cubicBezTo>
                    <a:pt x="1497" y="935"/>
                    <a:pt x="1497" y="935"/>
                    <a:pt x="1497" y="935"/>
                  </a:cubicBezTo>
                  <a:cubicBezTo>
                    <a:pt x="1498" y="936"/>
                    <a:pt x="1498" y="936"/>
                    <a:pt x="1498" y="937"/>
                  </a:cubicBezTo>
                  <a:cubicBezTo>
                    <a:pt x="1498" y="937"/>
                    <a:pt x="1498" y="937"/>
                    <a:pt x="1498" y="937"/>
                  </a:cubicBezTo>
                  <a:cubicBezTo>
                    <a:pt x="1499" y="939"/>
                    <a:pt x="1499" y="940"/>
                    <a:pt x="1499" y="941"/>
                  </a:cubicBezTo>
                  <a:cubicBezTo>
                    <a:pt x="1500" y="942"/>
                    <a:pt x="1500" y="942"/>
                    <a:pt x="1500" y="942"/>
                  </a:cubicBezTo>
                  <a:cubicBezTo>
                    <a:pt x="1500" y="942"/>
                    <a:pt x="1500" y="942"/>
                    <a:pt x="1500" y="942"/>
                  </a:cubicBezTo>
                  <a:cubicBezTo>
                    <a:pt x="1500" y="942"/>
                    <a:pt x="1500" y="942"/>
                    <a:pt x="1500" y="942"/>
                  </a:cubicBezTo>
                  <a:cubicBezTo>
                    <a:pt x="1500" y="943"/>
                    <a:pt x="1500" y="944"/>
                    <a:pt x="1500" y="945"/>
                  </a:cubicBezTo>
                  <a:cubicBezTo>
                    <a:pt x="1500" y="947"/>
                    <a:pt x="1500" y="948"/>
                    <a:pt x="1500" y="950"/>
                  </a:cubicBezTo>
                  <a:cubicBezTo>
                    <a:pt x="1500" y="952"/>
                    <a:pt x="1500" y="954"/>
                    <a:pt x="1499" y="956"/>
                  </a:cubicBezTo>
                  <a:cubicBezTo>
                    <a:pt x="1499" y="956"/>
                    <a:pt x="1499" y="956"/>
                    <a:pt x="1499" y="956"/>
                  </a:cubicBezTo>
                  <a:cubicBezTo>
                    <a:pt x="1499" y="956"/>
                    <a:pt x="1499" y="956"/>
                    <a:pt x="1499" y="957"/>
                  </a:cubicBezTo>
                  <a:cubicBezTo>
                    <a:pt x="1499" y="957"/>
                    <a:pt x="1499" y="958"/>
                    <a:pt x="1499" y="958"/>
                  </a:cubicBezTo>
                  <a:cubicBezTo>
                    <a:pt x="1499" y="959"/>
                    <a:pt x="1499" y="960"/>
                    <a:pt x="1498" y="961"/>
                  </a:cubicBezTo>
                  <a:cubicBezTo>
                    <a:pt x="1498" y="966"/>
                    <a:pt x="1497" y="970"/>
                    <a:pt x="1496" y="974"/>
                  </a:cubicBezTo>
                  <a:cubicBezTo>
                    <a:pt x="1493" y="982"/>
                    <a:pt x="1490" y="990"/>
                    <a:pt x="1486" y="998"/>
                  </a:cubicBezTo>
                  <a:cubicBezTo>
                    <a:pt x="1482" y="1006"/>
                    <a:pt x="1478" y="1014"/>
                    <a:pt x="1473" y="1021"/>
                  </a:cubicBezTo>
                  <a:cubicBezTo>
                    <a:pt x="1468" y="1029"/>
                    <a:pt x="1463" y="1035"/>
                    <a:pt x="1457" y="1042"/>
                  </a:cubicBezTo>
                  <a:cubicBezTo>
                    <a:pt x="1452" y="1048"/>
                    <a:pt x="1446" y="1054"/>
                    <a:pt x="1440" y="1060"/>
                  </a:cubicBezTo>
                  <a:cubicBezTo>
                    <a:pt x="1437" y="1063"/>
                    <a:pt x="1434" y="1065"/>
                    <a:pt x="1431" y="106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5" name="íṣḷîde">
              <a:extLst>
                <a:ext uri="{FF2B5EF4-FFF2-40B4-BE49-F238E27FC236}">
                  <a16:creationId xmlns:a16="http://schemas.microsoft.com/office/drawing/2014/main" id="{6B216871-3209-4664-B224-6C4F54DCB6BD}"/>
                </a:ext>
              </a:extLst>
            </p:cNvPr>
            <p:cNvSpPr/>
            <p:nvPr/>
          </p:nvSpPr>
          <p:spPr bwMode="auto">
            <a:xfrm>
              <a:off x="7115763" y="246945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6" name="iṩļîḋê">
              <a:extLst>
                <a:ext uri="{FF2B5EF4-FFF2-40B4-BE49-F238E27FC236}">
                  <a16:creationId xmlns:a16="http://schemas.microsoft.com/office/drawing/2014/main" id="{E270D345-8EBB-48AA-8AEF-7EC9B8C232F7}"/>
                </a:ext>
              </a:extLst>
            </p:cNvPr>
            <p:cNvSpPr/>
            <p:nvPr/>
          </p:nvSpPr>
          <p:spPr bwMode="auto">
            <a:xfrm>
              <a:off x="8441899" y="3956916"/>
              <a:ext cx="387776" cy="334494"/>
            </a:xfrm>
            <a:custGeom>
              <a:avLst/>
              <a:gdLst>
                <a:gd name="T0" fmla="*/ 81 w 126"/>
                <a:gd name="T1" fmla="*/ 57 h 109"/>
                <a:gd name="T2" fmla="*/ 58 w 126"/>
                <a:gd name="T3" fmla="*/ 4 h 109"/>
                <a:gd name="T4" fmla="*/ 1 w 126"/>
                <a:gd name="T5" fmla="*/ 30 h 109"/>
                <a:gd name="T6" fmla="*/ 13 w 126"/>
                <a:gd name="T7" fmla="*/ 63 h 109"/>
                <a:gd name="T8" fmla="*/ 14 w 126"/>
                <a:gd name="T9" fmla="*/ 66 h 109"/>
                <a:gd name="T10" fmla="*/ 18 w 126"/>
                <a:gd name="T11" fmla="*/ 75 h 109"/>
                <a:gd name="T12" fmla="*/ 21 w 126"/>
                <a:gd name="T13" fmla="*/ 82 h 109"/>
                <a:gd name="T14" fmla="*/ 28 w 126"/>
                <a:gd name="T15" fmla="*/ 104 h 109"/>
                <a:gd name="T16" fmla="*/ 33 w 126"/>
                <a:gd name="T17" fmla="*/ 109 h 109"/>
                <a:gd name="T18" fmla="*/ 50 w 126"/>
                <a:gd name="T19" fmla="*/ 106 h 109"/>
                <a:gd name="T20" fmla="*/ 61 w 126"/>
                <a:gd name="T21" fmla="*/ 69 h 109"/>
                <a:gd name="T22" fmla="*/ 20 w 126"/>
                <a:gd name="T23" fmla="*/ 56 h 109"/>
                <a:gd name="T24" fmla="*/ 56 w 126"/>
                <a:gd name="T25" fmla="*/ 37 h 109"/>
                <a:gd name="T26" fmla="*/ 74 w 126"/>
                <a:gd name="T27" fmla="*/ 65 h 109"/>
                <a:gd name="T28" fmla="*/ 88 w 126"/>
                <a:gd name="T29" fmla="*/ 83 h 109"/>
                <a:gd name="T30" fmla="*/ 91 w 126"/>
                <a:gd name="T31" fmla="*/ 83 h 109"/>
                <a:gd name="T32" fmla="*/ 125 w 126"/>
                <a:gd name="T33" fmla="*/ 65 h 109"/>
                <a:gd name="T34" fmla="*/ 65 w 126"/>
                <a:gd name="T35" fmla="*/ 86 h 109"/>
                <a:gd name="T36" fmla="*/ 40 w 126"/>
                <a:gd name="T37" fmla="*/ 79 h 109"/>
                <a:gd name="T38" fmla="*/ 50 w 126"/>
                <a:gd name="T39" fmla="*/ 76 h 109"/>
                <a:gd name="T40" fmla="*/ 54 w 126"/>
                <a:gd name="T41" fmla="*/ 76 h 109"/>
                <a:gd name="T42" fmla="*/ 59 w 126"/>
                <a:gd name="T43" fmla="*/ 77 h 109"/>
                <a:gd name="T44" fmla="*/ 61 w 126"/>
                <a:gd name="T45" fmla="*/ 78 h 109"/>
                <a:gd name="T46" fmla="*/ 63 w 126"/>
                <a:gd name="T47" fmla="*/ 80 h 109"/>
                <a:gd name="T48" fmla="*/ 65 w 126"/>
                <a:gd name="T49" fmla="*/ 82 h 109"/>
                <a:gd name="T50" fmla="*/ 65 w 126"/>
                <a:gd name="T51" fmla="*/ 84 h 109"/>
                <a:gd name="T52" fmla="*/ 65 w 126"/>
                <a:gd name="T53" fmla="*/ 86 h 109"/>
                <a:gd name="T54" fmla="*/ 64 w 126"/>
                <a:gd name="T55" fmla="*/ 88 h 109"/>
                <a:gd name="T56" fmla="*/ 61 w 126"/>
                <a:gd name="T57" fmla="*/ 91 h 109"/>
                <a:gd name="T58" fmla="*/ 54 w 126"/>
                <a:gd name="T59" fmla="*/ 96 h 109"/>
                <a:gd name="T60" fmla="*/ 44 w 126"/>
                <a:gd name="T61" fmla="*/ 98 h 109"/>
                <a:gd name="T62" fmla="*/ 41 w 126"/>
                <a:gd name="T63" fmla="*/ 98 h 109"/>
                <a:gd name="T64" fmla="*/ 39 w 126"/>
                <a:gd name="T65" fmla="*/ 99 h 109"/>
                <a:gd name="T66" fmla="*/ 35 w 126"/>
                <a:gd name="T67" fmla="*/ 95 h 109"/>
                <a:gd name="T68" fmla="*/ 40 w 126"/>
                <a:gd name="T69" fmla="*/ 79 h 109"/>
                <a:gd name="T70" fmla="*/ 48 w 126"/>
                <a:gd name="T71" fmla="*/ 31 h 109"/>
                <a:gd name="T72" fmla="*/ 16 w 126"/>
                <a:gd name="T73" fmla="*/ 49 h 109"/>
                <a:gd name="T74" fmla="*/ 27 w 126"/>
                <a:gd name="T75" fmla="*/ 22 h 109"/>
                <a:gd name="T76" fmla="*/ 50 w 126"/>
                <a:gd name="T77" fmla="*/ 12 h 109"/>
                <a:gd name="T78" fmla="*/ 53 w 126"/>
                <a:gd name="T79" fmla="*/ 12 h 109"/>
                <a:gd name="T80" fmla="*/ 54 w 126"/>
                <a:gd name="T81" fmla="*/ 12 h 109"/>
                <a:gd name="T82" fmla="*/ 56 w 126"/>
                <a:gd name="T83" fmla="*/ 14 h 109"/>
                <a:gd name="T84" fmla="*/ 57 w 126"/>
                <a:gd name="T85" fmla="*/ 17 h 109"/>
                <a:gd name="T86" fmla="*/ 54 w 126"/>
                <a:gd name="T87" fmla="*/ 29 h 109"/>
                <a:gd name="T88" fmla="*/ 115 w 126"/>
                <a:gd name="T89" fmla="*/ 65 h 109"/>
                <a:gd name="T90" fmla="*/ 109 w 126"/>
                <a:gd name="T91" fmla="*/ 69 h 109"/>
                <a:gd name="T92" fmla="*/ 107 w 126"/>
                <a:gd name="T93" fmla="*/ 70 h 109"/>
                <a:gd name="T94" fmla="*/ 89 w 126"/>
                <a:gd name="T95" fmla="*/ 75 h 109"/>
                <a:gd name="T96" fmla="*/ 88 w 126"/>
                <a:gd name="T97" fmla="*/ 76 h 109"/>
                <a:gd name="T98" fmla="*/ 84 w 126"/>
                <a:gd name="T99" fmla="*/ 66 h 109"/>
                <a:gd name="T100" fmla="*/ 99 w 126"/>
                <a:gd name="T101" fmla="*/ 55 h 109"/>
                <a:gd name="T102" fmla="*/ 103 w 126"/>
                <a:gd name="T103" fmla="*/ 54 h 109"/>
                <a:gd name="T104" fmla="*/ 108 w 126"/>
                <a:gd name="T105" fmla="*/ 54 h 109"/>
                <a:gd name="T106" fmla="*/ 111 w 126"/>
                <a:gd name="T107" fmla="*/ 55 h 109"/>
                <a:gd name="T108" fmla="*/ 114 w 126"/>
                <a:gd name="T109" fmla="*/ 57 h 109"/>
                <a:gd name="T110" fmla="*/ 116 w 126"/>
                <a:gd name="T111" fmla="*/ 61 h 109"/>
                <a:gd name="T112" fmla="*/ 117 w 126"/>
                <a:gd name="T113" fmla="*/ 62 h 109"/>
                <a:gd name="T114" fmla="*/ 116 w 126"/>
                <a:gd name="T115" fmla="*/ 6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6" h="109">
                  <a:moveTo>
                    <a:pt x="117" y="49"/>
                  </a:moveTo>
                  <a:cubicBezTo>
                    <a:pt x="110" y="44"/>
                    <a:pt x="99" y="46"/>
                    <a:pt x="92" y="50"/>
                  </a:cubicBezTo>
                  <a:cubicBezTo>
                    <a:pt x="88" y="51"/>
                    <a:pt x="84" y="54"/>
                    <a:pt x="81" y="57"/>
                  </a:cubicBezTo>
                  <a:cubicBezTo>
                    <a:pt x="81" y="55"/>
                    <a:pt x="80" y="53"/>
                    <a:pt x="79" y="51"/>
                  </a:cubicBezTo>
                  <a:cubicBezTo>
                    <a:pt x="75" y="42"/>
                    <a:pt x="71" y="32"/>
                    <a:pt x="68" y="22"/>
                  </a:cubicBezTo>
                  <a:cubicBezTo>
                    <a:pt x="66" y="15"/>
                    <a:pt x="64" y="7"/>
                    <a:pt x="58" y="4"/>
                  </a:cubicBezTo>
                  <a:cubicBezTo>
                    <a:pt x="50" y="0"/>
                    <a:pt x="41" y="4"/>
                    <a:pt x="34" y="7"/>
                  </a:cubicBezTo>
                  <a:cubicBezTo>
                    <a:pt x="23" y="13"/>
                    <a:pt x="14" y="21"/>
                    <a:pt x="4" y="26"/>
                  </a:cubicBezTo>
                  <a:cubicBezTo>
                    <a:pt x="2" y="26"/>
                    <a:pt x="0" y="28"/>
                    <a:pt x="1" y="30"/>
                  </a:cubicBezTo>
                  <a:cubicBezTo>
                    <a:pt x="2" y="37"/>
                    <a:pt x="5" y="44"/>
                    <a:pt x="8" y="50"/>
                  </a:cubicBezTo>
                  <a:cubicBezTo>
                    <a:pt x="9" y="53"/>
                    <a:pt x="10" y="56"/>
                    <a:pt x="11" y="59"/>
                  </a:cubicBezTo>
                  <a:cubicBezTo>
                    <a:pt x="12" y="60"/>
                    <a:pt x="12" y="61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14" y="65"/>
                    <a:pt x="14" y="65"/>
                    <a:pt x="14" y="66"/>
                  </a:cubicBezTo>
                  <a:cubicBezTo>
                    <a:pt x="15" y="69"/>
                    <a:pt x="16" y="72"/>
                    <a:pt x="17" y="74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76"/>
                    <a:pt x="18" y="76"/>
                    <a:pt x="18" y="76"/>
                  </a:cubicBezTo>
                  <a:cubicBezTo>
                    <a:pt x="18" y="77"/>
                    <a:pt x="19" y="77"/>
                    <a:pt x="19" y="78"/>
                  </a:cubicBezTo>
                  <a:cubicBezTo>
                    <a:pt x="20" y="79"/>
                    <a:pt x="20" y="81"/>
                    <a:pt x="21" y="82"/>
                  </a:cubicBezTo>
                  <a:cubicBezTo>
                    <a:pt x="23" y="87"/>
                    <a:pt x="24" y="92"/>
                    <a:pt x="26" y="97"/>
                  </a:cubicBezTo>
                  <a:cubicBezTo>
                    <a:pt x="27" y="98"/>
                    <a:pt x="27" y="100"/>
                    <a:pt x="27" y="102"/>
                  </a:cubicBezTo>
                  <a:cubicBezTo>
                    <a:pt x="28" y="102"/>
                    <a:pt x="28" y="103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6"/>
                    <a:pt x="29" y="108"/>
                    <a:pt x="31" y="109"/>
                  </a:cubicBezTo>
                  <a:cubicBezTo>
                    <a:pt x="32" y="109"/>
                    <a:pt x="33" y="109"/>
                    <a:pt x="33" y="109"/>
                  </a:cubicBezTo>
                  <a:cubicBezTo>
                    <a:pt x="35" y="108"/>
                    <a:pt x="36" y="107"/>
                    <a:pt x="37" y="106"/>
                  </a:cubicBezTo>
                  <a:cubicBezTo>
                    <a:pt x="38" y="106"/>
                    <a:pt x="40" y="107"/>
                    <a:pt x="41" y="107"/>
                  </a:cubicBezTo>
                  <a:cubicBezTo>
                    <a:pt x="44" y="107"/>
                    <a:pt x="47" y="107"/>
                    <a:pt x="50" y="106"/>
                  </a:cubicBezTo>
                  <a:cubicBezTo>
                    <a:pt x="57" y="104"/>
                    <a:pt x="62" y="102"/>
                    <a:pt x="67" y="98"/>
                  </a:cubicBezTo>
                  <a:cubicBezTo>
                    <a:pt x="72" y="94"/>
                    <a:pt x="75" y="88"/>
                    <a:pt x="74" y="82"/>
                  </a:cubicBezTo>
                  <a:cubicBezTo>
                    <a:pt x="73" y="76"/>
                    <a:pt x="67" y="71"/>
                    <a:pt x="61" y="69"/>
                  </a:cubicBezTo>
                  <a:cubicBezTo>
                    <a:pt x="54" y="66"/>
                    <a:pt x="45" y="68"/>
                    <a:pt x="38" y="72"/>
                  </a:cubicBezTo>
                  <a:cubicBezTo>
                    <a:pt x="35" y="73"/>
                    <a:pt x="32" y="76"/>
                    <a:pt x="30" y="79"/>
                  </a:cubicBezTo>
                  <a:cubicBezTo>
                    <a:pt x="26" y="72"/>
                    <a:pt x="23" y="64"/>
                    <a:pt x="20" y="56"/>
                  </a:cubicBezTo>
                  <a:cubicBezTo>
                    <a:pt x="25" y="51"/>
                    <a:pt x="32" y="47"/>
                    <a:pt x="38" y="44"/>
                  </a:cubicBezTo>
                  <a:cubicBezTo>
                    <a:pt x="42" y="42"/>
                    <a:pt x="46" y="41"/>
                    <a:pt x="50" y="39"/>
                  </a:cubicBezTo>
                  <a:cubicBezTo>
                    <a:pt x="52" y="38"/>
                    <a:pt x="54" y="38"/>
                    <a:pt x="56" y="37"/>
                  </a:cubicBezTo>
                  <a:cubicBezTo>
                    <a:pt x="58" y="36"/>
                    <a:pt x="60" y="36"/>
                    <a:pt x="62" y="34"/>
                  </a:cubicBezTo>
                  <a:cubicBezTo>
                    <a:pt x="63" y="38"/>
                    <a:pt x="65" y="42"/>
                    <a:pt x="66" y="46"/>
                  </a:cubicBezTo>
                  <a:cubicBezTo>
                    <a:pt x="69" y="52"/>
                    <a:pt x="71" y="58"/>
                    <a:pt x="74" y="65"/>
                  </a:cubicBezTo>
                  <a:cubicBezTo>
                    <a:pt x="75" y="69"/>
                    <a:pt x="77" y="72"/>
                    <a:pt x="78" y="75"/>
                  </a:cubicBezTo>
                  <a:cubicBezTo>
                    <a:pt x="80" y="79"/>
                    <a:pt x="81" y="82"/>
                    <a:pt x="83" y="84"/>
                  </a:cubicBezTo>
                  <a:cubicBezTo>
                    <a:pt x="85" y="86"/>
                    <a:pt x="88" y="85"/>
                    <a:pt x="88" y="83"/>
                  </a:cubicBezTo>
                  <a:cubicBezTo>
                    <a:pt x="88" y="83"/>
                    <a:pt x="88" y="83"/>
                    <a:pt x="89" y="83"/>
                  </a:cubicBezTo>
                  <a:cubicBezTo>
                    <a:pt x="89" y="83"/>
                    <a:pt x="89" y="83"/>
                    <a:pt x="89" y="83"/>
                  </a:cubicBezTo>
                  <a:cubicBezTo>
                    <a:pt x="89" y="83"/>
                    <a:pt x="90" y="83"/>
                    <a:pt x="91" y="83"/>
                  </a:cubicBezTo>
                  <a:cubicBezTo>
                    <a:pt x="94" y="83"/>
                    <a:pt x="96" y="82"/>
                    <a:pt x="99" y="82"/>
                  </a:cubicBezTo>
                  <a:cubicBezTo>
                    <a:pt x="105" y="81"/>
                    <a:pt x="109" y="79"/>
                    <a:pt x="114" y="76"/>
                  </a:cubicBezTo>
                  <a:cubicBezTo>
                    <a:pt x="119" y="74"/>
                    <a:pt x="123" y="70"/>
                    <a:pt x="125" y="65"/>
                  </a:cubicBezTo>
                  <a:cubicBezTo>
                    <a:pt x="126" y="58"/>
                    <a:pt x="122" y="53"/>
                    <a:pt x="117" y="49"/>
                  </a:cubicBezTo>
                  <a:close/>
                  <a:moveTo>
                    <a:pt x="65" y="86"/>
                  </a:moveTo>
                  <a:cubicBezTo>
                    <a:pt x="65" y="86"/>
                    <a:pt x="65" y="86"/>
                    <a:pt x="65" y="86"/>
                  </a:cubicBezTo>
                  <a:cubicBezTo>
                    <a:pt x="65" y="87"/>
                    <a:pt x="65" y="87"/>
                    <a:pt x="65" y="86"/>
                  </a:cubicBezTo>
                  <a:close/>
                  <a:moveTo>
                    <a:pt x="40" y="79"/>
                  </a:moveTo>
                  <a:cubicBezTo>
                    <a:pt x="40" y="79"/>
                    <a:pt x="40" y="79"/>
                    <a:pt x="40" y="79"/>
                  </a:cubicBezTo>
                  <a:cubicBezTo>
                    <a:pt x="43" y="78"/>
                    <a:pt x="45" y="77"/>
                    <a:pt x="48" y="76"/>
                  </a:cubicBezTo>
                  <a:cubicBezTo>
                    <a:pt x="49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2" y="76"/>
                  </a:cubicBezTo>
                  <a:cubicBezTo>
                    <a:pt x="52" y="76"/>
                    <a:pt x="53" y="76"/>
                    <a:pt x="54" y="76"/>
                  </a:cubicBezTo>
                  <a:cubicBezTo>
                    <a:pt x="54" y="76"/>
                    <a:pt x="55" y="76"/>
                    <a:pt x="55" y="76"/>
                  </a:cubicBezTo>
                  <a:cubicBezTo>
                    <a:pt x="55" y="76"/>
                    <a:pt x="56" y="76"/>
                    <a:pt x="56" y="76"/>
                  </a:cubicBezTo>
                  <a:cubicBezTo>
                    <a:pt x="57" y="76"/>
                    <a:pt x="58" y="76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7"/>
                    <a:pt x="61" y="77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78"/>
                    <a:pt x="62" y="79"/>
                    <a:pt x="63" y="80"/>
                  </a:cubicBezTo>
                  <a:cubicBezTo>
                    <a:pt x="63" y="80"/>
                    <a:pt x="63" y="80"/>
                    <a:pt x="64" y="80"/>
                  </a:cubicBezTo>
                  <a:cubicBezTo>
                    <a:pt x="64" y="80"/>
                    <a:pt x="64" y="81"/>
                    <a:pt x="64" y="81"/>
                  </a:cubicBezTo>
                  <a:cubicBezTo>
                    <a:pt x="64" y="81"/>
                    <a:pt x="65" y="82"/>
                    <a:pt x="65" y="82"/>
                  </a:cubicBezTo>
                  <a:cubicBezTo>
                    <a:pt x="65" y="82"/>
                    <a:pt x="65" y="82"/>
                    <a:pt x="65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4"/>
                    <a:pt x="65" y="85"/>
                    <a:pt x="65" y="85"/>
                  </a:cubicBezTo>
                  <a:cubicBezTo>
                    <a:pt x="65" y="86"/>
                    <a:pt x="65" y="86"/>
                    <a:pt x="65" y="86"/>
                  </a:cubicBezTo>
                  <a:cubicBezTo>
                    <a:pt x="65" y="86"/>
                    <a:pt x="65" y="86"/>
                    <a:pt x="65" y="86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64" y="87"/>
                    <a:pt x="64" y="88"/>
                    <a:pt x="64" y="88"/>
                  </a:cubicBezTo>
                  <a:cubicBezTo>
                    <a:pt x="64" y="88"/>
                    <a:pt x="63" y="89"/>
                    <a:pt x="63" y="89"/>
                  </a:cubicBezTo>
                  <a:cubicBezTo>
                    <a:pt x="63" y="90"/>
                    <a:pt x="62" y="90"/>
                    <a:pt x="62" y="90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59" y="93"/>
                    <a:pt x="57" y="94"/>
                    <a:pt x="55" y="95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3" y="96"/>
                    <a:pt x="52" y="96"/>
                    <a:pt x="52" y="96"/>
                  </a:cubicBezTo>
                  <a:cubicBezTo>
                    <a:pt x="50" y="97"/>
                    <a:pt x="49" y="97"/>
                    <a:pt x="48" y="97"/>
                  </a:cubicBezTo>
                  <a:cubicBezTo>
                    <a:pt x="46" y="98"/>
                    <a:pt x="45" y="98"/>
                    <a:pt x="44" y="98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3" y="98"/>
                    <a:pt x="43" y="98"/>
                    <a:pt x="43" y="98"/>
                  </a:cubicBezTo>
                  <a:cubicBezTo>
                    <a:pt x="43" y="98"/>
                    <a:pt x="42" y="98"/>
                    <a:pt x="41" y="98"/>
                  </a:cubicBezTo>
                  <a:cubicBezTo>
                    <a:pt x="41" y="98"/>
                    <a:pt x="40" y="98"/>
                    <a:pt x="40" y="99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39" y="99"/>
                    <a:pt x="38" y="99"/>
                    <a:pt x="38" y="99"/>
                  </a:cubicBezTo>
                  <a:cubicBezTo>
                    <a:pt x="37" y="99"/>
                    <a:pt x="37" y="99"/>
                    <a:pt x="36" y="99"/>
                  </a:cubicBezTo>
                  <a:cubicBezTo>
                    <a:pt x="36" y="98"/>
                    <a:pt x="35" y="96"/>
                    <a:pt x="35" y="95"/>
                  </a:cubicBezTo>
                  <a:cubicBezTo>
                    <a:pt x="34" y="92"/>
                    <a:pt x="33" y="89"/>
                    <a:pt x="33" y="87"/>
                  </a:cubicBezTo>
                  <a:cubicBezTo>
                    <a:pt x="33" y="86"/>
                    <a:pt x="33" y="85"/>
                    <a:pt x="33" y="84"/>
                  </a:cubicBezTo>
                  <a:cubicBezTo>
                    <a:pt x="36" y="82"/>
                    <a:pt x="37" y="81"/>
                    <a:pt x="40" y="79"/>
                  </a:cubicBezTo>
                  <a:close/>
                  <a:moveTo>
                    <a:pt x="54" y="29"/>
                  </a:moveTo>
                  <a:cubicBezTo>
                    <a:pt x="54" y="29"/>
                    <a:pt x="54" y="29"/>
                    <a:pt x="54" y="29"/>
                  </a:cubicBezTo>
                  <a:cubicBezTo>
                    <a:pt x="52" y="30"/>
                    <a:pt x="50" y="31"/>
                    <a:pt x="48" y="31"/>
                  </a:cubicBezTo>
                  <a:cubicBezTo>
                    <a:pt x="43" y="33"/>
                    <a:pt x="38" y="35"/>
                    <a:pt x="34" y="37"/>
                  </a:cubicBezTo>
                  <a:cubicBezTo>
                    <a:pt x="28" y="40"/>
                    <a:pt x="21" y="44"/>
                    <a:pt x="17" y="50"/>
                  </a:cubicBezTo>
                  <a:cubicBezTo>
                    <a:pt x="17" y="50"/>
                    <a:pt x="17" y="50"/>
                    <a:pt x="16" y="49"/>
                  </a:cubicBezTo>
                  <a:cubicBezTo>
                    <a:pt x="14" y="45"/>
                    <a:pt x="12" y="40"/>
                    <a:pt x="9" y="36"/>
                  </a:cubicBezTo>
                  <a:cubicBezTo>
                    <a:pt x="9" y="35"/>
                    <a:pt x="8" y="34"/>
                    <a:pt x="8" y="33"/>
                  </a:cubicBezTo>
                  <a:cubicBezTo>
                    <a:pt x="15" y="31"/>
                    <a:pt x="21" y="26"/>
                    <a:pt x="27" y="22"/>
                  </a:cubicBezTo>
                  <a:cubicBezTo>
                    <a:pt x="34" y="18"/>
                    <a:pt x="40" y="14"/>
                    <a:pt x="48" y="12"/>
                  </a:cubicBezTo>
                  <a:cubicBezTo>
                    <a:pt x="48" y="12"/>
                    <a:pt x="48" y="12"/>
                    <a:pt x="49" y="12"/>
                  </a:cubicBezTo>
                  <a:cubicBezTo>
                    <a:pt x="49" y="12"/>
                    <a:pt x="49" y="12"/>
                    <a:pt x="50" y="12"/>
                  </a:cubicBezTo>
                  <a:cubicBezTo>
                    <a:pt x="50" y="12"/>
                    <a:pt x="51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3" y="12"/>
                  </a:cubicBezTo>
                  <a:cubicBezTo>
                    <a:pt x="53" y="12"/>
                    <a:pt x="53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3"/>
                    <a:pt x="55" y="13"/>
                    <a:pt x="55" y="14"/>
                  </a:cubicBezTo>
                  <a:cubicBezTo>
                    <a:pt x="55" y="14"/>
                    <a:pt x="56" y="14"/>
                    <a:pt x="56" y="14"/>
                  </a:cubicBezTo>
                  <a:cubicBezTo>
                    <a:pt x="56" y="14"/>
                    <a:pt x="56" y="15"/>
                    <a:pt x="56" y="15"/>
                  </a:cubicBezTo>
                  <a:cubicBezTo>
                    <a:pt x="56" y="15"/>
                    <a:pt x="57" y="16"/>
                    <a:pt x="57" y="16"/>
                  </a:cubicBezTo>
                  <a:cubicBezTo>
                    <a:pt x="57" y="16"/>
                    <a:pt x="57" y="16"/>
                    <a:pt x="57" y="17"/>
                  </a:cubicBezTo>
                  <a:cubicBezTo>
                    <a:pt x="57" y="17"/>
                    <a:pt x="58" y="18"/>
                    <a:pt x="58" y="19"/>
                  </a:cubicBezTo>
                  <a:cubicBezTo>
                    <a:pt x="58" y="22"/>
                    <a:pt x="59" y="25"/>
                    <a:pt x="60" y="28"/>
                  </a:cubicBezTo>
                  <a:cubicBezTo>
                    <a:pt x="58" y="28"/>
                    <a:pt x="56" y="28"/>
                    <a:pt x="54" y="29"/>
                  </a:cubicBezTo>
                  <a:close/>
                  <a:moveTo>
                    <a:pt x="116" y="64"/>
                  </a:moveTo>
                  <a:cubicBezTo>
                    <a:pt x="116" y="64"/>
                    <a:pt x="116" y="64"/>
                    <a:pt x="116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114" y="66"/>
                    <a:pt x="113" y="67"/>
                    <a:pt x="113" y="67"/>
                  </a:cubicBezTo>
                  <a:cubicBezTo>
                    <a:pt x="111" y="68"/>
                    <a:pt x="110" y="68"/>
                    <a:pt x="109" y="69"/>
                  </a:cubicBezTo>
                  <a:cubicBezTo>
                    <a:pt x="109" y="69"/>
                    <a:pt x="108" y="69"/>
                    <a:pt x="107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4" y="71"/>
                    <a:pt x="101" y="72"/>
                    <a:pt x="98" y="73"/>
                  </a:cubicBezTo>
                  <a:cubicBezTo>
                    <a:pt x="96" y="74"/>
                    <a:pt x="93" y="74"/>
                    <a:pt x="91" y="75"/>
                  </a:cubicBezTo>
                  <a:cubicBezTo>
                    <a:pt x="90" y="75"/>
                    <a:pt x="90" y="75"/>
                    <a:pt x="89" y="75"/>
                  </a:cubicBezTo>
                  <a:cubicBezTo>
                    <a:pt x="89" y="75"/>
                    <a:pt x="88" y="75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7" y="75"/>
                    <a:pt x="87" y="75"/>
                    <a:pt x="87" y="74"/>
                  </a:cubicBezTo>
                  <a:cubicBezTo>
                    <a:pt x="86" y="72"/>
                    <a:pt x="85" y="69"/>
                    <a:pt x="84" y="66"/>
                  </a:cubicBezTo>
                  <a:cubicBezTo>
                    <a:pt x="84" y="66"/>
                    <a:pt x="84" y="65"/>
                    <a:pt x="84" y="65"/>
                  </a:cubicBezTo>
                  <a:cubicBezTo>
                    <a:pt x="86" y="63"/>
                    <a:pt x="88" y="61"/>
                    <a:pt x="91" y="59"/>
                  </a:cubicBezTo>
                  <a:cubicBezTo>
                    <a:pt x="94" y="57"/>
                    <a:pt x="96" y="56"/>
                    <a:pt x="99" y="55"/>
                  </a:cubicBezTo>
                  <a:cubicBezTo>
                    <a:pt x="100" y="55"/>
                    <a:pt x="100" y="55"/>
                    <a:pt x="101" y="55"/>
                  </a:cubicBezTo>
                  <a:cubicBezTo>
                    <a:pt x="101" y="55"/>
                    <a:pt x="102" y="54"/>
                    <a:pt x="102" y="54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4" y="54"/>
                    <a:pt x="106" y="54"/>
                    <a:pt x="107" y="54"/>
                  </a:cubicBezTo>
                  <a:cubicBezTo>
                    <a:pt x="107" y="54"/>
                    <a:pt x="107" y="5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9" y="54"/>
                    <a:pt x="109" y="55"/>
                    <a:pt x="110" y="55"/>
                  </a:cubicBezTo>
                  <a:cubicBezTo>
                    <a:pt x="110" y="55"/>
                    <a:pt x="111" y="55"/>
                    <a:pt x="111" y="55"/>
                  </a:cubicBezTo>
                  <a:cubicBezTo>
                    <a:pt x="112" y="56"/>
                    <a:pt x="113" y="56"/>
                    <a:pt x="113" y="56"/>
                  </a:cubicBezTo>
                  <a:cubicBezTo>
                    <a:pt x="113" y="56"/>
                    <a:pt x="113" y="56"/>
                    <a:pt x="114" y="57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5" y="57"/>
                    <a:pt x="115" y="58"/>
                    <a:pt x="115" y="58"/>
                  </a:cubicBezTo>
                  <a:cubicBezTo>
                    <a:pt x="115" y="58"/>
                    <a:pt x="116" y="60"/>
                    <a:pt x="116" y="60"/>
                  </a:cubicBezTo>
                  <a:cubicBezTo>
                    <a:pt x="116" y="60"/>
                    <a:pt x="116" y="60"/>
                    <a:pt x="116" y="61"/>
                  </a:cubicBezTo>
                  <a:cubicBezTo>
                    <a:pt x="116" y="61"/>
                    <a:pt x="116" y="61"/>
                    <a:pt x="116" y="61"/>
                  </a:cubicBezTo>
                  <a:cubicBezTo>
                    <a:pt x="116" y="61"/>
                    <a:pt x="117" y="61"/>
                    <a:pt x="117" y="62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17" y="62"/>
                    <a:pt x="116" y="63"/>
                    <a:pt x="116" y="63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16" y="64"/>
                    <a:pt x="116" y="64"/>
                    <a:pt x="116" y="6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7" name="iṡlïdè">
              <a:extLst>
                <a:ext uri="{FF2B5EF4-FFF2-40B4-BE49-F238E27FC236}">
                  <a16:creationId xmlns:a16="http://schemas.microsoft.com/office/drawing/2014/main" id="{AA3272CF-D5F3-423F-8E5E-FD78125BB8D1}"/>
                </a:ext>
              </a:extLst>
            </p:cNvPr>
            <p:cNvSpPr/>
            <p:nvPr/>
          </p:nvSpPr>
          <p:spPr bwMode="auto">
            <a:xfrm>
              <a:off x="8193248" y="4442377"/>
              <a:ext cx="347815" cy="260491"/>
            </a:xfrm>
            <a:custGeom>
              <a:avLst/>
              <a:gdLst>
                <a:gd name="T0" fmla="*/ 91 w 113"/>
                <a:gd name="T1" fmla="*/ 4 h 85"/>
                <a:gd name="T2" fmla="*/ 84 w 113"/>
                <a:gd name="T3" fmla="*/ 1 h 85"/>
                <a:gd name="T4" fmla="*/ 16 w 113"/>
                <a:gd name="T5" fmla="*/ 41 h 85"/>
                <a:gd name="T6" fmla="*/ 0 w 113"/>
                <a:gd name="T7" fmla="*/ 58 h 85"/>
                <a:gd name="T8" fmla="*/ 14 w 113"/>
                <a:gd name="T9" fmla="*/ 80 h 85"/>
                <a:gd name="T10" fmla="*/ 49 w 113"/>
                <a:gd name="T11" fmla="*/ 69 h 85"/>
                <a:gd name="T12" fmla="*/ 49 w 113"/>
                <a:gd name="T13" fmla="*/ 64 h 85"/>
                <a:gd name="T14" fmla="*/ 45 w 113"/>
                <a:gd name="T15" fmla="*/ 34 h 85"/>
                <a:gd name="T16" fmla="*/ 68 w 113"/>
                <a:gd name="T17" fmla="*/ 38 h 85"/>
                <a:gd name="T18" fmla="*/ 77 w 113"/>
                <a:gd name="T19" fmla="*/ 53 h 85"/>
                <a:gd name="T20" fmla="*/ 85 w 113"/>
                <a:gd name="T21" fmla="*/ 57 h 85"/>
                <a:gd name="T22" fmla="*/ 110 w 113"/>
                <a:gd name="T23" fmla="*/ 27 h 85"/>
                <a:gd name="T24" fmla="*/ 31 w 113"/>
                <a:gd name="T25" fmla="*/ 52 h 85"/>
                <a:gd name="T26" fmla="*/ 33 w 113"/>
                <a:gd name="T27" fmla="*/ 53 h 85"/>
                <a:gd name="T28" fmla="*/ 37 w 113"/>
                <a:gd name="T29" fmla="*/ 55 h 85"/>
                <a:gd name="T30" fmla="*/ 40 w 113"/>
                <a:gd name="T31" fmla="*/ 57 h 85"/>
                <a:gd name="T32" fmla="*/ 40 w 113"/>
                <a:gd name="T33" fmla="*/ 60 h 85"/>
                <a:gd name="T34" fmla="*/ 41 w 113"/>
                <a:gd name="T35" fmla="*/ 62 h 85"/>
                <a:gd name="T36" fmla="*/ 41 w 113"/>
                <a:gd name="T37" fmla="*/ 65 h 85"/>
                <a:gd name="T38" fmla="*/ 40 w 113"/>
                <a:gd name="T39" fmla="*/ 68 h 85"/>
                <a:gd name="T40" fmla="*/ 40 w 113"/>
                <a:gd name="T41" fmla="*/ 70 h 85"/>
                <a:gd name="T42" fmla="*/ 38 w 113"/>
                <a:gd name="T43" fmla="*/ 72 h 85"/>
                <a:gd name="T44" fmla="*/ 35 w 113"/>
                <a:gd name="T45" fmla="*/ 73 h 85"/>
                <a:gd name="T46" fmla="*/ 31 w 113"/>
                <a:gd name="T47" fmla="*/ 75 h 85"/>
                <a:gd name="T48" fmla="*/ 27 w 113"/>
                <a:gd name="T49" fmla="*/ 75 h 85"/>
                <a:gd name="T50" fmla="*/ 23 w 113"/>
                <a:gd name="T51" fmla="*/ 75 h 85"/>
                <a:gd name="T52" fmla="*/ 17 w 113"/>
                <a:gd name="T53" fmla="*/ 73 h 85"/>
                <a:gd name="T54" fmla="*/ 15 w 113"/>
                <a:gd name="T55" fmla="*/ 71 h 85"/>
                <a:gd name="T56" fmla="*/ 13 w 113"/>
                <a:gd name="T57" fmla="*/ 70 h 85"/>
                <a:gd name="T58" fmla="*/ 11 w 113"/>
                <a:gd name="T59" fmla="*/ 67 h 85"/>
                <a:gd name="T60" fmla="*/ 9 w 113"/>
                <a:gd name="T61" fmla="*/ 65 h 85"/>
                <a:gd name="T62" fmla="*/ 8 w 113"/>
                <a:gd name="T63" fmla="*/ 61 h 85"/>
                <a:gd name="T64" fmla="*/ 7 w 113"/>
                <a:gd name="T65" fmla="*/ 56 h 85"/>
                <a:gd name="T66" fmla="*/ 10 w 113"/>
                <a:gd name="T67" fmla="*/ 55 h 85"/>
                <a:gd name="T68" fmla="*/ 18 w 113"/>
                <a:gd name="T69" fmla="*/ 51 h 85"/>
                <a:gd name="T70" fmla="*/ 22 w 113"/>
                <a:gd name="T71" fmla="*/ 50 h 85"/>
                <a:gd name="T72" fmla="*/ 41 w 113"/>
                <a:gd name="T73" fmla="*/ 62 h 85"/>
                <a:gd name="T74" fmla="*/ 41 w 113"/>
                <a:gd name="T75" fmla="*/ 62 h 85"/>
                <a:gd name="T76" fmla="*/ 102 w 113"/>
                <a:gd name="T77" fmla="*/ 32 h 85"/>
                <a:gd name="T78" fmla="*/ 99 w 113"/>
                <a:gd name="T79" fmla="*/ 36 h 85"/>
                <a:gd name="T80" fmla="*/ 94 w 113"/>
                <a:gd name="T81" fmla="*/ 40 h 85"/>
                <a:gd name="T82" fmla="*/ 65 w 113"/>
                <a:gd name="T83" fmla="*/ 22 h 85"/>
                <a:gd name="T84" fmla="*/ 94 w 113"/>
                <a:gd name="T85" fmla="*/ 22 h 85"/>
                <a:gd name="T86" fmla="*/ 99 w 113"/>
                <a:gd name="T87" fmla="*/ 28 h 85"/>
                <a:gd name="T88" fmla="*/ 102 w 113"/>
                <a:gd name="T89" fmla="*/ 32 h 85"/>
                <a:gd name="T90" fmla="*/ 102 w 113"/>
                <a:gd name="T91" fmla="*/ 33 h 85"/>
                <a:gd name="T92" fmla="*/ 100 w 113"/>
                <a:gd name="T93" fmla="*/ 35 h 85"/>
                <a:gd name="T94" fmla="*/ 102 w 113"/>
                <a:gd name="T95" fmla="*/ 3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3" h="85">
                  <a:moveTo>
                    <a:pt x="105" y="19"/>
                  </a:moveTo>
                  <a:cubicBezTo>
                    <a:pt x="101" y="14"/>
                    <a:pt x="96" y="10"/>
                    <a:pt x="91" y="5"/>
                  </a:cubicBezTo>
                  <a:cubicBezTo>
                    <a:pt x="91" y="5"/>
                    <a:pt x="91" y="5"/>
                    <a:pt x="91" y="4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0" y="4"/>
                    <a:pt x="90" y="3"/>
                    <a:pt x="90" y="3"/>
                  </a:cubicBezTo>
                  <a:cubicBezTo>
                    <a:pt x="89" y="0"/>
                    <a:pt x="86" y="0"/>
                    <a:pt x="84" y="1"/>
                  </a:cubicBezTo>
                  <a:cubicBezTo>
                    <a:pt x="76" y="5"/>
                    <a:pt x="68" y="9"/>
                    <a:pt x="61" y="13"/>
                  </a:cubicBezTo>
                  <a:cubicBezTo>
                    <a:pt x="54" y="17"/>
                    <a:pt x="47" y="22"/>
                    <a:pt x="40" y="26"/>
                  </a:cubicBezTo>
                  <a:cubicBezTo>
                    <a:pt x="32" y="32"/>
                    <a:pt x="24" y="36"/>
                    <a:pt x="16" y="41"/>
                  </a:cubicBezTo>
                  <a:cubicBezTo>
                    <a:pt x="11" y="44"/>
                    <a:pt x="3" y="48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6"/>
                    <a:pt x="0" y="57"/>
                    <a:pt x="0" y="58"/>
                  </a:cubicBezTo>
                  <a:cubicBezTo>
                    <a:pt x="0" y="60"/>
                    <a:pt x="0" y="61"/>
                    <a:pt x="0" y="63"/>
                  </a:cubicBezTo>
                  <a:cubicBezTo>
                    <a:pt x="0" y="66"/>
                    <a:pt x="1" y="68"/>
                    <a:pt x="3" y="71"/>
                  </a:cubicBezTo>
                  <a:cubicBezTo>
                    <a:pt x="5" y="75"/>
                    <a:pt x="9" y="79"/>
                    <a:pt x="14" y="80"/>
                  </a:cubicBezTo>
                  <a:cubicBezTo>
                    <a:pt x="23" y="85"/>
                    <a:pt x="35" y="85"/>
                    <a:pt x="43" y="78"/>
                  </a:cubicBezTo>
                  <a:cubicBezTo>
                    <a:pt x="45" y="76"/>
                    <a:pt x="46" y="74"/>
                    <a:pt x="47" y="72"/>
                  </a:cubicBezTo>
                  <a:cubicBezTo>
                    <a:pt x="48" y="71"/>
                    <a:pt x="48" y="70"/>
                    <a:pt x="49" y="69"/>
                  </a:cubicBezTo>
                  <a:cubicBezTo>
                    <a:pt x="49" y="68"/>
                    <a:pt x="49" y="67"/>
                    <a:pt x="49" y="67"/>
                  </a:cubicBezTo>
                  <a:cubicBezTo>
                    <a:pt x="49" y="67"/>
                    <a:pt x="49" y="66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ubicBezTo>
                    <a:pt x="49" y="57"/>
                    <a:pt x="46" y="52"/>
                    <a:pt x="41" y="49"/>
                  </a:cubicBezTo>
                  <a:cubicBezTo>
                    <a:pt x="37" y="46"/>
                    <a:pt x="32" y="44"/>
                    <a:pt x="27" y="43"/>
                  </a:cubicBezTo>
                  <a:cubicBezTo>
                    <a:pt x="33" y="40"/>
                    <a:pt x="40" y="37"/>
                    <a:pt x="45" y="34"/>
                  </a:cubicBezTo>
                  <a:cubicBezTo>
                    <a:pt x="49" y="31"/>
                    <a:pt x="53" y="29"/>
                    <a:pt x="57" y="26"/>
                  </a:cubicBezTo>
                  <a:cubicBezTo>
                    <a:pt x="59" y="28"/>
                    <a:pt x="61" y="30"/>
                    <a:pt x="62" y="31"/>
                  </a:cubicBezTo>
                  <a:cubicBezTo>
                    <a:pt x="65" y="33"/>
                    <a:pt x="66" y="36"/>
                    <a:pt x="68" y="38"/>
                  </a:cubicBezTo>
                  <a:cubicBezTo>
                    <a:pt x="70" y="40"/>
                    <a:pt x="72" y="43"/>
                    <a:pt x="73" y="46"/>
                  </a:cubicBezTo>
                  <a:cubicBezTo>
                    <a:pt x="74" y="47"/>
                    <a:pt x="75" y="49"/>
                    <a:pt x="76" y="50"/>
                  </a:cubicBezTo>
                  <a:cubicBezTo>
                    <a:pt x="76" y="51"/>
                    <a:pt x="76" y="52"/>
                    <a:pt x="77" y="53"/>
                  </a:cubicBezTo>
                  <a:cubicBezTo>
                    <a:pt x="77" y="53"/>
                    <a:pt x="77" y="53"/>
                    <a:pt x="77" y="54"/>
                  </a:cubicBezTo>
                  <a:cubicBezTo>
                    <a:pt x="77" y="54"/>
                    <a:pt x="78" y="55"/>
                    <a:pt x="78" y="54"/>
                  </a:cubicBezTo>
                  <a:cubicBezTo>
                    <a:pt x="79" y="57"/>
                    <a:pt x="82" y="60"/>
                    <a:pt x="85" y="57"/>
                  </a:cubicBezTo>
                  <a:cubicBezTo>
                    <a:pt x="89" y="54"/>
                    <a:pt x="94" y="52"/>
                    <a:pt x="98" y="49"/>
                  </a:cubicBezTo>
                  <a:cubicBezTo>
                    <a:pt x="103" y="45"/>
                    <a:pt x="109" y="42"/>
                    <a:pt x="112" y="36"/>
                  </a:cubicBezTo>
                  <a:cubicBezTo>
                    <a:pt x="113" y="33"/>
                    <a:pt x="112" y="30"/>
                    <a:pt x="110" y="27"/>
                  </a:cubicBezTo>
                  <a:cubicBezTo>
                    <a:pt x="109" y="24"/>
                    <a:pt x="107" y="22"/>
                    <a:pt x="105" y="19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3"/>
                    <a:pt x="32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4" y="53"/>
                    <a:pt x="35" y="54"/>
                    <a:pt x="36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9" y="57"/>
                    <a:pt x="39" y="57"/>
                    <a:pt x="40" y="57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9"/>
                    <a:pt x="40" y="59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1" y="61"/>
                    <a:pt x="41" y="61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4"/>
                    <a:pt x="41" y="64"/>
                    <a:pt x="41" y="65"/>
                  </a:cubicBezTo>
                  <a:cubicBezTo>
                    <a:pt x="41" y="64"/>
                    <a:pt x="41" y="66"/>
                    <a:pt x="41" y="66"/>
                  </a:cubicBezTo>
                  <a:cubicBezTo>
                    <a:pt x="41" y="67"/>
                    <a:pt x="40" y="67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9"/>
                    <a:pt x="40" y="69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9" y="71"/>
                    <a:pt x="39" y="71"/>
                    <a:pt x="38" y="71"/>
                  </a:cubicBezTo>
                  <a:cubicBezTo>
                    <a:pt x="38" y="71"/>
                    <a:pt x="38" y="72"/>
                    <a:pt x="38" y="72"/>
                  </a:cubicBezTo>
                  <a:cubicBezTo>
                    <a:pt x="37" y="72"/>
                    <a:pt x="37" y="72"/>
                    <a:pt x="36" y="73"/>
                  </a:cubicBezTo>
                  <a:cubicBezTo>
                    <a:pt x="36" y="73"/>
                    <a:pt x="35" y="73"/>
                    <a:pt x="35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4" y="74"/>
                    <a:pt x="33" y="74"/>
                    <a:pt x="32" y="74"/>
                  </a:cubicBezTo>
                  <a:cubicBezTo>
                    <a:pt x="32" y="74"/>
                    <a:pt x="31" y="74"/>
                    <a:pt x="31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29" y="75"/>
                    <a:pt x="28" y="75"/>
                    <a:pt x="27" y="75"/>
                  </a:cubicBezTo>
                  <a:cubicBezTo>
                    <a:pt x="26" y="75"/>
                    <a:pt x="25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3" y="75"/>
                  </a:cubicBezTo>
                  <a:cubicBezTo>
                    <a:pt x="23" y="74"/>
                    <a:pt x="22" y="74"/>
                    <a:pt x="22" y="74"/>
                  </a:cubicBezTo>
                  <a:cubicBezTo>
                    <a:pt x="21" y="74"/>
                    <a:pt x="20" y="74"/>
                    <a:pt x="19" y="73"/>
                  </a:cubicBezTo>
                  <a:cubicBezTo>
                    <a:pt x="18" y="73"/>
                    <a:pt x="18" y="73"/>
                    <a:pt x="17" y="73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2"/>
                    <a:pt x="16" y="72"/>
                    <a:pt x="15" y="71"/>
                  </a:cubicBezTo>
                  <a:cubicBezTo>
                    <a:pt x="14" y="71"/>
                    <a:pt x="14" y="71"/>
                    <a:pt x="14" y="70"/>
                  </a:cubicBezTo>
                  <a:cubicBezTo>
                    <a:pt x="14" y="70"/>
                    <a:pt x="14" y="70"/>
                    <a:pt x="13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69"/>
                    <a:pt x="12" y="69"/>
                    <a:pt x="11" y="68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7"/>
                    <a:pt x="10" y="66"/>
                    <a:pt x="10" y="66"/>
                  </a:cubicBezTo>
                  <a:cubicBezTo>
                    <a:pt x="9" y="66"/>
                    <a:pt x="9" y="65"/>
                    <a:pt x="9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8" y="63"/>
                    <a:pt x="8" y="62"/>
                    <a:pt x="8" y="61"/>
                  </a:cubicBezTo>
                  <a:cubicBezTo>
                    <a:pt x="8" y="61"/>
                    <a:pt x="8" y="59"/>
                    <a:pt x="8" y="61"/>
                  </a:cubicBezTo>
                  <a:cubicBezTo>
                    <a:pt x="8" y="60"/>
                    <a:pt x="8" y="58"/>
                    <a:pt x="7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7"/>
                    <a:pt x="7" y="57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8" y="55"/>
                    <a:pt x="9" y="55"/>
                    <a:pt x="10" y="55"/>
                  </a:cubicBezTo>
                  <a:cubicBezTo>
                    <a:pt x="11" y="53"/>
                    <a:pt x="13" y="52"/>
                    <a:pt x="15" y="51"/>
                  </a:cubicBezTo>
                  <a:cubicBezTo>
                    <a:pt x="16" y="51"/>
                    <a:pt x="17" y="51"/>
                    <a:pt x="18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20" y="51"/>
                  </a:cubicBezTo>
                  <a:cubicBezTo>
                    <a:pt x="20" y="50"/>
                    <a:pt x="21" y="50"/>
                    <a:pt x="22" y="50"/>
                  </a:cubicBezTo>
                  <a:cubicBezTo>
                    <a:pt x="25" y="50"/>
                    <a:pt x="26" y="51"/>
                    <a:pt x="30" y="52"/>
                  </a:cubicBezTo>
                  <a:cubicBezTo>
                    <a:pt x="30" y="52"/>
                    <a:pt x="31" y="52"/>
                    <a:pt x="31" y="52"/>
                  </a:cubicBezTo>
                  <a:close/>
                  <a:moveTo>
                    <a:pt x="41" y="62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lose/>
                  <a:moveTo>
                    <a:pt x="102" y="32"/>
                  </a:moveTo>
                  <a:cubicBezTo>
                    <a:pt x="102" y="32"/>
                    <a:pt x="102" y="32"/>
                    <a:pt x="102" y="32"/>
                  </a:cubicBezTo>
                  <a:cubicBezTo>
                    <a:pt x="102" y="32"/>
                    <a:pt x="102" y="32"/>
                    <a:pt x="102" y="32"/>
                  </a:cubicBezTo>
                  <a:close/>
                  <a:moveTo>
                    <a:pt x="100" y="35"/>
                  </a:move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99" y="36"/>
                    <a:pt x="99" y="36"/>
                  </a:cubicBezTo>
                  <a:cubicBezTo>
                    <a:pt x="99" y="36"/>
                    <a:pt x="98" y="36"/>
                    <a:pt x="98" y="37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6" y="38"/>
                    <a:pt x="95" y="39"/>
                    <a:pt x="94" y="40"/>
                  </a:cubicBezTo>
                  <a:cubicBezTo>
                    <a:pt x="90" y="42"/>
                    <a:pt x="88" y="44"/>
                    <a:pt x="84" y="46"/>
                  </a:cubicBezTo>
                  <a:cubicBezTo>
                    <a:pt x="82" y="41"/>
                    <a:pt x="79" y="37"/>
                    <a:pt x="75" y="32"/>
                  </a:cubicBezTo>
                  <a:cubicBezTo>
                    <a:pt x="72" y="28"/>
                    <a:pt x="69" y="24"/>
                    <a:pt x="65" y="22"/>
                  </a:cubicBezTo>
                  <a:cubicBezTo>
                    <a:pt x="65" y="21"/>
                    <a:pt x="66" y="21"/>
                    <a:pt x="66" y="21"/>
                  </a:cubicBezTo>
                  <a:cubicBezTo>
                    <a:pt x="72" y="18"/>
                    <a:pt x="78" y="15"/>
                    <a:pt x="85" y="11"/>
                  </a:cubicBezTo>
                  <a:cubicBezTo>
                    <a:pt x="87" y="15"/>
                    <a:pt x="91" y="18"/>
                    <a:pt x="94" y="22"/>
                  </a:cubicBezTo>
                  <a:cubicBezTo>
                    <a:pt x="95" y="23"/>
                    <a:pt x="96" y="24"/>
                    <a:pt x="97" y="25"/>
                  </a:cubicBezTo>
                  <a:cubicBezTo>
                    <a:pt x="98" y="26"/>
                    <a:pt x="98" y="26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30"/>
                    <a:pt x="101" y="31"/>
                    <a:pt x="102" y="32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32"/>
                    <a:pt x="102" y="32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1" y="34"/>
                    <a:pt x="101" y="34"/>
                    <a:pt x="100" y="35"/>
                  </a:cubicBezTo>
                  <a:close/>
                  <a:moveTo>
                    <a:pt x="102" y="33"/>
                  </a:moveTo>
                  <a:cubicBezTo>
                    <a:pt x="102" y="33"/>
                    <a:pt x="102" y="33"/>
                    <a:pt x="102" y="33"/>
                  </a:cubicBezTo>
                  <a:cubicBezTo>
                    <a:pt x="102" y="34"/>
                    <a:pt x="102" y="34"/>
                    <a:pt x="102" y="3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8" name="íṣḻïḋè">
              <a:extLst>
                <a:ext uri="{FF2B5EF4-FFF2-40B4-BE49-F238E27FC236}">
                  <a16:creationId xmlns:a16="http://schemas.microsoft.com/office/drawing/2014/main" id="{546C401A-B1D6-4A02-A0A1-E67A03D3A3B6}"/>
                </a:ext>
              </a:extLst>
            </p:cNvPr>
            <p:cNvSpPr/>
            <p:nvPr/>
          </p:nvSpPr>
          <p:spPr bwMode="auto">
            <a:xfrm>
              <a:off x="8213969" y="4614064"/>
              <a:ext cx="1481" cy="1481"/>
            </a:xfrm>
            <a:prstGeom prst="rect">
              <a:avLst/>
            </a:pr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9" name="íṥḻíḋe">
              <a:extLst>
                <a:ext uri="{FF2B5EF4-FFF2-40B4-BE49-F238E27FC236}">
                  <a16:creationId xmlns:a16="http://schemas.microsoft.com/office/drawing/2014/main" id="{AEC28F0C-BC6D-4DF8-9D83-453DE33F6139}"/>
                </a:ext>
              </a:extLst>
            </p:cNvPr>
            <p:cNvSpPr/>
            <p:nvPr/>
          </p:nvSpPr>
          <p:spPr bwMode="auto">
            <a:xfrm>
              <a:off x="7928318" y="3505497"/>
              <a:ext cx="85844" cy="94724"/>
            </a:xfrm>
            <a:custGeom>
              <a:avLst/>
              <a:gdLst>
                <a:gd name="T0" fmla="*/ 26 w 28"/>
                <a:gd name="T1" fmla="*/ 16 h 31"/>
                <a:gd name="T2" fmla="*/ 26 w 28"/>
                <a:gd name="T3" fmla="*/ 5 h 31"/>
                <a:gd name="T4" fmla="*/ 17 w 28"/>
                <a:gd name="T5" fmla="*/ 2 h 31"/>
                <a:gd name="T6" fmla="*/ 14 w 28"/>
                <a:gd name="T7" fmla="*/ 0 h 31"/>
                <a:gd name="T8" fmla="*/ 3 w 28"/>
                <a:gd name="T9" fmla="*/ 11 h 31"/>
                <a:gd name="T10" fmla="*/ 4 w 28"/>
                <a:gd name="T11" fmla="*/ 28 h 31"/>
                <a:gd name="T12" fmla="*/ 17 w 28"/>
                <a:gd name="T13" fmla="*/ 28 h 31"/>
                <a:gd name="T14" fmla="*/ 26 w 28"/>
                <a:gd name="T15" fmla="*/ 16 h 31"/>
                <a:gd name="T16" fmla="*/ 14 w 28"/>
                <a:gd name="T17" fmla="*/ 23 h 31"/>
                <a:gd name="T18" fmla="*/ 14 w 28"/>
                <a:gd name="T19" fmla="*/ 23 h 31"/>
                <a:gd name="T20" fmla="*/ 13 w 28"/>
                <a:gd name="T21" fmla="*/ 24 h 31"/>
                <a:gd name="T22" fmla="*/ 13 w 28"/>
                <a:gd name="T23" fmla="*/ 24 h 31"/>
                <a:gd name="T24" fmla="*/ 12 w 28"/>
                <a:gd name="T25" fmla="*/ 24 h 31"/>
                <a:gd name="T26" fmla="*/ 11 w 28"/>
                <a:gd name="T27" fmla="*/ 25 h 31"/>
                <a:gd name="T28" fmla="*/ 11 w 28"/>
                <a:gd name="T29" fmla="*/ 25 h 31"/>
                <a:gd name="T30" fmla="*/ 10 w 28"/>
                <a:gd name="T31" fmla="*/ 25 h 31"/>
                <a:gd name="T32" fmla="*/ 10 w 28"/>
                <a:gd name="T33" fmla="*/ 25 h 31"/>
                <a:gd name="T34" fmla="*/ 10 w 28"/>
                <a:gd name="T35" fmla="*/ 25 h 31"/>
                <a:gd name="T36" fmla="*/ 9 w 28"/>
                <a:gd name="T37" fmla="*/ 25 h 31"/>
                <a:gd name="T38" fmla="*/ 8 w 28"/>
                <a:gd name="T39" fmla="*/ 24 h 31"/>
                <a:gd name="T40" fmla="*/ 7 w 28"/>
                <a:gd name="T41" fmla="*/ 22 h 31"/>
                <a:gd name="T42" fmla="*/ 7 w 28"/>
                <a:gd name="T43" fmla="*/ 15 h 31"/>
                <a:gd name="T44" fmla="*/ 11 w 28"/>
                <a:gd name="T45" fmla="*/ 8 h 31"/>
                <a:gd name="T46" fmla="*/ 13 w 28"/>
                <a:gd name="T47" fmla="*/ 5 h 31"/>
                <a:gd name="T48" fmla="*/ 14 w 28"/>
                <a:gd name="T49" fmla="*/ 7 h 31"/>
                <a:gd name="T50" fmla="*/ 18 w 28"/>
                <a:gd name="T51" fmla="*/ 7 h 31"/>
                <a:gd name="T52" fmla="*/ 20 w 28"/>
                <a:gd name="T53" fmla="*/ 7 h 31"/>
                <a:gd name="T54" fmla="*/ 20 w 28"/>
                <a:gd name="T55" fmla="*/ 7 h 31"/>
                <a:gd name="T56" fmla="*/ 20 w 28"/>
                <a:gd name="T57" fmla="*/ 7 h 31"/>
                <a:gd name="T58" fmla="*/ 21 w 28"/>
                <a:gd name="T59" fmla="*/ 8 h 31"/>
                <a:gd name="T60" fmla="*/ 21 w 28"/>
                <a:gd name="T61" fmla="*/ 8 h 31"/>
                <a:gd name="T62" fmla="*/ 21 w 28"/>
                <a:gd name="T63" fmla="*/ 8 h 31"/>
                <a:gd name="T64" fmla="*/ 21 w 28"/>
                <a:gd name="T65" fmla="*/ 8 h 31"/>
                <a:gd name="T66" fmla="*/ 21 w 28"/>
                <a:gd name="T67" fmla="*/ 8 h 31"/>
                <a:gd name="T68" fmla="*/ 22 w 28"/>
                <a:gd name="T69" fmla="*/ 8 h 31"/>
                <a:gd name="T70" fmla="*/ 22 w 28"/>
                <a:gd name="T71" fmla="*/ 9 h 31"/>
                <a:gd name="T72" fmla="*/ 22 w 28"/>
                <a:gd name="T73" fmla="*/ 9 h 31"/>
                <a:gd name="T74" fmla="*/ 22 w 28"/>
                <a:gd name="T75" fmla="*/ 9 h 31"/>
                <a:gd name="T76" fmla="*/ 22 w 28"/>
                <a:gd name="T77" fmla="*/ 10 h 31"/>
                <a:gd name="T78" fmla="*/ 22 w 28"/>
                <a:gd name="T79" fmla="*/ 11 h 31"/>
                <a:gd name="T80" fmla="*/ 22 w 28"/>
                <a:gd name="T81" fmla="*/ 11 h 31"/>
                <a:gd name="T82" fmla="*/ 22 w 28"/>
                <a:gd name="T83" fmla="*/ 11 h 31"/>
                <a:gd name="T84" fmla="*/ 22 w 28"/>
                <a:gd name="T85" fmla="*/ 12 h 31"/>
                <a:gd name="T86" fmla="*/ 21 w 28"/>
                <a:gd name="T87" fmla="*/ 14 h 31"/>
                <a:gd name="T88" fmla="*/ 18 w 28"/>
                <a:gd name="T89" fmla="*/ 19 h 31"/>
                <a:gd name="T90" fmla="*/ 14 w 28"/>
                <a:gd name="T91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" h="31">
                  <a:moveTo>
                    <a:pt x="26" y="16"/>
                  </a:moveTo>
                  <a:cubicBezTo>
                    <a:pt x="27" y="13"/>
                    <a:pt x="28" y="8"/>
                    <a:pt x="26" y="5"/>
                  </a:cubicBezTo>
                  <a:cubicBezTo>
                    <a:pt x="24" y="2"/>
                    <a:pt x="20" y="1"/>
                    <a:pt x="17" y="2"/>
                  </a:cubicBezTo>
                  <a:cubicBezTo>
                    <a:pt x="17" y="1"/>
                    <a:pt x="16" y="0"/>
                    <a:pt x="14" y="0"/>
                  </a:cubicBezTo>
                  <a:cubicBezTo>
                    <a:pt x="8" y="1"/>
                    <a:pt x="5" y="7"/>
                    <a:pt x="3" y="11"/>
                  </a:cubicBezTo>
                  <a:cubicBezTo>
                    <a:pt x="1" y="16"/>
                    <a:pt x="0" y="24"/>
                    <a:pt x="4" y="28"/>
                  </a:cubicBezTo>
                  <a:cubicBezTo>
                    <a:pt x="8" y="31"/>
                    <a:pt x="14" y="31"/>
                    <a:pt x="17" y="28"/>
                  </a:cubicBezTo>
                  <a:cubicBezTo>
                    <a:pt x="21" y="25"/>
                    <a:pt x="24" y="21"/>
                    <a:pt x="26" y="16"/>
                  </a:cubicBezTo>
                  <a:close/>
                  <a:moveTo>
                    <a:pt x="14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4" y="24"/>
                    <a:pt x="14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2" y="24"/>
                  </a:cubicBezTo>
                  <a:cubicBezTo>
                    <a:pt x="12" y="25"/>
                    <a:pt x="12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4"/>
                    <a:pt x="9" y="24"/>
                    <a:pt x="8" y="24"/>
                  </a:cubicBezTo>
                  <a:cubicBezTo>
                    <a:pt x="8" y="24"/>
                    <a:pt x="7" y="23"/>
                    <a:pt x="7" y="22"/>
                  </a:cubicBezTo>
                  <a:cubicBezTo>
                    <a:pt x="6" y="20"/>
                    <a:pt x="7" y="17"/>
                    <a:pt x="7" y="15"/>
                  </a:cubicBezTo>
                  <a:cubicBezTo>
                    <a:pt x="8" y="12"/>
                    <a:pt x="9" y="10"/>
                    <a:pt x="11" y="8"/>
                  </a:cubicBezTo>
                  <a:cubicBezTo>
                    <a:pt x="11" y="7"/>
                    <a:pt x="12" y="6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5" y="7"/>
                    <a:pt x="17" y="7"/>
                    <a:pt x="18" y="7"/>
                  </a:cubicBezTo>
                  <a:cubicBezTo>
                    <a:pt x="19" y="7"/>
                    <a:pt x="19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2" y="8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3"/>
                    <a:pt x="21" y="13"/>
                    <a:pt x="21" y="14"/>
                  </a:cubicBezTo>
                  <a:cubicBezTo>
                    <a:pt x="21" y="15"/>
                    <a:pt x="20" y="17"/>
                    <a:pt x="18" y="19"/>
                  </a:cubicBezTo>
                  <a:cubicBezTo>
                    <a:pt x="18" y="21"/>
                    <a:pt x="16" y="23"/>
                    <a:pt x="14" y="2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0" name="iṥliḑè">
              <a:extLst>
                <a:ext uri="{FF2B5EF4-FFF2-40B4-BE49-F238E27FC236}">
                  <a16:creationId xmlns:a16="http://schemas.microsoft.com/office/drawing/2014/main" id="{FFAAE527-278C-46AB-A271-41C2573E237E}"/>
                </a:ext>
              </a:extLst>
            </p:cNvPr>
            <p:cNvSpPr/>
            <p:nvPr/>
          </p:nvSpPr>
          <p:spPr bwMode="auto">
            <a:xfrm>
              <a:off x="7962359" y="3879953"/>
              <a:ext cx="62163" cy="63643"/>
            </a:xfrm>
            <a:custGeom>
              <a:avLst/>
              <a:gdLst>
                <a:gd name="T0" fmla="*/ 3 w 20"/>
                <a:gd name="T1" fmla="*/ 18 h 21"/>
                <a:gd name="T2" fmla="*/ 17 w 20"/>
                <a:gd name="T3" fmla="*/ 17 h 21"/>
                <a:gd name="T4" fmla="*/ 17 w 20"/>
                <a:gd name="T5" fmla="*/ 5 h 21"/>
                <a:gd name="T6" fmla="*/ 13 w 20"/>
                <a:gd name="T7" fmla="*/ 1 h 21"/>
                <a:gd name="T8" fmla="*/ 5 w 20"/>
                <a:gd name="T9" fmla="*/ 3 h 21"/>
                <a:gd name="T10" fmla="*/ 5 w 20"/>
                <a:gd name="T11" fmla="*/ 3 h 21"/>
                <a:gd name="T12" fmla="*/ 1 w 20"/>
                <a:gd name="T13" fmla="*/ 10 h 21"/>
                <a:gd name="T14" fmla="*/ 3 w 20"/>
                <a:gd name="T15" fmla="*/ 18 h 21"/>
                <a:gd name="T16" fmla="*/ 8 w 20"/>
                <a:gd name="T17" fmla="*/ 5 h 21"/>
                <a:gd name="T18" fmla="*/ 8 w 20"/>
                <a:gd name="T19" fmla="*/ 5 h 21"/>
                <a:gd name="T20" fmla="*/ 10 w 20"/>
                <a:gd name="T21" fmla="*/ 5 h 21"/>
                <a:gd name="T22" fmla="*/ 11 w 20"/>
                <a:gd name="T23" fmla="*/ 5 h 21"/>
                <a:gd name="T24" fmla="*/ 13 w 20"/>
                <a:gd name="T25" fmla="*/ 7 h 21"/>
                <a:gd name="T26" fmla="*/ 14 w 20"/>
                <a:gd name="T27" fmla="*/ 10 h 21"/>
                <a:gd name="T28" fmla="*/ 14 w 20"/>
                <a:gd name="T29" fmla="*/ 11 h 21"/>
                <a:gd name="T30" fmla="*/ 14 w 20"/>
                <a:gd name="T31" fmla="*/ 11 h 21"/>
                <a:gd name="T32" fmla="*/ 14 w 20"/>
                <a:gd name="T33" fmla="*/ 12 h 21"/>
                <a:gd name="T34" fmla="*/ 14 w 20"/>
                <a:gd name="T35" fmla="*/ 13 h 21"/>
                <a:gd name="T36" fmla="*/ 14 w 20"/>
                <a:gd name="T37" fmla="*/ 13 h 21"/>
                <a:gd name="T38" fmla="*/ 14 w 20"/>
                <a:gd name="T39" fmla="*/ 13 h 21"/>
                <a:gd name="T40" fmla="*/ 13 w 20"/>
                <a:gd name="T41" fmla="*/ 15 h 21"/>
                <a:gd name="T42" fmla="*/ 13 w 20"/>
                <a:gd name="T43" fmla="*/ 15 h 21"/>
                <a:gd name="T44" fmla="*/ 12 w 20"/>
                <a:gd name="T45" fmla="*/ 15 h 21"/>
                <a:gd name="T46" fmla="*/ 12 w 20"/>
                <a:gd name="T47" fmla="*/ 15 h 21"/>
                <a:gd name="T48" fmla="*/ 12 w 20"/>
                <a:gd name="T49" fmla="*/ 15 h 21"/>
                <a:gd name="T50" fmla="*/ 10 w 20"/>
                <a:gd name="T51" fmla="*/ 15 h 21"/>
                <a:gd name="T52" fmla="*/ 7 w 20"/>
                <a:gd name="T53" fmla="*/ 14 h 21"/>
                <a:gd name="T54" fmla="*/ 6 w 20"/>
                <a:gd name="T55" fmla="*/ 11 h 21"/>
                <a:gd name="T56" fmla="*/ 8 w 20"/>
                <a:gd name="T57" fmla="*/ 6 h 21"/>
                <a:gd name="T58" fmla="*/ 8 w 20"/>
                <a:gd name="T59" fmla="*/ 5 h 21"/>
                <a:gd name="T60" fmla="*/ 8 w 20"/>
                <a:gd name="T61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" h="21">
                  <a:moveTo>
                    <a:pt x="3" y="18"/>
                  </a:moveTo>
                  <a:cubicBezTo>
                    <a:pt x="8" y="21"/>
                    <a:pt x="14" y="21"/>
                    <a:pt x="17" y="17"/>
                  </a:cubicBezTo>
                  <a:cubicBezTo>
                    <a:pt x="20" y="13"/>
                    <a:pt x="19" y="8"/>
                    <a:pt x="17" y="5"/>
                  </a:cubicBezTo>
                  <a:cubicBezTo>
                    <a:pt x="17" y="3"/>
                    <a:pt x="15" y="1"/>
                    <a:pt x="13" y="1"/>
                  </a:cubicBezTo>
                  <a:cubicBezTo>
                    <a:pt x="10" y="0"/>
                    <a:pt x="6" y="0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5"/>
                    <a:pt x="1" y="7"/>
                    <a:pt x="1" y="10"/>
                  </a:cubicBezTo>
                  <a:cubicBezTo>
                    <a:pt x="0" y="13"/>
                    <a:pt x="1" y="16"/>
                    <a:pt x="3" y="18"/>
                  </a:cubicBezTo>
                  <a:close/>
                  <a:moveTo>
                    <a:pt x="8" y="5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10" y="5"/>
                  </a:cubicBezTo>
                  <a:cubicBezTo>
                    <a:pt x="10" y="5"/>
                    <a:pt x="11" y="5"/>
                    <a:pt x="11" y="5"/>
                  </a:cubicBezTo>
                  <a:cubicBezTo>
                    <a:pt x="12" y="6"/>
                    <a:pt x="13" y="6"/>
                    <a:pt x="13" y="7"/>
                  </a:cubicBezTo>
                  <a:cubicBezTo>
                    <a:pt x="14" y="8"/>
                    <a:pt x="14" y="9"/>
                    <a:pt x="14" y="10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4"/>
                    <a:pt x="13" y="14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1" y="15"/>
                    <a:pt x="11" y="15"/>
                    <a:pt x="10" y="15"/>
                  </a:cubicBezTo>
                  <a:cubicBezTo>
                    <a:pt x="9" y="15"/>
                    <a:pt x="8" y="15"/>
                    <a:pt x="7" y="14"/>
                  </a:cubicBezTo>
                  <a:cubicBezTo>
                    <a:pt x="5" y="13"/>
                    <a:pt x="5" y="12"/>
                    <a:pt x="6" y="11"/>
                  </a:cubicBezTo>
                  <a:cubicBezTo>
                    <a:pt x="6" y="9"/>
                    <a:pt x="7" y="7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1" name="ïsḻídê">
              <a:extLst>
                <a:ext uri="{FF2B5EF4-FFF2-40B4-BE49-F238E27FC236}">
                  <a16:creationId xmlns:a16="http://schemas.microsoft.com/office/drawing/2014/main" id="{0E3D558B-74EC-45CC-B8ED-A6D7CC2504F7}"/>
                </a:ext>
              </a:extLst>
            </p:cNvPr>
            <p:cNvSpPr/>
            <p:nvPr/>
          </p:nvSpPr>
          <p:spPr bwMode="auto">
            <a:xfrm>
              <a:off x="7670787" y="4825713"/>
              <a:ext cx="57723" cy="79923"/>
            </a:xfrm>
            <a:custGeom>
              <a:avLst/>
              <a:gdLst>
                <a:gd name="T0" fmla="*/ 13 w 19"/>
                <a:gd name="T1" fmla="*/ 23 h 26"/>
                <a:gd name="T2" fmla="*/ 19 w 19"/>
                <a:gd name="T3" fmla="*/ 13 h 26"/>
                <a:gd name="T4" fmla="*/ 11 w 19"/>
                <a:gd name="T5" fmla="*/ 3 h 26"/>
                <a:gd name="T6" fmla="*/ 11 w 19"/>
                <a:gd name="T7" fmla="*/ 3 h 26"/>
                <a:gd name="T8" fmla="*/ 9 w 19"/>
                <a:gd name="T9" fmla="*/ 0 h 26"/>
                <a:gd name="T10" fmla="*/ 2 w 19"/>
                <a:gd name="T11" fmla="*/ 6 h 26"/>
                <a:gd name="T12" fmla="*/ 1 w 19"/>
                <a:gd name="T13" fmla="*/ 16 h 26"/>
                <a:gd name="T14" fmla="*/ 13 w 19"/>
                <a:gd name="T15" fmla="*/ 23 h 26"/>
                <a:gd name="T16" fmla="*/ 8 w 19"/>
                <a:gd name="T17" fmla="*/ 18 h 26"/>
                <a:gd name="T18" fmla="*/ 8 w 19"/>
                <a:gd name="T19" fmla="*/ 18 h 26"/>
                <a:gd name="T20" fmla="*/ 8 w 19"/>
                <a:gd name="T21" fmla="*/ 18 h 26"/>
                <a:gd name="T22" fmla="*/ 6 w 19"/>
                <a:gd name="T23" fmla="*/ 15 h 26"/>
                <a:gd name="T24" fmla="*/ 6 w 19"/>
                <a:gd name="T25" fmla="*/ 9 h 26"/>
                <a:gd name="T26" fmla="*/ 9 w 19"/>
                <a:gd name="T27" fmla="*/ 5 h 26"/>
                <a:gd name="T28" fmla="*/ 9 w 19"/>
                <a:gd name="T29" fmla="*/ 6 h 26"/>
                <a:gd name="T30" fmla="*/ 13 w 19"/>
                <a:gd name="T31" fmla="*/ 10 h 26"/>
                <a:gd name="T32" fmla="*/ 14 w 19"/>
                <a:gd name="T33" fmla="*/ 12 h 26"/>
                <a:gd name="T34" fmla="*/ 11 w 19"/>
                <a:gd name="T35" fmla="*/ 18 h 26"/>
                <a:gd name="T36" fmla="*/ 10 w 19"/>
                <a:gd name="T37" fmla="*/ 18 h 26"/>
                <a:gd name="T38" fmla="*/ 10 w 19"/>
                <a:gd name="T39" fmla="*/ 18 h 26"/>
                <a:gd name="T40" fmla="*/ 9 w 19"/>
                <a:gd name="T41" fmla="*/ 19 h 26"/>
                <a:gd name="T42" fmla="*/ 9 w 19"/>
                <a:gd name="T43" fmla="*/ 18 h 26"/>
                <a:gd name="T44" fmla="*/ 9 w 19"/>
                <a:gd name="T45" fmla="*/ 18 h 26"/>
                <a:gd name="T46" fmla="*/ 8 w 19"/>
                <a:gd name="T47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26">
                  <a:moveTo>
                    <a:pt x="13" y="23"/>
                  </a:moveTo>
                  <a:cubicBezTo>
                    <a:pt x="17" y="22"/>
                    <a:pt x="19" y="17"/>
                    <a:pt x="19" y="13"/>
                  </a:cubicBezTo>
                  <a:cubicBezTo>
                    <a:pt x="19" y="8"/>
                    <a:pt x="15" y="2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2"/>
                    <a:pt x="11" y="0"/>
                    <a:pt x="9" y="0"/>
                  </a:cubicBezTo>
                  <a:cubicBezTo>
                    <a:pt x="6" y="0"/>
                    <a:pt x="3" y="3"/>
                    <a:pt x="2" y="6"/>
                  </a:cubicBezTo>
                  <a:cubicBezTo>
                    <a:pt x="0" y="9"/>
                    <a:pt x="0" y="13"/>
                    <a:pt x="1" y="16"/>
                  </a:cubicBezTo>
                  <a:cubicBezTo>
                    <a:pt x="2" y="21"/>
                    <a:pt x="7" y="26"/>
                    <a:pt x="13" y="23"/>
                  </a:cubicBezTo>
                  <a:close/>
                  <a:moveTo>
                    <a:pt x="8" y="18"/>
                  </a:move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7"/>
                    <a:pt x="7" y="16"/>
                    <a:pt x="6" y="15"/>
                  </a:cubicBezTo>
                  <a:cubicBezTo>
                    <a:pt x="5" y="13"/>
                    <a:pt x="6" y="11"/>
                    <a:pt x="6" y="9"/>
                  </a:cubicBezTo>
                  <a:cubicBezTo>
                    <a:pt x="7" y="7"/>
                    <a:pt x="8" y="6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8"/>
                    <a:pt x="12" y="8"/>
                    <a:pt x="13" y="10"/>
                  </a:cubicBezTo>
                  <a:cubicBezTo>
                    <a:pt x="13" y="10"/>
                    <a:pt x="14" y="11"/>
                    <a:pt x="14" y="12"/>
                  </a:cubicBezTo>
                  <a:cubicBezTo>
                    <a:pt x="14" y="15"/>
                    <a:pt x="13" y="17"/>
                    <a:pt x="11" y="18"/>
                  </a:cubicBezTo>
                  <a:cubicBezTo>
                    <a:pt x="11" y="18"/>
                    <a:pt x="11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0" y="19"/>
                    <a:pt x="9" y="1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9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2" name="iŝľîḍê">
              <a:extLst>
                <a:ext uri="{FF2B5EF4-FFF2-40B4-BE49-F238E27FC236}">
                  <a16:creationId xmlns:a16="http://schemas.microsoft.com/office/drawing/2014/main" id="{9A271CF9-3F28-43FC-9616-EF936D81EAFF}"/>
                </a:ext>
              </a:extLst>
            </p:cNvPr>
            <p:cNvSpPr/>
            <p:nvPr/>
          </p:nvSpPr>
          <p:spPr bwMode="auto">
            <a:xfrm>
              <a:off x="3627257" y="3660904"/>
              <a:ext cx="182048" cy="122846"/>
            </a:xfrm>
            <a:custGeom>
              <a:avLst/>
              <a:gdLst>
                <a:gd name="T0" fmla="*/ 54 w 59"/>
                <a:gd name="T1" fmla="*/ 18 h 40"/>
                <a:gd name="T2" fmla="*/ 5 w 59"/>
                <a:gd name="T3" fmla="*/ 1 h 40"/>
                <a:gd name="T4" fmla="*/ 1 w 59"/>
                <a:gd name="T5" fmla="*/ 6 h 40"/>
                <a:gd name="T6" fmla="*/ 10 w 59"/>
                <a:gd name="T7" fmla="*/ 36 h 40"/>
                <a:gd name="T8" fmla="*/ 13 w 59"/>
                <a:gd name="T9" fmla="*/ 39 h 40"/>
                <a:gd name="T10" fmla="*/ 36 w 59"/>
                <a:gd name="T11" fmla="*/ 38 h 40"/>
                <a:gd name="T12" fmla="*/ 59 w 59"/>
                <a:gd name="T13" fmla="*/ 28 h 40"/>
                <a:gd name="T14" fmla="*/ 59 w 59"/>
                <a:gd name="T15" fmla="*/ 26 h 40"/>
                <a:gd name="T16" fmla="*/ 58 w 59"/>
                <a:gd name="T17" fmla="*/ 23 h 40"/>
                <a:gd name="T18" fmla="*/ 57 w 59"/>
                <a:gd name="T19" fmla="*/ 22 h 40"/>
                <a:gd name="T20" fmla="*/ 56 w 59"/>
                <a:gd name="T21" fmla="*/ 21 h 40"/>
                <a:gd name="T22" fmla="*/ 54 w 59"/>
                <a:gd name="T23" fmla="*/ 18 h 40"/>
                <a:gd name="T24" fmla="*/ 35 w 59"/>
                <a:gd name="T25" fmla="*/ 32 h 40"/>
                <a:gd name="T26" fmla="*/ 35 w 59"/>
                <a:gd name="T27" fmla="*/ 32 h 40"/>
                <a:gd name="T28" fmla="*/ 16 w 59"/>
                <a:gd name="T29" fmla="*/ 32 h 40"/>
                <a:gd name="T30" fmla="*/ 10 w 59"/>
                <a:gd name="T31" fmla="*/ 10 h 40"/>
                <a:gd name="T32" fmla="*/ 28 w 59"/>
                <a:gd name="T33" fmla="*/ 18 h 40"/>
                <a:gd name="T34" fmla="*/ 52 w 59"/>
                <a:gd name="T35" fmla="*/ 23 h 40"/>
                <a:gd name="T36" fmla="*/ 52 w 59"/>
                <a:gd name="T37" fmla="*/ 23 h 40"/>
                <a:gd name="T38" fmla="*/ 53 w 59"/>
                <a:gd name="T39" fmla="*/ 24 h 40"/>
                <a:gd name="T40" fmla="*/ 46 w 59"/>
                <a:gd name="T41" fmla="*/ 29 h 40"/>
                <a:gd name="T42" fmla="*/ 35 w 59"/>
                <a:gd name="T43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9" h="40">
                  <a:moveTo>
                    <a:pt x="54" y="18"/>
                  </a:moveTo>
                  <a:cubicBezTo>
                    <a:pt x="36" y="18"/>
                    <a:pt x="21" y="7"/>
                    <a:pt x="5" y="1"/>
                  </a:cubicBezTo>
                  <a:cubicBezTo>
                    <a:pt x="2" y="0"/>
                    <a:pt x="0" y="4"/>
                    <a:pt x="1" y="6"/>
                  </a:cubicBezTo>
                  <a:cubicBezTo>
                    <a:pt x="6" y="15"/>
                    <a:pt x="10" y="25"/>
                    <a:pt x="10" y="36"/>
                  </a:cubicBezTo>
                  <a:cubicBezTo>
                    <a:pt x="10" y="38"/>
                    <a:pt x="11" y="40"/>
                    <a:pt x="13" y="39"/>
                  </a:cubicBezTo>
                  <a:cubicBezTo>
                    <a:pt x="21" y="39"/>
                    <a:pt x="29" y="39"/>
                    <a:pt x="36" y="38"/>
                  </a:cubicBezTo>
                  <a:cubicBezTo>
                    <a:pt x="45" y="38"/>
                    <a:pt x="54" y="35"/>
                    <a:pt x="59" y="28"/>
                  </a:cubicBezTo>
                  <a:cubicBezTo>
                    <a:pt x="59" y="27"/>
                    <a:pt x="59" y="26"/>
                    <a:pt x="59" y="26"/>
                  </a:cubicBezTo>
                  <a:cubicBezTo>
                    <a:pt x="59" y="25"/>
                    <a:pt x="59" y="24"/>
                    <a:pt x="58" y="23"/>
                  </a:cubicBezTo>
                  <a:cubicBezTo>
                    <a:pt x="58" y="23"/>
                    <a:pt x="57" y="22"/>
                    <a:pt x="57" y="22"/>
                  </a:cubicBezTo>
                  <a:cubicBezTo>
                    <a:pt x="56" y="22"/>
                    <a:pt x="56" y="21"/>
                    <a:pt x="56" y="21"/>
                  </a:cubicBezTo>
                  <a:cubicBezTo>
                    <a:pt x="57" y="20"/>
                    <a:pt x="56" y="18"/>
                    <a:pt x="54" y="18"/>
                  </a:cubicBezTo>
                  <a:close/>
                  <a:moveTo>
                    <a:pt x="35" y="32"/>
                  </a:moveTo>
                  <a:cubicBezTo>
                    <a:pt x="35" y="32"/>
                    <a:pt x="35" y="32"/>
                    <a:pt x="35" y="32"/>
                  </a:cubicBezTo>
                  <a:cubicBezTo>
                    <a:pt x="29" y="32"/>
                    <a:pt x="22" y="32"/>
                    <a:pt x="16" y="32"/>
                  </a:cubicBezTo>
                  <a:cubicBezTo>
                    <a:pt x="16" y="24"/>
                    <a:pt x="13" y="17"/>
                    <a:pt x="10" y="10"/>
                  </a:cubicBezTo>
                  <a:cubicBezTo>
                    <a:pt x="16" y="13"/>
                    <a:pt x="22" y="16"/>
                    <a:pt x="28" y="18"/>
                  </a:cubicBezTo>
                  <a:cubicBezTo>
                    <a:pt x="36" y="21"/>
                    <a:pt x="44" y="24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4"/>
                    <a:pt x="53" y="24"/>
                    <a:pt x="53" y="24"/>
                  </a:cubicBezTo>
                  <a:cubicBezTo>
                    <a:pt x="51" y="26"/>
                    <a:pt x="48" y="28"/>
                    <a:pt x="46" y="29"/>
                  </a:cubicBezTo>
                  <a:cubicBezTo>
                    <a:pt x="42" y="30"/>
                    <a:pt x="39" y="31"/>
                    <a:pt x="35" y="3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3" name="íŝļidè">
              <a:extLst>
                <a:ext uri="{FF2B5EF4-FFF2-40B4-BE49-F238E27FC236}">
                  <a16:creationId xmlns:a16="http://schemas.microsoft.com/office/drawing/2014/main" id="{4FAC2B64-CA19-4327-AE83-258DD269F523}"/>
                </a:ext>
              </a:extLst>
            </p:cNvPr>
            <p:cNvSpPr/>
            <p:nvPr/>
          </p:nvSpPr>
          <p:spPr bwMode="auto">
            <a:xfrm>
              <a:off x="3535493" y="3860712"/>
              <a:ext cx="223490" cy="173168"/>
            </a:xfrm>
            <a:custGeom>
              <a:avLst/>
              <a:gdLst>
                <a:gd name="T0" fmla="*/ 65 w 73"/>
                <a:gd name="T1" fmla="*/ 12 h 56"/>
                <a:gd name="T2" fmla="*/ 71 w 73"/>
                <a:gd name="T3" fmla="*/ 5 h 56"/>
                <a:gd name="T4" fmla="*/ 68 w 73"/>
                <a:gd name="T5" fmla="*/ 1 h 56"/>
                <a:gd name="T6" fmla="*/ 64 w 73"/>
                <a:gd name="T7" fmla="*/ 4 h 56"/>
                <a:gd name="T8" fmla="*/ 49 w 73"/>
                <a:gd name="T9" fmla="*/ 7 h 56"/>
                <a:gd name="T10" fmla="*/ 33 w 73"/>
                <a:gd name="T11" fmla="*/ 10 h 56"/>
                <a:gd name="T12" fmla="*/ 2 w 73"/>
                <a:gd name="T13" fmla="*/ 18 h 56"/>
                <a:gd name="T14" fmla="*/ 1 w 73"/>
                <a:gd name="T15" fmla="*/ 22 h 56"/>
                <a:gd name="T16" fmla="*/ 14 w 73"/>
                <a:gd name="T17" fmla="*/ 54 h 56"/>
                <a:gd name="T18" fmla="*/ 18 w 73"/>
                <a:gd name="T19" fmla="*/ 55 h 56"/>
                <a:gd name="T20" fmla="*/ 46 w 73"/>
                <a:gd name="T21" fmla="*/ 33 h 56"/>
                <a:gd name="T22" fmla="*/ 58 w 73"/>
                <a:gd name="T23" fmla="*/ 19 h 56"/>
                <a:gd name="T24" fmla="*/ 65 w 73"/>
                <a:gd name="T25" fmla="*/ 12 h 56"/>
                <a:gd name="T26" fmla="*/ 43 w 73"/>
                <a:gd name="T27" fmla="*/ 27 h 56"/>
                <a:gd name="T28" fmla="*/ 43 w 73"/>
                <a:gd name="T29" fmla="*/ 27 h 56"/>
                <a:gd name="T30" fmla="*/ 18 w 73"/>
                <a:gd name="T31" fmla="*/ 49 h 56"/>
                <a:gd name="T32" fmla="*/ 8 w 73"/>
                <a:gd name="T33" fmla="*/ 22 h 56"/>
                <a:gd name="T34" fmla="*/ 34 w 73"/>
                <a:gd name="T35" fmla="*/ 15 h 56"/>
                <a:gd name="T36" fmla="*/ 50 w 73"/>
                <a:gd name="T37" fmla="*/ 12 h 56"/>
                <a:gd name="T38" fmla="*/ 58 w 73"/>
                <a:gd name="T39" fmla="*/ 10 h 56"/>
                <a:gd name="T40" fmla="*/ 54 w 73"/>
                <a:gd name="T41" fmla="*/ 14 h 56"/>
                <a:gd name="T42" fmla="*/ 43 w 73"/>
                <a:gd name="T43" fmla="*/ 2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3" h="56">
                  <a:moveTo>
                    <a:pt x="65" y="12"/>
                  </a:moveTo>
                  <a:cubicBezTo>
                    <a:pt x="67" y="9"/>
                    <a:pt x="69" y="7"/>
                    <a:pt x="71" y="5"/>
                  </a:cubicBezTo>
                  <a:cubicBezTo>
                    <a:pt x="73" y="2"/>
                    <a:pt x="70" y="0"/>
                    <a:pt x="68" y="1"/>
                  </a:cubicBezTo>
                  <a:cubicBezTo>
                    <a:pt x="66" y="2"/>
                    <a:pt x="65" y="3"/>
                    <a:pt x="64" y="4"/>
                  </a:cubicBezTo>
                  <a:cubicBezTo>
                    <a:pt x="59" y="5"/>
                    <a:pt x="54" y="6"/>
                    <a:pt x="49" y="7"/>
                  </a:cubicBezTo>
                  <a:cubicBezTo>
                    <a:pt x="44" y="8"/>
                    <a:pt x="39" y="9"/>
                    <a:pt x="33" y="10"/>
                  </a:cubicBezTo>
                  <a:cubicBezTo>
                    <a:pt x="23" y="12"/>
                    <a:pt x="13" y="15"/>
                    <a:pt x="2" y="18"/>
                  </a:cubicBezTo>
                  <a:cubicBezTo>
                    <a:pt x="1" y="18"/>
                    <a:pt x="0" y="21"/>
                    <a:pt x="1" y="22"/>
                  </a:cubicBezTo>
                  <a:cubicBezTo>
                    <a:pt x="8" y="32"/>
                    <a:pt x="10" y="43"/>
                    <a:pt x="14" y="54"/>
                  </a:cubicBezTo>
                  <a:cubicBezTo>
                    <a:pt x="14" y="56"/>
                    <a:pt x="16" y="56"/>
                    <a:pt x="18" y="55"/>
                  </a:cubicBezTo>
                  <a:cubicBezTo>
                    <a:pt x="28" y="50"/>
                    <a:pt x="38" y="42"/>
                    <a:pt x="46" y="33"/>
                  </a:cubicBezTo>
                  <a:cubicBezTo>
                    <a:pt x="50" y="28"/>
                    <a:pt x="54" y="23"/>
                    <a:pt x="58" y="19"/>
                  </a:cubicBezTo>
                  <a:cubicBezTo>
                    <a:pt x="60" y="16"/>
                    <a:pt x="63" y="14"/>
                    <a:pt x="65" y="12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35" y="36"/>
                    <a:pt x="27" y="43"/>
                    <a:pt x="18" y="49"/>
                  </a:cubicBezTo>
                  <a:cubicBezTo>
                    <a:pt x="16" y="40"/>
                    <a:pt x="13" y="31"/>
                    <a:pt x="8" y="22"/>
                  </a:cubicBezTo>
                  <a:cubicBezTo>
                    <a:pt x="16" y="19"/>
                    <a:pt x="26" y="17"/>
                    <a:pt x="34" y="15"/>
                  </a:cubicBezTo>
                  <a:cubicBezTo>
                    <a:pt x="40" y="14"/>
                    <a:pt x="45" y="13"/>
                    <a:pt x="50" y="12"/>
                  </a:cubicBezTo>
                  <a:cubicBezTo>
                    <a:pt x="52" y="11"/>
                    <a:pt x="55" y="11"/>
                    <a:pt x="58" y="10"/>
                  </a:cubicBezTo>
                  <a:cubicBezTo>
                    <a:pt x="57" y="11"/>
                    <a:pt x="56" y="13"/>
                    <a:pt x="54" y="14"/>
                  </a:cubicBezTo>
                  <a:cubicBezTo>
                    <a:pt x="51" y="18"/>
                    <a:pt x="47" y="23"/>
                    <a:pt x="43" y="2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4" name="íṩľídè">
              <a:extLst>
                <a:ext uri="{FF2B5EF4-FFF2-40B4-BE49-F238E27FC236}">
                  <a16:creationId xmlns:a16="http://schemas.microsoft.com/office/drawing/2014/main" id="{BBE95BBA-D5FF-4CF5-8669-86636572EDD4}"/>
                </a:ext>
              </a:extLst>
            </p:cNvPr>
            <p:cNvSpPr/>
            <p:nvPr/>
          </p:nvSpPr>
          <p:spPr bwMode="auto">
            <a:xfrm>
              <a:off x="3710140" y="3971717"/>
              <a:ext cx="176128" cy="122846"/>
            </a:xfrm>
            <a:custGeom>
              <a:avLst/>
              <a:gdLst>
                <a:gd name="T0" fmla="*/ 36 w 57"/>
                <a:gd name="T1" fmla="*/ 29 h 40"/>
                <a:gd name="T2" fmla="*/ 45 w 57"/>
                <a:gd name="T3" fmla="*/ 16 h 40"/>
                <a:gd name="T4" fmla="*/ 56 w 57"/>
                <a:gd name="T5" fmla="*/ 6 h 40"/>
                <a:gd name="T6" fmla="*/ 57 w 57"/>
                <a:gd name="T7" fmla="*/ 3 h 40"/>
                <a:gd name="T8" fmla="*/ 53 w 57"/>
                <a:gd name="T9" fmla="*/ 1 h 40"/>
                <a:gd name="T10" fmla="*/ 51 w 57"/>
                <a:gd name="T11" fmla="*/ 2 h 40"/>
                <a:gd name="T12" fmla="*/ 3 w 57"/>
                <a:gd name="T13" fmla="*/ 9 h 40"/>
                <a:gd name="T14" fmla="*/ 1 w 57"/>
                <a:gd name="T15" fmla="*/ 13 h 40"/>
                <a:gd name="T16" fmla="*/ 6 w 57"/>
                <a:gd name="T17" fmla="*/ 36 h 40"/>
                <a:gd name="T18" fmla="*/ 8 w 57"/>
                <a:gd name="T19" fmla="*/ 39 h 40"/>
                <a:gd name="T20" fmla="*/ 24 w 57"/>
                <a:gd name="T21" fmla="*/ 38 h 40"/>
                <a:gd name="T22" fmla="*/ 36 w 57"/>
                <a:gd name="T23" fmla="*/ 29 h 40"/>
                <a:gd name="T24" fmla="*/ 12 w 57"/>
                <a:gd name="T25" fmla="*/ 33 h 40"/>
                <a:gd name="T26" fmla="*/ 12 w 57"/>
                <a:gd name="T27" fmla="*/ 33 h 40"/>
                <a:gd name="T28" fmla="*/ 7 w 57"/>
                <a:gd name="T29" fmla="*/ 15 h 40"/>
                <a:gd name="T30" fmla="*/ 29 w 57"/>
                <a:gd name="T31" fmla="*/ 11 h 40"/>
                <a:gd name="T32" fmla="*/ 44 w 57"/>
                <a:gd name="T33" fmla="*/ 8 h 40"/>
                <a:gd name="T34" fmla="*/ 42 w 57"/>
                <a:gd name="T35" fmla="*/ 10 h 40"/>
                <a:gd name="T36" fmla="*/ 33 w 57"/>
                <a:gd name="T37" fmla="*/ 22 h 40"/>
                <a:gd name="T38" fmla="*/ 23 w 57"/>
                <a:gd name="T39" fmla="*/ 31 h 40"/>
                <a:gd name="T40" fmla="*/ 12 w 57"/>
                <a:gd name="T41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40">
                  <a:moveTo>
                    <a:pt x="36" y="29"/>
                  </a:moveTo>
                  <a:cubicBezTo>
                    <a:pt x="39" y="25"/>
                    <a:pt x="42" y="20"/>
                    <a:pt x="45" y="16"/>
                  </a:cubicBezTo>
                  <a:cubicBezTo>
                    <a:pt x="48" y="12"/>
                    <a:pt x="52" y="9"/>
                    <a:pt x="56" y="6"/>
                  </a:cubicBezTo>
                  <a:cubicBezTo>
                    <a:pt x="57" y="5"/>
                    <a:pt x="57" y="4"/>
                    <a:pt x="57" y="3"/>
                  </a:cubicBezTo>
                  <a:cubicBezTo>
                    <a:pt x="57" y="2"/>
                    <a:pt x="55" y="0"/>
                    <a:pt x="53" y="1"/>
                  </a:cubicBezTo>
                  <a:cubicBezTo>
                    <a:pt x="53" y="1"/>
                    <a:pt x="52" y="2"/>
                    <a:pt x="51" y="2"/>
                  </a:cubicBezTo>
                  <a:cubicBezTo>
                    <a:pt x="35" y="4"/>
                    <a:pt x="19" y="6"/>
                    <a:pt x="3" y="9"/>
                  </a:cubicBezTo>
                  <a:cubicBezTo>
                    <a:pt x="1" y="10"/>
                    <a:pt x="0" y="12"/>
                    <a:pt x="1" y="13"/>
                  </a:cubicBezTo>
                  <a:cubicBezTo>
                    <a:pt x="3" y="20"/>
                    <a:pt x="5" y="28"/>
                    <a:pt x="6" y="36"/>
                  </a:cubicBezTo>
                  <a:cubicBezTo>
                    <a:pt x="6" y="37"/>
                    <a:pt x="7" y="39"/>
                    <a:pt x="8" y="39"/>
                  </a:cubicBezTo>
                  <a:cubicBezTo>
                    <a:pt x="14" y="40"/>
                    <a:pt x="19" y="40"/>
                    <a:pt x="24" y="38"/>
                  </a:cubicBezTo>
                  <a:cubicBezTo>
                    <a:pt x="29" y="36"/>
                    <a:pt x="33" y="32"/>
                    <a:pt x="36" y="29"/>
                  </a:cubicBezTo>
                  <a:close/>
                  <a:moveTo>
                    <a:pt x="12" y="33"/>
                  </a:moveTo>
                  <a:cubicBezTo>
                    <a:pt x="12" y="33"/>
                    <a:pt x="12" y="33"/>
                    <a:pt x="12" y="33"/>
                  </a:cubicBezTo>
                  <a:cubicBezTo>
                    <a:pt x="11" y="27"/>
                    <a:pt x="9" y="21"/>
                    <a:pt x="7" y="15"/>
                  </a:cubicBezTo>
                  <a:cubicBezTo>
                    <a:pt x="15" y="13"/>
                    <a:pt x="22" y="12"/>
                    <a:pt x="29" y="11"/>
                  </a:cubicBezTo>
                  <a:cubicBezTo>
                    <a:pt x="34" y="10"/>
                    <a:pt x="39" y="9"/>
                    <a:pt x="44" y="8"/>
                  </a:cubicBezTo>
                  <a:cubicBezTo>
                    <a:pt x="44" y="9"/>
                    <a:pt x="43" y="9"/>
                    <a:pt x="42" y="10"/>
                  </a:cubicBezTo>
                  <a:cubicBezTo>
                    <a:pt x="39" y="14"/>
                    <a:pt x="36" y="18"/>
                    <a:pt x="33" y="22"/>
                  </a:cubicBezTo>
                  <a:cubicBezTo>
                    <a:pt x="30" y="26"/>
                    <a:pt x="27" y="29"/>
                    <a:pt x="23" y="31"/>
                  </a:cubicBezTo>
                  <a:cubicBezTo>
                    <a:pt x="20" y="33"/>
                    <a:pt x="16" y="34"/>
                    <a:pt x="12" y="3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5" name="išlîḑê">
              <a:extLst>
                <a:ext uri="{FF2B5EF4-FFF2-40B4-BE49-F238E27FC236}">
                  <a16:creationId xmlns:a16="http://schemas.microsoft.com/office/drawing/2014/main" id="{7C5AE6EE-3704-4A55-AACE-748CF60C5C9E}"/>
                </a:ext>
              </a:extLst>
            </p:cNvPr>
            <p:cNvSpPr/>
            <p:nvPr/>
          </p:nvSpPr>
          <p:spPr bwMode="auto">
            <a:xfrm>
              <a:off x="3756022" y="4073841"/>
              <a:ext cx="179088" cy="251611"/>
            </a:xfrm>
            <a:custGeom>
              <a:avLst/>
              <a:gdLst>
                <a:gd name="T0" fmla="*/ 57 w 58"/>
                <a:gd name="T1" fmla="*/ 4 h 82"/>
                <a:gd name="T2" fmla="*/ 53 w 58"/>
                <a:gd name="T3" fmla="*/ 2 h 82"/>
                <a:gd name="T4" fmla="*/ 46 w 58"/>
                <a:gd name="T5" fmla="*/ 20 h 82"/>
                <a:gd name="T6" fmla="*/ 39 w 58"/>
                <a:gd name="T7" fmla="*/ 40 h 82"/>
                <a:gd name="T8" fmla="*/ 30 w 58"/>
                <a:gd name="T9" fmla="*/ 72 h 82"/>
                <a:gd name="T10" fmla="*/ 9 w 58"/>
                <a:gd name="T11" fmla="*/ 63 h 82"/>
                <a:gd name="T12" fmla="*/ 28 w 58"/>
                <a:gd name="T13" fmla="*/ 39 h 82"/>
                <a:gd name="T14" fmla="*/ 50 w 58"/>
                <a:gd name="T15" fmla="*/ 8 h 82"/>
                <a:gd name="T16" fmla="*/ 46 w 58"/>
                <a:gd name="T17" fmla="*/ 6 h 82"/>
                <a:gd name="T18" fmla="*/ 24 w 58"/>
                <a:gd name="T19" fmla="*/ 35 h 82"/>
                <a:gd name="T20" fmla="*/ 1 w 58"/>
                <a:gd name="T21" fmla="*/ 64 h 82"/>
                <a:gd name="T22" fmla="*/ 4 w 58"/>
                <a:gd name="T23" fmla="*/ 69 h 82"/>
                <a:gd name="T24" fmla="*/ 29 w 58"/>
                <a:gd name="T25" fmla="*/ 81 h 82"/>
                <a:gd name="T26" fmla="*/ 34 w 58"/>
                <a:gd name="T27" fmla="*/ 79 h 82"/>
                <a:gd name="T28" fmla="*/ 45 w 58"/>
                <a:gd name="T29" fmla="*/ 42 h 82"/>
                <a:gd name="T30" fmla="*/ 52 w 58"/>
                <a:gd name="T31" fmla="*/ 24 h 82"/>
                <a:gd name="T32" fmla="*/ 57 w 58"/>
                <a:gd name="T33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82">
                  <a:moveTo>
                    <a:pt x="57" y="4"/>
                  </a:moveTo>
                  <a:cubicBezTo>
                    <a:pt x="58" y="2"/>
                    <a:pt x="54" y="0"/>
                    <a:pt x="53" y="2"/>
                  </a:cubicBezTo>
                  <a:cubicBezTo>
                    <a:pt x="50" y="8"/>
                    <a:pt x="48" y="14"/>
                    <a:pt x="46" y="20"/>
                  </a:cubicBezTo>
                  <a:cubicBezTo>
                    <a:pt x="44" y="27"/>
                    <a:pt x="41" y="33"/>
                    <a:pt x="39" y="40"/>
                  </a:cubicBezTo>
                  <a:cubicBezTo>
                    <a:pt x="36" y="50"/>
                    <a:pt x="32" y="61"/>
                    <a:pt x="30" y="72"/>
                  </a:cubicBezTo>
                  <a:cubicBezTo>
                    <a:pt x="24" y="67"/>
                    <a:pt x="17" y="64"/>
                    <a:pt x="9" y="63"/>
                  </a:cubicBezTo>
                  <a:cubicBezTo>
                    <a:pt x="14" y="54"/>
                    <a:pt x="21" y="46"/>
                    <a:pt x="28" y="39"/>
                  </a:cubicBezTo>
                  <a:cubicBezTo>
                    <a:pt x="36" y="29"/>
                    <a:pt x="44" y="19"/>
                    <a:pt x="50" y="8"/>
                  </a:cubicBezTo>
                  <a:cubicBezTo>
                    <a:pt x="51" y="6"/>
                    <a:pt x="48" y="4"/>
                    <a:pt x="46" y="6"/>
                  </a:cubicBezTo>
                  <a:cubicBezTo>
                    <a:pt x="40" y="17"/>
                    <a:pt x="32" y="26"/>
                    <a:pt x="24" y="35"/>
                  </a:cubicBezTo>
                  <a:cubicBezTo>
                    <a:pt x="16" y="44"/>
                    <a:pt x="7" y="54"/>
                    <a:pt x="1" y="64"/>
                  </a:cubicBezTo>
                  <a:cubicBezTo>
                    <a:pt x="0" y="66"/>
                    <a:pt x="1" y="69"/>
                    <a:pt x="4" y="69"/>
                  </a:cubicBezTo>
                  <a:cubicBezTo>
                    <a:pt x="13" y="68"/>
                    <a:pt x="23" y="73"/>
                    <a:pt x="29" y="81"/>
                  </a:cubicBezTo>
                  <a:cubicBezTo>
                    <a:pt x="31" y="82"/>
                    <a:pt x="34" y="81"/>
                    <a:pt x="34" y="79"/>
                  </a:cubicBezTo>
                  <a:cubicBezTo>
                    <a:pt x="37" y="67"/>
                    <a:pt x="41" y="55"/>
                    <a:pt x="45" y="42"/>
                  </a:cubicBezTo>
                  <a:cubicBezTo>
                    <a:pt x="47" y="36"/>
                    <a:pt x="49" y="30"/>
                    <a:pt x="52" y="24"/>
                  </a:cubicBezTo>
                  <a:cubicBezTo>
                    <a:pt x="54" y="17"/>
                    <a:pt x="56" y="11"/>
                    <a:pt x="57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6" name="íSḷïďe">
              <a:extLst>
                <a:ext uri="{FF2B5EF4-FFF2-40B4-BE49-F238E27FC236}">
                  <a16:creationId xmlns:a16="http://schemas.microsoft.com/office/drawing/2014/main" id="{FF38A28B-194D-4722-91E8-5FA967CF6398}"/>
                </a:ext>
              </a:extLst>
            </p:cNvPr>
            <p:cNvSpPr/>
            <p:nvPr/>
          </p:nvSpPr>
          <p:spPr bwMode="auto">
            <a:xfrm>
              <a:off x="3895147" y="2684063"/>
              <a:ext cx="113965" cy="196849"/>
            </a:xfrm>
            <a:custGeom>
              <a:avLst/>
              <a:gdLst>
                <a:gd name="T0" fmla="*/ 33 w 37"/>
                <a:gd name="T1" fmla="*/ 62 h 64"/>
                <a:gd name="T2" fmla="*/ 34 w 37"/>
                <a:gd name="T3" fmla="*/ 63 h 64"/>
                <a:gd name="T4" fmla="*/ 37 w 37"/>
                <a:gd name="T5" fmla="*/ 61 h 64"/>
                <a:gd name="T6" fmla="*/ 36 w 37"/>
                <a:gd name="T7" fmla="*/ 55 h 64"/>
                <a:gd name="T8" fmla="*/ 34 w 37"/>
                <a:gd name="T9" fmla="*/ 48 h 64"/>
                <a:gd name="T10" fmla="*/ 30 w 37"/>
                <a:gd name="T11" fmla="*/ 33 h 64"/>
                <a:gd name="T12" fmla="*/ 26 w 37"/>
                <a:gd name="T13" fmla="*/ 4 h 64"/>
                <a:gd name="T14" fmla="*/ 19 w 37"/>
                <a:gd name="T15" fmla="*/ 2 h 64"/>
                <a:gd name="T16" fmla="*/ 1 w 37"/>
                <a:gd name="T17" fmla="*/ 38 h 64"/>
                <a:gd name="T18" fmla="*/ 3 w 37"/>
                <a:gd name="T19" fmla="*/ 42 h 64"/>
                <a:gd name="T20" fmla="*/ 9 w 37"/>
                <a:gd name="T21" fmla="*/ 46 h 64"/>
                <a:gd name="T22" fmla="*/ 18 w 37"/>
                <a:gd name="T23" fmla="*/ 51 h 64"/>
                <a:gd name="T24" fmla="*/ 33 w 37"/>
                <a:gd name="T25" fmla="*/ 62 h 64"/>
                <a:gd name="T26" fmla="*/ 33 w 37"/>
                <a:gd name="T27" fmla="*/ 62 h 64"/>
                <a:gd name="T28" fmla="*/ 13 w 37"/>
                <a:gd name="T29" fmla="*/ 42 h 64"/>
                <a:gd name="T30" fmla="*/ 13 w 37"/>
                <a:gd name="T31" fmla="*/ 42 h 64"/>
                <a:gd name="T32" fmla="*/ 8 w 37"/>
                <a:gd name="T33" fmla="*/ 38 h 64"/>
                <a:gd name="T34" fmla="*/ 20 w 37"/>
                <a:gd name="T35" fmla="*/ 14 h 64"/>
                <a:gd name="T36" fmla="*/ 24 w 37"/>
                <a:gd name="T37" fmla="*/ 34 h 64"/>
                <a:gd name="T38" fmla="*/ 28 w 37"/>
                <a:gd name="T39" fmla="*/ 50 h 64"/>
                <a:gd name="T40" fmla="*/ 29 w 37"/>
                <a:gd name="T41" fmla="*/ 53 h 64"/>
                <a:gd name="T42" fmla="*/ 21 w 37"/>
                <a:gd name="T43" fmla="*/ 47 h 64"/>
                <a:gd name="T44" fmla="*/ 13 w 37"/>
                <a:gd name="T45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" h="64">
                  <a:moveTo>
                    <a:pt x="33" y="62"/>
                  </a:moveTo>
                  <a:cubicBezTo>
                    <a:pt x="34" y="63"/>
                    <a:pt x="34" y="63"/>
                    <a:pt x="34" y="63"/>
                  </a:cubicBezTo>
                  <a:cubicBezTo>
                    <a:pt x="35" y="64"/>
                    <a:pt x="37" y="63"/>
                    <a:pt x="37" y="61"/>
                  </a:cubicBezTo>
                  <a:cubicBezTo>
                    <a:pt x="37" y="59"/>
                    <a:pt x="37" y="57"/>
                    <a:pt x="36" y="55"/>
                  </a:cubicBezTo>
                  <a:cubicBezTo>
                    <a:pt x="35" y="53"/>
                    <a:pt x="34" y="50"/>
                    <a:pt x="34" y="48"/>
                  </a:cubicBezTo>
                  <a:cubicBezTo>
                    <a:pt x="33" y="43"/>
                    <a:pt x="31" y="39"/>
                    <a:pt x="30" y="33"/>
                  </a:cubicBezTo>
                  <a:cubicBezTo>
                    <a:pt x="28" y="24"/>
                    <a:pt x="26" y="14"/>
                    <a:pt x="26" y="4"/>
                  </a:cubicBezTo>
                  <a:cubicBezTo>
                    <a:pt x="25" y="0"/>
                    <a:pt x="21" y="0"/>
                    <a:pt x="19" y="2"/>
                  </a:cubicBezTo>
                  <a:cubicBezTo>
                    <a:pt x="12" y="13"/>
                    <a:pt x="7" y="26"/>
                    <a:pt x="1" y="38"/>
                  </a:cubicBezTo>
                  <a:cubicBezTo>
                    <a:pt x="0" y="40"/>
                    <a:pt x="1" y="42"/>
                    <a:pt x="3" y="42"/>
                  </a:cubicBezTo>
                  <a:cubicBezTo>
                    <a:pt x="5" y="43"/>
                    <a:pt x="8" y="45"/>
                    <a:pt x="9" y="46"/>
                  </a:cubicBezTo>
                  <a:cubicBezTo>
                    <a:pt x="12" y="48"/>
                    <a:pt x="15" y="49"/>
                    <a:pt x="18" y="51"/>
                  </a:cubicBezTo>
                  <a:cubicBezTo>
                    <a:pt x="23" y="55"/>
                    <a:pt x="28" y="58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lose/>
                  <a:moveTo>
                    <a:pt x="13" y="42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1" y="40"/>
                    <a:pt x="9" y="39"/>
                    <a:pt x="8" y="38"/>
                  </a:cubicBezTo>
                  <a:cubicBezTo>
                    <a:pt x="12" y="30"/>
                    <a:pt x="15" y="21"/>
                    <a:pt x="20" y="14"/>
                  </a:cubicBezTo>
                  <a:cubicBezTo>
                    <a:pt x="21" y="21"/>
                    <a:pt x="22" y="28"/>
                    <a:pt x="24" y="34"/>
                  </a:cubicBezTo>
                  <a:cubicBezTo>
                    <a:pt x="25" y="40"/>
                    <a:pt x="26" y="45"/>
                    <a:pt x="28" y="50"/>
                  </a:cubicBezTo>
                  <a:cubicBezTo>
                    <a:pt x="28" y="51"/>
                    <a:pt x="29" y="52"/>
                    <a:pt x="29" y="53"/>
                  </a:cubicBezTo>
                  <a:cubicBezTo>
                    <a:pt x="26" y="51"/>
                    <a:pt x="24" y="49"/>
                    <a:pt x="21" y="47"/>
                  </a:cubicBezTo>
                  <a:cubicBezTo>
                    <a:pt x="18" y="45"/>
                    <a:pt x="16" y="43"/>
                    <a:pt x="13" y="4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7" name="íšľiḓé">
              <a:extLst>
                <a:ext uri="{FF2B5EF4-FFF2-40B4-BE49-F238E27FC236}">
                  <a16:creationId xmlns:a16="http://schemas.microsoft.com/office/drawing/2014/main" id="{E0B5D484-5CD9-4538-BC97-192F0C5080B8}"/>
                </a:ext>
              </a:extLst>
            </p:cNvPr>
            <p:cNvSpPr/>
            <p:nvPr/>
          </p:nvSpPr>
          <p:spPr bwMode="auto">
            <a:xfrm>
              <a:off x="3510331" y="2994876"/>
              <a:ext cx="222009" cy="131726"/>
            </a:xfrm>
            <a:custGeom>
              <a:avLst/>
              <a:gdLst>
                <a:gd name="T0" fmla="*/ 18 w 72"/>
                <a:gd name="T1" fmla="*/ 43 h 43"/>
                <a:gd name="T2" fmla="*/ 26 w 72"/>
                <a:gd name="T3" fmla="*/ 41 h 43"/>
                <a:gd name="T4" fmla="*/ 36 w 72"/>
                <a:gd name="T5" fmla="*/ 35 h 43"/>
                <a:gd name="T6" fmla="*/ 69 w 72"/>
                <a:gd name="T7" fmla="*/ 18 h 43"/>
                <a:gd name="T8" fmla="*/ 69 w 72"/>
                <a:gd name="T9" fmla="*/ 12 h 43"/>
                <a:gd name="T10" fmla="*/ 67 w 72"/>
                <a:gd name="T11" fmla="*/ 9 h 43"/>
                <a:gd name="T12" fmla="*/ 36 w 72"/>
                <a:gd name="T13" fmla="*/ 6 h 43"/>
                <a:gd name="T14" fmla="*/ 4 w 72"/>
                <a:gd name="T15" fmla="*/ 0 h 43"/>
                <a:gd name="T16" fmla="*/ 1 w 72"/>
                <a:gd name="T17" fmla="*/ 4 h 43"/>
                <a:gd name="T18" fmla="*/ 6 w 72"/>
                <a:gd name="T19" fmla="*/ 20 h 43"/>
                <a:gd name="T20" fmla="*/ 9 w 72"/>
                <a:gd name="T21" fmla="*/ 35 h 43"/>
                <a:gd name="T22" fmla="*/ 18 w 72"/>
                <a:gd name="T23" fmla="*/ 43 h 43"/>
                <a:gd name="T24" fmla="*/ 15 w 72"/>
                <a:gd name="T25" fmla="*/ 36 h 43"/>
                <a:gd name="T26" fmla="*/ 15 w 72"/>
                <a:gd name="T27" fmla="*/ 36 h 43"/>
                <a:gd name="T28" fmla="*/ 15 w 72"/>
                <a:gd name="T29" fmla="*/ 36 h 43"/>
                <a:gd name="T30" fmla="*/ 62 w 72"/>
                <a:gd name="T31" fmla="*/ 13 h 43"/>
                <a:gd name="T32" fmla="*/ 62 w 72"/>
                <a:gd name="T33" fmla="*/ 13 h 43"/>
                <a:gd name="T34" fmla="*/ 42 w 72"/>
                <a:gd name="T35" fmla="*/ 24 h 43"/>
                <a:gd name="T36" fmla="*/ 31 w 72"/>
                <a:gd name="T37" fmla="*/ 31 h 43"/>
                <a:gd name="T38" fmla="*/ 21 w 72"/>
                <a:gd name="T39" fmla="*/ 36 h 43"/>
                <a:gd name="T40" fmla="*/ 19 w 72"/>
                <a:gd name="T41" fmla="*/ 37 h 43"/>
                <a:gd name="T42" fmla="*/ 19 w 72"/>
                <a:gd name="T43" fmla="*/ 37 h 43"/>
                <a:gd name="T44" fmla="*/ 18 w 72"/>
                <a:gd name="T45" fmla="*/ 37 h 43"/>
                <a:gd name="T46" fmla="*/ 17 w 72"/>
                <a:gd name="T47" fmla="*/ 37 h 43"/>
                <a:gd name="T48" fmla="*/ 17 w 72"/>
                <a:gd name="T49" fmla="*/ 37 h 43"/>
                <a:gd name="T50" fmla="*/ 16 w 72"/>
                <a:gd name="T51" fmla="*/ 37 h 43"/>
                <a:gd name="T52" fmla="*/ 15 w 72"/>
                <a:gd name="T53" fmla="*/ 36 h 43"/>
                <a:gd name="T54" fmla="*/ 15 w 72"/>
                <a:gd name="T55" fmla="*/ 36 h 43"/>
                <a:gd name="T56" fmla="*/ 15 w 72"/>
                <a:gd name="T57" fmla="*/ 36 h 43"/>
                <a:gd name="T58" fmla="*/ 14 w 72"/>
                <a:gd name="T59" fmla="*/ 34 h 43"/>
                <a:gd name="T60" fmla="*/ 14 w 72"/>
                <a:gd name="T61" fmla="*/ 33 h 43"/>
                <a:gd name="T62" fmla="*/ 14 w 72"/>
                <a:gd name="T63" fmla="*/ 32 h 43"/>
                <a:gd name="T64" fmla="*/ 13 w 72"/>
                <a:gd name="T65" fmla="*/ 28 h 43"/>
                <a:gd name="T66" fmla="*/ 12 w 72"/>
                <a:gd name="T67" fmla="*/ 20 h 43"/>
                <a:gd name="T68" fmla="*/ 9 w 72"/>
                <a:gd name="T69" fmla="*/ 7 h 43"/>
                <a:gd name="T70" fmla="*/ 35 w 72"/>
                <a:gd name="T71" fmla="*/ 11 h 43"/>
                <a:gd name="T72" fmla="*/ 62 w 72"/>
                <a:gd name="T73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2" h="43">
                  <a:moveTo>
                    <a:pt x="18" y="43"/>
                  </a:moveTo>
                  <a:cubicBezTo>
                    <a:pt x="20" y="43"/>
                    <a:pt x="23" y="42"/>
                    <a:pt x="26" y="41"/>
                  </a:cubicBezTo>
                  <a:cubicBezTo>
                    <a:pt x="30" y="39"/>
                    <a:pt x="33" y="37"/>
                    <a:pt x="36" y="35"/>
                  </a:cubicBezTo>
                  <a:cubicBezTo>
                    <a:pt x="47" y="28"/>
                    <a:pt x="57" y="21"/>
                    <a:pt x="69" y="18"/>
                  </a:cubicBezTo>
                  <a:cubicBezTo>
                    <a:pt x="72" y="17"/>
                    <a:pt x="71" y="13"/>
                    <a:pt x="69" y="12"/>
                  </a:cubicBezTo>
                  <a:cubicBezTo>
                    <a:pt x="70" y="11"/>
                    <a:pt x="69" y="9"/>
                    <a:pt x="67" y="9"/>
                  </a:cubicBezTo>
                  <a:cubicBezTo>
                    <a:pt x="57" y="8"/>
                    <a:pt x="46" y="7"/>
                    <a:pt x="36" y="6"/>
                  </a:cubicBezTo>
                  <a:cubicBezTo>
                    <a:pt x="25" y="4"/>
                    <a:pt x="15" y="2"/>
                    <a:pt x="4" y="0"/>
                  </a:cubicBezTo>
                  <a:cubicBezTo>
                    <a:pt x="2" y="0"/>
                    <a:pt x="0" y="2"/>
                    <a:pt x="1" y="4"/>
                  </a:cubicBezTo>
                  <a:cubicBezTo>
                    <a:pt x="4" y="9"/>
                    <a:pt x="5" y="14"/>
                    <a:pt x="6" y="20"/>
                  </a:cubicBezTo>
                  <a:cubicBezTo>
                    <a:pt x="7" y="25"/>
                    <a:pt x="7" y="30"/>
                    <a:pt x="9" y="35"/>
                  </a:cubicBezTo>
                  <a:cubicBezTo>
                    <a:pt x="10" y="40"/>
                    <a:pt x="13" y="43"/>
                    <a:pt x="18" y="43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62" y="13"/>
                  </a:moveTo>
                  <a:cubicBezTo>
                    <a:pt x="62" y="13"/>
                    <a:pt x="62" y="13"/>
                    <a:pt x="62" y="13"/>
                  </a:cubicBezTo>
                  <a:cubicBezTo>
                    <a:pt x="55" y="16"/>
                    <a:pt x="49" y="20"/>
                    <a:pt x="42" y="24"/>
                  </a:cubicBezTo>
                  <a:cubicBezTo>
                    <a:pt x="38" y="26"/>
                    <a:pt x="35" y="29"/>
                    <a:pt x="31" y="31"/>
                  </a:cubicBezTo>
                  <a:cubicBezTo>
                    <a:pt x="28" y="33"/>
                    <a:pt x="24" y="35"/>
                    <a:pt x="21" y="36"/>
                  </a:cubicBezTo>
                  <a:cubicBezTo>
                    <a:pt x="21" y="37"/>
                    <a:pt x="20" y="37"/>
                    <a:pt x="19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8" y="37"/>
                    <a:pt x="18" y="37"/>
                  </a:cubicBezTo>
                  <a:cubicBezTo>
                    <a:pt x="18" y="37"/>
                    <a:pt x="18" y="37"/>
                    <a:pt x="17" y="37"/>
                  </a:cubicBezTo>
                  <a:cubicBezTo>
                    <a:pt x="18" y="37"/>
                    <a:pt x="17" y="37"/>
                    <a:pt x="1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5"/>
                    <a:pt x="15" y="35"/>
                    <a:pt x="14" y="34"/>
                  </a:cubicBezTo>
                  <a:cubicBezTo>
                    <a:pt x="15" y="35"/>
                    <a:pt x="14" y="34"/>
                    <a:pt x="14" y="33"/>
                  </a:cubicBezTo>
                  <a:cubicBezTo>
                    <a:pt x="14" y="33"/>
                    <a:pt x="14" y="32"/>
                    <a:pt x="14" y="32"/>
                  </a:cubicBezTo>
                  <a:cubicBezTo>
                    <a:pt x="13" y="31"/>
                    <a:pt x="13" y="29"/>
                    <a:pt x="13" y="28"/>
                  </a:cubicBezTo>
                  <a:cubicBezTo>
                    <a:pt x="13" y="25"/>
                    <a:pt x="12" y="23"/>
                    <a:pt x="12" y="20"/>
                  </a:cubicBezTo>
                  <a:cubicBezTo>
                    <a:pt x="11" y="16"/>
                    <a:pt x="10" y="11"/>
                    <a:pt x="9" y="7"/>
                  </a:cubicBezTo>
                  <a:cubicBezTo>
                    <a:pt x="17" y="8"/>
                    <a:pt x="26" y="10"/>
                    <a:pt x="35" y="11"/>
                  </a:cubicBezTo>
                  <a:cubicBezTo>
                    <a:pt x="44" y="13"/>
                    <a:pt x="53" y="14"/>
                    <a:pt x="62" y="1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8" name="iŝ1idé">
              <a:extLst>
                <a:ext uri="{FF2B5EF4-FFF2-40B4-BE49-F238E27FC236}">
                  <a16:creationId xmlns:a16="http://schemas.microsoft.com/office/drawing/2014/main" id="{C0E2DE27-E592-49CE-A9E6-A498D72158FC}"/>
                </a:ext>
              </a:extLst>
            </p:cNvPr>
            <p:cNvSpPr/>
            <p:nvPr/>
          </p:nvSpPr>
          <p:spPr bwMode="auto">
            <a:xfrm>
              <a:off x="3612456" y="3243526"/>
              <a:ext cx="137646" cy="137646"/>
            </a:xfrm>
            <a:custGeom>
              <a:avLst/>
              <a:gdLst>
                <a:gd name="T0" fmla="*/ 21 w 45"/>
                <a:gd name="T1" fmla="*/ 12 h 45"/>
                <a:gd name="T2" fmla="*/ 2 w 45"/>
                <a:gd name="T3" fmla="*/ 21 h 45"/>
                <a:gd name="T4" fmla="*/ 2 w 45"/>
                <a:gd name="T5" fmla="*/ 27 h 45"/>
                <a:gd name="T6" fmla="*/ 19 w 45"/>
                <a:gd name="T7" fmla="*/ 42 h 45"/>
                <a:gd name="T8" fmla="*/ 24 w 45"/>
                <a:gd name="T9" fmla="*/ 42 h 45"/>
                <a:gd name="T10" fmla="*/ 33 w 45"/>
                <a:gd name="T11" fmla="*/ 23 h 45"/>
                <a:gd name="T12" fmla="*/ 37 w 45"/>
                <a:gd name="T13" fmla="*/ 14 h 45"/>
                <a:gd name="T14" fmla="*/ 40 w 45"/>
                <a:gd name="T15" fmla="*/ 9 h 45"/>
                <a:gd name="T16" fmla="*/ 44 w 45"/>
                <a:gd name="T17" fmla="*/ 4 h 45"/>
                <a:gd name="T18" fmla="*/ 42 w 45"/>
                <a:gd name="T19" fmla="*/ 1 h 45"/>
                <a:gd name="T20" fmla="*/ 38 w 45"/>
                <a:gd name="T21" fmla="*/ 3 h 45"/>
                <a:gd name="T22" fmla="*/ 21 w 45"/>
                <a:gd name="T23" fmla="*/ 12 h 45"/>
                <a:gd name="T24" fmla="*/ 21 w 45"/>
                <a:gd name="T25" fmla="*/ 35 h 45"/>
                <a:gd name="T26" fmla="*/ 21 w 45"/>
                <a:gd name="T27" fmla="*/ 35 h 45"/>
                <a:gd name="T28" fmla="*/ 10 w 45"/>
                <a:gd name="T29" fmla="*/ 23 h 45"/>
                <a:gd name="T30" fmla="*/ 24 w 45"/>
                <a:gd name="T31" fmla="*/ 17 h 45"/>
                <a:gd name="T32" fmla="*/ 31 w 45"/>
                <a:gd name="T33" fmla="*/ 13 h 45"/>
                <a:gd name="T34" fmla="*/ 28 w 45"/>
                <a:gd name="T35" fmla="*/ 20 h 45"/>
                <a:gd name="T36" fmla="*/ 21 w 45"/>
                <a:gd name="T37" fmla="*/ 3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5">
                  <a:moveTo>
                    <a:pt x="21" y="12"/>
                  </a:moveTo>
                  <a:cubicBezTo>
                    <a:pt x="15" y="15"/>
                    <a:pt x="8" y="17"/>
                    <a:pt x="2" y="21"/>
                  </a:cubicBezTo>
                  <a:cubicBezTo>
                    <a:pt x="0" y="22"/>
                    <a:pt x="0" y="26"/>
                    <a:pt x="2" y="27"/>
                  </a:cubicBezTo>
                  <a:cubicBezTo>
                    <a:pt x="10" y="29"/>
                    <a:pt x="14" y="36"/>
                    <a:pt x="19" y="42"/>
                  </a:cubicBezTo>
                  <a:cubicBezTo>
                    <a:pt x="20" y="45"/>
                    <a:pt x="23" y="45"/>
                    <a:pt x="24" y="42"/>
                  </a:cubicBezTo>
                  <a:cubicBezTo>
                    <a:pt x="28" y="37"/>
                    <a:pt x="30" y="30"/>
                    <a:pt x="33" y="23"/>
                  </a:cubicBezTo>
                  <a:cubicBezTo>
                    <a:pt x="34" y="20"/>
                    <a:pt x="35" y="17"/>
                    <a:pt x="37" y="14"/>
                  </a:cubicBezTo>
                  <a:cubicBezTo>
                    <a:pt x="38" y="13"/>
                    <a:pt x="39" y="11"/>
                    <a:pt x="40" y="9"/>
                  </a:cubicBezTo>
                  <a:cubicBezTo>
                    <a:pt x="42" y="8"/>
                    <a:pt x="43" y="6"/>
                    <a:pt x="44" y="4"/>
                  </a:cubicBezTo>
                  <a:cubicBezTo>
                    <a:pt x="45" y="3"/>
                    <a:pt x="44" y="0"/>
                    <a:pt x="42" y="1"/>
                  </a:cubicBezTo>
                  <a:cubicBezTo>
                    <a:pt x="40" y="1"/>
                    <a:pt x="39" y="2"/>
                    <a:pt x="38" y="3"/>
                  </a:cubicBezTo>
                  <a:cubicBezTo>
                    <a:pt x="33" y="6"/>
                    <a:pt x="27" y="9"/>
                    <a:pt x="21" y="12"/>
                  </a:cubicBezTo>
                  <a:close/>
                  <a:moveTo>
                    <a:pt x="21" y="35"/>
                  </a:moveTo>
                  <a:cubicBezTo>
                    <a:pt x="21" y="35"/>
                    <a:pt x="21" y="35"/>
                    <a:pt x="21" y="35"/>
                  </a:cubicBezTo>
                  <a:cubicBezTo>
                    <a:pt x="18" y="31"/>
                    <a:pt x="15" y="26"/>
                    <a:pt x="10" y="23"/>
                  </a:cubicBezTo>
                  <a:cubicBezTo>
                    <a:pt x="14" y="21"/>
                    <a:pt x="19" y="19"/>
                    <a:pt x="24" y="17"/>
                  </a:cubicBezTo>
                  <a:cubicBezTo>
                    <a:pt x="26" y="16"/>
                    <a:pt x="28" y="15"/>
                    <a:pt x="31" y="13"/>
                  </a:cubicBezTo>
                  <a:cubicBezTo>
                    <a:pt x="30" y="15"/>
                    <a:pt x="29" y="18"/>
                    <a:pt x="28" y="20"/>
                  </a:cubicBezTo>
                  <a:cubicBezTo>
                    <a:pt x="26" y="25"/>
                    <a:pt x="24" y="30"/>
                    <a:pt x="21" y="3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9" name="îSľiḓe">
              <a:extLst>
                <a:ext uri="{FF2B5EF4-FFF2-40B4-BE49-F238E27FC236}">
                  <a16:creationId xmlns:a16="http://schemas.microsoft.com/office/drawing/2014/main" id="{8585CAF1-34BE-4FB1-BFC1-23B963CD746F}"/>
                </a:ext>
              </a:extLst>
            </p:cNvPr>
            <p:cNvSpPr/>
            <p:nvPr/>
          </p:nvSpPr>
          <p:spPr bwMode="auto">
            <a:xfrm>
              <a:off x="3818184" y="2278526"/>
              <a:ext cx="74003" cy="85844"/>
            </a:xfrm>
            <a:custGeom>
              <a:avLst/>
              <a:gdLst>
                <a:gd name="T0" fmla="*/ 6 w 24"/>
                <a:gd name="T1" fmla="*/ 25 h 28"/>
                <a:gd name="T2" fmla="*/ 20 w 24"/>
                <a:gd name="T3" fmla="*/ 23 h 28"/>
                <a:gd name="T4" fmla="*/ 24 w 24"/>
                <a:gd name="T5" fmla="*/ 9 h 28"/>
                <a:gd name="T6" fmla="*/ 17 w 24"/>
                <a:gd name="T7" fmla="*/ 1 h 28"/>
                <a:gd name="T8" fmla="*/ 10 w 24"/>
                <a:gd name="T9" fmla="*/ 2 h 28"/>
                <a:gd name="T10" fmla="*/ 8 w 24"/>
                <a:gd name="T11" fmla="*/ 4 h 28"/>
                <a:gd name="T12" fmla="*/ 7 w 24"/>
                <a:gd name="T13" fmla="*/ 4 h 28"/>
                <a:gd name="T14" fmla="*/ 1 w 24"/>
                <a:gd name="T15" fmla="*/ 12 h 28"/>
                <a:gd name="T16" fmla="*/ 6 w 24"/>
                <a:gd name="T17" fmla="*/ 25 h 28"/>
                <a:gd name="T18" fmla="*/ 6 w 24"/>
                <a:gd name="T19" fmla="*/ 12 h 28"/>
                <a:gd name="T20" fmla="*/ 6 w 24"/>
                <a:gd name="T21" fmla="*/ 12 h 28"/>
                <a:gd name="T22" fmla="*/ 7 w 24"/>
                <a:gd name="T23" fmla="*/ 10 h 28"/>
                <a:gd name="T24" fmla="*/ 8 w 24"/>
                <a:gd name="T25" fmla="*/ 10 h 28"/>
                <a:gd name="T26" fmla="*/ 9 w 24"/>
                <a:gd name="T27" fmla="*/ 10 h 28"/>
                <a:gd name="T28" fmla="*/ 10 w 24"/>
                <a:gd name="T29" fmla="*/ 9 h 28"/>
                <a:gd name="T30" fmla="*/ 12 w 24"/>
                <a:gd name="T31" fmla="*/ 8 h 28"/>
                <a:gd name="T32" fmla="*/ 12 w 24"/>
                <a:gd name="T33" fmla="*/ 7 h 28"/>
                <a:gd name="T34" fmla="*/ 12 w 24"/>
                <a:gd name="T35" fmla="*/ 7 h 28"/>
                <a:gd name="T36" fmla="*/ 13 w 24"/>
                <a:gd name="T37" fmla="*/ 7 h 28"/>
                <a:gd name="T38" fmla="*/ 13 w 24"/>
                <a:gd name="T39" fmla="*/ 7 h 28"/>
                <a:gd name="T40" fmla="*/ 14 w 24"/>
                <a:gd name="T41" fmla="*/ 7 h 28"/>
                <a:gd name="T42" fmla="*/ 14 w 24"/>
                <a:gd name="T43" fmla="*/ 6 h 28"/>
                <a:gd name="T44" fmla="*/ 14 w 24"/>
                <a:gd name="T45" fmla="*/ 6 h 28"/>
                <a:gd name="T46" fmla="*/ 14 w 24"/>
                <a:gd name="T47" fmla="*/ 6 h 28"/>
                <a:gd name="T48" fmla="*/ 15 w 24"/>
                <a:gd name="T49" fmla="*/ 6 h 28"/>
                <a:gd name="T50" fmla="*/ 15 w 24"/>
                <a:gd name="T51" fmla="*/ 6 h 28"/>
                <a:gd name="T52" fmla="*/ 15 w 24"/>
                <a:gd name="T53" fmla="*/ 6 h 28"/>
                <a:gd name="T54" fmla="*/ 16 w 24"/>
                <a:gd name="T55" fmla="*/ 7 h 28"/>
                <a:gd name="T56" fmla="*/ 16 w 24"/>
                <a:gd name="T57" fmla="*/ 7 h 28"/>
                <a:gd name="T58" fmla="*/ 16 w 24"/>
                <a:gd name="T59" fmla="*/ 7 h 28"/>
                <a:gd name="T60" fmla="*/ 17 w 24"/>
                <a:gd name="T61" fmla="*/ 8 h 28"/>
                <a:gd name="T62" fmla="*/ 17 w 24"/>
                <a:gd name="T63" fmla="*/ 8 h 28"/>
                <a:gd name="T64" fmla="*/ 18 w 24"/>
                <a:gd name="T65" fmla="*/ 9 h 28"/>
                <a:gd name="T66" fmla="*/ 18 w 24"/>
                <a:gd name="T67" fmla="*/ 9 h 28"/>
                <a:gd name="T68" fmla="*/ 18 w 24"/>
                <a:gd name="T69" fmla="*/ 9 h 28"/>
                <a:gd name="T70" fmla="*/ 18 w 24"/>
                <a:gd name="T71" fmla="*/ 11 h 28"/>
                <a:gd name="T72" fmla="*/ 18 w 24"/>
                <a:gd name="T73" fmla="*/ 16 h 28"/>
                <a:gd name="T74" fmla="*/ 16 w 24"/>
                <a:gd name="T75" fmla="*/ 20 h 28"/>
                <a:gd name="T76" fmla="*/ 10 w 24"/>
                <a:gd name="T77" fmla="*/ 21 h 28"/>
                <a:gd name="T78" fmla="*/ 6 w 24"/>
                <a:gd name="T79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" h="28">
                  <a:moveTo>
                    <a:pt x="6" y="25"/>
                  </a:moveTo>
                  <a:cubicBezTo>
                    <a:pt x="10" y="28"/>
                    <a:pt x="17" y="27"/>
                    <a:pt x="20" y="23"/>
                  </a:cubicBezTo>
                  <a:cubicBezTo>
                    <a:pt x="24" y="19"/>
                    <a:pt x="24" y="14"/>
                    <a:pt x="24" y="9"/>
                  </a:cubicBezTo>
                  <a:cubicBezTo>
                    <a:pt x="23" y="6"/>
                    <a:pt x="20" y="2"/>
                    <a:pt x="17" y="1"/>
                  </a:cubicBezTo>
                  <a:cubicBezTo>
                    <a:pt x="14" y="0"/>
                    <a:pt x="12" y="1"/>
                    <a:pt x="10" y="2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4" y="5"/>
                    <a:pt x="1" y="8"/>
                    <a:pt x="1" y="12"/>
                  </a:cubicBezTo>
                  <a:cubicBezTo>
                    <a:pt x="0" y="17"/>
                    <a:pt x="1" y="23"/>
                    <a:pt x="6" y="25"/>
                  </a:cubicBezTo>
                  <a:close/>
                  <a:moveTo>
                    <a:pt x="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6" y="11"/>
                    <a:pt x="6" y="11"/>
                    <a:pt x="7" y="10"/>
                  </a:cubicBezTo>
                  <a:cubicBezTo>
                    <a:pt x="7" y="10"/>
                    <a:pt x="8" y="10"/>
                    <a:pt x="8" y="10"/>
                  </a:cubicBezTo>
                  <a:cubicBezTo>
                    <a:pt x="8" y="10"/>
                    <a:pt x="9" y="10"/>
                    <a:pt x="9" y="10"/>
                  </a:cubicBezTo>
                  <a:cubicBezTo>
                    <a:pt x="9" y="10"/>
                    <a:pt x="10" y="9"/>
                    <a:pt x="10" y="9"/>
                  </a:cubicBezTo>
                  <a:cubicBezTo>
                    <a:pt x="11" y="9"/>
                    <a:pt x="11" y="8"/>
                    <a:pt x="12" y="8"/>
                  </a:cubicBezTo>
                  <a:cubicBezTo>
                    <a:pt x="11" y="8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7" y="7"/>
                    <a:pt x="17" y="8"/>
                  </a:cubicBezTo>
                  <a:cubicBezTo>
                    <a:pt x="17" y="7"/>
                    <a:pt x="17" y="8"/>
                    <a:pt x="17" y="8"/>
                  </a:cubicBezTo>
                  <a:cubicBezTo>
                    <a:pt x="17" y="9"/>
                    <a:pt x="17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8" y="10"/>
                    <a:pt x="18" y="11"/>
                  </a:cubicBezTo>
                  <a:cubicBezTo>
                    <a:pt x="18" y="12"/>
                    <a:pt x="18" y="14"/>
                    <a:pt x="18" y="16"/>
                  </a:cubicBezTo>
                  <a:cubicBezTo>
                    <a:pt x="18" y="18"/>
                    <a:pt x="17" y="19"/>
                    <a:pt x="16" y="20"/>
                  </a:cubicBezTo>
                  <a:cubicBezTo>
                    <a:pt x="14" y="21"/>
                    <a:pt x="12" y="22"/>
                    <a:pt x="10" y="21"/>
                  </a:cubicBezTo>
                  <a:cubicBezTo>
                    <a:pt x="7" y="21"/>
                    <a:pt x="5" y="16"/>
                    <a:pt x="6" y="1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0" name="ïṩ1íḋè">
              <a:extLst>
                <a:ext uri="{FF2B5EF4-FFF2-40B4-BE49-F238E27FC236}">
                  <a16:creationId xmlns:a16="http://schemas.microsoft.com/office/drawing/2014/main" id="{1F0C032C-3536-4537-90FE-B5A47D40DA2E}"/>
                </a:ext>
              </a:extLst>
            </p:cNvPr>
            <p:cNvSpPr/>
            <p:nvPr/>
          </p:nvSpPr>
          <p:spPr bwMode="auto">
            <a:xfrm>
              <a:off x="3983951" y="2100918"/>
              <a:ext cx="113965" cy="137646"/>
            </a:xfrm>
            <a:custGeom>
              <a:avLst/>
              <a:gdLst>
                <a:gd name="T0" fmla="*/ 36 w 37"/>
                <a:gd name="T1" fmla="*/ 22 h 45"/>
                <a:gd name="T2" fmla="*/ 20 w 37"/>
                <a:gd name="T3" fmla="*/ 1 h 45"/>
                <a:gd name="T4" fmla="*/ 3 w 37"/>
                <a:gd name="T5" fmla="*/ 29 h 45"/>
                <a:gd name="T6" fmla="*/ 30 w 37"/>
                <a:gd name="T7" fmla="*/ 18 h 45"/>
                <a:gd name="T8" fmla="*/ 30 w 37"/>
                <a:gd name="T9" fmla="*/ 18 h 45"/>
                <a:gd name="T10" fmla="*/ 11 w 37"/>
                <a:gd name="T11" fmla="*/ 13 h 45"/>
                <a:gd name="T12" fmla="*/ 13 w 37"/>
                <a:gd name="T13" fmla="*/ 12 h 45"/>
                <a:gd name="T14" fmla="*/ 16 w 37"/>
                <a:gd name="T15" fmla="*/ 10 h 45"/>
                <a:gd name="T16" fmla="*/ 18 w 37"/>
                <a:gd name="T17" fmla="*/ 10 h 45"/>
                <a:gd name="T18" fmla="*/ 19 w 37"/>
                <a:gd name="T19" fmla="*/ 8 h 45"/>
                <a:gd name="T20" fmla="*/ 21 w 37"/>
                <a:gd name="T21" fmla="*/ 8 h 45"/>
                <a:gd name="T22" fmla="*/ 23 w 37"/>
                <a:gd name="T23" fmla="*/ 7 h 45"/>
                <a:gd name="T24" fmla="*/ 24 w 37"/>
                <a:gd name="T25" fmla="*/ 7 h 45"/>
                <a:gd name="T26" fmla="*/ 25 w 37"/>
                <a:gd name="T27" fmla="*/ 7 h 45"/>
                <a:gd name="T28" fmla="*/ 26 w 37"/>
                <a:gd name="T29" fmla="*/ 8 h 45"/>
                <a:gd name="T30" fmla="*/ 27 w 37"/>
                <a:gd name="T31" fmla="*/ 10 h 45"/>
                <a:gd name="T32" fmla="*/ 28 w 37"/>
                <a:gd name="T33" fmla="*/ 11 h 45"/>
                <a:gd name="T34" fmla="*/ 29 w 37"/>
                <a:gd name="T35" fmla="*/ 12 h 45"/>
                <a:gd name="T36" fmla="*/ 30 w 37"/>
                <a:gd name="T37" fmla="*/ 17 h 45"/>
                <a:gd name="T38" fmla="*/ 30 w 37"/>
                <a:gd name="T39" fmla="*/ 18 h 45"/>
                <a:gd name="T40" fmla="*/ 30 w 37"/>
                <a:gd name="T41" fmla="*/ 22 h 45"/>
                <a:gd name="T42" fmla="*/ 29 w 37"/>
                <a:gd name="T43" fmla="*/ 25 h 45"/>
                <a:gd name="T44" fmla="*/ 29 w 37"/>
                <a:gd name="T45" fmla="*/ 28 h 45"/>
                <a:gd name="T46" fmla="*/ 28 w 37"/>
                <a:gd name="T47" fmla="*/ 30 h 45"/>
                <a:gd name="T48" fmla="*/ 27 w 37"/>
                <a:gd name="T49" fmla="*/ 32 h 45"/>
                <a:gd name="T50" fmla="*/ 26 w 37"/>
                <a:gd name="T51" fmla="*/ 33 h 45"/>
                <a:gd name="T52" fmla="*/ 24 w 37"/>
                <a:gd name="T53" fmla="*/ 34 h 45"/>
                <a:gd name="T54" fmla="*/ 22 w 37"/>
                <a:gd name="T55" fmla="*/ 35 h 45"/>
                <a:gd name="T56" fmla="*/ 22 w 37"/>
                <a:gd name="T57" fmla="*/ 35 h 45"/>
                <a:gd name="T58" fmla="*/ 18 w 37"/>
                <a:gd name="T59" fmla="*/ 35 h 45"/>
                <a:gd name="T60" fmla="*/ 15 w 37"/>
                <a:gd name="T61" fmla="*/ 34 h 45"/>
                <a:gd name="T62" fmla="*/ 14 w 37"/>
                <a:gd name="T63" fmla="*/ 33 h 45"/>
                <a:gd name="T64" fmla="*/ 9 w 37"/>
                <a:gd name="T65" fmla="*/ 2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" h="45">
                  <a:moveTo>
                    <a:pt x="27" y="41"/>
                  </a:moveTo>
                  <a:cubicBezTo>
                    <a:pt x="33" y="37"/>
                    <a:pt x="36" y="29"/>
                    <a:pt x="36" y="22"/>
                  </a:cubicBezTo>
                  <a:cubicBezTo>
                    <a:pt x="37" y="15"/>
                    <a:pt x="35" y="7"/>
                    <a:pt x="29" y="3"/>
                  </a:cubicBezTo>
                  <a:cubicBezTo>
                    <a:pt x="27" y="1"/>
                    <a:pt x="23" y="0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7" y="1"/>
                    <a:pt x="0" y="18"/>
                    <a:pt x="3" y="29"/>
                  </a:cubicBezTo>
                  <a:cubicBezTo>
                    <a:pt x="5" y="39"/>
                    <a:pt x="18" y="45"/>
                    <a:pt x="27" y="41"/>
                  </a:cubicBezTo>
                  <a:close/>
                  <a:moveTo>
                    <a:pt x="30" y="18"/>
                  </a:move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lose/>
                  <a:moveTo>
                    <a:pt x="11" y="13"/>
                  </a:moveTo>
                  <a:cubicBezTo>
                    <a:pt x="11" y="13"/>
                    <a:pt x="11" y="13"/>
                    <a:pt x="11" y="1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12"/>
                    <a:pt x="14" y="12"/>
                    <a:pt x="15" y="11"/>
                  </a:cubicBezTo>
                  <a:cubicBezTo>
                    <a:pt x="15" y="11"/>
                    <a:pt x="16" y="10"/>
                    <a:pt x="16" y="10"/>
                  </a:cubicBezTo>
                  <a:cubicBezTo>
                    <a:pt x="16" y="10"/>
                    <a:pt x="17" y="10"/>
                    <a:pt x="18" y="10"/>
                  </a:cubicBezTo>
                  <a:cubicBezTo>
                    <a:pt x="18" y="10"/>
                    <a:pt x="18" y="9"/>
                    <a:pt x="18" y="10"/>
                  </a:cubicBezTo>
                  <a:cubicBezTo>
                    <a:pt x="19" y="9"/>
                    <a:pt x="19" y="9"/>
                    <a:pt x="18" y="9"/>
                  </a:cubicBezTo>
                  <a:cubicBezTo>
                    <a:pt x="19" y="9"/>
                    <a:pt x="19" y="9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1" y="8"/>
                    <a:pt x="21" y="8"/>
                  </a:cubicBezTo>
                  <a:cubicBezTo>
                    <a:pt x="21" y="8"/>
                    <a:pt x="22" y="7"/>
                    <a:pt x="22" y="7"/>
                  </a:cubicBezTo>
                  <a:cubicBezTo>
                    <a:pt x="22" y="7"/>
                    <a:pt x="22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5" y="7"/>
                  </a:cubicBezTo>
                  <a:cubicBezTo>
                    <a:pt x="25" y="7"/>
                    <a:pt x="25" y="8"/>
                    <a:pt x="25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9"/>
                    <a:pt x="27" y="9"/>
                    <a:pt x="27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4"/>
                    <a:pt x="29" y="16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9"/>
                    <a:pt x="30" y="19"/>
                  </a:cubicBezTo>
                  <a:cubicBezTo>
                    <a:pt x="30" y="20"/>
                    <a:pt x="30" y="21"/>
                    <a:pt x="30" y="22"/>
                  </a:cubicBezTo>
                  <a:cubicBezTo>
                    <a:pt x="30" y="22"/>
                    <a:pt x="30" y="23"/>
                    <a:pt x="30" y="24"/>
                  </a:cubicBezTo>
                  <a:cubicBezTo>
                    <a:pt x="30" y="24"/>
                    <a:pt x="30" y="25"/>
                    <a:pt x="29" y="25"/>
                  </a:cubicBezTo>
                  <a:cubicBezTo>
                    <a:pt x="29" y="25"/>
                    <a:pt x="29" y="26"/>
                    <a:pt x="29" y="26"/>
                  </a:cubicBezTo>
                  <a:cubicBezTo>
                    <a:pt x="29" y="27"/>
                    <a:pt x="29" y="28"/>
                    <a:pt x="29" y="28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8" y="30"/>
                    <a:pt x="28" y="30"/>
                  </a:cubicBezTo>
                  <a:cubicBezTo>
                    <a:pt x="28" y="31"/>
                    <a:pt x="28" y="31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1" y="35"/>
                    <a:pt x="20" y="35"/>
                    <a:pt x="19" y="35"/>
                  </a:cubicBezTo>
                  <a:cubicBezTo>
                    <a:pt x="19" y="35"/>
                    <a:pt x="18" y="35"/>
                    <a:pt x="18" y="35"/>
                  </a:cubicBezTo>
                  <a:cubicBezTo>
                    <a:pt x="17" y="35"/>
                    <a:pt x="17" y="34"/>
                    <a:pt x="16" y="34"/>
                  </a:cubicBezTo>
                  <a:cubicBezTo>
                    <a:pt x="16" y="34"/>
                    <a:pt x="15" y="34"/>
                    <a:pt x="15" y="34"/>
                  </a:cubicBezTo>
                  <a:cubicBezTo>
                    <a:pt x="15" y="34"/>
                    <a:pt x="15" y="34"/>
                    <a:pt x="14" y="34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2" y="33"/>
                    <a:pt x="12" y="32"/>
                    <a:pt x="11" y="31"/>
                  </a:cubicBezTo>
                  <a:cubicBezTo>
                    <a:pt x="10" y="30"/>
                    <a:pt x="9" y="29"/>
                    <a:pt x="9" y="28"/>
                  </a:cubicBezTo>
                  <a:cubicBezTo>
                    <a:pt x="7" y="23"/>
                    <a:pt x="9" y="17"/>
                    <a:pt x="11" y="1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1" name="îṩlîḋè">
              <a:extLst>
                <a:ext uri="{FF2B5EF4-FFF2-40B4-BE49-F238E27FC236}">
                  <a16:creationId xmlns:a16="http://schemas.microsoft.com/office/drawing/2014/main" id="{C65427EC-F471-4CB2-B4C4-122A1BBEF9E1}"/>
                </a:ext>
              </a:extLst>
            </p:cNvPr>
            <p:cNvSpPr/>
            <p:nvPr/>
          </p:nvSpPr>
          <p:spPr bwMode="auto">
            <a:xfrm>
              <a:off x="4032794" y="4285490"/>
              <a:ext cx="108045" cy="122846"/>
            </a:xfrm>
            <a:custGeom>
              <a:avLst/>
              <a:gdLst>
                <a:gd name="T0" fmla="*/ 32 w 35"/>
                <a:gd name="T1" fmla="*/ 8 h 40"/>
                <a:gd name="T2" fmla="*/ 23 w 35"/>
                <a:gd name="T3" fmla="*/ 1 h 40"/>
                <a:gd name="T4" fmla="*/ 16 w 35"/>
                <a:gd name="T5" fmla="*/ 1 h 40"/>
                <a:gd name="T6" fmla="*/ 15 w 35"/>
                <a:gd name="T7" fmla="*/ 1 h 40"/>
                <a:gd name="T8" fmla="*/ 2 w 35"/>
                <a:gd name="T9" fmla="*/ 27 h 40"/>
                <a:gd name="T10" fmla="*/ 27 w 35"/>
                <a:gd name="T11" fmla="*/ 31 h 40"/>
                <a:gd name="T12" fmla="*/ 32 w 35"/>
                <a:gd name="T13" fmla="*/ 8 h 40"/>
                <a:gd name="T14" fmla="*/ 23 w 35"/>
                <a:gd name="T15" fmla="*/ 27 h 40"/>
                <a:gd name="T16" fmla="*/ 23 w 35"/>
                <a:gd name="T17" fmla="*/ 27 h 40"/>
                <a:gd name="T18" fmla="*/ 18 w 35"/>
                <a:gd name="T19" fmla="*/ 30 h 40"/>
                <a:gd name="T20" fmla="*/ 14 w 35"/>
                <a:gd name="T21" fmla="*/ 31 h 40"/>
                <a:gd name="T22" fmla="*/ 13 w 35"/>
                <a:gd name="T23" fmla="*/ 31 h 40"/>
                <a:gd name="T24" fmla="*/ 12 w 35"/>
                <a:gd name="T25" fmla="*/ 31 h 40"/>
                <a:gd name="T26" fmla="*/ 11 w 35"/>
                <a:gd name="T27" fmla="*/ 30 h 40"/>
                <a:gd name="T28" fmla="*/ 11 w 35"/>
                <a:gd name="T29" fmla="*/ 30 h 40"/>
                <a:gd name="T30" fmla="*/ 11 w 35"/>
                <a:gd name="T31" fmla="*/ 30 h 40"/>
                <a:gd name="T32" fmla="*/ 10 w 35"/>
                <a:gd name="T33" fmla="*/ 30 h 40"/>
                <a:gd name="T34" fmla="*/ 9 w 35"/>
                <a:gd name="T35" fmla="*/ 29 h 40"/>
                <a:gd name="T36" fmla="*/ 9 w 35"/>
                <a:gd name="T37" fmla="*/ 29 h 40"/>
                <a:gd name="T38" fmla="*/ 9 w 35"/>
                <a:gd name="T39" fmla="*/ 29 h 40"/>
                <a:gd name="T40" fmla="*/ 9 w 35"/>
                <a:gd name="T41" fmla="*/ 29 h 40"/>
                <a:gd name="T42" fmla="*/ 8 w 35"/>
                <a:gd name="T43" fmla="*/ 28 h 40"/>
                <a:gd name="T44" fmla="*/ 8 w 35"/>
                <a:gd name="T45" fmla="*/ 27 h 40"/>
                <a:gd name="T46" fmla="*/ 8 w 35"/>
                <a:gd name="T47" fmla="*/ 27 h 40"/>
                <a:gd name="T48" fmla="*/ 8 w 35"/>
                <a:gd name="T49" fmla="*/ 27 h 40"/>
                <a:gd name="T50" fmla="*/ 7 w 35"/>
                <a:gd name="T51" fmla="*/ 25 h 40"/>
                <a:gd name="T52" fmla="*/ 7 w 35"/>
                <a:gd name="T53" fmla="*/ 25 h 40"/>
                <a:gd name="T54" fmla="*/ 7 w 35"/>
                <a:gd name="T55" fmla="*/ 25 h 40"/>
                <a:gd name="T56" fmla="*/ 7 w 35"/>
                <a:gd name="T57" fmla="*/ 24 h 40"/>
                <a:gd name="T58" fmla="*/ 7 w 35"/>
                <a:gd name="T59" fmla="*/ 22 h 40"/>
                <a:gd name="T60" fmla="*/ 7 w 35"/>
                <a:gd name="T61" fmla="*/ 21 h 40"/>
                <a:gd name="T62" fmla="*/ 7 w 35"/>
                <a:gd name="T63" fmla="*/ 21 h 40"/>
                <a:gd name="T64" fmla="*/ 7 w 35"/>
                <a:gd name="T65" fmla="*/ 20 h 40"/>
                <a:gd name="T66" fmla="*/ 14 w 35"/>
                <a:gd name="T67" fmla="*/ 8 h 40"/>
                <a:gd name="T68" fmla="*/ 16 w 35"/>
                <a:gd name="T69" fmla="*/ 7 h 40"/>
                <a:gd name="T70" fmla="*/ 17 w 35"/>
                <a:gd name="T71" fmla="*/ 7 h 40"/>
                <a:gd name="T72" fmla="*/ 18 w 35"/>
                <a:gd name="T73" fmla="*/ 7 h 40"/>
                <a:gd name="T74" fmla="*/ 19 w 35"/>
                <a:gd name="T75" fmla="*/ 7 h 40"/>
                <a:gd name="T76" fmla="*/ 19 w 35"/>
                <a:gd name="T77" fmla="*/ 7 h 40"/>
                <a:gd name="T78" fmla="*/ 21 w 35"/>
                <a:gd name="T79" fmla="*/ 7 h 40"/>
                <a:gd name="T80" fmla="*/ 21 w 35"/>
                <a:gd name="T81" fmla="*/ 7 h 40"/>
                <a:gd name="T82" fmla="*/ 22 w 35"/>
                <a:gd name="T83" fmla="*/ 7 h 40"/>
                <a:gd name="T84" fmla="*/ 23 w 35"/>
                <a:gd name="T85" fmla="*/ 7 h 40"/>
                <a:gd name="T86" fmla="*/ 23 w 35"/>
                <a:gd name="T87" fmla="*/ 7 h 40"/>
                <a:gd name="T88" fmla="*/ 23 w 35"/>
                <a:gd name="T89" fmla="*/ 7 h 40"/>
                <a:gd name="T90" fmla="*/ 24 w 35"/>
                <a:gd name="T91" fmla="*/ 8 h 40"/>
                <a:gd name="T92" fmla="*/ 24 w 35"/>
                <a:gd name="T93" fmla="*/ 8 h 40"/>
                <a:gd name="T94" fmla="*/ 24 w 35"/>
                <a:gd name="T95" fmla="*/ 8 h 40"/>
                <a:gd name="T96" fmla="*/ 25 w 35"/>
                <a:gd name="T97" fmla="*/ 9 h 40"/>
                <a:gd name="T98" fmla="*/ 25 w 35"/>
                <a:gd name="T99" fmla="*/ 9 h 40"/>
                <a:gd name="T100" fmla="*/ 25 w 35"/>
                <a:gd name="T101" fmla="*/ 9 h 40"/>
                <a:gd name="T102" fmla="*/ 26 w 35"/>
                <a:gd name="T103" fmla="*/ 10 h 40"/>
                <a:gd name="T104" fmla="*/ 26 w 35"/>
                <a:gd name="T105" fmla="*/ 11 h 40"/>
                <a:gd name="T106" fmla="*/ 26 w 35"/>
                <a:gd name="T107" fmla="*/ 12 h 40"/>
                <a:gd name="T108" fmla="*/ 27 w 35"/>
                <a:gd name="T109" fmla="*/ 13 h 40"/>
                <a:gd name="T110" fmla="*/ 27 w 35"/>
                <a:gd name="T111" fmla="*/ 14 h 40"/>
                <a:gd name="T112" fmla="*/ 27 w 35"/>
                <a:gd name="T113" fmla="*/ 14 h 40"/>
                <a:gd name="T114" fmla="*/ 27 w 35"/>
                <a:gd name="T115" fmla="*/ 16 h 40"/>
                <a:gd name="T116" fmla="*/ 23 w 35"/>
                <a:gd name="T117" fmla="*/ 2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" h="40">
                  <a:moveTo>
                    <a:pt x="32" y="8"/>
                  </a:moveTo>
                  <a:cubicBezTo>
                    <a:pt x="30" y="4"/>
                    <a:pt x="27" y="2"/>
                    <a:pt x="23" y="1"/>
                  </a:cubicBezTo>
                  <a:cubicBezTo>
                    <a:pt x="21" y="0"/>
                    <a:pt x="19" y="1"/>
                    <a:pt x="16" y="1"/>
                  </a:cubicBezTo>
                  <a:cubicBezTo>
                    <a:pt x="16" y="1"/>
                    <a:pt x="16" y="1"/>
                    <a:pt x="15" y="1"/>
                  </a:cubicBezTo>
                  <a:cubicBezTo>
                    <a:pt x="6" y="5"/>
                    <a:pt x="0" y="17"/>
                    <a:pt x="2" y="27"/>
                  </a:cubicBezTo>
                  <a:cubicBezTo>
                    <a:pt x="4" y="40"/>
                    <a:pt x="20" y="38"/>
                    <a:pt x="27" y="31"/>
                  </a:cubicBezTo>
                  <a:cubicBezTo>
                    <a:pt x="33" y="26"/>
                    <a:pt x="35" y="15"/>
                    <a:pt x="32" y="8"/>
                  </a:cubicBezTo>
                  <a:close/>
                  <a:moveTo>
                    <a:pt x="23" y="27"/>
                  </a:moveTo>
                  <a:cubicBezTo>
                    <a:pt x="23" y="27"/>
                    <a:pt x="23" y="27"/>
                    <a:pt x="23" y="27"/>
                  </a:cubicBezTo>
                  <a:cubicBezTo>
                    <a:pt x="22" y="28"/>
                    <a:pt x="20" y="29"/>
                    <a:pt x="18" y="30"/>
                  </a:cubicBezTo>
                  <a:cubicBezTo>
                    <a:pt x="17" y="30"/>
                    <a:pt x="15" y="31"/>
                    <a:pt x="14" y="31"/>
                  </a:cubicBezTo>
                  <a:cubicBezTo>
                    <a:pt x="14" y="31"/>
                    <a:pt x="13" y="31"/>
                    <a:pt x="1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0" y="30"/>
                    <a:pt x="10" y="30"/>
                  </a:cubicBezTo>
                  <a:cubicBezTo>
                    <a:pt x="10" y="30"/>
                    <a:pt x="10" y="30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6"/>
                    <a:pt x="7" y="26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3"/>
                    <a:pt x="7" y="22"/>
                    <a:pt x="7" y="22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15"/>
                    <a:pt x="11" y="10"/>
                    <a:pt x="14" y="8"/>
                  </a:cubicBezTo>
                  <a:cubicBezTo>
                    <a:pt x="15" y="8"/>
                    <a:pt x="15" y="8"/>
                    <a:pt x="16" y="7"/>
                  </a:cubicBezTo>
                  <a:cubicBezTo>
                    <a:pt x="16" y="7"/>
                    <a:pt x="17" y="7"/>
                    <a:pt x="17" y="7"/>
                  </a:cubicBezTo>
                  <a:cubicBezTo>
                    <a:pt x="17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0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2" y="7"/>
                  </a:cubicBezTo>
                  <a:cubicBezTo>
                    <a:pt x="22" y="7"/>
                    <a:pt x="22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8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6" y="10"/>
                  </a:cubicBezTo>
                  <a:cubicBezTo>
                    <a:pt x="26" y="10"/>
                    <a:pt x="26" y="10"/>
                    <a:pt x="26" y="11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7" y="13"/>
                    <a:pt x="27" y="13"/>
                  </a:cubicBezTo>
                  <a:cubicBezTo>
                    <a:pt x="27" y="13"/>
                    <a:pt x="27" y="13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5"/>
                    <a:pt x="27" y="15"/>
                    <a:pt x="27" y="16"/>
                  </a:cubicBezTo>
                  <a:cubicBezTo>
                    <a:pt x="27" y="20"/>
                    <a:pt x="26" y="24"/>
                    <a:pt x="23" y="2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2" name="iśḷîḓe">
              <a:extLst>
                <a:ext uri="{FF2B5EF4-FFF2-40B4-BE49-F238E27FC236}">
                  <a16:creationId xmlns:a16="http://schemas.microsoft.com/office/drawing/2014/main" id="{9541E0B7-E520-4B90-A5E2-4F5F9F285B51}"/>
                </a:ext>
              </a:extLst>
            </p:cNvPr>
            <p:cNvSpPr/>
            <p:nvPr/>
          </p:nvSpPr>
          <p:spPr bwMode="auto">
            <a:xfrm>
              <a:off x="3898108" y="4625905"/>
              <a:ext cx="79923" cy="82883"/>
            </a:xfrm>
            <a:custGeom>
              <a:avLst/>
              <a:gdLst>
                <a:gd name="T0" fmla="*/ 22 w 26"/>
                <a:gd name="T1" fmla="*/ 5 h 27"/>
                <a:gd name="T2" fmla="*/ 20 w 26"/>
                <a:gd name="T3" fmla="*/ 4 h 27"/>
                <a:gd name="T4" fmla="*/ 19 w 26"/>
                <a:gd name="T5" fmla="*/ 2 h 27"/>
                <a:gd name="T6" fmla="*/ 2 w 26"/>
                <a:gd name="T7" fmla="*/ 9 h 27"/>
                <a:gd name="T8" fmla="*/ 10 w 26"/>
                <a:gd name="T9" fmla="*/ 25 h 27"/>
                <a:gd name="T10" fmla="*/ 21 w 26"/>
                <a:gd name="T11" fmla="*/ 22 h 27"/>
                <a:gd name="T12" fmla="*/ 26 w 26"/>
                <a:gd name="T13" fmla="*/ 10 h 27"/>
                <a:gd name="T14" fmla="*/ 22 w 26"/>
                <a:gd name="T15" fmla="*/ 5 h 27"/>
                <a:gd name="T16" fmla="*/ 20 w 26"/>
                <a:gd name="T17" fmla="*/ 11 h 27"/>
                <a:gd name="T18" fmla="*/ 20 w 26"/>
                <a:gd name="T19" fmla="*/ 11 h 27"/>
                <a:gd name="T20" fmla="*/ 20 w 26"/>
                <a:gd name="T21" fmla="*/ 11 h 27"/>
                <a:gd name="T22" fmla="*/ 20 w 26"/>
                <a:gd name="T23" fmla="*/ 12 h 27"/>
                <a:gd name="T24" fmla="*/ 20 w 26"/>
                <a:gd name="T25" fmla="*/ 12 h 27"/>
                <a:gd name="T26" fmla="*/ 20 w 26"/>
                <a:gd name="T27" fmla="*/ 13 h 27"/>
                <a:gd name="T28" fmla="*/ 19 w 26"/>
                <a:gd name="T29" fmla="*/ 14 h 27"/>
                <a:gd name="T30" fmla="*/ 19 w 26"/>
                <a:gd name="T31" fmla="*/ 15 h 27"/>
                <a:gd name="T32" fmla="*/ 18 w 26"/>
                <a:gd name="T33" fmla="*/ 17 h 27"/>
                <a:gd name="T34" fmla="*/ 18 w 26"/>
                <a:gd name="T35" fmla="*/ 17 h 27"/>
                <a:gd name="T36" fmla="*/ 18 w 26"/>
                <a:gd name="T37" fmla="*/ 17 h 27"/>
                <a:gd name="T38" fmla="*/ 18 w 26"/>
                <a:gd name="T39" fmla="*/ 17 h 27"/>
                <a:gd name="T40" fmla="*/ 17 w 26"/>
                <a:gd name="T41" fmla="*/ 18 h 27"/>
                <a:gd name="T42" fmla="*/ 16 w 26"/>
                <a:gd name="T43" fmla="*/ 19 h 27"/>
                <a:gd name="T44" fmla="*/ 16 w 26"/>
                <a:gd name="T45" fmla="*/ 19 h 27"/>
                <a:gd name="T46" fmla="*/ 16 w 26"/>
                <a:gd name="T47" fmla="*/ 19 h 27"/>
                <a:gd name="T48" fmla="*/ 15 w 26"/>
                <a:gd name="T49" fmla="*/ 20 h 27"/>
                <a:gd name="T50" fmla="*/ 14 w 26"/>
                <a:gd name="T51" fmla="*/ 20 h 27"/>
                <a:gd name="T52" fmla="*/ 14 w 26"/>
                <a:gd name="T53" fmla="*/ 20 h 27"/>
                <a:gd name="T54" fmla="*/ 13 w 26"/>
                <a:gd name="T55" fmla="*/ 20 h 27"/>
                <a:gd name="T56" fmla="*/ 12 w 26"/>
                <a:gd name="T57" fmla="*/ 20 h 27"/>
                <a:gd name="T58" fmla="*/ 11 w 26"/>
                <a:gd name="T59" fmla="*/ 20 h 27"/>
                <a:gd name="T60" fmla="*/ 10 w 26"/>
                <a:gd name="T61" fmla="*/ 19 h 27"/>
                <a:gd name="T62" fmla="*/ 10 w 26"/>
                <a:gd name="T63" fmla="*/ 19 h 27"/>
                <a:gd name="T64" fmla="*/ 10 w 26"/>
                <a:gd name="T65" fmla="*/ 19 h 27"/>
                <a:gd name="T66" fmla="*/ 10 w 26"/>
                <a:gd name="T67" fmla="*/ 19 h 27"/>
                <a:gd name="T68" fmla="*/ 8 w 26"/>
                <a:gd name="T69" fmla="*/ 16 h 27"/>
                <a:gd name="T70" fmla="*/ 9 w 26"/>
                <a:gd name="T71" fmla="*/ 8 h 27"/>
                <a:gd name="T72" fmla="*/ 14 w 26"/>
                <a:gd name="T73" fmla="*/ 6 h 27"/>
                <a:gd name="T74" fmla="*/ 14 w 26"/>
                <a:gd name="T75" fmla="*/ 8 h 27"/>
                <a:gd name="T76" fmla="*/ 18 w 26"/>
                <a:gd name="T77" fmla="*/ 9 h 27"/>
                <a:gd name="T78" fmla="*/ 19 w 26"/>
                <a:gd name="T79" fmla="*/ 10 h 27"/>
                <a:gd name="T80" fmla="*/ 20 w 26"/>
                <a:gd name="T81" fmla="*/ 10 h 27"/>
                <a:gd name="T82" fmla="*/ 20 w 26"/>
                <a:gd name="T83" fmla="*/ 10 h 27"/>
                <a:gd name="T84" fmla="*/ 20 w 26"/>
                <a:gd name="T85" fmla="*/ 10 h 27"/>
                <a:gd name="T86" fmla="*/ 20 w 26"/>
                <a:gd name="T87" fmla="*/ 11 h 27"/>
                <a:gd name="T88" fmla="*/ 20 w 26"/>
                <a:gd name="T89" fmla="*/ 11 h 27"/>
                <a:gd name="T90" fmla="*/ 20 w 26"/>
                <a:gd name="T91" fmla="*/ 11 h 27"/>
                <a:gd name="T92" fmla="*/ 20 w 26"/>
                <a:gd name="T93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" h="27">
                  <a:moveTo>
                    <a:pt x="22" y="5"/>
                  </a:moveTo>
                  <a:cubicBezTo>
                    <a:pt x="22" y="4"/>
                    <a:pt x="21" y="4"/>
                    <a:pt x="20" y="4"/>
                  </a:cubicBezTo>
                  <a:cubicBezTo>
                    <a:pt x="20" y="3"/>
                    <a:pt x="19" y="3"/>
                    <a:pt x="19" y="2"/>
                  </a:cubicBezTo>
                  <a:cubicBezTo>
                    <a:pt x="12" y="0"/>
                    <a:pt x="5" y="2"/>
                    <a:pt x="2" y="9"/>
                  </a:cubicBezTo>
                  <a:cubicBezTo>
                    <a:pt x="0" y="15"/>
                    <a:pt x="4" y="23"/>
                    <a:pt x="10" y="25"/>
                  </a:cubicBezTo>
                  <a:cubicBezTo>
                    <a:pt x="14" y="27"/>
                    <a:pt x="19" y="25"/>
                    <a:pt x="21" y="22"/>
                  </a:cubicBezTo>
                  <a:cubicBezTo>
                    <a:pt x="25" y="19"/>
                    <a:pt x="26" y="14"/>
                    <a:pt x="26" y="10"/>
                  </a:cubicBezTo>
                  <a:cubicBezTo>
                    <a:pt x="26" y="8"/>
                    <a:pt x="24" y="6"/>
                    <a:pt x="22" y="5"/>
                  </a:cubicBezTo>
                  <a:close/>
                  <a:moveTo>
                    <a:pt x="20" y="11"/>
                  </a:move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1"/>
                  </a:cubicBezTo>
                  <a:close/>
                  <a:moveTo>
                    <a:pt x="20" y="12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4"/>
                    <a:pt x="20" y="14"/>
                    <a:pt x="19" y="14"/>
                  </a:cubicBezTo>
                  <a:cubicBezTo>
                    <a:pt x="20" y="14"/>
                    <a:pt x="19" y="15"/>
                    <a:pt x="19" y="15"/>
                  </a:cubicBezTo>
                  <a:cubicBezTo>
                    <a:pt x="19" y="16"/>
                    <a:pt x="18" y="16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6" y="18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5" y="19"/>
                    <a:pt x="15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3" y="20"/>
                    <a:pt x="12" y="20"/>
                    <a:pt x="11" y="20"/>
                  </a:cubicBezTo>
                  <a:cubicBezTo>
                    <a:pt x="11" y="20"/>
                    <a:pt x="11" y="20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9" y="18"/>
                    <a:pt x="8" y="17"/>
                    <a:pt x="8" y="16"/>
                  </a:cubicBezTo>
                  <a:cubicBezTo>
                    <a:pt x="7" y="13"/>
                    <a:pt x="8" y="10"/>
                    <a:pt x="9" y="8"/>
                  </a:cubicBezTo>
                  <a:cubicBezTo>
                    <a:pt x="10" y="7"/>
                    <a:pt x="12" y="6"/>
                    <a:pt x="14" y="6"/>
                  </a:cubicBezTo>
                  <a:cubicBezTo>
                    <a:pt x="13" y="7"/>
                    <a:pt x="14" y="7"/>
                    <a:pt x="14" y="8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8" y="9"/>
                    <a:pt x="19" y="10"/>
                    <a:pt x="19" y="10"/>
                  </a:cubicBezTo>
                  <a:cubicBezTo>
                    <a:pt x="18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2"/>
                    <a:pt x="20" y="12"/>
                    <a:pt x="20" y="1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3" name="ï$ļïḋè">
              <a:extLst>
                <a:ext uri="{FF2B5EF4-FFF2-40B4-BE49-F238E27FC236}">
                  <a16:creationId xmlns:a16="http://schemas.microsoft.com/office/drawing/2014/main" id="{5CA2507E-B004-4C37-A6BE-F16CDFAA48AC}"/>
                </a:ext>
              </a:extLst>
            </p:cNvPr>
            <p:cNvSpPr/>
            <p:nvPr/>
          </p:nvSpPr>
          <p:spPr bwMode="auto">
            <a:xfrm>
              <a:off x="4516774" y="5450299"/>
              <a:ext cx="66603" cy="63643"/>
            </a:xfrm>
            <a:custGeom>
              <a:avLst/>
              <a:gdLst>
                <a:gd name="T0" fmla="*/ 10 w 22"/>
                <a:gd name="T1" fmla="*/ 3 h 21"/>
                <a:gd name="T2" fmla="*/ 7 w 22"/>
                <a:gd name="T3" fmla="*/ 2 h 21"/>
                <a:gd name="T4" fmla="*/ 2 w 22"/>
                <a:gd name="T5" fmla="*/ 15 h 21"/>
                <a:gd name="T6" fmla="*/ 16 w 22"/>
                <a:gd name="T7" fmla="*/ 19 h 21"/>
                <a:gd name="T8" fmla="*/ 21 w 22"/>
                <a:gd name="T9" fmla="*/ 9 h 21"/>
                <a:gd name="T10" fmla="*/ 10 w 22"/>
                <a:gd name="T11" fmla="*/ 3 h 21"/>
                <a:gd name="T12" fmla="*/ 14 w 22"/>
                <a:gd name="T13" fmla="*/ 15 h 21"/>
                <a:gd name="T14" fmla="*/ 14 w 22"/>
                <a:gd name="T15" fmla="*/ 15 h 21"/>
                <a:gd name="T16" fmla="*/ 10 w 22"/>
                <a:gd name="T17" fmla="*/ 15 h 21"/>
                <a:gd name="T18" fmla="*/ 5 w 22"/>
                <a:gd name="T19" fmla="*/ 13 h 21"/>
                <a:gd name="T20" fmla="*/ 10 w 22"/>
                <a:gd name="T21" fmla="*/ 5 h 21"/>
                <a:gd name="T22" fmla="*/ 10 w 22"/>
                <a:gd name="T23" fmla="*/ 5 h 21"/>
                <a:gd name="T24" fmla="*/ 14 w 22"/>
                <a:gd name="T25" fmla="*/ 7 h 21"/>
                <a:gd name="T26" fmla="*/ 15 w 22"/>
                <a:gd name="T27" fmla="*/ 8 h 21"/>
                <a:gd name="T28" fmla="*/ 16 w 22"/>
                <a:gd name="T29" fmla="*/ 9 h 21"/>
                <a:gd name="T30" fmla="*/ 16 w 22"/>
                <a:gd name="T31" fmla="*/ 9 h 21"/>
                <a:gd name="T32" fmla="*/ 14 w 22"/>
                <a:gd name="T33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1">
                  <a:moveTo>
                    <a:pt x="10" y="3"/>
                  </a:moveTo>
                  <a:cubicBezTo>
                    <a:pt x="9" y="2"/>
                    <a:pt x="8" y="2"/>
                    <a:pt x="7" y="2"/>
                  </a:cubicBezTo>
                  <a:cubicBezTo>
                    <a:pt x="4" y="5"/>
                    <a:pt x="0" y="9"/>
                    <a:pt x="2" y="15"/>
                  </a:cubicBezTo>
                  <a:cubicBezTo>
                    <a:pt x="3" y="20"/>
                    <a:pt x="11" y="21"/>
                    <a:pt x="16" y="19"/>
                  </a:cubicBezTo>
                  <a:cubicBezTo>
                    <a:pt x="20" y="18"/>
                    <a:pt x="22" y="13"/>
                    <a:pt x="21" y="9"/>
                  </a:cubicBezTo>
                  <a:cubicBezTo>
                    <a:pt x="20" y="4"/>
                    <a:pt x="14" y="0"/>
                    <a:pt x="10" y="3"/>
                  </a:cubicBezTo>
                  <a:close/>
                  <a:moveTo>
                    <a:pt x="14" y="15"/>
                  </a:moveTo>
                  <a:cubicBezTo>
                    <a:pt x="14" y="15"/>
                    <a:pt x="14" y="15"/>
                    <a:pt x="14" y="15"/>
                  </a:cubicBezTo>
                  <a:cubicBezTo>
                    <a:pt x="13" y="15"/>
                    <a:pt x="11" y="15"/>
                    <a:pt x="10" y="15"/>
                  </a:cubicBezTo>
                  <a:cubicBezTo>
                    <a:pt x="8" y="15"/>
                    <a:pt x="6" y="14"/>
                    <a:pt x="5" y="13"/>
                  </a:cubicBezTo>
                  <a:cubicBezTo>
                    <a:pt x="4" y="10"/>
                    <a:pt x="8" y="7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6"/>
                    <a:pt x="13" y="7"/>
                    <a:pt x="14" y="7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9"/>
                    <a:pt x="15" y="8"/>
                    <a:pt x="16" y="9"/>
                  </a:cubicBezTo>
                  <a:cubicBezTo>
                    <a:pt x="16" y="9"/>
                    <a:pt x="16" y="10"/>
                    <a:pt x="16" y="9"/>
                  </a:cubicBezTo>
                  <a:cubicBezTo>
                    <a:pt x="17" y="12"/>
                    <a:pt x="16" y="14"/>
                    <a:pt x="14" y="1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4" name="íSḷîdé">
              <a:extLst>
                <a:ext uri="{FF2B5EF4-FFF2-40B4-BE49-F238E27FC236}">
                  <a16:creationId xmlns:a16="http://schemas.microsoft.com/office/drawing/2014/main" id="{1A6801C1-6449-4E98-877B-431A95FBC384}"/>
                </a:ext>
              </a:extLst>
            </p:cNvPr>
            <p:cNvSpPr/>
            <p:nvPr/>
          </p:nvSpPr>
          <p:spPr bwMode="auto">
            <a:xfrm>
              <a:off x="4765424" y="5550943"/>
              <a:ext cx="139126" cy="156887"/>
            </a:xfrm>
            <a:custGeom>
              <a:avLst/>
              <a:gdLst>
                <a:gd name="T0" fmla="*/ 22 w 45"/>
                <a:gd name="T1" fmla="*/ 4 h 51"/>
                <a:gd name="T2" fmla="*/ 9 w 45"/>
                <a:gd name="T3" fmla="*/ 1 h 51"/>
                <a:gd name="T4" fmla="*/ 9 w 45"/>
                <a:gd name="T5" fmla="*/ 5 h 51"/>
                <a:gd name="T6" fmla="*/ 11 w 45"/>
                <a:gd name="T7" fmla="*/ 6 h 51"/>
                <a:gd name="T8" fmla="*/ 0 w 45"/>
                <a:gd name="T9" fmla="*/ 25 h 51"/>
                <a:gd name="T10" fmla="*/ 15 w 45"/>
                <a:gd name="T11" fmla="*/ 49 h 51"/>
                <a:gd name="T12" fmla="*/ 32 w 45"/>
                <a:gd name="T13" fmla="*/ 48 h 51"/>
                <a:gd name="T14" fmla="*/ 41 w 45"/>
                <a:gd name="T15" fmla="*/ 38 h 51"/>
                <a:gd name="T16" fmla="*/ 33 w 45"/>
                <a:gd name="T17" fmla="*/ 12 h 51"/>
                <a:gd name="T18" fmla="*/ 22 w 45"/>
                <a:gd name="T19" fmla="*/ 4 h 51"/>
                <a:gd name="T20" fmla="*/ 34 w 45"/>
                <a:gd name="T21" fmla="*/ 25 h 51"/>
                <a:gd name="T22" fmla="*/ 34 w 45"/>
                <a:gd name="T23" fmla="*/ 25 h 51"/>
                <a:gd name="T24" fmla="*/ 35 w 45"/>
                <a:gd name="T25" fmla="*/ 25 h 51"/>
                <a:gd name="T26" fmla="*/ 35 w 45"/>
                <a:gd name="T27" fmla="*/ 25 h 51"/>
                <a:gd name="T28" fmla="*/ 35 w 45"/>
                <a:gd name="T29" fmla="*/ 26 h 51"/>
                <a:gd name="T30" fmla="*/ 35 w 45"/>
                <a:gd name="T31" fmla="*/ 28 h 51"/>
                <a:gd name="T32" fmla="*/ 36 w 45"/>
                <a:gd name="T33" fmla="*/ 29 h 51"/>
                <a:gd name="T34" fmla="*/ 36 w 45"/>
                <a:gd name="T35" fmla="*/ 31 h 51"/>
                <a:gd name="T36" fmla="*/ 36 w 45"/>
                <a:gd name="T37" fmla="*/ 34 h 51"/>
                <a:gd name="T38" fmla="*/ 35 w 45"/>
                <a:gd name="T39" fmla="*/ 38 h 51"/>
                <a:gd name="T40" fmla="*/ 34 w 45"/>
                <a:gd name="T41" fmla="*/ 39 h 51"/>
                <a:gd name="T42" fmla="*/ 33 w 45"/>
                <a:gd name="T43" fmla="*/ 40 h 51"/>
                <a:gd name="T44" fmla="*/ 33 w 45"/>
                <a:gd name="T45" fmla="*/ 41 h 51"/>
                <a:gd name="T46" fmla="*/ 32 w 45"/>
                <a:gd name="T47" fmla="*/ 41 h 51"/>
                <a:gd name="T48" fmla="*/ 31 w 45"/>
                <a:gd name="T49" fmla="*/ 42 h 51"/>
                <a:gd name="T50" fmla="*/ 17 w 45"/>
                <a:gd name="T51" fmla="*/ 44 h 51"/>
                <a:gd name="T52" fmla="*/ 15 w 45"/>
                <a:gd name="T53" fmla="*/ 43 h 51"/>
                <a:gd name="T54" fmla="*/ 15 w 45"/>
                <a:gd name="T55" fmla="*/ 43 h 51"/>
                <a:gd name="T56" fmla="*/ 14 w 45"/>
                <a:gd name="T57" fmla="*/ 43 h 51"/>
                <a:gd name="T58" fmla="*/ 13 w 45"/>
                <a:gd name="T59" fmla="*/ 42 h 51"/>
                <a:gd name="T60" fmla="*/ 12 w 45"/>
                <a:gd name="T61" fmla="*/ 42 h 51"/>
                <a:gd name="T62" fmla="*/ 12 w 45"/>
                <a:gd name="T63" fmla="*/ 42 h 51"/>
                <a:gd name="T64" fmla="*/ 12 w 45"/>
                <a:gd name="T65" fmla="*/ 41 h 51"/>
                <a:gd name="T66" fmla="*/ 8 w 45"/>
                <a:gd name="T67" fmla="*/ 36 h 51"/>
                <a:gd name="T68" fmla="*/ 8 w 45"/>
                <a:gd name="T69" fmla="*/ 35 h 51"/>
                <a:gd name="T70" fmla="*/ 7 w 45"/>
                <a:gd name="T71" fmla="*/ 35 h 51"/>
                <a:gd name="T72" fmla="*/ 7 w 45"/>
                <a:gd name="T73" fmla="*/ 33 h 51"/>
                <a:gd name="T74" fmla="*/ 6 w 45"/>
                <a:gd name="T75" fmla="*/ 30 h 51"/>
                <a:gd name="T76" fmla="*/ 6 w 45"/>
                <a:gd name="T77" fmla="*/ 29 h 51"/>
                <a:gd name="T78" fmla="*/ 6 w 45"/>
                <a:gd name="T79" fmla="*/ 28 h 51"/>
                <a:gd name="T80" fmla="*/ 6 w 45"/>
                <a:gd name="T81" fmla="*/ 27 h 51"/>
                <a:gd name="T82" fmla="*/ 6 w 45"/>
                <a:gd name="T83" fmla="*/ 25 h 51"/>
                <a:gd name="T84" fmla="*/ 6 w 45"/>
                <a:gd name="T85" fmla="*/ 24 h 51"/>
                <a:gd name="T86" fmla="*/ 6 w 45"/>
                <a:gd name="T87" fmla="*/ 23 h 51"/>
                <a:gd name="T88" fmla="*/ 7 w 45"/>
                <a:gd name="T89" fmla="*/ 20 h 51"/>
                <a:gd name="T90" fmla="*/ 8 w 45"/>
                <a:gd name="T91" fmla="*/ 17 h 51"/>
                <a:gd name="T92" fmla="*/ 12 w 45"/>
                <a:gd name="T93" fmla="*/ 12 h 51"/>
                <a:gd name="T94" fmla="*/ 18 w 45"/>
                <a:gd name="T95" fmla="*/ 8 h 51"/>
                <a:gd name="T96" fmla="*/ 18 w 45"/>
                <a:gd name="T97" fmla="*/ 8 h 51"/>
                <a:gd name="T98" fmla="*/ 23 w 45"/>
                <a:gd name="T99" fmla="*/ 12 h 51"/>
                <a:gd name="T100" fmla="*/ 33 w 45"/>
                <a:gd name="T101" fmla="*/ 22 h 51"/>
                <a:gd name="T102" fmla="*/ 34 w 45"/>
                <a:gd name="T103" fmla="*/ 2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5" h="51">
                  <a:moveTo>
                    <a:pt x="22" y="4"/>
                  </a:moveTo>
                  <a:cubicBezTo>
                    <a:pt x="18" y="2"/>
                    <a:pt x="13" y="0"/>
                    <a:pt x="9" y="1"/>
                  </a:cubicBezTo>
                  <a:cubicBezTo>
                    <a:pt x="7" y="2"/>
                    <a:pt x="7" y="5"/>
                    <a:pt x="9" y="5"/>
                  </a:cubicBezTo>
                  <a:cubicBezTo>
                    <a:pt x="10" y="6"/>
                    <a:pt x="10" y="6"/>
                    <a:pt x="11" y="6"/>
                  </a:cubicBezTo>
                  <a:cubicBezTo>
                    <a:pt x="5" y="9"/>
                    <a:pt x="1" y="17"/>
                    <a:pt x="0" y="25"/>
                  </a:cubicBezTo>
                  <a:cubicBezTo>
                    <a:pt x="0" y="35"/>
                    <a:pt x="4" y="46"/>
                    <a:pt x="15" y="49"/>
                  </a:cubicBezTo>
                  <a:cubicBezTo>
                    <a:pt x="20" y="51"/>
                    <a:pt x="27" y="50"/>
                    <a:pt x="32" y="48"/>
                  </a:cubicBezTo>
                  <a:cubicBezTo>
                    <a:pt x="36" y="47"/>
                    <a:pt x="40" y="43"/>
                    <a:pt x="41" y="38"/>
                  </a:cubicBezTo>
                  <a:cubicBezTo>
                    <a:pt x="45" y="29"/>
                    <a:pt x="39" y="18"/>
                    <a:pt x="33" y="12"/>
                  </a:cubicBezTo>
                  <a:cubicBezTo>
                    <a:pt x="30" y="8"/>
                    <a:pt x="26" y="5"/>
                    <a:pt x="22" y="4"/>
                  </a:cubicBezTo>
                  <a:close/>
                  <a:moveTo>
                    <a:pt x="34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7"/>
                    <a:pt x="35" y="27"/>
                    <a:pt x="35" y="28"/>
                  </a:cubicBezTo>
                  <a:cubicBezTo>
                    <a:pt x="36" y="28"/>
                    <a:pt x="36" y="29"/>
                    <a:pt x="36" y="29"/>
                  </a:cubicBezTo>
                  <a:cubicBezTo>
                    <a:pt x="36" y="30"/>
                    <a:pt x="36" y="31"/>
                    <a:pt x="36" y="31"/>
                  </a:cubicBezTo>
                  <a:cubicBezTo>
                    <a:pt x="36" y="32"/>
                    <a:pt x="36" y="33"/>
                    <a:pt x="36" y="34"/>
                  </a:cubicBezTo>
                  <a:cubicBezTo>
                    <a:pt x="36" y="35"/>
                    <a:pt x="36" y="37"/>
                    <a:pt x="35" y="38"/>
                  </a:cubicBezTo>
                  <a:cubicBezTo>
                    <a:pt x="35" y="38"/>
                    <a:pt x="34" y="39"/>
                    <a:pt x="34" y="39"/>
                  </a:cubicBezTo>
                  <a:cubicBezTo>
                    <a:pt x="34" y="39"/>
                    <a:pt x="34" y="40"/>
                    <a:pt x="33" y="40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2"/>
                    <a:pt x="32" y="42"/>
                    <a:pt x="31" y="42"/>
                  </a:cubicBezTo>
                  <a:cubicBezTo>
                    <a:pt x="28" y="44"/>
                    <a:pt x="21" y="45"/>
                    <a:pt x="17" y="44"/>
                  </a:cubicBezTo>
                  <a:cubicBezTo>
                    <a:pt x="17" y="44"/>
                    <a:pt x="16" y="44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4" y="43"/>
                    <a:pt x="13" y="42"/>
                    <a:pt x="13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2"/>
                    <a:pt x="12" y="41"/>
                    <a:pt x="12" y="41"/>
                  </a:cubicBezTo>
                  <a:cubicBezTo>
                    <a:pt x="10" y="39"/>
                    <a:pt x="9" y="38"/>
                    <a:pt x="8" y="36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4"/>
                    <a:pt x="7" y="34"/>
                    <a:pt x="7" y="33"/>
                  </a:cubicBezTo>
                  <a:cubicBezTo>
                    <a:pt x="7" y="32"/>
                    <a:pt x="6" y="31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9"/>
                    <a:pt x="6" y="28"/>
                  </a:cubicBezTo>
                  <a:cubicBezTo>
                    <a:pt x="6" y="28"/>
                    <a:pt x="6" y="27"/>
                    <a:pt x="6" y="27"/>
                  </a:cubicBezTo>
                  <a:cubicBezTo>
                    <a:pt x="6" y="26"/>
                    <a:pt x="6" y="25"/>
                    <a:pt x="6" y="25"/>
                  </a:cubicBezTo>
                  <a:cubicBezTo>
                    <a:pt x="6" y="25"/>
                    <a:pt x="6" y="24"/>
                    <a:pt x="6" y="24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2"/>
                    <a:pt x="7" y="21"/>
                    <a:pt x="7" y="20"/>
                  </a:cubicBezTo>
                  <a:cubicBezTo>
                    <a:pt x="7" y="19"/>
                    <a:pt x="8" y="18"/>
                    <a:pt x="8" y="17"/>
                  </a:cubicBezTo>
                  <a:cubicBezTo>
                    <a:pt x="9" y="15"/>
                    <a:pt x="10" y="13"/>
                    <a:pt x="12" y="12"/>
                  </a:cubicBezTo>
                  <a:cubicBezTo>
                    <a:pt x="13" y="10"/>
                    <a:pt x="16" y="9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9"/>
                    <a:pt x="21" y="11"/>
                    <a:pt x="23" y="12"/>
                  </a:cubicBezTo>
                  <a:cubicBezTo>
                    <a:pt x="27" y="14"/>
                    <a:pt x="30" y="18"/>
                    <a:pt x="33" y="22"/>
                  </a:cubicBezTo>
                  <a:cubicBezTo>
                    <a:pt x="33" y="23"/>
                    <a:pt x="34" y="24"/>
                    <a:pt x="34" y="2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5" name="íṡlîdé">
              <a:extLst>
                <a:ext uri="{FF2B5EF4-FFF2-40B4-BE49-F238E27FC236}">
                  <a16:creationId xmlns:a16="http://schemas.microsoft.com/office/drawing/2014/main" id="{8E469387-150F-40F1-A40F-4B364C08BE09}"/>
                </a:ext>
              </a:extLst>
            </p:cNvPr>
            <p:cNvSpPr/>
            <p:nvPr/>
          </p:nvSpPr>
          <p:spPr bwMode="auto">
            <a:xfrm>
              <a:off x="5218323" y="5790713"/>
              <a:ext cx="76963" cy="82883"/>
            </a:xfrm>
            <a:custGeom>
              <a:avLst/>
              <a:gdLst>
                <a:gd name="T0" fmla="*/ 20 w 25"/>
                <a:gd name="T1" fmla="*/ 3 h 27"/>
                <a:gd name="T2" fmla="*/ 14 w 25"/>
                <a:gd name="T3" fmla="*/ 0 h 27"/>
                <a:gd name="T4" fmla="*/ 13 w 25"/>
                <a:gd name="T5" fmla="*/ 2 h 27"/>
                <a:gd name="T6" fmla="*/ 14 w 25"/>
                <a:gd name="T7" fmla="*/ 3 h 27"/>
                <a:gd name="T8" fmla="*/ 1 w 25"/>
                <a:gd name="T9" fmla="*/ 12 h 27"/>
                <a:gd name="T10" fmla="*/ 1 w 25"/>
                <a:gd name="T11" fmla="*/ 20 h 27"/>
                <a:gd name="T12" fmla="*/ 8 w 25"/>
                <a:gd name="T13" fmla="*/ 25 h 27"/>
                <a:gd name="T14" fmla="*/ 23 w 25"/>
                <a:gd name="T15" fmla="*/ 18 h 27"/>
                <a:gd name="T16" fmla="*/ 20 w 25"/>
                <a:gd name="T17" fmla="*/ 3 h 27"/>
                <a:gd name="T18" fmla="*/ 18 w 25"/>
                <a:gd name="T19" fmla="*/ 16 h 27"/>
                <a:gd name="T20" fmla="*/ 18 w 25"/>
                <a:gd name="T21" fmla="*/ 16 h 27"/>
                <a:gd name="T22" fmla="*/ 18 w 25"/>
                <a:gd name="T23" fmla="*/ 17 h 27"/>
                <a:gd name="T24" fmla="*/ 17 w 25"/>
                <a:gd name="T25" fmla="*/ 18 h 27"/>
                <a:gd name="T26" fmla="*/ 16 w 25"/>
                <a:gd name="T27" fmla="*/ 19 h 27"/>
                <a:gd name="T28" fmla="*/ 15 w 25"/>
                <a:gd name="T29" fmla="*/ 19 h 27"/>
                <a:gd name="T30" fmla="*/ 13 w 25"/>
                <a:gd name="T31" fmla="*/ 20 h 27"/>
                <a:gd name="T32" fmla="*/ 6 w 25"/>
                <a:gd name="T33" fmla="*/ 18 h 27"/>
                <a:gd name="T34" fmla="*/ 5 w 25"/>
                <a:gd name="T35" fmla="*/ 17 h 27"/>
                <a:gd name="T36" fmla="*/ 5 w 25"/>
                <a:gd name="T37" fmla="*/ 16 h 27"/>
                <a:gd name="T38" fmla="*/ 5 w 25"/>
                <a:gd name="T39" fmla="*/ 15 h 27"/>
                <a:gd name="T40" fmla="*/ 15 w 25"/>
                <a:gd name="T41" fmla="*/ 8 h 27"/>
                <a:gd name="T42" fmla="*/ 17 w 25"/>
                <a:gd name="T43" fmla="*/ 7 h 27"/>
                <a:gd name="T44" fmla="*/ 17 w 25"/>
                <a:gd name="T45" fmla="*/ 8 h 27"/>
                <a:gd name="T46" fmla="*/ 18 w 25"/>
                <a:gd name="T47" fmla="*/ 13 h 27"/>
                <a:gd name="T48" fmla="*/ 18 w 25"/>
                <a:gd name="T49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27">
                  <a:moveTo>
                    <a:pt x="20" y="3"/>
                  </a:moveTo>
                  <a:cubicBezTo>
                    <a:pt x="18" y="1"/>
                    <a:pt x="17" y="0"/>
                    <a:pt x="14" y="0"/>
                  </a:cubicBezTo>
                  <a:cubicBezTo>
                    <a:pt x="13" y="0"/>
                    <a:pt x="13" y="1"/>
                    <a:pt x="13" y="2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9" y="4"/>
                    <a:pt x="3" y="7"/>
                    <a:pt x="1" y="12"/>
                  </a:cubicBezTo>
                  <a:cubicBezTo>
                    <a:pt x="0" y="14"/>
                    <a:pt x="0" y="17"/>
                    <a:pt x="1" y="20"/>
                  </a:cubicBezTo>
                  <a:cubicBezTo>
                    <a:pt x="2" y="23"/>
                    <a:pt x="5" y="24"/>
                    <a:pt x="8" y="25"/>
                  </a:cubicBezTo>
                  <a:cubicBezTo>
                    <a:pt x="14" y="27"/>
                    <a:pt x="21" y="24"/>
                    <a:pt x="23" y="18"/>
                  </a:cubicBezTo>
                  <a:cubicBezTo>
                    <a:pt x="25" y="13"/>
                    <a:pt x="23" y="6"/>
                    <a:pt x="20" y="3"/>
                  </a:cubicBezTo>
                  <a:close/>
                  <a:moveTo>
                    <a:pt x="18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7"/>
                    <a:pt x="17" y="18"/>
                    <a:pt x="17" y="18"/>
                  </a:cubicBezTo>
                  <a:cubicBezTo>
                    <a:pt x="17" y="18"/>
                    <a:pt x="16" y="19"/>
                    <a:pt x="16" y="19"/>
                  </a:cubicBezTo>
                  <a:cubicBezTo>
                    <a:pt x="16" y="19"/>
                    <a:pt x="16" y="19"/>
                    <a:pt x="15" y="19"/>
                  </a:cubicBezTo>
                  <a:cubicBezTo>
                    <a:pt x="15" y="20"/>
                    <a:pt x="14" y="20"/>
                    <a:pt x="13" y="20"/>
                  </a:cubicBezTo>
                  <a:cubicBezTo>
                    <a:pt x="11" y="20"/>
                    <a:pt x="8" y="20"/>
                    <a:pt x="6" y="18"/>
                  </a:cubicBezTo>
                  <a:cubicBezTo>
                    <a:pt x="5" y="18"/>
                    <a:pt x="5" y="17"/>
                    <a:pt x="5" y="17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6" y="10"/>
                    <a:pt x="11" y="8"/>
                    <a:pt x="15" y="8"/>
                  </a:cubicBezTo>
                  <a:cubicBezTo>
                    <a:pt x="16" y="8"/>
                    <a:pt x="16" y="8"/>
                    <a:pt x="17" y="7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9"/>
                    <a:pt x="18" y="12"/>
                    <a:pt x="18" y="13"/>
                  </a:cubicBezTo>
                  <a:cubicBezTo>
                    <a:pt x="18" y="15"/>
                    <a:pt x="18" y="15"/>
                    <a:pt x="18" y="1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6" name="ïSļiḋè">
              <a:extLst>
                <a:ext uri="{FF2B5EF4-FFF2-40B4-BE49-F238E27FC236}">
                  <a16:creationId xmlns:a16="http://schemas.microsoft.com/office/drawing/2014/main" id="{639BE244-5B3A-4AC9-AAA4-8653D478B118}"/>
                </a:ext>
              </a:extLst>
            </p:cNvPr>
            <p:cNvSpPr/>
            <p:nvPr/>
          </p:nvSpPr>
          <p:spPr bwMode="auto">
            <a:xfrm>
              <a:off x="6414213" y="5855836"/>
              <a:ext cx="145046" cy="168727"/>
            </a:xfrm>
            <a:custGeom>
              <a:avLst/>
              <a:gdLst>
                <a:gd name="T0" fmla="*/ 33 w 47"/>
                <a:gd name="T1" fmla="*/ 4 h 55"/>
                <a:gd name="T2" fmla="*/ 15 w 47"/>
                <a:gd name="T3" fmla="*/ 3 h 55"/>
                <a:gd name="T4" fmla="*/ 12 w 47"/>
                <a:gd name="T5" fmla="*/ 4 h 55"/>
                <a:gd name="T6" fmla="*/ 13 w 47"/>
                <a:gd name="T7" fmla="*/ 8 h 55"/>
                <a:gd name="T8" fmla="*/ 30 w 47"/>
                <a:gd name="T9" fmla="*/ 10 h 55"/>
                <a:gd name="T10" fmla="*/ 36 w 47"/>
                <a:gd name="T11" fmla="*/ 15 h 55"/>
                <a:gd name="T12" fmla="*/ 40 w 47"/>
                <a:gd name="T13" fmla="*/ 21 h 55"/>
                <a:gd name="T14" fmla="*/ 38 w 47"/>
                <a:gd name="T15" fmla="*/ 37 h 55"/>
                <a:gd name="T16" fmla="*/ 22 w 47"/>
                <a:gd name="T17" fmla="*/ 47 h 55"/>
                <a:gd name="T18" fmla="*/ 20 w 47"/>
                <a:gd name="T19" fmla="*/ 48 h 55"/>
                <a:gd name="T20" fmla="*/ 17 w 47"/>
                <a:gd name="T21" fmla="*/ 48 h 55"/>
                <a:gd name="T22" fmla="*/ 16 w 47"/>
                <a:gd name="T23" fmla="*/ 47 h 55"/>
                <a:gd name="T24" fmla="*/ 15 w 47"/>
                <a:gd name="T25" fmla="*/ 47 h 55"/>
                <a:gd name="T26" fmla="*/ 15 w 47"/>
                <a:gd name="T27" fmla="*/ 47 h 55"/>
                <a:gd name="T28" fmla="*/ 15 w 47"/>
                <a:gd name="T29" fmla="*/ 47 h 55"/>
                <a:gd name="T30" fmla="*/ 14 w 47"/>
                <a:gd name="T31" fmla="*/ 46 h 55"/>
                <a:gd name="T32" fmla="*/ 13 w 47"/>
                <a:gd name="T33" fmla="*/ 46 h 55"/>
                <a:gd name="T34" fmla="*/ 8 w 47"/>
                <a:gd name="T35" fmla="*/ 37 h 55"/>
                <a:gd name="T36" fmla="*/ 14 w 47"/>
                <a:gd name="T37" fmla="*/ 11 h 55"/>
                <a:gd name="T38" fmla="*/ 11 w 47"/>
                <a:gd name="T39" fmla="*/ 9 h 55"/>
                <a:gd name="T40" fmla="*/ 3 w 47"/>
                <a:gd name="T41" fmla="*/ 41 h 55"/>
                <a:gd name="T42" fmla="*/ 13 w 47"/>
                <a:gd name="T43" fmla="*/ 52 h 55"/>
                <a:gd name="T44" fmla="*/ 29 w 47"/>
                <a:gd name="T45" fmla="*/ 51 h 55"/>
                <a:gd name="T46" fmla="*/ 45 w 47"/>
                <a:gd name="T47" fmla="*/ 36 h 55"/>
                <a:gd name="T48" fmla="*/ 45 w 47"/>
                <a:gd name="T49" fmla="*/ 18 h 55"/>
                <a:gd name="T50" fmla="*/ 33 w 47"/>
                <a:gd name="T51" fmla="*/ 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7" h="55">
                  <a:moveTo>
                    <a:pt x="33" y="4"/>
                  </a:moveTo>
                  <a:cubicBezTo>
                    <a:pt x="28" y="1"/>
                    <a:pt x="21" y="0"/>
                    <a:pt x="15" y="3"/>
                  </a:cubicBezTo>
                  <a:cubicBezTo>
                    <a:pt x="14" y="3"/>
                    <a:pt x="13" y="3"/>
                    <a:pt x="12" y="4"/>
                  </a:cubicBezTo>
                  <a:cubicBezTo>
                    <a:pt x="10" y="5"/>
                    <a:pt x="11" y="8"/>
                    <a:pt x="13" y="8"/>
                  </a:cubicBezTo>
                  <a:cubicBezTo>
                    <a:pt x="19" y="7"/>
                    <a:pt x="25" y="7"/>
                    <a:pt x="30" y="10"/>
                  </a:cubicBezTo>
                  <a:cubicBezTo>
                    <a:pt x="32" y="11"/>
                    <a:pt x="34" y="13"/>
                    <a:pt x="36" y="15"/>
                  </a:cubicBezTo>
                  <a:cubicBezTo>
                    <a:pt x="37" y="17"/>
                    <a:pt x="39" y="19"/>
                    <a:pt x="40" y="21"/>
                  </a:cubicBezTo>
                  <a:cubicBezTo>
                    <a:pt x="41" y="26"/>
                    <a:pt x="41" y="31"/>
                    <a:pt x="38" y="37"/>
                  </a:cubicBezTo>
                  <a:cubicBezTo>
                    <a:pt x="34" y="42"/>
                    <a:pt x="28" y="46"/>
                    <a:pt x="22" y="47"/>
                  </a:cubicBezTo>
                  <a:cubicBezTo>
                    <a:pt x="21" y="48"/>
                    <a:pt x="21" y="48"/>
                    <a:pt x="20" y="48"/>
                  </a:cubicBezTo>
                  <a:cubicBezTo>
                    <a:pt x="19" y="48"/>
                    <a:pt x="18" y="48"/>
                    <a:pt x="17" y="48"/>
                  </a:cubicBezTo>
                  <a:cubicBezTo>
                    <a:pt x="17" y="48"/>
                    <a:pt x="16" y="47"/>
                    <a:pt x="16" y="47"/>
                  </a:cubicBezTo>
                  <a:cubicBezTo>
                    <a:pt x="16" y="47"/>
                    <a:pt x="16" y="47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4" y="47"/>
                    <a:pt x="14" y="46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0" y="43"/>
                    <a:pt x="9" y="40"/>
                    <a:pt x="8" y="37"/>
                  </a:cubicBezTo>
                  <a:cubicBezTo>
                    <a:pt x="6" y="28"/>
                    <a:pt x="8" y="18"/>
                    <a:pt x="14" y="11"/>
                  </a:cubicBezTo>
                  <a:cubicBezTo>
                    <a:pt x="15" y="9"/>
                    <a:pt x="13" y="7"/>
                    <a:pt x="11" y="9"/>
                  </a:cubicBezTo>
                  <a:cubicBezTo>
                    <a:pt x="4" y="17"/>
                    <a:pt x="0" y="30"/>
                    <a:pt x="3" y="41"/>
                  </a:cubicBezTo>
                  <a:cubicBezTo>
                    <a:pt x="5" y="46"/>
                    <a:pt x="8" y="50"/>
                    <a:pt x="13" y="52"/>
                  </a:cubicBezTo>
                  <a:cubicBezTo>
                    <a:pt x="18" y="55"/>
                    <a:pt x="25" y="53"/>
                    <a:pt x="29" y="51"/>
                  </a:cubicBezTo>
                  <a:cubicBezTo>
                    <a:pt x="36" y="48"/>
                    <a:pt x="42" y="43"/>
                    <a:pt x="45" y="36"/>
                  </a:cubicBezTo>
                  <a:cubicBezTo>
                    <a:pt x="47" y="30"/>
                    <a:pt x="47" y="24"/>
                    <a:pt x="45" y="18"/>
                  </a:cubicBezTo>
                  <a:cubicBezTo>
                    <a:pt x="43" y="13"/>
                    <a:pt x="39" y="8"/>
                    <a:pt x="33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7" name="íṥľîdê">
              <a:extLst>
                <a:ext uri="{FF2B5EF4-FFF2-40B4-BE49-F238E27FC236}">
                  <a16:creationId xmlns:a16="http://schemas.microsoft.com/office/drawing/2014/main" id="{4F2755F6-880C-4BF6-BE7C-15312F54D2C0}"/>
                </a:ext>
              </a:extLst>
            </p:cNvPr>
            <p:cNvSpPr/>
            <p:nvPr/>
          </p:nvSpPr>
          <p:spPr bwMode="auto">
            <a:xfrm>
              <a:off x="6553339" y="5693029"/>
              <a:ext cx="54763" cy="71043"/>
            </a:xfrm>
            <a:custGeom>
              <a:avLst/>
              <a:gdLst>
                <a:gd name="T0" fmla="*/ 4 w 18"/>
                <a:gd name="T1" fmla="*/ 3 h 23"/>
                <a:gd name="T2" fmla="*/ 4 w 18"/>
                <a:gd name="T3" fmla="*/ 5 h 23"/>
                <a:gd name="T4" fmla="*/ 5 w 18"/>
                <a:gd name="T5" fmla="*/ 6 h 23"/>
                <a:gd name="T6" fmla="*/ 4 w 18"/>
                <a:gd name="T7" fmla="*/ 6 h 23"/>
                <a:gd name="T8" fmla="*/ 0 w 18"/>
                <a:gd name="T9" fmla="*/ 17 h 23"/>
                <a:gd name="T10" fmla="*/ 13 w 18"/>
                <a:gd name="T11" fmla="*/ 21 h 23"/>
                <a:gd name="T12" fmla="*/ 16 w 18"/>
                <a:gd name="T13" fmla="*/ 9 h 23"/>
                <a:gd name="T14" fmla="*/ 4 w 18"/>
                <a:gd name="T15" fmla="*/ 3 h 23"/>
                <a:gd name="T16" fmla="*/ 11 w 18"/>
                <a:gd name="T17" fmla="*/ 17 h 23"/>
                <a:gd name="T18" fmla="*/ 11 w 18"/>
                <a:gd name="T19" fmla="*/ 17 h 23"/>
                <a:gd name="T20" fmla="*/ 6 w 18"/>
                <a:gd name="T21" fmla="*/ 17 h 23"/>
                <a:gd name="T22" fmla="*/ 6 w 18"/>
                <a:gd name="T23" fmla="*/ 17 h 23"/>
                <a:gd name="T24" fmla="*/ 5 w 18"/>
                <a:gd name="T25" fmla="*/ 17 h 23"/>
                <a:gd name="T26" fmla="*/ 5 w 18"/>
                <a:gd name="T27" fmla="*/ 16 h 23"/>
                <a:gd name="T28" fmla="*/ 7 w 18"/>
                <a:gd name="T29" fmla="*/ 9 h 23"/>
                <a:gd name="T30" fmla="*/ 7 w 18"/>
                <a:gd name="T31" fmla="*/ 7 h 23"/>
                <a:gd name="T32" fmla="*/ 11 w 18"/>
                <a:gd name="T33" fmla="*/ 11 h 23"/>
                <a:gd name="T34" fmla="*/ 12 w 18"/>
                <a:gd name="T35" fmla="*/ 14 h 23"/>
                <a:gd name="T36" fmla="*/ 11 w 18"/>
                <a:gd name="T3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23">
                  <a:moveTo>
                    <a:pt x="4" y="3"/>
                  </a:moveTo>
                  <a:cubicBezTo>
                    <a:pt x="3" y="4"/>
                    <a:pt x="3" y="5"/>
                    <a:pt x="4" y="5"/>
                  </a:cubicBezTo>
                  <a:cubicBezTo>
                    <a:pt x="4" y="5"/>
                    <a:pt x="4" y="5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1" y="9"/>
                    <a:pt x="0" y="13"/>
                    <a:pt x="0" y="17"/>
                  </a:cubicBezTo>
                  <a:cubicBezTo>
                    <a:pt x="1" y="23"/>
                    <a:pt x="8" y="23"/>
                    <a:pt x="13" y="21"/>
                  </a:cubicBezTo>
                  <a:cubicBezTo>
                    <a:pt x="17" y="19"/>
                    <a:pt x="18" y="14"/>
                    <a:pt x="16" y="9"/>
                  </a:cubicBezTo>
                  <a:cubicBezTo>
                    <a:pt x="14" y="5"/>
                    <a:pt x="8" y="0"/>
                    <a:pt x="4" y="3"/>
                  </a:cubicBezTo>
                  <a:close/>
                  <a:moveTo>
                    <a:pt x="11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9" y="18"/>
                    <a:pt x="7" y="18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6"/>
                    <a:pt x="5" y="16"/>
                  </a:cubicBezTo>
                  <a:cubicBezTo>
                    <a:pt x="5" y="13"/>
                    <a:pt x="6" y="10"/>
                    <a:pt x="7" y="9"/>
                  </a:cubicBezTo>
                  <a:cubicBezTo>
                    <a:pt x="7" y="8"/>
                    <a:pt x="7" y="8"/>
                    <a:pt x="7" y="7"/>
                  </a:cubicBezTo>
                  <a:cubicBezTo>
                    <a:pt x="9" y="8"/>
                    <a:pt x="10" y="9"/>
                    <a:pt x="11" y="11"/>
                  </a:cubicBezTo>
                  <a:cubicBezTo>
                    <a:pt x="12" y="12"/>
                    <a:pt x="12" y="13"/>
                    <a:pt x="12" y="14"/>
                  </a:cubicBezTo>
                  <a:cubicBezTo>
                    <a:pt x="12" y="15"/>
                    <a:pt x="12" y="16"/>
                    <a:pt x="11" y="1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8" name="ïSlíḋé">
              <a:extLst>
                <a:ext uri="{FF2B5EF4-FFF2-40B4-BE49-F238E27FC236}">
                  <a16:creationId xmlns:a16="http://schemas.microsoft.com/office/drawing/2014/main" id="{49D6FCEA-0E4F-4540-9CEC-E0BCB63EC4E2}"/>
                </a:ext>
              </a:extLst>
            </p:cNvPr>
            <p:cNvSpPr/>
            <p:nvPr/>
          </p:nvSpPr>
          <p:spPr bwMode="auto">
            <a:xfrm>
              <a:off x="7172005" y="5516902"/>
              <a:ext cx="116925" cy="111005"/>
            </a:xfrm>
            <a:custGeom>
              <a:avLst/>
              <a:gdLst>
                <a:gd name="T0" fmla="*/ 11 w 38"/>
                <a:gd name="T1" fmla="*/ 5 h 36"/>
                <a:gd name="T2" fmla="*/ 11 w 38"/>
                <a:gd name="T3" fmla="*/ 7 h 36"/>
                <a:gd name="T4" fmla="*/ 2 w 38"/>
                <a:gd name="T5" fmla="*/ 15 h 36"/>
                <a:gd name="T6" fmla="*/ 4 w 38"/>
                <a:gd name="T7" fmla="*/ 29 h 36"/>
                <a:gd name="T8" fmla="*/ 18 w 38"/>
                <a:gd name="T9" fmla="*/ 36 h 36"/>
                <a:gd name="T10" fmla="*/ 34 w 38"/>
                <a:gd name="T11" fmla="*/ 26 h 36"/>
                <a:gd name="T12" fmla="*/ 32 w 38"/>
                <a:gd name="T13" fmla="*/ 7 h 36"/>
                <a:gd name="T14" fmla="*/ 11 w 38"/>
                <a:gd name="T15" fmla="*/ 5 h 36"/>
                <a:gd name="T16" fmla="*/ 31 w 38"/>
                <a:gd name="T17" fmla="*/ 20 h 36"/>
                <a:gd name="T18" fmla="*/ 31 w 38"/>
                <a:gd name="T19" fmla="*/ 20 h 36"/>
                <a:gd name="T20" fmla="*/ 27 w 38"/>
                <a:gd name="T21" fmla="*/ 27 h 36"/>
                <a:gd name="T22" fmla="*/ 19 w 38"/>
                <a:gd name="T23" fmla="*/ 30 h 36"/>
                <a:gd name="T24" fmla="*/ 8 w 38"/>
                <a:gd name="T25" fmla="*/ 25 h 36"/>
                <a:gd name="T26" fmla="*/ 6 w 38"/>
                <a:gd name="T27" fmla="*/ 16 h 36"/>
                <a:gd name="T28" fmla="*/ 8 w 38"/>
                <a:gd name="T29" fmla="*/ 12 h 36"/>
                <a:gd name="T30" fmla="*/ 13 w 38"/>
                <a:gd name="T31" fmla="*/ 11 h 36"/>
                <a:gd name="T32" fmla="*/ 15 w 38"/>
                <a:gd name="T33" fmla="*/ 8 h 36"/>
                <a:gd name="T34" fmla="*/ 15 w 38"/>
                <a:gd name="T35" fmla="*/ 7 h 36"/>
                <a:gd name="T36" fmla="*/ 22 w 38"/>
                <a:gd name="T37" fmla="*/ 7 h 36"/>
                <a:gd name="T38" fmla="*/ 27 w 38"/>
                <a:gd name="T39" fmla="*/ 10 h 36"/>
                <a:gd name="T40" fmla="*/ 31 w 38"/>
                <a:gd name="T41" fmla="*/ 2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36">
                  <a:moveTo>
                    <a:pt x="11" y="5"/>
                  </a:moveTo>
                  <a:cubicBezTo>
                    <a:pt x="11" y="6"/>
                    <a:pt x="11" y="6"/>
                    <a:pt x="11" y="7"/>
                  </a:cubicBezTo>
                  <a:cubicBezTo>
                    <a:pt x="6" y="8"/>
                    <a:pt x="3" y="10"/>
                    <a:pt x="2" y="15"/>
                  </a:cubicBezTo>
                  <a:cubicBezTo>
                    <a:pt x="0" y="19"/>
                    <a:pt x="2" y="25"/>
                    <a:pt x="4" y="29"/>
                  </a:cubicBezTo>
                  <a:cubicBezTo>
                    <a:pt x="7" y="33"/>
                    <a:pt x="12" y="36"/>
                    <a:pt x="18" y="36"/>
                  </a:cubicBezTo>
                  <a:cubicBezTo>
                    <a:pt x="24" y="35"/>
                    <a:pt x="30" y="32"/>
                    <a:pt x="34" y="26"/>
                  </a:cubicBezTo>
                  <a:cubicBezTo>
                    <a:pt x="38" y="20"/>
                    <a:pt x="37" y="12"/>
                    <a:pt x="32" y="7"/>
                  </a:cubicBezTo>
                  <a:cubicBezTo>
                    <a:pt x="27" y="1"/>
                    <a:pt x="17" y="0"/>
                    <a:pt x="11" y="5"/>
                  </a:cubicBezTo>
                  <a:close/>
                  <a:moveTo>
                    <a:pt x="31" y="20"/>
                  </a:moveTo>
                  <a:cubicBezTo>
                    <a:pt x="31" y="20"/>
                    <a:pt x="31" y="20"/>
                    <a:pt x="31" y="20"/>
                  </a:cubicBezTo>
                  <a:cubicBezTo>
                    <a:pt x="30" y="23"/>
                    <a:pt x="29" y="25"/>
                    <a:pt x="27" y="27"/>
                  </a:cubicBezTo>
                  <a:cubicBezTo>
                    <a:pt x="25" y="29"/>
                    <a:pt x="22" y="30"/>
                    <a:pt x="19" y="30"/>
                  </a:cubicBezTo>
                  <a:cubicBezTo>
                    <a:pt x="14" y="31"/>
                    <a:pt x="10" y="29"/>
                    <a:pt x="8" y="25"/>
                  </a:cubicBezTo>
                  <a:cubicBezTo>
                    <a:pt x="6" y="22"/>
                    <a:pt x="5" y="19"/>
                    <a:pt x="6" y="16"/>
                  </a:cubicBezTo>
                  <a:cubicBezTo>
                    <a:pt x="6" y="15"/>
                    <a:pt x="7" y="14"/>
                    <a:pt x="8" y="12"/>
                  </a:cubicBezTo>
                  <a:cubicBezTo>
                    <a:pt x="9" y="11"/>
                    <a:pt x="12" y="11"/>
                    <a:pt x="13" y="11"/>
                  </a:cubicBezTo>
                  <a:cubicBezTo>
                    <a:pt x="14" y="10"/>
                    <a:pt x="15" y="10"/>
                    <a:pt x="15" y="8"/>
                  </a:cubicBezTo>
                  <a:cubicBezTo>
                    <a:pt x="15" y="8"/>
                    <a:pt x="15" y="8"/>
                    <a:pt x="15" y="7"/>
                  </a:cubicBezTo>
                  <a:cubicBezTo>
                    <a:pt x="17" y="7"/>
                    <a:pt x="20" y="7"/>
                    <a:pt x="22" y="7"/>
                  </a:cubicBezTo>
                  <a:cubicBezTo>
                    <a:pt x="24" y="7"/>
                    <a:pt x="26" y="8"/>
                    <a:pt x="27" y="10"/>
                  </a:cubicBezTo>
                  <a:cubicBezTo>
                    <a:pt x="31" y="12"/>
                    <a:pt x="32" y="16"/>
                    <a:pt x="31" y="2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9" name="íş1îdè">
              <a:extLst>
                <a:ext uri="{FF2B5EF4-FFF2-40B4-BE49-F238E27FC236}">
                  <a16:creationId xmlns:a16="http://schemas.microsoft.com/office/drawing/2014/main" id="{7B7C5133-742D-405D-918B-9027E7B2E9A4}"/>
                </a:ext>
              </a:extLst>
            </p:cNvPr>
            <p:cNvSpPr/>
            <p:nvPr/>
          </p:nvSpPr>
          <p:spPr bwMode="auto">
            <a:xfrm>
              <a:off x="7688547" y="5041802"/>
              <a:ext cx="62163" cy="79923"/>
            </a:xfrm>
            <a:custGeom>
              <a:avLst/>
              <a:gdLst>
                <a:gd name="T0" fmla="*/ 13 w 20"/>
                <a:gd name="T1" fmla="*/ 0 h 26"/>
                <a:gd name="T2" fmla="*/ 7 w 20"/>
                <a:gd name="T3" fmla="*/ 1 h 26"/>
                <a:gd name="T4" fmla="*/ 3 w 20"/>
                <a:gd name="T5" fmla="*/ 4 h 26"/>
                <a:gd name="T6" fmla="*/ 0 w 20"/>
                <a:gd name="T7" fmla="*/ 8 h 26"/>
                <a:gd name="T8" fmla="*/ 2 w 20"/>
                <a:gd name="T9" fmla="*/ 10 h 26"/>
                <a:gd name="T10" fmla="*/ 4 w 20"/>
                <a:gd name="T11" fmla="*/ 9 h 26"/>
                <a:gd name="T12" fmla="*/ 2 w 20"/>
                <a:gd name="T13" fmla="*/ 17 h 26"/>
                <a:gd name="T14" fmla="*/ 9 w 20"/>
                <a:gd name="T15" fmla="*/ 25 h 26"/>
                <a:gd name="T16" fmla="*/ 17 w 20"/>
                <a:gd name="T17" fmla="*/ 21 h 26"/>
                <a:gd name="T18" fmla="*/ 13 w 20"/>
                <a:gd name="T19" fmla="*/ 0 h 26"/>
                <a:gd name="T20" fmla="*/ 11 w 20"/>
                <a:gd name="T21" fmla="*/ 20 h 26"/>
                <a:gd name="T22" fmla="*/ 11 w 20"/>
                <a:gd name="T23" fmla="*/ 20 h 26"/>
                <a:gd name="T24" fmla="*/ 11 w 20"/>
                <a:gd name="T25" fmla="*/ 20 h 26"/>
                <a:gd name="T26" fmla="*/ 14 w 20"/>
                <a:gd name="T27" fmla="*/ 14 h 26"/>
                <a:gd name="T28" fmla="*/ 14 w 20"/>
                <a:gd name="T29" fmla="*/ 14 h 26"/>
                <a:gd name="T30" fmla="*/ 14 w 20"/>
                <a:gd name="T31" fmla="*/ 14 h 26"/>
                <a:gd name="T32" fmla="*/ 14 w 20"/>
                <a:gd name="T33" fmla="*/ 14 h 26"/>
                <a:gd name="T34" fmla="*/ 13 w 20"/>
                <a:gd name="T35" fmla="*/ 15 h 26"/>
                <a:gd name="T36" fmla="*/ 13 w 20"/>
                <a:gd name="T37" fmla="*/ 16 h 26"/>
                <a:gd name="T38" fmla="*/ 13 w 20"/>
                <a:gd name="T39" fmla="*/ 17 h 26"/>
                <a:gd name="T40" fmla="*/ 13 w 20"/>
                <a:gd name="T41" fmla="*/ 17 h 26"/>
                <a:gd name="T42" fmla="*/ 12 w 20"/>
                <a:gd name="T43" fmla="*/ 18 h 26"/>
                <a:gd name="T44" fmla="*/ 12 w 20"/>
                <a:gd name="T45" fmla="*/ 19 h 26"/>
                <a:gd name="T46" fmla="*/ 12 w 20"/>
                <a:gd name="T47" fmla="*/ 20 h 26"/>
                <a:gd name="T48" fmla="*/ 11 w 20"/>
                <a:gd name="T49" fmla="*/ 20 h 26"/>
                <a:gd name="T50" fmla="*/ 11 w 20"/>
                <a:gd name="T51" fmla="*/ 20 h 26"/>
                <a:gd name="T52" fmla="*/ 11 w 20"/>
                <a:gd name="T53" fmla="*/ 20 h 26"/>
                <a:gd name="T54" fmla="*/ 11 w 20"/>
                <a:gd name="T55" fmla="*/ 20 h 26"/>
                <a:gd name="T56" fmla="*/ 11 w 20"/>
                <a:gd name="T57" fmla="*/ 20 h 26"/>
                <a:gd name="T58" fmla="*/ 11 w 20"/>
                <a:gd name="T59" fmla="*/ 20 h 26"/>
                <a:gd name="T60" fmla="*/ 11 w 20"/>
                <a:gd name="T61" fmla="*/ 20 h 26"/>
                <a:gd name="T62" fmla="*/ 10 w 20"/>
                <a:gd name="T63" fmla="*/ 20 h 26"/>
                <a:gd name="T64" fmla="*/ 10 w 20"/>
                <a:gd name="T65" fmla="*/ 20 h 26"/>
                <a:gd name="T66" fmla="*/ 10 w 20"/>
                <a:gd name="T67" fmla="*/ 20 h 26"/>
                <a:gd name="T68" fmla="*/ 8 w 20"/>
                <a:gd name="T69" fmla="*/ 18 h 26"/>
                <a:gd name="T70" fmla="*/ 7 w 20"/>
                <a:gd name="T71" fmla="*/ 17 h 26"/>
                <a:gd name="T72" fmla="*/ 7 w 20"/>
                <a:gd name="T73" fmla="*/ 13 h 26"/>
                <a:gd name="T74" fmla="*/ 8 w 20"/>
                <a:gd name="T75" fmla="*/ 9 h 26"/>
                <a:gd name="T76" fmla="*/ 7 w 20"/>
                <a:gd name="T77" fmla="*/ 7 h 26"/>
                <a:gd name="T78" fmla="*/ 9 w 20"/>
                <a:gd name="T79" fmla="*/ 6 h 26"/>
                <a:gd name="T80" fmla="*/ 9 w 20"/>
                <a:gd name="T81" fmla="*/ 6 h 26"/>
                <a:gd name="T82" fmla="*/ 9 w 20"/>
                <a:gd name="T83" fmla="*/ 6 h 26"/>
                <a:gd name="T84" fmla="*/ 10 w 20"/>
                <a:gd name="T85" fmla="*/ 6 h 26"/>
                <a:gd name="T86" fmla="*/ 10 w 20"/>
                <a:gd name="T87" fmla="*/ 6 h 26"/>
                <a:gd name="T88" fmla="*/ 11 w 20"/>
                <a:gd name="T89" fmla="*/ 6 h 26"/>
                <a:gd name="T90" fmla="*/ 11 w 20"/>
                <a:gd name="T91" fmla="*/ 6 h 26"/>
                <a:gd name="T92" fmla="*/ 12 w 20"/>
                <a:gd name="T93" fmla="*/ 6 h 26"/>
                <a:gd name="T94" fmla="*/ 12 w 20"/>
                <a:gd name="T95" fmla="*/ 6 h 26"/>
                <a:gd name="T96" fmla="*/ 12 w 20"/>
                <a:gd name="T97" fmla="*/ 7 h 26"/>
                <a:gd name="T98" fmla="*/ 13 w 20"/>
                <a:gd name="T99" fmla="*/ 8 h 26"/>
                <a:gd name="T100" fmla="*/ 13 w 20"/>
                <a:gd name="T101" fmla="*/ 10 h 26"/>
                <a:gd name="T102" fmla="*/ 14 w 20"/>
                <a:gd name="T103" fmla="*/ 10 h 26"/>
                <a:gd name="T104" fmla="*/ 14 w 20"/>
                <a:gd name="T105" fmla="*/ 10 h 26"/>
                <a:gd name="T106" fmla="*/ 14 w 20"/>
                <a:gd name="T107" fmla="*/ 12 h 26"/>
                <a:gd name="T108" fmla="*/ 14 w 20"/>
                <a:gd name="T109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" h="26">
                  <a:moveTo>
                    <a:pt x="13" y="0"/>
                  </a:moveTo>
                  <a:cubicBezTo>
                    <a:pt x="11" y="0"/>
                    <a:pt x="8" y="0"/>
                    <a:pt x="7" y="1"/>
                  </a:cubicBezTo>
                  <a:cubicBezTo>
                    <a:pt x="5" y="2"/>
                    <a:pt x="4" y="3"/>
                    <a:pt x="3" y="4"/>
                  </a:cubicBezTo>
                  <a:cubicBezTo>
                    <a:pt x="2" y="5"/>
                    <a:pt x="0" y="7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3" y="10"/>
                    <a:pt x="4" y="9"/>
                    <a:pt x="4" y="9"/>
                  </a:cubicBezTo>
                  <a:cubicBezTo>
                    <a:pt x="3" y="12"/>
                    <a:pt x="2" y="14"/>
                    <a:pt x="2" y="17"/>
                  </a:cubicBezTo>
                  <a:cubicBezTo>
                    <a:pt x="3" y="21"/>
                    <a:pt x="6" y="24"/>
                    <a:pt x="9" y="25"/>
                  </a:cubicBezTo>
                  <a:cubicBezTo>
                    <a:pt x="12" y="26"/>
                    <a:pt x="16" y="24"/>
                    <a:pt x="17" y="21"/>
                  </a:cubicBezTo>
                  <a:cubicBezTo>
                    <a:pt x="20" y="14"/>
                    <a:pt x="20" y="3"/>
                    <a:pt x="13" y="0"/>
                  </a:cubicBezTo>
                  <a:close/>
                  <a:moveTo>
                    <a:pt x="11" y="20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1" y="20"/>
                  </a:cubicBezTo>
                  <a:close/>
                  <a:moveTo>
                    <a:pt x="14" y="14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6"/>
                    <a:pt x="13" y="16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8"/>
                    <a:pt x="13" y="18"/>
                    <a:pt x="12" y="18"/>
                  </a:cubicBezTo>
                  <a:cubicBezTo>
                    <a:pt x="12" y="18"/>
                    <a:pt x="12" y="18"/>
                    <a:pt x="12" y="19"/>
                  </a:cubicBezTo>
                  <a:cubicBezTo>
                    <a:pt x="12" y="19"/>
                    <a:pt x="12" y="19"/>
                    <a:pt x="12" y="20"/>
                  </a:cubicBezTo>
                  <a:cubicBezTo>
                    <a:pt x="12" y="20"/>
                    <a:pt x="12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19"/>
                    <a:pt x="9" y="19"/>
                    <a:pt x="8" y="18"/>
                  </a:cubicBezTo>
                  <a:cubicBezTo>
                    <a:pt x="8" y="18"/>
                    <a:pt x="7" y="18"/>
                    <a:pt x="7" y="17"/>
                  </a:cubicBezTo>
                  <a:cubicBezTo>
                    <a:pt x="7" y="16"/>
                    <a:pt x="7" y="15"/>
                    <a:pt x="7" y="13"/>
                  </a:cubicBezTo>
                  <a:cubicBezTo>
                    <a:pt x="7" y="12"/>
                    <a:pt x="7" y="11"/>
                    <a:pt x="8" y="9"/>
                  </a:cubicBezTo>
                  <a:cubicBezTo>
                    <a:pt x="8" y="8"/>
                    <a:pt x="7" y="8"/>
                    <a:pt x="7" y="7"/>
                  </a:cubicBezTo>
                  <a:cubicBezTo>
                    <a:pt x="7" y="7"/>
                    <a:pt x="8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3" y="7"/>
                    <a:pt x="13" y="8"/>
                    <a:pt x="13" y="8"/>
                  </a:cubicBezTo>
                  <a:cubicBezTo>
                    <a:pt x="13" y="8"/>
                    <a:pt x="13" y="9"/>
                    <a:pt x="13" y="10"/>
                  </a:cubicBezTo>
                  <a:cubicBezTo>
                    <a:pt x="13" y="10"/>
                    <a:pt x="13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1"/>
                    <a:pt x="14" y="11"/>
                    <a:pt x="14" y="12"/>
                  </a:cubicBezTo>
                  <a:cubicBezTo>
                    <a:pt x="14" y="13"/>
                    <a:pt x="14" y="13"/>
                    <a:pt x="14" y="1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0" name="îSľîḋê">
              <a:extLst>
                <a:ext uri="{FF2B5EF4-FFF2-40B4-BE49-F238E27FC236}">
                  <a16:creationId xmlns:a16="http://schemas.microsoft.com/office/drawing/2014/main" id="{C8EACBE9-CE1B-49FC-8104-37C69333982B}"/>
                </a:ext>
              </a:extLst>
            </p:cNvPr>
            <p:cNvSpPr/>
            <p:nvPr/>
          </p:nvSpPr>
          <p:spPr bwMode="auto">
            <a:xfrm>
              <a:off x="7811392" y="4436457"/>
              <a:ext cx="150966" cy="149487"/>
            </a:xfrm>
            <a:custGeom>
              <a:avLst/>
              <a:gdLst>
                <a:gd name="T0" fmla="*/ 20 w 49"/>
                <a:gd name="T1" fmla="*/ 3 h 49"/>
                <a:gd name="T2" fmla="*/ 3 w 49"/>
                <a:gd name="T3" fmla="*/ 23 h 49"/>
                <a:gd name="T4" fmla="*/ 14 w 49"/>
                <a:gd name="T5" fmla="*/ 46 h 49"/>
                <a:gd name="T6" fmla="*/ 45 w 49"/>
                <a:gd name="T7" fmla="*/ 10 h 49"/>
                <a:gd name="T8" fmla="*/ 41 w 49"/>
                <a:gd name="T9" fmla="*/ 24 h 49"/>
                <a:gd name="T10" fmla="*/ 41 w 49"/>
                <a:gd name="T11" fmla="*/ 25 h 49"/>
                <a:gd name="T12" fmla="*/ 41 w 49"/>
                <a:gd name="T13" fmla="*/ 30 h 49"/>
                <a:gd name="T14" fmla="*/ 40 w 49"/>
                <a:gd name="T15" fmla="*/ 31 h 49"/>
                <a:gd name="T16" fmla="*/ 38 w 49"/>
                <a:gd name="T17" fmla="*/ 34 h 49"/>
                <a:gd name="T18" fmla="*/ 37 w 49"/>
                <a:gd name="T19" fmla="*/ 36 h 49"/>
                <a:gd name="T20" fmla="*/ 35 w 49"/>
                <a:gd name="T21" fmla="*/ 37 h 49"/>
                <a:gd name="T22" fmla="*/ 28 w 49"/>
                <a:gd name="T23" fmla="*/ 40 h 49"/>
                <a:gd name="T24" fmla="*/ 16 w 49"/>
                <a:gd name="T25" fmla="*/ 40 h 49"/>
                <a:gd name="T26" fmla="*/ 13 w 49"/>
                <a:gd name="T27" fmla="*/ 39 h 49"/>
                <a:gd name="T28" fmla="*/ 13 w 49"/>
                <a:gd name="T29" fmla="*/ 39 h 49"/>
                <a:gd name="T30" fmla="*/ 10 w 49"/>
                <a:gd name="T31" fmla="*/ 38 h 49"/>
                <a:gd name="T32" fmla="*/ 9 w 49"/>
                <a:gd name="T33" fmla="*/ 36 h 49"/>
                <a:gd name="T34" fmla="*/ 8 w 49"/>
                <a:gd name="T35" fmla="*/ 36 h 49"/>
                <a:gd name="T36" fmla="*/ 8 w 49"/>
                <a:gd name="T37" fmla="*/ 34 h 49"/>
                <a:gd name="T38" fmla="*/ 7 w 49"/>
                <a:gd name="T39" fmla="*/ 33 h 49"/>
                <a:gd name="T40" fmla="*/ 7 w 49"/>
                <a:gd name="T41" fmla="*/ 31 h 49"/>
                <a:gd name="T42" fmla="*/ 7 w 49"/>
                <a:gd name="T43" fmla="*/ 29 h 49"/>
                <a:gd name="T44" fmla="*/ 7 w 49"/>
                <a:gd name="T45" fmla="*/ 28 h 49"/>
                <a:gd name="T46" fmla="*/ 11 w 49"/>
                <a:gd name="T47" fmla="*/ 19 h 49"/>
                <a:gd name="T48" fmla="*/ 26 w 49"/>
                <a:gd name="T49" fmla="*/ 7 h 49"/>
                <a:gd name="T50" fmla="*/ 28 w 49"/>
                <a:gd name="T51" fmla="*/ 7 h 49"/>
                <a:gd name="T52" fmla="*/ 32 w 49"/>
                <a:gd name="T53" fmla="*/ 8 h 49"/>
                <a:gd name="T54" fmla="*/ 36 w 49"/>
                <a:gd name="T55" fmla="*/ 10 h 49"/>
                <a:gd name="T56" fmla="*/ 37 w 49"/>
                <a:gd name="T57" fmla="*/ 10 h 49"/>
                <a:gd name="T58" fmla="*/ 39 w 49"/>
                <a:gd name="T59" fmla="*/ 13 h 49"/>
                <a:gd name="T60" fmla="*/ 41 w 49"/>
                <a:gd name="T61" fmla="*/ 16 h 49"/>
                <a:gd name="T62" fmla="*/ 41 w 49"/>
                <a:gd name="T63" fmla="*/ 17 h 49"/>
                <a:gd name="T64" fmla="*/ 41 w 49"/>
                <a:gd name="T65" fmla="*/ 20 h 49"/>
                <a:gd name="T66" fmla="*/ 42 w 49"/>
                <a:gd name="T67" fmla="*/ 2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" h="49">
                  <a:moveTo>
                    <a:pt x="35" y="2"/>
                  </a:moveTo>
                  <a:cubicBezTo>
                    <a:pt x="30" y="0"/>
                    <a:pt x="24" y="0"/>
                    <a:pt x="20" y="3"/>
                  </a:cubicBezTo>
                  <a:cubicBezTo>
                    <a:pt x="18" y="4"/>
                    <a:pt x="18" y="5"/>
                    <a:pt x="19" y="6"/>
                  </a:cubicBezTo>
                  <a:cubicBezTo>
                    <a:pt x="12" y="9"/>
                    <a:pt x="6" y="15"/>
                    <a:pt x="3" y="23"/>
                  </a:cubicBezTo>
                  <a:cubicBezTo>
                    <a:pt x="1" y="27"/>
                    <a:pt x="0" y="32"/>
                    <a:pt x="2" y="37"/>
                  </a:cubicBezTo>
                  <a:cubicBezTo>
                    <a:pt x="4" y="42"/>
                    <a:pt x="9" y="45"/>
                    <a:pt x="14" y="46"/>
                  </a:cubicBezTo>
                  <a:cubicBezTo>
                    <a:pt x="25" y="49"/>
                    <a:pt x="37" y="47"/>
                    <a:pt x="44" y="37"/>
                  </a:cubicBezTo>
                  <a:cubicBezTo>
                    <a:pt x="49" y="29"/>
                    <a:pt x="49" y="18"/>
                    <a:pt x="45" y="10"/>
                  </a:cubicBezTo>
                  <a:cubicBezTo>
                    <a:pt x="42" y="7"/>
                    <a:pt x="39" y="4"/>
                    <a:pt x="35" y="2"/>
                  </a:cubicBezTo>
                  <a:close/>
                  <a:moveTo>
                    <a:pt x="41" y="24"/>
                  </a:moveTo>
                  <a:cubicBezTo>
                    <a:pt x="41" y="24"/>
                    <a:pt x="41" y="24"/>
                    <a:pt x="41" y="24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6"/>
                    <a:pt x="41" y="27"/>
                    <a:pt x="41" y="28"/>
                  </a:cubicBezTo>
                  <a:cubicBezTo>
                    <a:pt x="41" y="29"/>
                    <a:pt x="41" y="30"/>
                    <a:pt x="41" y="30"/>
                  </a:cubicBezTo>
                  <a:cubicBezTo>
                    <a:pt x="41" y="30"/>
                    <a:pt x="41" y="30"/>
                    <a:pt x="41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2"/>
                    <a:pt x="39" y="33"/>
                    <a:pt x="39" y="34"/>
                  </a:cubicBezTo>
                  <a:cubicBezTo>
                    <a:pt x="39" y="34"/>
                    <a:pt x="38" y="34"/>
                    <a:pt x="38" y="34"/>
                  </a:cubicBezTo>
                  <a:cubicBezTo>
                    <a:pt x="38" y="34"/>
                    <a:pt x="38" y="35"/>
                    <a:pt x="38" y="35"/>
                  </a:cubicBezTo>
                  <a:cubicBezTo>
                    <a:pt x="38" y="35"/>
                    <a:pt x="37" y="36"/>
                    <a:pt x="37" y="36"/>
                  </a:cubicBezTo>
                  <a:cubicBezTo>
                    <a:pt x="37" y="36"/>
                    <a:pt x="36" y="37"/>
                    <a:pt x="36" y="37"/>
                  </a:cubicBezTo>
                  <a:cubicBezTo>
                    <a:pt x="36" y="37"/>
                    <a:pt x="35" y="37"/>
                    <a:pt x="35" y="37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2" y="39"/>
                    <a:pt x="31" y="40"/>
                    <a:pt x="28" y="40"/>
                  </a:cubicBezTo>
                  <a:cubicBezTo>
                    <a:pt x="26" y="41"/>
                    <a:pt x="23" y="41"/>
                    <a:pt x="20" y="41"/>
                  </a:cubicBezTo>
                  <a:cubicBezTo>
                    <a:pt x="18" y="41"/>
                    <a:pt x="17" y="41"/>
                    <a:pt x="16" y="40"/>
                  </a:cubicBezTo>
                  <a:cubicBezTo>
                    <a:pt x="16" y="40"/>
                    <a:pt x="15" y="40"/>
                    <a:pt x="14" y="40"/>
                  </a:cubicBezTo>
                  <a:cubicBezTo>
                    <a:pt x="14" y="40"/>
                    <a:pt x="14" y="40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2" y="39"/>
                    <a:pt x="12" y="39"/>
                    <a:pt x="11" y="38"/>
                  </a:cubicBezTo>
                  <a:cubicBezTo>
                    <a:pt x="11" y="38"/>
                    <a:pt x="10" y="38"/>
                    <a:pt x="10" y="38"/>
                  </a:cubicBezTo>
                  <a:cubicBezTo>
                    <a:pt x="10" y="37"/>
                    <a:pt x="9" y="37"/>
                    <a:pt x="9" y="37"/>
                  </a:cubicBezTo>
                  <a:cubicBezTo>
                    <a:pt x="9" y="37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1"/>
                  </a:cubicBezTo>
                  <a:cubicBezTo>
                    <a:pt x="7" y="31"/>
                    <a:pt x="7" y="30"/>
                    <a:pt x="7" y="30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8"/>
                  </a:cubicBezTo>
                  <a:cubicBezTo>
                    <a:pt x="7" y="27"/>
                    <a:pt x="7" y="26"/>
                    <a:pt x="8" y="25"/>
                  </a:cubicBezTo>
                  <a:cubicBezTo>
                    <a:pt x="8" y="23"/>
                    <a:pt x="10" y="21"/>
                    <a:pt x="11" y="19"/>
                  </a:cubicBezTo>
                  <a:cubicBezTo>
                    <a:pt x="12" y="17"/>
                    <a:pt x="14" y="15"/>
                    <a:pt x="16" y="13"/>
                  </a:cubicBezTo>
                  <a:cubicBezTo>
                    <a:pt x="18" y="10"/>
                    <a:pt x="22" y="8"/>
                    <a:pt x="26" y="7"/>
                  </a:cubicBezTo>
                  <a:cubicBezTo>
                    <a:pt x="26" y="7"/>
                    <a:pt x="27" y="7"/>
                    <a:pt x="27" y="7"/>
                  </a:cubicBezTo>
                  <a:cubicBezTo>
                    <a:pt x="27" y="7"/>
                    <a:pt x="28" y="7"/>
                    <a:pt x="28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30" y="7"/>
                    <a:pt x="31" y="7"/>
                    <a:pt x="32" y="8"/>
                  </a:cubicBezTo>
                  <a:cubicBezTo>
                    <a:pt x="33" y="8"/>
                    <a:pt x="33" y="8"/>
                    <a:pt x="35" y="9"/>
                  </a:cubicBezTo>
                  <a:cubicBezTo>
                    <a:pt x="35" y="9"/>
                    <a:pt x="36" y="9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8" y="12"/>
                    <a:pt x="39" y="12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4"/>
                    <a:pt x="40" y="14"/>
                    <a:pt x="40" y="15"/>
                  </a:cubicBezTo>
                  <a:cubicBezTo>
                    <a:pt x="40" y="15"/>
                    <a:pt x="40" y="15"/>
                    <a:pt x="41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1" y="17"/>
                    <a:pt x="41" y="17"/>
                  </a:cubicBezTo>
                  <a:cubicBezTo>
                    <a:pt x="41" y="18"/>
                    <a:pt x="41" y="19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2"/>
                    <a:pt x="42" y="23"/>
                  </a:cubicBezTo>
                  <a:cubicBezTo>
                    <a:pt x="42" y="23"/>
                    <a:pt x="42" y="24"/>
                    <a:pt x="41" y="2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1" name="iśliḑé">
              <a:extLst>
                <a:ext uri="{FF2B5EF4-FFF2-40B4-BE49-F238E27FC236}">
                  <a16:creationId xmlns:a16="http://schemas.microsoft.com/office/drawing/2014/main" id="{8EC5D2E8-5A25-4C5A-9989-74E6F8EAEF36}"/>
                </a:ext>
              </a:extLst>
            </p:cNvPr>
            <p:cNvSpPr/>
            <p:nvPr/>
          </p:nvSpPr>
          <p:spPr bwMode="auto">
            <a:xfrm>
              <a:off x="7793631" y="3663864"/>
              <a:ext cx="79923" cy="76963"/>
            </a:xfrm>
            <a:custGeom>
              <a:avLst/>
              <a:gdLst>
                <a:gd name="T0" fmla="*/ 0 w 26"/>
                <a:gd name="T1" fmla="*/ 15 h 25"/>
                <a:gd name="T2" fmla="*/ 10 w 26"/>
                <a:gd name="T3" fmla="*/ 25 h 25"/>
                <a:gd name="T4" fmla="*/ 22 w 26"/>
                <a:gd name="T5" fmla="*/ 7 h 25"/>
                <a:gd name="T6" fmla="*/ 19 w 26"/>
                <a:gd name="T7" fmla="*/ 3 h 25"/>
                <a:gd name="T8" fmla="*/ 10 w 26"/>
                <a:gd name="T9" fmla="*/ 3 h 25"/>
                <a:gd name="T10" fmla="*/ 10 w 26"/>
                <a:gd name="T11" fmla="*/ 5 h 25"/>
                <a:gd name="T12" fmla="*/ 5 w 26"/>
                <a:gd name="T13" fmla="*/ 6 h 25"/>
                <a:gd name="T14" fmla="*/ 0 w 26"/>
                <a:gd name="T15" fmla="*/ 15 h 25"/>
                <a:gd name="T16" fmla="*/ 14 w 26"/>
                <a:gd name="T17" fmla="*/ 7 h 25"/>
                <a:gd name="T18" fmla="*/ 14 w 26"/>
                <a:gd name="T19" fmla="*/ 7 h 25"/>
                <a:gd name="T20" fmla="*/ 15 w 26"/>
                <a:gd name="T21" fmla="*/ 7 h 25"/>
                <a:gd name="T22" fmla="*/ 17 w 26"/>
                <a:gd name="T23" fmla="*/ 8 h 25"/>
                <a:gd name="T24" fmla="*/ 19 w 26"/>
                <a:gd name="T25" fmla="*/ 9 h 25"/>
                <a:gd name="T26" fmla="*/ 19 w 26"/>
                <a:gd name="T27" fmla="*/ 10 h 25"/>
                <a:gd name="T28" fmla="*/ 19 w 26"/>
                <a:gd name="T29" fmla="*/ 11 h 25"/>
                <a:gd name="T30" fmla="*/ 15 w 26"/>
                <a:gd name="T31" fmla="*/ 19 h 25"/>
                <a:gd name="T32" fmla="*/ 6 w 26"/>
                <a:gd name="T33" fmla="*/ 19 h 25"/>
                <a:gd name="T34" fmla="*/ 6 w 26"/>
                <a:gd name="T35" fmla="*/ 11 h 25"/>
                <a:gd name="T36" fmla="*/ 14 w 26"/>
                <a:gd name="T3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5">
                  <a:moveTo>
                    <a:pt x="0" y="15"/>
                  </a:moveTo>
                  <a:cubicBezTo>
                    <a:pt x="0" y="20"/>
                    <a:pt x="5" y="25"/>
                    <a:pt x="10" y="25"/>
                  </a:cubicBezTo>
                  <a:cubicBezTo>
                    <a:pt x="19" y="25"/>
                    <a:pt x="26" y="15"/>
                    <a:pt x="22" y="7"/>
                  </a:cubicBezTo>
                  <a:cubicBezTo>
                    <a:pt x="22" y="5"/>
                    <a:pt x="20" y="4"/>
                    <a:pt x="19" y="3"/>
                  </a:cubicBezTo>
                  <a:cubicBezTo>
                    <a:pt x="17" y="2"/>
                    <a:pt x="12" y="0"/>
                    <a:pt x="10" y="3"/>
                  </a:cubicBezTo>
                  <a:cubicBezTo>
                    <a:pt x="10" y="3"/>
                    <a:pt x="9" y="4"/>
                    <a:pt x="10" y="5"/>
                  </a:cubicBezTo>
                  <a:cubicBezTo>
                    <a:pt x="8" y="5"/>
                    <a:pt x="6" y="6"/>
                    <a:pt x="5" y="6"/>
                  </a:cubicBezTo>
                  <a:cubicBezTo>
                    <a:pt x="2" y="8"/>
                    <a:pt x="0" y="11"/>
                    <a:pt x="0" y="15"/>
                  </a:cubicBezTo>
                  <a:close/>
                  <a:moveTo>
                    <a:pt x="14" y="7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7"/>
                    <a:pt x="16" y="7"/>
                    <a:pt x="17" y="8"/>
                  </a:cubicBezTo>
                  <a:cubicBezTo>
                    <a:pt x="18" y="8"/>
                    <a:pt x="18" y="9"/>
                    <a:pt x="19" y="9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1"/>
                    <a:pt x="19" y="11"/>
                  </a:cubicBezTo>
                  <a:cubicBezTo>
                    <a:pt x="20" y="14"/>
                    <a:pt x="17" y="17"/>
                    <a:pt x="15" y="19"/>
                  </a:cubicBezTo>
                  <a:cubicBezTo>
                    <a:pt x="12" y="22"/>
                    <a:pt x="9" y="22"/>
                    <a:pt x="6" y="19"/>
                  </a:cubicBezTo>
                  <a:cubicBezTo>
                    <a:pt x="4" y="17"/>
                    <a:pt x="4" y="14"/>
                    <a:pt x="6" y="11"/>
                  </a:cubicBezTo>
                  <a:cubicBezTo>
                    <a:pt x="8" y="8"/>
                    <a:pt x="11" y="7"/>
                    <a:pt x="14" y="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2" name="îṥḻíḑé">
              <a:extLst>
                <a:ext uri="{FF2B5EF4-FFF2-40B4-BE49-F238E27FC236}">
                  <a16:creationId xmlns:a16="http://schemas.microsoft.com/office/drawing/2014/main" id="{300F658E-7115-4D6E-B06D-ABEA5B5B8195}"/>
                </a:ext>
              </a:extLst>
            </p:cNvPr>
            <p:cNvSpPr/>
            <p:nvPr/>
          </p:nvSpPr>
          <p:spPr bwMode="auto">
            <a:xfrm>
              <a:off x="7697428" y="2457613"/>
              <a:ext cx="79923" cy="72524"/>
            </a:xfrm>
            <a:custGeom>
              <a:avLst/>
              <a:gdLst>
                <a:gd name="T0" fmla="*/ 10 w 26"/>
                <a:gd name="T1" fmla="*/ 2 h 24"/>
                <a:gd name="T2" fmla="*/ 8 w 26"/>
                <a:gd name="T3" fmla="*/ 1 h 24"/>
                <a:gd name="T4" fmla="*/ 1 w 26"/>
                <a:gd name="T5" fmla="*/ 14 h 24"/>
                <a:gd name="T6" fmla="*/ 15 w 26"/>
                <a:gd name="T7" fmla="*/ 23 h 24"/>
                <a:gd name="T8" fmla="*/ 19 w 26"/>
                <a:gd name="T9" fmla="*/ 3 h 24"/>
                <a:gd name="T10" fmla="*/ 12 w 26"/>
                <a:gd name="T11" fmla="*/ 2 h 24"/>
                <a:gd name="T12" fmla="*/ 10 w 26"/>
                <a:gd name="T13" fmla="*/ 2 h 24"/>
                <a:gd name="T14" fmla="*/ 15 w 26"/>
                <a:gd name="T15" fmla="*/ 7 h 24"/>
                <a:gd name="T16" fmla="*/ 15 w 26"/>
                <a:gd name="T17" fmla="*/ 7 h 24"/>
                <a:gd name="T18" fmla="*/ 15 w 26"/>
                <a:gd name="T19" fmla="*/ 7 h 24"/>
                <a:gd name="T20" fmla="*/ 15 w 26"/>
                <a:gd name="T21" fmla="*/ 7 h 24"/>
                <a:gd name="T22" fmla="*/ 16 w 26"/>
                <a:gd name="T23" fmla="*/ 7 h 24"/>
                <a:gd name="T24" fmla="*/ 16 w 26"/>
                <a:gd name="T25" fmla="*/ 8 h 24"/>
                <a:gd name="T26" fmla="*/ 17 w 26"/>
                <a:gd name="T27" fmla="*/ 8 h 24"/>
                <a:gd name="T28" fmla="*/ 17 w 26"/>
                <a:gd name="T29" fmla="*/ 9 h 24"/>
                <a:gd name="T30" fmla="*/ 17 w 26"/>
                <a:gd name="T31" fmla="*/ 9 h 24"/>
                <a:gd name="T32" fmla="*/ 18 w 26"/>
                <a:gd name="T33" fmla="*/ 9 h 24"/>
                <a:gd name="T34" fmla="*/ 18 w 26"/>
                <a:gd name="T35" fmla="*/ 10 h 24"/>
                <a:gd name="T36" fmla="*/ 18 w 26"/>
                <a:gd name="T37" fmla="*/ 11 h 24"/>
                <a:gd name="T38" fmla="*/ 18 w 26"/>
                <a:gd name="T39" fmla="*/ 12 h 24"/>
                <a:gd name="T40" fmla="*/ 18 w 26"/>
                <a:gd name="T41" fmla="*/ 13 h 24"/>
                <a:gd name="T42" fmla="*/ 17 w 26"/>
                <a:gd name="T43" fmla="*/ 14 h 24"/>
                <a:gd name="T44" fmla="*/ 17 w 26"/>
                <a:gd name="T45" fmla="*/ 14 h 24"/>
                <a:gd name="T46" fmla="*/ 17 w 26"/>
                <a:gd name="T47" fmla="*/ 14 h 24"/>
                <a:gd name="T48" fmla="*/ 17 w 26"/>
                <a:gd name="T49" fmla="*/ 15 h 24"/>
                <a:gd name="T50" fmla="*/ 17 w 26"/>
                <a:gd name="T51" fmla="*/ 15 h 24"/>
                <a:gd name="T52" fmla="*/ 16 w 26"/>
                <a:gd name="T53" fmla="*/ 16 h 24"/>
                <a:gd name="T54" fmla="*/ 16 w 26"/>
                <a:gd name="T55" fmla="*/ 16 h 24"/>
                <a:gd name="T56" fmla="*/ 16 w 26"/>
                <a:gd name="T57" fmla="*/ 16 h 24"/>
                <a:gd name="T58" fmla="*/ 16 w 26"/>
                <a:gd name="T59" fmla="*/ 16 h 24"/>
                <a:gd name="T60" fmla="*/ 15 w 26"/>
                <a:gd name="T61" fmla="*/ 17 h 24"/>
                <a:gd name="T62" fmla="*/ 13 w 26"/>
                <a:gd name="T63" fmla="*/ 17 h 24"/>
                <a:gd name="T64" fmla="*/ 9 w 26"/>
                <a:gd name="T65" fmla="*/ 16 h 24"/>
                <a:gd name="T66" fmla="*/ 6 w 26"/>
                <a:gd name="T67" fmla="*/ 14 h 24"/>
                <a:gd name="T68" fmla="*/ 5 w 26"/>
                <a:gd name="T69" fmla="*/ 11 h 24"/>
                <a:gd name="T70" fmla="*/ 5 w 26"/>
                <a:gd name="T71" fmla="*/ 9 h 24"/>
                <a:gd name="T72" fmla="*/ 10 w 26"/>
                <a:gd name="T73" fmla="*/ 8 h 24"/>
                <a:gd name="T74" fmla="*/ 13 w 26"/>
                <a:gd name="T75" fmla="*/ 7 h 24"/>
                <a:gd name="T76" fmla="*/ 13 w 26"/>
                <a:gd name="T77" fmla="*/ 7 h 24"/>
                <a:gd name="T78" fmla="*/ 14 w 26"/>
                <a:gd name="T79" fmla="*/ 7 h 24"/>
                <a:gd name="T80" fmla="*/ 14 w 26"/>
                <a:gd name="T81" fmla="*/ 7 h 24"/>
                <a:gd name="T82" fmla="*/ 15 w 26"/>
                <a:gd name="T83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" h="24">
                  <a:moveTo>
                    <a:pt x="10" y="2"/>
                  </a:moveTo>
                  <a:cubicBezTo>
                    <a:pt x="10" y="1"/>
                    <a:pt x="9" y="0"/>
                    <a:pt x="8" y="1"/>
                  </a:cubicBezTo>
                  <a:cubicBezTo>
                    <a:pt x="4" y="3"/>
                    <a:pt x="0" y="8"/>
                    <a:pt x="1" y="14"/>
                  </a:cubicBezTo>
                  <a:cubicBezTo>
                    <a:pt x="2" y="21"/>
                    <a:pt x="9" y="24"/>
                    <a:pt x="15" y="23"/>
                  </a:cubicBezTo>
                  <a:cubicBezTo>
                    <a:pt x="24" y="21"/>
                    <a:pt x="26" y="8"/>
                    <a:pt x="19" y="3"/>
                  </a:cubicBezTo>
                  <a:cubicBezTo>
                    <a:pt x="17" y="1"/>
                    <a:pt x="15" y="1"/>
                    <a:pt x="12" y="2"/>
                  </a:cubicBezTo>
                  <a:cubicBezTo>
                    <a:pt x="11" y="2"/>
                    <a:pt x="11" y="2"/>
                    <a:pt x="10" y="2"/>
                  </a:cubicBezTo>
                  <a:close/>
                  <a:moveTo>
                    <a:pt x="15" y="7"/>
                  </a:move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6" y="7"/>
                    <a:pt x="16" y="7"/>
                  </a:cubicBezTo>
                  <a:cubicBezTo>
                    <a:pt x="16" y="7"/>
                    <a:pt x="16" y="8"/>
                    <a:pt x="16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8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3"/>
                    <a:pt x="18" y="13"/>
                  </a:cubicBezTo>
                  <a:cubicBezTo>
                    <a:pt x="18" y="13"/>
                    <a:pt x="18" y="13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6" y="15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4" y="17"/>
                    <a:pt x="15" y="17"/>
                  </a:cubicBezTo>
                  <a:cubicBezTo>
                    <a:pt x="14" y="18"/>
                    <a:pt x="14" y="17"/>
                    <a:pt x="13" y="17"/>
                  </a:cubicBezTo>
                  <a:cubicBezTo>
                    <a:pt x="11" y="18"/>
                    <a:pt x="10" y="17"/>
                    <a:pt x="9" y="16"/>
                  </a:cubicBezTo>
                  <a:cubicBezTo>
                    <a:pt x="8" y="16"/>
                    <a:pt x="7" y="15"/>
                    <a:pt x="6" y="14"/>
                  </a:cubicBezTo>
                  <a:cubicBezTo>
                    <a:pt x="5" y="13"/>
                    <a:pt x="5" y="12"/>
                    <a:pt x="5" y="11"/>
                  </a:cubicBezTo>
                  <a:cubicBezTo>
                    <a:pt x="5" y="11"/>
                    <a:pt x="5" y="10"/>
                    <a:pt x="5" y="9"/>
                  </a:cubicBezTo>
                  <a:cubicBezTo>
                    <a:pt x="7" y="9"/>
                    <a:pt x="8" y="9"/>
                    <a:pt x="10" y="8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3" name="ïṣḻïďe">
              <a:extLst>
                <a:ext uri="{FF2B5EF4-FFF2-40B4-BE49-F238E27FC236}">
                  <a16:creationId xmlns:a16="http://schemas.microsoft.com/office/drawing/2014/main" id="{B41B8C99-957F-49C7-8825-B83DB035230D}"/>
                </a:ext>
              </a:extLst>
            </p:cNvPr>
            <p:cNvSpPr/>
            <p:nvPr/>
          </p:nvSpPr>
          <p:spPr bwMode="auto">
            <a:xfrm>
              <a:off x="7189766" y="1679100"/>
              <a:ext cx="130245" cy="133206"/>
            </a:xfrm>
            <a:custGeom>
              <a:avLst/>
              <a:gdLst>
                <a:gd name="T0" fmla="*/ 34 w 42"/>
                <a:gd name="T1" fmla="*/ 37 h 43"/>
                <a:gd name="T2" fmla="*/ 40 w 42"/>
                <a:gd name="T3" fmla="*/ 13 h 43"/>
                <a:gd name="T4" fmla="*/ 33 w 42"/>
                <a:gd name="T5" fmla="*/ 3 h 43"/>
                <a:gd name="T6" fmla="*/ 19 w 42"/>
                <a:gd name="T7" fmla="*/ 1 h 43"/>
                <a:gd name="T8" fmla="*/ 16 w 42"/>
                <a:gd name="T9" fmla="*/ 3 h 43"/>
                <a:gd name="T10" fmla="*/ 17 w 42"/>
                <a:gd name="T11" fmla="*/ 7 h 43"/>
                <a:gd name="T12" fmla="*/ 24 w 42"/>
                <a:gd name="T13" fmla="*/ 7 h 43"/>
                <a:gd name="T14" fmla="*/ 24 w 42"/>
                <a:gd name="T15" fmla="*/ 7 h 43"/>
                <a:gd name="T16" fmla="*/ 25 w 42"/>
                <a:gd name="T17" fmla="*/ 7 h 43"/>
                <a:gd name="T18" fmla="*/ 26 w 42"/>
                <a:gd name="T19" fmla="*/ 7 h 43"/>
                <a:gd name="T20" fmla="*/ 27 w 42"/>
                <a:gd name="T21" fmla="*/ 8 h 43"/>
                <a:gd name="T22" fmla="*/ 29 w 42"/>
                <a:gd name="T23" fmla="*/ 8 h 43"/>
                <a:gd name="T24" fmla="*/ 30 w 42"/>
                <a:gd name="T25" fmla="*/ 9 h 43"/>
                <a:gd name="T26" fmla="*/ 30 w 42"/>
                <a:gd name="T27" fmla="*/ 9 h 43"/>
                <a:gd name="T28" fmla="*/ 30 w 42"/>
                <a:gd name="T29" fmla="*/ 10 h 43"/>
                <a:gd name="T30" fmla="*/ 31 w 42"/>
                <a:gd name="T31" fmla="*/ 11 h 43"/>
                <a:gd name="T32" fmla="*/ 32 w 42"/>
                <a:gd name="T33" fmla="*/ 11 h 43"/>
                <a:gd name="T34" fmla="*/ 32 w 42"/>
                <a:gd name="T35" fmla="*/ 11 h 43"/>
                <a:gd name="T36" fmla="*/ 33 w 42"/>
                <a:gd name="T37" fmla="*/ 13 h 43"/>
                <a:gd name="T38" fmla="*/ 33 w 42"/>
                <a:gd name="T39" fmla="*/ 14 h 43"/>
                <a:gd name="T40" fmla="*/ 33 w 42"/>
                <a:gd name="T41" fmla="*/ 14 h 43"/>
                <a:gd name="T42" fmla="*/ 34 w 42"/>
                <a:gd name="T43" fmla="*/ 16 h 43"/>
                <a:gd name="T44" fmla="*/ 34 w 42"/>
                <a:gd name="T45" fmla="*/ 17 h 43"/>
                <a:gd name="T46" fmla="*/ 34 w 42"/>
                <a:gd name="T47" fmla="*/ 18 h 43"/>
                <a:gd name="T48" fmla="*/ 34 w 42"/>
                <a:gd name="T49" fmla="*/ 18 h 43"/>
                <a:gd name="T50" fmla="*/ 34 w 42"/>
                <a:gd name="T51" fmla="*/ 21 h 43"/>
                <a:gd name="T52" fmla="*/ 34 w 42"/>
                <a:gd name="T53" fmla="*/ 22 h 43"/>
                <a:gd name="T54" fmla="*/ 34 w 42"/>
                <a:gd name="T55" fmla="*/ 23 h 43"/>
                <a:gd name="T56" fmla="*/ 34 w 42"/>
                <a:gd name="T57" fmla="*/ 23 h 43"/>
                <a:gd name="T58" fmla="*/ 33 w 42"/>
                <a:gd name="T59" fmla="*/ 26 h 43"/>
                <a:gd name="T60" fmla="*/ 33 w 42"/>
                <a:gd name="T61" fmla="*/ 27 h 43"/>
                <a:gd name="T62" fmla="*/ 33 w 42"/>
                <a:gd name="T63" fmla="*/ 27 h 43"/>
                <a:gd name="T64" fmla="*/ 33 w 42"/>
                <a:gd name="T65" fmla="*/ 28 h 43"/>
                <a:gd name="T66" fmla="*/ 31 w 42"/>
                <a:gd name="T67" fmla="*/ 30 h 43"/>
                <a:gd name="T68" fmla="*/ 31 w 42"/>
                <a:gd name="T69" fmla="*/ 30 h 43"/>
                <a:gd name="T70" fmla="*/ 31 w 42"/>
                <a:gd name="T71" fmla="*/ 31 h 43"/>
                <a:gd name="T72" fmla="*/ 30 w 42"/>
                <a:gd name="T73" fmla="*/ 32 h 43"/>
                <a:gd name="T74" fmla="*/ 29 w 42"/>
                <a:gd name="T75" fmla="*/ 32 h 43"/>
                <a:gd name="T76" fmla="*/ 28 w 42"/>
                <a:gd name="T77" fmla="*/ 33 h 43"/>
                <a:gd name="T78" fmla="*/ 28 w 42"/>
                <a:gd name="T79" fmla="*/ 33 h 43"/>
                <a:gd name="T80" fmla="*/ 27 w 42"/>
                <a:gd name="T81" fmla="*/ 33 h 43"/>
                <a:gd name="T82" fmla="*/ 26 w 42"/>
                <a:gd name="T83" fmla="*/ 34 h 43"/>
                <a:gd name="T84" fmla="*/ 25 w 42"/>
                <a:gd name="T85" fmla="*/ 34 h 43"/>
                <a:gd name="T86" fmla="*/ 23 w 42"/>
                <a:gd name="T87" fmla="*/ 34 h 43"/>
                <a:gd name="T88" fmla="*/ 22 w 42"/>
                <a:gd name="T89" fmla="*/ 34 h 43"/>
                <a:gd name="T90" fmla="*/ 22 w 42"/>
                <a:gd name="T91" fmla="*/ 34 h 43"/>
                <a:gd name="T92" fmla="*/ 22 w 42"/>
                <a:gd name="T93" fmla="*/ 34 h 43"/>
                <a:gd name="T94" fmla="*/ 21 w 42"/>
                <a:gd name="T95" fmla="*/ 34 h 43"/>
                <a:gd name="T96" fmla="*/ 12 w 42"/>
                <a:gd name="T97" fmla="*/ 27 h 43"/>
                <a:gd name="T98" fmla="*/ 9 w 42"/>
                <a:gd name="T99" fmla="*/ 14 h 43"/>
                <a:gd name="T100" fmla="*/ 14 w 42"/>
                <a:gd name="T101" fmla="*/ 4 h 43"/>
                <a:gd name="T102" fmla="*/ 13 w 42"/>
                <a:gd name="T103" fmla="*/ 1 h 43"/>
                <a:gd name="T104" fmla="*/ 8 w 42"/>
                <a:gd name="T105" fmla="*/ 31 h 43"/>
                <a:gd name="T106" fmla="*/ 34 w 42"/>
                <a:gd name="T107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43">
                  <a:moveTo>
                    <a:pt x="34" y="37"/>
                  </a:moveTo>
                  <a:cubicBezTo>
                    <a:pt x="40" y="31"/>
                    <a:pt x="42" y="22"/>
                    <a:pt x="40" y="13"/>
                  </a:cubicBezTo>
                  <a:cubicBezTo>
                    <a:pt x="39" y="9"/>
                    <a:pt x="36" y="6"/>
                    <a:pt x="33" y="3"/>
                  </a:cubicBezTo>
                  <a:cubicBezTo>
                    <a:pt x="29" y="1"/>
                    <a:pt x="23" y="0"/>
                    <a:pt x="19" y="1"/>
                  </a:cubicBezTo>
                  <a:cubicBezTo>
                    <a:pt x="18" y="2"/>
                    <a:pt x="17" y="2"/>
                    <a:pt x="16" y="3"/>
                  </a:cubicBezTo>
                  <a:cubicBezTo>
                    <a:pt x="14" y="4"/>
                    <a:pt x="15" y="6"/>
                    <a:pt x="17" y="7"/>
                  </a:cubicBezTo>
                  <a:cubicBezTo>
                    <a:pt x="19" y="7"/>
                    <a:pt x="21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6" y="7"/>
                    <a:pt x="26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8" y="8"/>
                    <a:pt x="29" y="8"/>
                  </a:cubicBezTo>
                  <a:cubicBezTo>
                    <a:pt x="29" y="9"/>
                    <a:pt x="29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10"/>
                  </a:cubicBezTo>
                  <a:cubicBezTo>
                    <a:pt x="31" y="10"/>
                    <a:pt x="31" y="10"/>
                    <a:pt x="31" y="11"/>
                  </a:cubicBezTo>
                  <a:cubicBezTo>
                    <a:pt x="31" y="11"/>
                    <a:pt x="31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2"/>
                    <a:pt x="33" y="13"/>
                    <a:pt x="33" y="13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5"/>
                    <a:pt x="34" y="15"/>
                    <a:pt x="34" y="16"/>
                  </a:cubicBezTo>
                  <a:cubicBezTo>
                    <a:pt x="34" y="16"/>
                    <a:pt x="34" y="16"/>
                    <a:pt x="34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9"/>
                    <a:pt x="34" y="20"/>
                    <a:pt x="34" y="21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4"/>
                    <a:pt x="34" y="25"/>
                    <a:pt x="33" y="26"/>
                  </a:cubicBezTo>
                  <a:cubicBezTo>
                    <a:pt x="33" y="26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9"/>
                    <a:pt x="32" y="29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0" y="31"/>
                    <a:pt x="30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2"/>
                    <a:pt x="29" y="33"/>
                    <a:pt x="28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3"/>
                    <a:pt x="27" y="33"/>
                    <a:pt x="27" y="33"/>
                  </a:cubicBezTo>
                  <a:cubicBezTo>
                    <a:pt x="27" y="34"/>
                    <a:pt x="26" y="34"/>
                    <a:pt x="26" y="34"/>
                  </a:cubicBezTo>
                  <a:cubicBezTo>
                    <a:pt x="26" y="34"/>
                    <a:pt x="25" y="34"/>
                    <a:pt x="25" y="34"/>
                  </a:cubicBezTo>
                  <a:cubicBezTo>
                    <a:pt x="24" y="34"/>
                    <a:pt x="24" y="34"/>
                    <a:pt x="23" y="34"/>
                  </a:cubicBezTo>
                  <a:cubicBezTo>
                    <a:pt x="23" y="34"/>
                    <a:pt x="23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1" y="34"/>
                    <a:pt x="21" y="34"/>
                  </a:cubicBezTo>
                  <a:cubicBezTo>
                    <a:pt x="17" y="33"/>
                    <a:pt x="15" y="31"/>
                    <a:pt x="12" y="27"/>
                  </a:cubicBezTo>
                  <a:cubicBezTo>
                    <a:pt x="10" y="23"/>
                    <a:pt x="9" y="18"/>
                    <a:pt x="9" y="14"/>
                  </a:cubicBezTo>
                  <a:cubicBezTo>
                    <a:pt x="9" y="10"/>
                    <a:pt x="10" y="6"/>
                    <a:pt x="14" y="4"/>
                  </a:cubicBezTo>
                  <a:cubicBezTo>
                    <a:pt x="16" y="3"/>
                    <a:pt x="15" y="0"/>
                    <a:pt x="13" y="1"/>
                  </a:cubicBezTo>
                  <a:cubicBezTo>
                    <a:pt x="0" y="5"/>
                    <a:pt x="3" y="23"/>
                    <a:pt x="8" y="31"/>
                  </a:cubicBezTo>
                  <a:cubicBezTo>
                    <a:pt x="14" y="40"/>
                    <a:pt x="26" y="43"/>
                    <a:pt x="34" y="3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4" name="iS1îḋe">
              <a:extLst>
                <a:ext uri="{FF2B5EF4-FFF2-40B4-BE49-F238E27FC236}">
                  <a16:creationId xmlns:a16="http://schemas.microsoft.com/office/drawing/2014/main" id="{F0933003-625A-4305-BB33-3BB7AAE23BE7}"/>
                </a:ext>
              </a:extLst>
            </p:cNvPr>
            <p:cNvSpPr/>
            <p:nvPr/>
          </p:nvSpPr>
          <p:spPr bwMode="auto">
            <a:xfrm>
              <a:off x="7300771" y="1562176"/>
              <a:ext cx="68083" cy="59202"/>
            </a:xfrm>
            <a:custGeom>
              <a:avLst/>
              <a:gdLst>
                <a:gd name="T0" fmla="*/ 6 w 22"/>
                <a:gd name="T1" fmla="*/ 18 h 19"/>
                <a:gd name="T2" fmla="*/ 14 w 22"/>
                <a:gd name="T3" fmla="*/ 18 h 19"/>
                <a:gd name="T4" fmla="*/ 21 w 22"/>
                <a:gd name="T5" fmla="*/ 14 h 19"/>
                <a:gd name="T6" fmla="*/ 20 w 22"/>
                <a:gd name="T7" fmla="*/ 7 h 19"/>
                <a:gd name="T8" fmla="*/ 17 w 22"/>
                <a:gd name="T9" fmla="*/ 3 h 19"/>
                <a:gd name="T10" fmla="*/ 15 w 22"/>
                <a:gd name="T11" fmla="*/ 1 h 19"/>
                <a:gd name="T12" fmla="*/ 11 w 22"/>
                <a:gd name="T13" fmla="*/ 0 h 19"/>
                <a:gd name="T14" fmla="*/ 10 w 22"/>
                <a:gd name="T15" fmla="*/ 2 h 19"/>
                <a:gd name="T16" fmla="*/ 13 w 22"/>
                <a:gd name="T17" fmla="*/ 5 h 19"/>
                <a:gd name="T18" fmla="*/ 15 w 22"/>
                <a:gd name="T19" fmla="*/ 8 h 19"/>
                <a:gd name="T20" fmla="*/ 16 w 22"/>
                <a:gd name="T21" fmla="*/ 9 h 19"/>
                <a:gd name="T22" fmla="*/ 16 w 22"/>
                <a:gd name="T23" fmla="*/ 9 h 19"/>
                <a:gd name="T24" fmla="*/ 16 w 22"/>
                <a:gd name="T25" fmla="*/ 9 h 19"/>
                <a:gd name="T26" fmla="*/ 17 w 22"/>
                <a:gd name="T27" fmla="*/ 10 h 19"/>
                <a:gd name="T28" fmla="*/ 17 w 22"/>
                <a:gd name="T29" fmla="*/ 10 h 19"/>
                <a:gd name="T30" fmla="*/ 17 w 22"/>
                <a:gd name="T31" fmla="*/ 11 h 19"/>
                <a:gd name="T32" fmla="*/ 17 w 22"/>
                <a:gd name="T33" fmla="*/ 11 h 19"/>
                <a:gd name="T34" fmla="*/ 17 w 22"/>
                <a:gd name="T35" fmla="*/ 11 h 19"/>
                <a:gd name="T36" fmla="*/ 17 w 22"/>
                <a:gd name="T37" fmla="*/ 11 h 19"/>
                <a:gd name="T38" fmla="*/ 17 w 22"/>
                <a:gd name="T39" fmla="*/ 12 h 19"/>
                <a:gd name="T40" fmla="*/ 17 w 22"/>
                <a:gd name="T41" fmla="*/ 12 h 19"/>
                <a:gd name="T42" fmla="*/ 17 w 22"/>
                <a:gd name="T43" fmla="*/ 12 h 19"/>
                <a:gd name="T44" fmla="*/ 16 w 22"/>
                <a:gd name="T45" fmla="*/ 13 h 19"/>
                <a:gd name="T46" fmla="*/ 16 w 22"/>
                <a:gd name="T47" fmla="*/ 13 h 19"/>
                <a:gd name="T48" fmla="*/ 15 w 22"/>
                <a:gd name="T49" fmla="*/ 13 h 19"/>
                <a:gd name="T50" fmla="*/ 15 w 22"/>
                <a:gd name="T51" fmla="*/ 14 h 19"/>
                <a:gd name="T52" fmla="*/ 14 w 22"/>
                <a:gd name="T53" fmla="*/ 14 h 19"/>
                <a:gd name="T54" fmla="*/ 13 w 22"/>
                <a:gd name="T55" fmla="*/ 14 h 19"/>
                <a:gd name="T56" fmla="*/ 12 w 22"/>
                <a:gd name="T57" fmla="*/ 14 h 19"/>
                <a:gd name="T58" fmla="*/ 12 w 22"/>
                <a:gd name="T59" fmla="*/ 14 h 19"/>
                <a:gd name="T60" fmla="*/ 10 w 22"/>
                <a:gd name="T61" fmla="*/ 14 h 19"/>
                <a:gd name="T62" fmla="*/ 10 w 22"/>
                <a:gd name="T63" fmla="*/ 14 h 19"/>
                <a:gd name="T64" fmla="*/ 9 w 22"/>
                <a:gd name="T65" fmla="*/ 14 h 19"/>
                <a:gd name="T66" fmla="*/ 9 w 22"/>
                <a:gd name="T67" fmla="*/ 14 h 19"/>
                <a:gd name="T68" fmla="*/ 7 w 22"/>
                <a:gd name="T69" fmla="*/ 14 h 19"/>
                <a:gd name="T70" fmla="*/ 7 w 22"/>
                <a:gd name="T71" fmla="*/ 14 h 19"/>
                <a:gd name="T72" fmla="*/ 6 w 22"/>
                <a:gd name="T73" fmla="*/ 13 h 19"/>
                <a:gd name="T74" fmla="*/ 6 w 22"/>
                <a:gd name="T75" fmla="*/ 13 h 19"/>
                <a:gd name="T76" fmla="*/ 5 w 22"/>
                <a:gd name="T77" fmla="*/ 13 h 19"/>
                <a:gd name="T78" fmla="*/ 5 w 22"/>
                <a:gd name="T79" fmla="*/ 12 h 19"/>
                <a:gd name="T80" fmla="*/ 5 w 22"/>
                <a:gd name="T81" fmla="*/ 12 h 19"/>
                <a:gd name="T82" fmla="*/ 5 w 22"/>
                <a:gd name="T83" fmla="*/ 12 h 19"/>
                <a:gd name="T84" fmla="*/ 5 w 22"/>
                <a:gd name="T85" fmla="*/ 12 h 19"/>
                <a:gd name="T86" fmla="*/ 5 w 22"/>
                <a:gd name="T87" fmla="*/ 11 h 19"/>
                <a:gd name="T88" fmla="*/ 5 w 22"/>
                <a:gd name="T89" fmla="*/ 11 h 19"/>
                <a:gd name="T90" fmla="*/ 5 w 22"/>
                <a:gd name="T91" fmla="*/ 11 h 19"/>
                <a:gd name="T92" fmla="*/ 5 w 22"/>
                <a:gd name="T93" fmla="*/ 10 h 19"/>
                <a:gd name="T94" fmla="*/ 5 w 22"/>
                <a:gd name="T95" fmla="*/ 10 h 19"/>
                <a:gd name="T96" fmla="*/ 5 w 22"/>
                <a:gd name="T97" fmla="*/ 9 h 19"/>
                <a:gd name="T98" fmla="*/ 6 w 22"/>
                <a:gd name="T99" fmla="*/ 8 h 19"/>
                <a:gd name="T100" fmla="*/ 6 w 22"/>
                <a:gd name="T101" fmla="*/ 8 h 19"/>
                <a:gd name="T102" fmla="*/ 6 w 22"/>
                <a:gd name="T103" fmla="*/ 7 h 19"/>
                <a:gd name="T104" fmla="*/ 9 w 22"/>
                <a:gd name="T105" fmla="*/ 5 h 19"/>
                <a:gd name="T106" fmla="*/ 6 w 22"/>
                <a:gd name="T107" fmla="*/ 2 h 19"/>
                <a:gd name="T108" fmla="*/ 0 w 22"/>
                <a:gd name="T109" fmla="*/ 12 h 19"/>
                <a:gd name="T110" fmla="*/ 6 w 22"/>
                <a:gd name="T11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" h="19">
                  <a:moveTo>
                    <a:pt x="6" y="18"/>
                  </a:moveTo>
                  <a:cubicBezTo>
                    <a:pt x="9" y="19"/>
                    <a:pt x="11" y="19"/>
                    <a:pt x="14" y="18"/>
                  </a:cubicBezTo>
                  <a:cubicBezTo>
                    <a:pt x="17" y="18"/>
                    <a:pt x="20" y="16"/>
                    <a:pt x="21" y="14"/>
                  </a:cubicBezTo>
                  <a:cubicBezTo>
                    <a:pt x="22" y="12"/>
                    <a:pt x="22" y="9"/>
                    <a:pt x="20" y="7"/>
                  </a:cubicBezTo>
                  <a:cubicBezTo>
                    <a:pt x="20" y="5"/>
                    <a:pt x="19" y="4"/>
                    <a:pt x="17" y="3"/>
                  </a:cubicBezTo>
                  <a:cubicBezTo>
                    <a:pt x="17" y="2"/>
                    <a:pt x="16" y="2"/>
                    <a:pt x="15" y="1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0"/>
                    <a:pt x="10" y="1"/>
                    <a:pt x="10" y="2"/>
                  </a:cubicBezTo>
                  <a:cubicBezTo>
                    <a:pt x="10" y="3"/>
                    <a:pt x="11" y="4"/>
                    <a:pt x="13" y="5"/>
                  </a:cubicBezTo>
                  <a:cubicBezTo>
                    <a:pt x="13" y="6"/>
                    <a:pt x="14" y="7"/>
                    <a:pt x="15" y="8"/>
                  </a:cubicBezTo>
                  <a:cubicBezTo>
                    <a:pt x="15" y="8"/>
                    <a:pt x="16" y="8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6" y="12"/>
                    <a:pt x="16" y="12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8" y="5"/>
                    <a:pt x="9" y="5"/>
                  </a:cubicBezTo>
                  <a:cubicBezTo>
                    <a:pt x="10" y="3"/>
                    <a:pt x="8" y="0"/>
                    <a:pt x="6" y="2"/>
                  </a:cubicBezTo>
                  <a:cubicBezTo>
                    <a:pt x="4" y="4"/>
                    <a:pt x="0" y="8"/>
                    <a:pt x="0" y="12"/>
                  </a:cubicBezTo>
                  <a:cubicBezTo>
                    <a:pt x="1" y="15"/>
                    <a:pt x="3" y="17"/>
                    <a:pt x="6" y="1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5" name="íṡḻíḑè">
              <a:extLst>
                <a:ext uri="{FF2B5EF4-FFF2-40B4-BE49-F238E27FC236}">
                  <a16:creationId xmlns:a16="http://schemas.microsoft.com/office/drawing/2014/main" id="{B8597000-28DD-4D75-91BF-8B585F6E44FD}"/>
                </a:ext>
              </a:extLst>
            </p:cNvPr>
            <p:cNvSpPr/>
            <p:nvPr/>
          </p:nvSpPr>
          <p:spPr bwMode="auto">
            <a:xfrm>
              <a:off x="6347611" y="1258762"/>
              <a:ext cx="103604" cy="97684"/>
            </a:xfrm>
            <a:custGeom>
              <a:avLst/>
              <a:gdLst>
                <a:gd name="T0" fmla="*/ 19 w 34"/>
                <a:gd name="T1" fmla="*/ 32 h 32"/>
                <a:gd name="T2" fmla="*/ 30 w 34"/>
                <a:gd name="T3" fmla="*/ 27 h 32"/>
                <a:gd name="T4" fmla="*/ 26 w 34"/>
                <a:gd name="T5" fmla="*/ 7 h 32"/>
                <a:gd name="T6" fmla="*/ 17 w 34"/>
                <a:gd name="T7" fmla="*/ 0 h 32"/>
                <a:gd name="T8" fmla="*/ 11 w 34"/>
                <a:gd name="T9" fmla="*/ 0 h 32"/>
                <a:gd name="T10" fmla="*/ 7 w 34"/>
                <a:gd name="T11" fmla="*/ 1 h 32"/>
                <a:gd name="T12" fmla="*/ 4 w 34"/>
                <a:gd name="T13" fmla="*/ 4 h 32"/>
                <a:gd name="T14" fmla="*/ 4 w 34"/>
                <a:gd name="T15" fmla="*/ 6 h 32"/>
                <a:gd name="T16" fmla="*/ 0 w 34"/>
                <a:gd name="T17" fmla="*/ 11 h 32"/>
                <a:gd name="T18" fmla="*/ 4 w 34"/>
                <a:gd name="T19" fmla="*/ 26 h 32"/>
                <a:gd name="T20" fmla="*/ 19 w 34"/>
                <a:gd name="T21" fmla="*/ 32 h 32"/>
                <a:gd name="T22" fmla="*/ 15 w 34"/>
                <a:gd name="T23" fmla="*/ 6 h 32"/>
                <a:gd name="T24" fmla="*/ 15 w 34"/>
                <a:gd name="T25" fmla="*/ 6 h 32"/>
                <a:gd name="T26" fmla="*/ 15 w 34"/>
                <a:gd name="T27" fmla="*/ 6 h 32"/>
                <a:gd name="T28" fmla="*/ 15 w 34"/>
                <a:gd name="T29" fmla="*/ 6 h 32"/>
                <a:gd name="T30" fmla="*/ 16 w 34"/>
                <a:gd name="T31" fmla="*/ 6 h 32"/>
                <a:gd name="T32" fmla="*/ 18 w 34"/>
                <a:gd name="T33" fmla="*/ 6 h 32"/>
                <a:gd name="T34" fmla="*/ 22 w 34"/>
                <a:gd name="T35" fmla="*/ 9 h 32"/>
                <a:gd name="T36" fmla="*/ 25 w 34"/>
                <a:gd name="T37" fmla="*/ 13 h 32"/>
                <a:gd name="T38" fmla="*/ 25 w 34"/>
                <a:gd name="T39" fmla="*/ 14 h 32"/>
                <a:gd name="T40" fmla="*/ 26 w 34"/>
                <a:gd name="T41" fmla="*/ 15 h 32"/>
                <a:gd name="T42" fmla="*/ 26 w 34"/>
                <a:gd name="T43" fmla="*/ 15 h 32"/>
                <a:gd name="T44" fmla="*/ 27 w 34"/>
                <a:gd name="T45" fmla="*/ 18 h 32"/>
                <a:gd name="T46" fmla="*/ 27 w 34"/>
                <a:gd name="T47" fmla="*/ 18 h 32"/>
                <a:gd name="T48" fmla="*/ 27 w 34"/>
                <a:gd name="T49" fmla="*/ 19 h 32"/>
                <a:gd name="T50" fmla="*/ 27 w 34"/>
                <a:gd name="T51" fmla="*/ 19 h 32"/>
                <a:gd name="T52" fmla="*/ 27 w 34"/>
                <a:gd name="T53" fmla="*/ 20 h 32"/>
                <a:gd name="T54" fmla="*/ 27 w 34"/>
                <a:gd name="T55" fmla="*/ 21 h 32"/>
                <a:gd name="T56" fmla="*/ 27 w 34"/>
                <a:gd name="T57" fmla="*/ 21 h 32"/>
                <a:gd name="T58" fmla="*/ 27 w 34"/>
                <a:gd name="T59" fmla="*/ 22 h 32"/>
                <a:gd name="T60" fmla="*/ 26 w 34"/>
                <a:gd name="T61" fmla="*/ 23 h 32"/>
                <a:gd name="T62" fmla="*/ 26 w 34"/>
                <a:gd name="T63" fmla="*/ 23 h 32"/>
                <a:gd name="T64" fmla="*/ 26 w 34"/>
                <a:gd name="T65" fmla="*/ 24 h 32"/>
                <a:gd name="T66" fmla="*/ 25 w 34"/>
                <a:gd name="T67" fmla="*/ 25 h 32"/>
                <a:gd name="T68" fmla="*/ 25 w 34"/>
                <a:gd name="T69" fmla="*/ 25 h 32"/>
                <a:gd name="T70" fmla="*/ 25 w 34"/>
                <a:gd name="T71" fmla="*/ 25 h 32"/>
                <a:gd name="T72" fmla="*/ 25 w 34"/>
                <a:gd name="T73" fmla="*/ 26 h 32"/>
                <a:gd name="T74" fmla="*/ 25 w 34"/>
                <a:gd name="T75" fmla="*/ 26 h 32"/>
                <a:gd name="T76" fmla="*/ 25 w 34"/>
                <a:gd name="T77" fmla="*/ 26 h 32"/>
                <a:gd name="T78" fmla="*/ 24 w 34"/>
                <a:gd name="T79" fmla="*/ 26 h 32"/>
                <a:gd name="T80" fmla="*/ 23 w 34"/>
                <a:gd name="T81" fmla="*/ 27 h 32"/>
                <a:gd name="T82" fmla="*/ 23 w 34"/>
                <a:gd name="T83" fmla="*/ 27 h 32"/>
                <a:gd name="T84" fmla="*/ 21 w 34"/>
                <a:gd name="T85" fmla="*/ 27 h 32"/>
                <a:gd name="T86" fmla="*/ 17 w 34"/>
                <a:gd name="T87" fmla="*/ 27 h 32"/>
                <a:gd name="T88" fmla="*/ 12 w 34"/>
                <a:gd name="T89" fmla="*/ 26 h 32"/>
                <a:gd name="T90" fmla="*/ 6 w 34"/>
                <a:gd name="T91" fmla="*/ 19 h 32"/>
                <a:gd name="T92" fmla="*/ 5 w 34"/>
                <a:gd name="T93" fmla="*/ 11 h 32"/>
                <a:gd name="T94" fmla="*/ 11 w 34"/>
                <a:gd name="T95" fmla="*/ 8 h 32"/>
                <a:gd name="T96" fmla="*/ 12 w 34"/>
                <a:gd name="T97" fmla="*/ 6 h 32"/>
                <a:gd name="T98" fmla="*/ 15 w 34"/>
                <a:gd name="T99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" h="32">
                  <a:moveTo>
                    <a:pt x="19" y="32"/>
                  </a:moveTo>
                  <a:cubicBezTo>
                    <a:pt x="24" y="32"/>
                    <a:pt x="27" y="31"/>
                    <a:pt x="30" y="27"/>
                  </a:cubicBezTo>
                  <a:cubicBezTo>
                    <a:pt x="34" y="21"/>
                    <a:pt x="31" y="12"/>
                    <a:pt x="26" y="7"/>
                  </a:cubicBezTo>
                  <a:cubicBezTo>
                    <a:pt x="24" y="4"/>
                    <a:pt x="21" y="1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9" y="0"/>
                    <a:pt x="8" y="1"/>
                    <a:pt x="7" y="1"/>
                  </a:cubicBezTo>
                  <a:cubicBezTo>
                    <a:pt x="6" y="2"/>
                    <a:pt x="5" y="3"/>
                    <a:pt x="4" y="4"/>
                  </a:cubicBezTo>
                  <a:cubicBezTo>
                    <a:pt x="4" y="5"/>
                    <a:pt x="3" y="5"/>
                    <a:pt x="4" y="6"/>
                  </a:cubicBezTo>
                  <a:cubicBezTo>
                    <a:pt x="2" y="7"/>
                    <a:pt x="1" y="9"/>
                    <a:pt x="0" y="11"/>
                  </a:cubicBezTo>
                  <a:cubicBezTo>
                    <a:pt x="0" y="16"/>
                    <a:pt x="1" y="22"/>
                    <a:pt x="4" y="26"/>
                  </a:cubicBezTo>
                  <a:cubicBezTo>
                    <a:pt x="8" y="31"/>
                    <a:pt x="14" y="32"/>
                    <a:pt x="19" y="32"/>
                  </a:cubicBezTo>
                  <a:close/>
                  <a:moveTo>
                    <a:pt x="15" y="6"/>
                  </a:move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7" y="6"/>
                    <a:pt x="17" y="6"/>
                    <a:pt x="18" y="6"/>
                  </a:cubicBezTo>
                  <a:cubicBezTo>
                    <a:pt x="19" y="7"/>
                    <a:pt x="21" y="8"/>
                    <a:pt x="22" y="9"/>
                  </a:cubicBezTo>
                  <a:cubicBezTo>
                    <a:pt x="23" y="10"/>
                    <a:pt x="24" y="11"/>
                    <a:pt x="25" y="13"/>
                  </a:cubicBezTo>
                  <a:cubicBezTo>
                    <a:pt x="25" y="13"/>
                    <a:pt x="25" y="14"/>
                    <a:pt x="25" y="14"/>
                  </a:cubicBezTo>
                  <a:cubicBezTo>
                    <a:pt x="25" y="14"/>
                    <a:pt x="26" y="14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7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20"/>
                  </a:cubicBezTo>
                  <a:cubicBezTo>
                    <a:pt x="27" y="20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6" y="23"/>
                    <a:pt x="26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4" y="26"/>
                    <a:pt x="24" y="26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2" y="27"/>
                    <a:pt x="22" y="27"/>
                    <a:pt x="21" y="27"/>
                  </a:cubicBezTo>
                  <a:cubicBezTo>
                    <a:pt x="20" y="27"/>
                    <a:pt x="19" y="27"/>
                    <a:pt x="17" y="27"/>
                  </a:cubicBezTo>
                  <a:cubicBezTo>
                    <a:pt x="16" y="27"/>
                    <a:pt x="14" y="27"/>
                    <a:pt x="12" y="26"/>
                  </a:cubicBezTo>
                  <a:cubicBezTo>
                    <a:pt x="9" y="25"/>
                    <a:pt x="7" y="22"/>
                    <a:pt x="6" y="19"/>
                  </a:cubicBezTo>
                  <a:cubicBezTo>
                    <a:pt x="5" y="17"/>
                    <a:pt x="4" y="14"/>
                    <a:pt x="5" y="11"/>
                  </a:cubicBezTo>
                  <a:cubicBezTo>
                    <a:pt x="6" y="9"/>
                    <a:pt x="8" y="7"/>
                    <a:pt x="11" y="8"/>
                  </a:cubicBezTo>
                  <a:cubicBezTo>
                    <a:pt x="12" y="8"/>
                    <a:pt x="13" y="6"/>
                    <a:pt x="12" y="6"/>
                  </a:cubicBezTo>
                  <a:cubicBezTo>
                    <a:pt x="13" y="5"/>
                    <a:pt x="14" y="5"/>
                    <a:pt x="15" y="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6" name="iṣľîḍê">
              <a:extLst>
                <a:ext uri="{FF2B5EF4-FFF2-40B4-BE49-F238E27FC236}">
                  <a16:creationId xmlns:a16="http://schemas.microsoft.com/office/drawing/2014/main" id="{2F36ED11-C164-4C52-874B-85CE333AE43F}"/>
                </a:ext>
              </a:extLst>
            </p:cNvPr>
            <p:cNvSpPr/>
            <p:nvPr/>
          </p:nvSpPr>
          <p:spPr bwMode="auto">
            <a:xfrm>
              <a:off x="6541499" y="1319445"/>
              <a:ext cx="48843" cy="53282"/>
            </a:xfrm>
            <a:custGeom>
              <a:avLst/>
              <a:gdLst>
                <a:gd name="T0" fmla="*/ 1 w 16"/>
                <a:gd name="T1" fmla="*/ 14 h 17"/>
                <a:gd name="T2" fmla="*/ 5 w 16"/>
                <a:gd name="T3" fmla="*/ 17 h 17"/>
                <a:gd name="T4" fmla="*/ 7 w 16"/>
                <a:gd name="T5" fmla="*/ 17 h 17"/>
                <a:gd name="T6" fmla="*/ 10 w 16"/>
                <a:gd name="T7" fmla="*/ 17 h 17"/>
                <a:gd name="T8" fmla="*/ 11 w 16"/>
                <a:gd name="T9" fmla="*/ 16 h 17"/>
                <a:gd name="T10" fmla="*/ 13 w 16"/>
                <a:gd name="T11" fmla="*/ 15 h 17"/>
                <a:gd name="T12" fmla="*/ 14 w 16"/>
                <a:gd name="T13" fmla="*/ 15 h 17"/>
                <a:gd name="T14" fmla="*/ 14 w 16"/>
                <a:gd name="T15" fmla="*/ 14 h 17"/>
                <a:gd name="T16" fmla="*/ 14 w 16"/>
                <a:gd name="T17" fmla="*/ 14 h 17"/>
                <a:gd name="T18" fmla="*/ 15 w 16"/>
                <a:gd name="T19" fmla="*/ 13 h 17"/>
                <a:gd name="T20" fmla="*/ 15 w 16"/>
                <a:gd name="T21" fmla="*/ 12 h 17"/>
                <a:gd name="T22" fmla="*/ 15 w 16"/>
                <a:gd name="T23" fmla="*/ 9 h 17"/>
                <a:gd name="T24" fmla="*/ 14 w 16"/>
                <a:gd name="T25" fmla="*/ 6 h 17"/>
                <a:gd name="T26" fmla="*/ 11 w 16"/>
                <a:gd name="T27" fmla="*/ 4 h 17"/>
                <a:gd name="T28" fmla="*/ 11 w 16"/>
                <a:gd name="T29" fmla="*/ 3 h 17"/>
                <a:gd name="T30" fmla="*/ 10 w 16"/>
                <a:gd name="T31" fmla="*/ 3 h 17"/>
                <a:gd name="T32" fmla="*/ 9 w 16"/>
                <a:gd name="T33" fmla="*/ 3 h 17"/>
                <a:gd name="T34" fmla="*/ 8 w 16"/>
                <a:gd name="T35" fmla="*/ 2 h 17"/>
                <a:gd name="T36" fmla="*/ 8 w 16"/>
                <a:gd name="T37" fmla="*/ 2 h 17"/>
                <a:gd name="T38" fmla="*/ 8 w 16"/>
                <a:gd name="T39" fmla="*/ 2 h 17"/>
                <a:gd name="T40" fmla="*/ 7 w 16"/>
                <a:gd name="T41" fmla="*/ 2 h 17"/>
                <a:gd name="T42" fmla="*/ 7 w 16"/>
                <a:gd name="T43" fmla="*/ 2 h 17"/>
                <a:gd name="T44" fmla="*/ 7 w 16"/>
                <a:gd name="T45" fmla="*/ 2 h 17"/>
                <a:gd name="T46" fmla="*/ 7 w 16"/>
                <a:gd name="T47" fmla="*/ 2 h 17"/>
                <a:gd name="T48" fmla="*/ 7 w 16"/>
                <a:gd name="T49" fmla="*/ 2 h 17"/>
                <a:gd name="T50" fmla="*/ 6 w 16"/>
                <a:gd name="T51" fmla="*/ 0 h 17"/>
                <a:gd name="T52" fmla="*/ 4 w 16"/>
                <a:gd name="T53" fmla="*/ 0 h 17"/>
                <a:gd name="T54" fmla="*/ 3 w 16"/>
                <a:gd name="T55" fmla="*/ 1 h 17"/>
                <a:gd name="T56" fmla="*/ 1 w 16"/>
                <a:gd name="T57" fmla="*/ 5 h 17"/>
                <a:gd name="T58" fmla="*/ 0 w 16"/>
                <a:gd name="T59" fmla="*/ 8 h 17"/>
                <a:gd name="T60" fmla="*/ 0 w 16"/>
                <a:gd name="T61" fmla="*/ 9 h 17"/>
                <a:gd name="T62" fmla="*/ 0 w 16"/>
                <a:gd name="T63" fmla="*/ 11 h 17"/>
                <a:gd name="T64" fmla="*/ 1 w 16"/>
                <a:gd name="T65" fmla="*/ 14 h 17"/>
                <a:gd name="T66" fmla="*/ 5 w 16"/>
                <a:gd name="T67" fmla="*/ 6 h 17"/>
                <a:gd name="T68" fmla="*/ 5 w 16"/>
                <a:gd name="T69" fmla="*/ 6 h 17"/>
                <a:gd name="T70" fmla="*/ 6 w 16"/>
                <a:gd name="T71" fmla="*/ 5 h 17"/>
                <a:gd name="T72" fmla="*/ 6 w 16"/>
                <a:gd name="T73" fmla="*/ 5 h 17"/>
                <a:gd name="T74" fmla="*/ 6 w 16"/>
                <a:gd name="T75" fmla="*/ 5 h 17"/>
                <a:gd name="T76" fmla="*/ 6 w 16"/>
                <a:gd name="T77" fmla="*/ 5 h 17"/>
                <a:gd name="T78" fmla="*/ 7 w 16"/>
                <a:gd name="T79" fmla="*/ 6 h 17"/>
                <a:gd name="T80" fmla="*/ 8 w 16"/>
                <a:gd name="T81" fmla="*/ 7 h 17"/>
                <a:gd name="T82" fmla="*/ 8 w 16"/>
                <a:gd name="T83" fmla="*/ 7 h 17"/>
                <a:gd name="T84" fmla="*/ 10 w 16"/>
                <a:gd name="T85" fmla="*/ 8 h 17"/>
                <a:gd name="T86" fmla="*/ 11 w 16"/>
                <a:gd name="T87" fmla="*/ 10 h 17"/>
                <a:gd name="T88" fmla="*/ 11 w 16"/>
                <a:gd name="T89" fmla="*/ 10 h 17"/>
                <a:gd name="T90" fmla="*/ 11 w 16"/>
                <a:gd name="T91" fmla="*/ 10 h 17"/>
                <a:gd name="T92" fmla="*/ 11 w 16"/>
                <a:gd name="T93" fmla="*/ 11 h 17"/>
                <a:gd name="T94" fmla="*/ 11 w 16"/>
                <a:gd name="T95" fmla="*/ 11 h 17"/>
                <a:gd name="T96" fmla="*/ 11 w 16"/>
                <a:gd name="T97" fmla="*/ 11 h 17"/>
                <a:gd name="T98" fmla="*/ 11 w 16"/>
                <a:gd name="T99" fmla="*/ 11 h 17"/>
                <a:gd name="T100" fmla="*/ 10 w 16"/>
                <a:gd name="T101" fmla="*/ 12 h 17"/>
                <a:gd name="T102" fmla="*/ 9 w 16"/>
                <a:gd name="T103" fmla="*/ 12 h 17"/>
                <a:gd name="T104" fmla="*/ 7 w 16"/>
                <a:gd name="T105" fmla="*/ 12 h 17"/>
                <a:gd name="T106" fmla="*/ 6 w 16"/>
                <a:gd name="T107" fmla="*/ 12 h 17"/>
                <a:gd name="T108" fmla="*/ 5 w 16"/>
                <a:gd name="T109" fmla="*/ 12 h 17"/>
                <a:gd name="T110" fmla="*/ 5 w 16"/>
                <a:gd name="T111" fmla="*/ 11 h 17"/>
                <a:gd name="T112" fmla="*/ 4 w 16"/>
                <a:gd name="T113" fmla="*/ 11 h 17"/>
                <a:gd name="T114" fmla="*/ 4 w 16"/>
                <a:gd name="T115" fmla="*/ 10 h 17"/>
                <a:gd name="T116" fmla="*/ 4 w 16"/>
                <a:gd name="T117" fmla="*/ 9 h 17"/>
                <a:gd name="T118" fmla="*/ 5 w 16"/>
                <a:gd name="T11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" h="17">
                  <a:moveTo>
                    <a:pt x="1" y="14"/>
                  </a:moveTo>
                  <a:cubicBezTo>
                    <a:pt x="2" y="15"/>
                    <a:pt x="3" y="16"/>
                    <a:pt x="5" y="17"/>
                  </a:cubicBezTo>
                  <a:cubicBezTo>
                    <a:pt x="6" y="17"/>
                    <a:pt x="7" y="17"/>
                    <a:pt x="7" y="17"/>
                  </a:cubicBezTo>
                  <a:cubicBezTo>
                    <a:pt x="8" y="17"/>
                    <a:pt x="9" y="17"/>
                    <a:pt x="10" y="17"/>
                  </a:cubicBezTo>
                  <a:cubicBezTo>
                    <a:pt x="10" y="17"/>
                    <a:pt x="11" y="17"/>
                    <a:pt x="11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3" y="15"/>
                    <a:pt x="14" y="15"/>
                    <a:pt x="14" y="15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4"/>
                    <a:pt x="15" y="14"/>
                    <a:pt x="15" y="13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1"/>
                    <a:pt x="16" y="10"/>
                    <a:pt x="15" y="9"/>
                  </a:cubicBezTo>
                  <a:cubicBezTo>
                    <a:pt x="15" y="8"/>
                    <a:pt x="15" y="7"/>
                    <a:pt x="14" y="6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2"/>
                    <a:pt x="9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1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2" y="2"/>
                    <a:pt x="2" y="3"/>
                    <a:pt x="1" y="5"/>
                  </a:cubicBezTo>
                  <a:cubicBezTo>
                    <a:pt x="1" y="6"/>
                    <a:pt x="0" y="7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2"/>
                    <a:pt x="1" y="13"/>
                    <a:pt x="1" y="14"/>
                  </a:cubicBezTo>
                  <a:close/>
                  <a:moveTo>
                    <a:pt x="5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8" y="6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7"/>
                    <a:pt x="9" y="8"/>
                    <a:pt x="10" y="8"/>
                  </a:cubicBezTo>
                  <a:cubicBezTo>
                    <a:pt x="10" y="9"/>
                    <a:pt x="11" y="9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0" y="12"/>
                    <a:pt x="9" y="12"/>
                    <a:pt x="9" y="12"/>
                  </a:cubicBezTo>
                  <a:cubicBezTo>
                    <a:pt x="8" y="12"/>
                    <a:pt x="8" y="12"/>
                    <a:pt x="7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4" y="8"/>
                    <a:pt x="5" y="7"/>
                    <a:pt x="5" y="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7" name="îŝļîḓé">
              <a:extLst>
                <a:ext uri="{FF2B5EF4-FFF2-40B4-BE49-F238E27FC236}">
                  <a16:creationId xmlns:a16="http://schemas.microsoft.com/office/drawing/2014/main" id="{24EA57DE-0495-4144-B59C-54C655A0947F}"/>
                </a:ext>
              </a:extLst>
            </p:cNvPr>
            <p:cNvSpPr/>
            <p:nvPr/>
          </p:nvSpPr>
          <p:spPr bwMode="auto">
            <a:xfrm>
              <a:off x="6562220" y="1325366"/>
              <a:ext cx="1481" cy="1481"/>
            </a:xfrm>
            <a:prstGeom prst="ellipse">
              <a:avLst/>
            </a:pr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8" name="î$ľíḑè">
              <a:extLst>
                <a:ext uri="{FF2B5EF4-FFF2-40B4-BE49-F238E27FC236}">
                  <a16:creationId xmlns:a16="http://schemas.microsoft.com/office/drawing/2014/main" id="{0E42DED4-C779-4444-AE9C-08C3A3048646}"/>
                </a:ext>
              </a:extLst>
            </p:cNvPr>
            <p:cNvSpPr/>
            <p:nvPr/>
          </p:nvSpPr>
          <p:spPr bwMode="auto">
            <a:xfrm>
              <a:off x="5657902" y="1184759"/>
              <a:ext cx="68083" cy="65123"/>
            </a:xfrm>
            <a:custGeom>
              <a:avLst/>
              <a:gdLst>
                <a:gd name="T0" fmla="*/ 20 w 22"/>
                <a:gd name="T1" fmla="*/ 20 h 21"/>
                <a:gd name="T2" fmla="*/ 22 w 22"/>
                <a:gd name="T3" fmla="*/ 18 h 21"/>
                <a:gd name="T4" fmla="*/ 19 w 22"/>
                <a:gd name="T5" fmla="*/ 6 h 21"/>
                <a:gd name="T6" fmla="*/ 9 w 22"/>
                <a:gd name="T7" fmla="*/ 1 h 21"/>
                <a:gd name="T8" fmla="*/ 9 w 22"/>
                <a:gd name="T9" fmla="*/ 3 h 21"/>
                <a:gd name="T10" fmla="*/ 16 w 22"/>
                <a:gd name="T11" fmla="*/ 8 h 21"/>
                <a:gd name="T12" fmla="*/ 18 w 22"/>
                <a:gd name="T13" fmla="*/ 16 h 21"/>
                <a:gd name="T14" fmla="*/ 7 w 22"/>
                <a:gd name="T15" fmla="*/ 14 h 21"/>
                <a:gd name="T16" fmla="*/ 8 w 22"/>
                <a:gd name="T17" fmla="*/ 5 h 21"/>
                <a:gd name="T18" fmla="*/ 6 w 22"/>
                <a:gd name="T19" fmla="*/ 3 h 21"/>
                <a:gd name="T20" fmla="*/ 4 w 22"/>
                <a:gd name="T21" fmla="*/ 16 h 21"/>
                <a:gd name="T22" fmla="*/ 20 w 22"/>
                <a:gd name="T23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0" y="20"/>
                  </a:moveTo>
                  <a:cubicBezTo>
                    <a:pt x="21" y="20"/>
                    <a:pt x="22" y="19"/>
                    <a:pt x="22" y="18"/>
                  </a:cubicBezTo>
                  <a:cubicBezTo>
                    <a:pt x="22" y="14"/>
                    <a:pt x="22" y="10"/>
                    <a:pt x="19" y="6"/>
                  </a:cubicBezTo>
                  <a:cubicBezTo>
                    <a:pt x="17" y="3"/>
                    <a:pt x="13" y="0"/>
                    <a:pt x="9" y="1"/>
                  </a:cubicBezTo>
                  <a:cubicBezTo>
                    <a:pt x="8" y="1"/>
                    <a:pt x="8" y="2"/>
                    <a:pt x="9" y="3"/>
                  </a:cubicBezTo>
                  <a:cubicBezTo>
                    <a:pt x="11" y="5"/>
                    <a:pt x="14" y="6"/>
                    <a:pt x="16" y="8"/>
                  </a:cubicBezTo>
                  <a:cubicBezTo>
                    <a:pt x="17" y="11"/>
                    <a:pt x="18" y="13"/>
                    <a:pt x="18" y="16"/>
                  </a:cubicBezTo>
                  <a:cubicBezTo>
                    <a:pt x="14" y="16"/>
                    <a:pt x="10" y="16"/>
                    <a:pt x="7" y="14"/>
                  </a:cubicBezTo>
                  <a:cubicBezTo>
                    <a:pt x="3" y="12"/>
                    <a:pt x="6" y="8"/>
                    <a:pt x="8" y="5"/>
                  </a:cubicBezTo>
                  <a:cubicBezTo>
                    <a:pt x="10" y="3"/>
                    <a:pt x="7" y="1"/>
                    <a:pt x="6" y="3"/>
                  </a:cubicBezTo>
                  <a:cubicBezTo>
                    <a:pt x="2" y="6"/>
                    <a:pt x="0" y="12"/>
                    <a:pt x="4" y="16"/>
                  </a:cubicBezTo>
                  <a:cubicBezTo>
                    <a:pt x="8" y="20"/>
                    <a:pt x="15" y="21"/>
                    <a:pt x="20" y="2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9" name="íṣ1íḍe">
              <a:extLst>
                <a:ext uri="{FF2B5EF4-FFF2-40B4-BE49-F238E27FC236}">
                  <a16:creationId xmlns:a16="http://schemas.microsoft.com/office/drawing/2014/main" id="{068C7AB2-400A-404E-9BDD-871BB29913FF}"/>
                </a:ext>
              </a:extLst>
            </p:cNvPr>
            <p:cNvSpPr/>
            <p:nvPr/>
          </p:nvSpPr>
          <p:spPr bwMode="auto">
            <a:xfrm>
              <a:off x="4904550" y="1402329"/>
              <a:ext cx="51803" cy="62163"/>
            </a:xfrm>
            <a:custGeom>
              <a:avLst/>
              <a:gdLst>
                <a:gd name="T0" fmla="*/ 6 w 17"/>
                <a:gd name="T1" fmla="*/ 19 h 20"/>
                <a:gd name="T2" fmla="*/ 14 w 17"/>
                <a:gd name="T3" fmla="*/ 17 h 20"/>
                <a:gd name="T4" fmla="*/ 17 w 17"/>
                <a:gd name="T5" fmla="*/ 4 h 20"/>
                <a:gd name="T6" fmla="*/ 16 w 17"/>
                <a:gd name="T7" fmla="*/ 2 h 20"/>
                <a:gd name="T8" fmla="*/ 10 w 17"/>
                <a:gd name="T9" fmla="*/ 1 h 20"/>
                <a:gd name="T10" fmla="*/ 6 w 17"/>
                <a:gd name="T11" fmla="*/ 4 h 20"/>
                <a:gd name="T12" fmla="*/ 6 w 17"/>
                <a:gd name="T13" fmla="*/ 4 h 20"/>
                <a:gd name="T14" fmla="*/ 4 w 17"/>
                <a:gd name="T15" fmla="*/ 4 h 20"/>
                <a:gd name="T16" fmla="*/ 1 w 17"/>
                <a:gd name="T17" fmla="*/ 8 h 20"/>
                <a:gd name="T18" fmla="*/ 1 w 17"/>
                <a:gd name="T19" fmla="*/ 13 h 20"/>
                <a:gd name="T20" fmla="*/ 6 w 17"/>
                <a:gd name="T21" fmla="*/ 19 h 20"/>
                <a:gd name="T22" fmla="*/ 4 w 17"/>
                <a:gd name="T23" fmla="*/ 9 h 20"/>
                <a:gd name="T24" fmla="*/ 4 w 17"/>
                <a:gd name="T25" fmla="*/ 9 h 20"/>
                <a:gd name="T26" fmla="*/ 6 w 17"/>
                <a:gd name="T27" fmla="*/ 5 h 20"/>
                <a:gd name="T28" fmla="*/ 6 w 17"/>
                <a:gd name="T29" fmla="*/ 5 h 20"/>
                <a:gd name="T30" fmla="*/ 7 w 17"/>
                <a:gd name="T31" fmla="*/ 6 h 20"/>
                <a:gd name="T32" fmla="*/ 10 w 17"/>
                <a:gd name="T33" fmla="*/ 5 h 20"/>
                <a:gd name="T34" fmla="*/ 13 w 17"/>
                <a:gd name="T35" fmla="*/ 5 h 20"/>
                <a:gd name="T36" fmla="*/ 11 w 17"/>
                <a:gd name="T37" fmla="*/ 13 h 20"/>
                <a:gd name="T38" fmla="*/ 7 w 17"/>
                <a:gd name="T39" fmla="*/ 15 h 20"/>
                <a:gd name="T40" fmla="*/ 4 w 17"/>
                <a:gd name="T41" fmla="*/ 12 h 20"/>
                <a:gd name="T42" fmla="*/ 4 w 17"/>
                <a:gd name="T43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" h="20">
                  <a:moveTo>
                    <a:pt x="6" y="19"/>
                  </a:moveTo>
                  <a:cubicBezTo>
                    <a:pt x="8" y="20"/>
                    <a:pt x="12" y="19"/>
                    <a:pt x="14" y="17"/>
                  </a:cubicBezTo>
                  <a:cubicBezTo>
                    <a:pt x="17" y="13"/>
                    <a:pt x="17" y="8"/>
                    <a:pt x="17" y="4"/>
                  </a:cubicBezTo>
                  <a:cubicBezTo>
                    <a:pt x="17" y="3"/>
                    <a:pt x="17" y="2"/>
                    <a:pt x="16" y="2"/>
                  </a:cubicBezTo>
                  <a:cubicBezTo>
                    <a:pt x="14" y="1"/>
                    <a:pt x="12" y="0"/>
                    <a:pt x="10" y="1"/>
                  </a:cubicBezTo>
                  <a:cubicBezTo>
                    <a:pt x="9" y="1"/>
                    <a:pt x="7" y="2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5" y="3"/>
                    <a:pt x="4" y="4"/>
                  </a:cubicBezTo>
                  <a:cubicBezTo>
                    <a:pt x="3" y="5"/>
                    <a:pt x="1" y="6"/>
                    <a:pt x="1" y="8"/>
                  </a:cubicBezTo>
                  <a:cubicBezTo>
                    <a:pt x="0" y="9"/>
                    <a:pt x="0" y="11"/>
                    <a:pt x="1" y="13"/>
                  </a:cubicBezTo>
                  <a:cubicBezTo>
                    <a:pt x="1" y="15"/>
                    <a:pt x="3" y="18"/>
                    <a:pt x="6" y="19"/>
                  </a:cubicBezTo>
                  <a:close/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5" y="7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6"/>
                    <a:pt x="6" y="6"/>
                    <a:pt x="7" y="6"/>
                  </a:cubicBezTo>
                  <a:cubicBezTo>
                    <a:pt x="8" y="6"/>
                    <a:pt x="9" y="6"/>
                    <a:pt x="10" y="5"/>
                  </a:cubicBezTo>
                  <a:cubicBezTo>
                    <a:pt x="11" y="5"/>
                    <a:pt x="12" y="5"/>
                    <a:pt x="13" y="5"/>
                  </a:cubicBezTo>
                  <a:cubicBezTo>
                    <a:pt x="13" y="8"/>
                    <a:pt x="13" y="11"/>
                    <a:pt x="11" y="13"/>
                  </a:cubicBezTo>
                  <a:cubicBezTo>
                    <a:pt x="10" y="15"/>
                    <a:pt x="8" y="15"/>
                    <a:pt x="7" y="15"/>
                  </a:cubicBezTo>
                  <a:cubicBezTo>
                    <a:pt x="5" y="15"/>
                    <a:pt x="4" y="13"/>
                    <a:pt x="4" y="12"/>
                  </a:cubicBezTo>
                  <a:cubicBezTo>
                    <a:pt x="3" y="11"/>
                    <a:pt x="3" y="10"/>
                    <a:pt x="4" y="9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0" name="ïṥ1iḓe">
              <a:extLst>
                <a:ext uri="{FF2B5EF4-FFF2-40B4-BE49-F238E27FC236}">
                  <a16:creationId xmlns:a16="http://schemas.microsoft.com/office/drawing/2014/main" id="{E2A3D520-CE00-4443-967B-8268F56C3842}"/>
                </a:ext>
              </a:extLst>
            </p:cNvPr>
            <p:cNvSpPr/>
            <p:nvPr/>
          </p:nvSpPr>
          <p:spPr bwMode="auto">
            <a:xfrm>
              <a:off x="4876429" y="1584376"/>
              <a:ext cx="65123" cy="85844"/>
            </a:xfrm>
            <a:custGeom>
              <a:avLst/>
              <a:gdLst>
                <a:gd name="T0" fmla="*/ 10 w 21"/>
                <a:gd name="T1" fmla="*/ 27 h 28"/>
                <a:gd name="T2" fmla="*/ 18 w 21"/>
                <a:gd name="T3" fmla="*/ 24 h 28"/>
                <a:gd name="T4" fmla="*/ 21 w 21"/>
                <a:gd name="T5" fmla="*/ 15 h 28"/>
                <a:gd name="T6" fmla="*/ 18 w 21"/>
                <a:gd name="T7" fmla="*/ 7 h 28"/>
                <a:gd name="T8" fmla="*/ 11 w 21"/>
                <a:gd name="T9" fmla="*/ 3 h 28"/>
                <a:gd name="T10" fmla="*/ 10 w 21"/>
                <a:gd name="T11" fmla="*/ 3 h 28"/>
                <a:gd name="T12" fmla="*/ 10 w 21"/>
                <a:gd name="T13" fmla="*/ 5 h 28"/>
                <a:gd name="T14" fmla="*/ 17 w 21"/>
                <a:gd name="T15" fmla="*/ 14 h 28"/>
                <a:gd name="T16" fmla="*/ 10 w 21"/>
                <a:gd name="T17" fmla="*/ 23 h 28"/>
                <a:gd name="T18" fmla="*/ 5 w 21"/>
                <a:gd name="T19" fmla="*/ 16 h 28"/>
                <a:gd name="T20" fmla="*/ 9 w 21"/>
                <a:gd name="T21" fmla="*/ 5 h 28"/>
                <a:gd name="T22" fmla="*/ 7 w 21"/>
                <a:gd name="T23" fmla="*/ 2 h 28"/>
                <a:gd name="T24" fmla="*/ 1 w 21"/>
                <a:gd name="T25" fmla="*/ 16 h 28"/>
                <a:gd name="T26" fmla="*/ 10 w 21"/>
                <a:gd name="T2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28">
                  <a:moveTo>
                    <a:pt x="10" y="27"/>
                  </a:moveTo>
                  <a:cubicBezTo>
                    <a:pt x="12" y="28"/>
                    <a:pt x="15" y="26"/>
                    <a:pt x="18" y="24"/>
                  </a:cubicBezTo>
                  <a:cubicBezTo>
                    <a:pt x="20" y="22"/>
                    <a:pt x="21" y="18"/>
                    <a:pt x="21" y="15"/>
                  </a:cubicBezTo>
                  <a:cubicBezTo>
                    <a:pt x="21" y="12"/>
                    <a:pt x="20" y="9"/>
                    <a:pt x="18" y="7"/>
                  </a:cubicBezTo>
                  <a:cubicBezTo>
                    <a:pt x="17" y="5"/>
                    <a:pt x="13" y="2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5"/>
                    <a:pt x="10" y="5"/>
                  </a:cubicBezTo>
                  <a:cubicBezTo>
                    <a:pt x="13" y="7"/>
                    <a:pt x="16" y="10"/>
                    <a:pt x="17" y="14"/>
                  </a:cubicBezTo>
                  <a:cubicBezTo>
                    <a:pt x="18" y="19"/>
                    <a:pt x="14" y="23"/>
                    <a:pt x="10" y="23"/>
                  </a:cubicBezTo>
                  <a:cubicBezTo>
                    <a:pt x="7" y="23"/>
                    <a:pt x="5" y="19"/>
                    <a:pt x="5" y="16"/>
                  </a:cubicBezTo>
                  <a:cubicBezTo>
                    <a:pt x="4" y="12"/>
                    <a:pt x="5" y="7"/>
                    <a:pt x="9" y="5"/>
                  </a:cubicBezTo>
                  <a:cubicBezTo>
                    <a:pt x="10" y="3"/>
                    <a:pt x="9" y="0"/>
                    <a:pt x="7" y="2"/>
                  </a:cubicBezTo>
                  <a:cubicBezTo>
                    <a:pt x="2" y="5"/>
                    <a:pt x="0" y="11"/>
                    <a:pt x="1" y="16"/>
                  </a:cubicBezTo>
                  <a:cubicBezTo>
                    <a:pt x="2" y="22"/>
                    <a:pt x="5" y="27"/>
                    <a:pt x="10" y="2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1" name="îśḻîḋe">
              <a:extLst>
                <a:ext uri="{FF2B5EF4-FFF2-40B4-BE49-F238E27FC236}">
                  <a16:creationId xmlns:a16="http://schemas.microsoft.com/office/drawing/2014/main" id="{3107C4A9-0579-4BE9-A915-57D78F7093AE}"/>
                </a:ext>
              </a:extLst>
            </p:cNvPr>
            <p:cNvSpPr/>
            <p:nvPr/>
          </p:nvSpPr>
          <p:spPr bwMode="auto">
            <a:xfrm>
              <a:off x="4285884" y="1593256"/>
              <a:ext cx="113965" cy="94724"/>
            </a:xfrm>
            <a:custGeom>
              <a:avLst/>
              <a:gdLst>
                <a:gd name="T0" fmla="*/ 10 w 37"/>
                <a:gd name="T1" fmla="*/ 21 h 31"/>
                <a:gd name="T2" fmla="*/ 11 w 37"/>
                <a:gd name="T3" fmla="*/ 17 h 31"/>
                <a:gd name="T4" fmla="*/ 17 w 37"/>
                <a:gd name="T5" fmla="*/ 10 h 31"/>
                <a:gd name="T6" fmla="*/ 16 w 37"/>
                <a:gd name="T7" fmla="*/ 7 h 31"/>
                <a:gd name="T8" fmla="*/ 8 w 37"/>
                <a:gd name="T9" fmla="*/ 29 h 31"/>
                <a:gd name="T10" fmla="*/ 16 w 37"/>
                <a:gd name="T11" fmla="*/ 31 h 31"/>
                <a:gd name="T12" fmla="*/ 27 w 37"/>
                <a:gd name="T13" fmla="*/ 29 h 31"/>
                <a:gd name="T14" fmla="*/ 36 w 37"/>
                <a:gd name="T15" fmla="*/ 18 h 31"/>
                <a:gd name="T16" fmla="*/ 30 w 37"/>
                <a:gd name="T17" fmla="*/ 4 h 31"/>
                <a:gd name="T18" fmla="*/ 12 w 37"/>
                <a:gd name="T19" fmla="*/ 4 h 31"/>
                <a:gd name="T20" fmla="*/ 12 w 37"/>
                <a:gd name="T21" fmla="*/ 6 h 31"/>
                <a:gd name="T22" fmla="*/ 22 w 37"/>
                <a:gd name="T23" fmla="*/ 6 h 31"/>
                <a:gd name="T24" fmla="*/ 29 w 37"/>
                <a:gd name="T25" fmla="*/ 8 h 31"/>
                <a:gd name="T26" fmla="*/ 32 w 37"/>
                <a:gd name="T27" fmla="*/ 18 h 31"/>
                <a:gd name="T28" fmla="*/ 22 w 37"/>
                <a:gd name="T29" fmla="*/ 27 h 31"/>
                <a:gd name="T30" fmla="*/ 12 w 37"/>
                <a:gd name="T31" fmla="*/ 27 h 31"/>
                <a:gd name="T32" fmla="*/ 9 w 37"/>
                <a:gd name="T33" fmla="*/ 24 h 31"/>
                <a:gd name="T34" fmla="*/ 9 w 37"/>
                <a:gd name="T35" fmla="*/ 23 h 31"/>
                <a:gd name="T36" fmla="*/ 9 w 37"/>
                <a:gd name="T37" fmla="*/ 23 h 31"/>
                <a:gd name="T38" fmla="*/ 10 w 37"/>
                <a:gd name="T39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" h="31">
                  <a:moveTo>
                    <a:pt x="10" y="21"/>
                  </a:moveTo>
                  <a:cubicBezTo>
                    <a:pt x="10" y="20"/>
                    <a:pt x="11" y="18"/>
                    <a:pt x="11" y="17"/>
                  </a:cubicBezTo>
                  <a:cubicBezTo>
                    <a:pt x="13" y="14"/>
                    <a:pt x="15" y="12"/>
                    <a:pt x="17" y="10"/>
                  </a:cubicBezTo>
                  <a:cubicBezTo>
                    <a:pt x="19" y="9"/>
                    <a:pt x="17" y="6"/>
                    <a:pt x="16" y="7"/>
                  </a:cubicBezTo>
                  <a:cubicBezTo>
                    <a:pt x="10" y="11"/>
                    <a:pt x="0" y="23"/>
                    <a:pt x="8" y="29"/>
                  </a:cubicBezTo>
                  <a:cubicBezTo>
                    <a:pt x="11" y="31"/>
                    <a:pt x="14" y="31"/>
                    <a:pt x="16" y="31"/>
                  </a:cubicBezTo>
                  <a:cubicBezTo>
                    <a:pt x="20" y="31"/>
                    <a:pt x="24" y="31"/>
                    <a:pt x="27" y="29"/>
                  </a:cubicBezTo>
                  <a:cubicBezTo>
                    <a:pt x="31" y="27"/>
                    <a:pt x="35" y="23"/>
                    <a:pt x="36" y="18"/>
                  </a:cubicBezTo>
                  <a:cubicBezTo>
                    <a:pt x="37" y="13"/>
                    <a:pt x="35" y="8"/>
                    <a:pt x="30" y="4"/>
                  </a:cubicBezTo>
                  <a:cubicBezTo>
                    <a:pt x="26" y="1"/>
                    <a:pt x="17" y="0"/>
                    <a:pt x="12" y="4"/>
                  </a:cubicBezTo>
                  <a:cubicBezTo>
                    <a:pt x="11" y="4"/>
                    <a:pt x="11" y="6"/>
                    <a:pt x="12" y="6"/>
                  </a:cubicBezTo>
                  <a:cubicBezTo>
                    <a:pt x="16" y="6"/>
                    <a:pt x="19" y="5"/>
                    <a:pt x="22" y="6"/>
                  </a:cubicBezTo>
                  <a:cubicBezTo>
                    <a:pt x="24" y="6"/>
                    <a:pt x="27" y="7"/>
                    <a:pt x="29" y="8"/>
                  </a:cubicBezTo>
                  <a:cubicBezTo>
                    <a:pt x="31" y="10"/>
                    <a:pt x="33" y="14"/>
                    <a:pt x="32" y="18"/>
                  </a:cubicBezTo>
                  <a:cubicBezTo>
                    <a:pt x="31" y="23"/>
                    <a:pt x="26" y="26"/>
                    <a:pt x="22" y="27"/>
                  </a:cubicBezTo>
                  <a:cubicBezTo>
                    <a:pt x="19" y="28"/>
                    <a:pt x="15" y="28"/>
                    <a:pt x="12" y="27"/>
                  </a:cubicBezTo>
                  <a:cubicBezTo>
                    <a:pt x="10" y="26"/>
                    <a:pt x="9" y="25"/>
                    <a:pt x="9" y="24"/>
                  </a:cubicBezTo>
                  <a:cubicBezTo>
                    <a:pt x="9" y="24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2"/>
                    <a:pt x="9" y="21"/>
                    <a:pt x="10" y="21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2" name="íṩliḍe">
              <a:extLst>
                <a:ext uri="{FF2B5EF4-FFF2-40B4-BE49-F238E27FC236}">
                  <a16:creationId xmlns:a16="http://schemas.microsoft.com/office/drawing/2014/main" id="{FA1F482F-8411-43FC-9453-C545242EDB7F}"/>
                </a:ext>
              </a:extLst>
            </p:cNvPr>
            <p:cNvSpPr/>
            <p:nvPr/>
          </p:nvSpPr>
          <p:spPr bwMode="auto">
            <a:xfrm>
              <a:off x="8168088" y="3381172"/>
              <a:ext cx="142086" cy="124325"/>
            </a:xfrm>
            <a:custGeom>
              <a:avLst/>
              <a:gdLst>
                <a:gd name="T0" fmla="*/ 10 w 46"/>
                <a:gd name="T1" fmla="*/ 5 h 40"/>
                <a:gd name="T2" fmla="*/ 2 w 46"/>
                <a:gd name="T3" fmla="*/ 7 h 40"/>
                <a:gd name="T4" fmla="*/ 3 w 46"/>
                <a:gd name="T5" fmla="*/ 32 h 40"/>
                <a:gd name="T6" fmla="*/ 33 w 46"/>
                <a:gd name="T7" fmla="*/ 32 h 40"/>
                <a:gd name="T8" fmla="*/ 39 w 46"/>
                <a:gd name="T9" fmla="*/ 4 h 40"/>
                <a:gd name="T10" fmla="*/ 13 w 46"/>
                <a:gd name="T11" fmla="*/ 1 h 40"/>
                <a:gd name="T12" fmla="*/ 10 w 46"/>
                <a:gd name="T13" fmla="*/ 5 h 40"/>
                <a:gd name="T14" fmla="*/ 26 w 46"/>
                <a:gd name="T15" fmla="*/ 6 h 40"/>
                <a:gd name="T16" fmla="*/ 28 w 46"/>
                <a:gd name="T17" fmla="*/ 6 h 40"/>
                <a:gd name="T18" fmla="*/ 32 w 46"/>
                <a:gd name="T19" fmla="*/ 7 h 40"/>
                <a:gd name="T20" fmla="*/ 34 w 46"/>
                <a:gd name="T21" fmla="*/ 8 h 40"/>
                <a:gd name="T22" fmla="*/ 35 w 46"/>
                <a:gd name="T23" fmla="*/ 8 h 40"/>
                <a:gd name="T24" fmla="*/ 37 w 46"/>
                <a:gd name="T25" fmla="*/ 9 h 40"/>
                <a:gd name="T26" fmla="*/ 38 w 46"/>
                <a:gd name="T27" fmla="*/ 10 h 40"/>
                <a:gd name="T28" fmla="*/ 38 w 46"/>
                <a:gd name="T29" fmla="*/ 11 h 40"/>
                <a:gd name="T30" fmla="*/ 39 w 46"/>
                <a:gd name="T31" fmla="*/ 12 h 40"/>
                <a:gd name="T32" fmla="*/ 39 w 46"/>
                <a:gd name="T33" fmla="*/ 13 h 40"/>
                <a:gd name="T34" fmla="*/ 39 w 46"/>
                <a:gd name="T35" fmla="*/ 14 h 40"/>
                <a:gd name="T36" fmla="*/ 38 w 46"/>
                <a:gd name="T37" fmla="*/ 17 h 40"/>
                <a:gd name="T38" fmla="*/ 38 w 46"/>
                <a:gd name="T39" fmla="*/ 17 h 40"/>
                <a:gd name="T40" fmla="*/ 37 w 46"/>
                <a:gd name="T41" fmla="*/ 19 h 40"/>
                <a:gd name="T42" fmla="*/ 35 w 46"/>
                <a:gd name="T43" fmla="*/ 21 h 40"/>
                <a:gd name="T44" fmla="*/ 31 w 46"/>
                <a:gd name="T45" fmla="*/ 25 h 40"/>
                <a:gd name="T46" fmla="*/ 30 w 46"/>
                <a:gd name="T47" fmla="*/ 26 h 40"/>
                <a:gd name="T48" fmla="*/ 28 w 46"/>
                <a:gd name="T49" fmla="*/ 27 h 40"/>
                <a:gd name="T50" fmla="*/ 23 w 46"/>
                <a:gd name="T51" fmla="*/ 31 h 40"/>
                <a:gd name="T52" fmla="*/ 22 w 46"/>
                <a:gd name="T53" fmla="*/ 32 h 40"/>
                <a:gd name="T54" fmla="*/ 17 w 46"/>
                <a:gd name="T55" fmla="*/ 33 h 40"/>
                <a:gd name="T56" fmla="*/ 17 w 46"/>
                <a:gd name="T57" fmla="*/ 33 h 40"/>
                <a:gd name="T58" fmla="*/ 13 w 46"/>
                <a:gd name="T59" fmla="*/ 33 h 40"/>
                <a:gd name="T60" fmla="*/ 13 w 46"/>
                <a:gd name="T61" fmla="*/ 33 h 40"/>
                <a:gd name="T62" fmla="*/ 11 w 46"/>
                <a:gd name="T63" fmla="*/ 32 h 40"/>
                <a:gd name="T64" fmla="*/ 10 w 46"/>
                <a:gd name="T65" fmla="*/ 32 h 40"/>
                <a:gd name="T66" fmla="*/ 9 w 46"/>
                <a:gd name="T67" fmla="*/ 31 h 40"/>
                <a:gd name="T68" fmla="*/ 8 w 46"/>
                <a:gd name="T69" fmla="*/ 30 h 40"/>
                <a:gd name="T70" fmla="*/ 7 w 46"/>
                <a:gd name="T71" fmla="*/ 28 h 40"/>
                <a:gd name="T72" fmla="*/ 7 w 46"/>
                <a:gd name="T73" fmla="*/ 27 h 40"/>
                <a:gd name="T74" fmla="*/ 6 w 46"/>
                <a:gd name="T75" fmla="*/ 24 h 40"/>
                <a:gd name="T76" fmla="*/ 6 w 46"/>
                <a:gd name="T77" fmla="*/ 23 h 40"/>
                <a:gd name="T78" fmla="*/ 6 w 46"/>
                <a:gd name="T79" fmla="*/ 10 h 40"/>
                <a:gd name="T80" fmla="*/ 15 w 46"/>
                <a:gd name="T81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" h="40"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8" y="5"/>
                    <a:pt x="6" y="5"/>
                    <a:pt x="4" y="5"/>
                  </a:cubicBezTo>
                  <a:cubicBezTo>
                    <a:pt x="3" y="5"/>
                    <a:pt x="2" y="6"/>
                    <a:pt x="2" y="7"/>
                  </a:cubicBezTo>
                  <a:cubicBezTo>
                    <a:pt x="0" y="11"/>
                    <a:pt x="0" y="17"/>
                    <a:pt x="0" y="22"/>
                  </a:cubicBezTo>
                  <a:cubicBezTo>
                    <a:pt x="0" y="25"/>
                    <a:pt x="1" y="29"/>
                    <a:pt x="3" y="32"/>
                  </a:cubicBezTo>
                  <a:cubicBezTo>
                    <a:pt x="6" y="37"/>
                    <a:pt x="11" y="40"/>
                    <a:pt x="17" y="39"/>
                  </a:cubicBezTo>
                  <a:cubicBezTo>
                    <a:pt x="23" y="38"/>
                    <a:pt x="28" y="35"/>
                    <a:pt x="33" y="32"/>
                  </a:cubicBezTo>
                  <a:cubicBezTo>
                    <a:pt x="38" y="28"/>
                    <a:pt x="42" y="23"/>
                    <a:pt x="44" y="18"/>
                  </a:cubicBezTo>
                  <a:cubicBezTo>
                    <a:pt x="46" y="12"/>
                    <a:pt x="44" y="7"/>
                    <a:pt x="39" y="4"/>
                  </a:cubicBezTo>
                  <a:cubicBezTo>
                    <a:pt x="36" y="2"/>
                    <a:pt x="33" y="1"/>
                    <a:pt x="29" y="0"/>
                  </a:cubicBezTo>
                  <a:cubicBezTo>
                    <a:pt x="24" y="0"/>
                    <a:pt x="19" y="0"/>
                    <a:pt x="13" y="1"/>
                  </a:cubicBezTo>
                  <a:cubicBezTo>
                    <a:pt x="12" y="1"/>
                    <a:pt x="11" y="1"/>
                    <a:pt x="10" y="2"/>
                  </a:cubicBezTo>
                  <a:cubicBezTo>
                    <a:pt x="8" y="2"/>
                    <a:pt x="8" y="5"/>
                    <a:pt x="10" y="5"/>
                  </a:cubicBezTo>
                  <a:close/>
                  <a:moveTo>
                    <a:pt x="26" y="6"/>
                  </a:moveTo>
                  <a:cubicBezTo>
                    <a:pt x="26" y="6"/>
                    <a:pt x="26" y="6"/>
                    <a:pt x="26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7" y="6"/>
                    <a:pt x="28" y="6"/>
                  </a:cubicBezTo>
                  <a:cubicBezTo>
                    <a:pt x="28" y="6"/>
                    <a:pt x="28" y="6"/>
                    <a:pt x="29" y="6"/>
                  </a:cubicBezTo>
                  <a:cubicBezTo>
                    <a:pt x="30" y="6"/>
                    <a:pt x="31" y="7"/>
                    <a:pt x="32" y="7"/>
                  </a:cubicBezTo>
                  <a:cubicBezTo>
                    <a:pt x="32" y="7"/>
                    <a:pt x="33" y="7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7" y="9"/>
                  </a:cubicBezTo>
                  <a:cubicBezTo>
                    <a:pt x="37" y="9"/>
                    <a:pt x="37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4"/>
                    <a:pt x="39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8" y="16"/>
                    <a:pt x="38" y="16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8"/>
                  </a:cubicBezTo>
                  <a:cubicBezTo>
                    <a:pt x="37" y="18"/>
                    <a:pt x="37" y="19"/>
                    <a:pt x="37" y="19"/>
                  </a:cubicBezTo>
                  <a:cubicBezTo>
                    <a:pt x="36" y="20"/>
                    <a:pt x="36" y="20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2"/>
                    <a:pt x="34" y="22"/>
                  </a:cubicBezTo>
                  <a:cubicBezTo>
                    <a:pt x="34" y="23"/>
                    <a:pt x="33" y="24"/>
                    <a:pt x="31" y="25"/>
                  </a:cubicBezTo>
                  <a:cubicBezTo>
                    <a:pt x="31" y="26"/>
                    <a:pt x="30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7"/>
                    <a:pt x="30" y="27"/>
                    <a:pt x="29" y="27"/>
                  </a:cubicBezTo>
                  <a:cubicBezTo>
                    <a:pt x="29" y="27"/>
                    <a:pt x="29" y="27"/>
                    <a:pt x="28" y="27"/>
                  </a:cubicBezTo>
                  <a:cubicBezTo>
                    <a:pt x="27" y="28"/>
                    <a:pt x="26" y="30"/>
                    <a:pt x="25" y="30"/>
                  </a:cubicBezTo>
                  <a:cubicBezTo>
                    <a:pt x="24" y="31"/>
                    <a:pt x="24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2" y="32"/>
                    <a:pt x="22" y="32"/>
                  </a:cubicBezTo>
                  <a:cubicBezTo>
                    <a:pt x="21" y="32"/>
                    <a:pt x="19" y="33"/>
                    <a:pt x="18" y="33"/>
                  </a:cubicBezTo>
                  <a:cubicBezTo>
                    <a:pt x="18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6" y="33"/>
                    <a:pt x="16" y="33"/>
                    <a:pt x="15" y="33"/>
                  </a:cubicBezTo>
                  <a:cubicBezTo>
                    <a:pt x="14" y="33"/>
                    <a:pt x="14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2" y="33"/>
                    <a:pt x="12" y="33"/>
                    <a:pt x="11" y="33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29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6" y="26"/>
                    <a:pt x="6" y="25"/>
                    <a:pt x="6" y="25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2"/>
                    <a:pt x="6" y="21"/>
                    <a:pt x="6" y="20"/>
                  </a:cubicBezTo>
                  <a:cubicBezTo>
                    <a:pt x="5" y="17"/>
                    <a:pt x="6" y="13"/>
                    <a:pt x="6" y="10"/>
                  </a:cubicBezTo>
                  <a:cubicBezTo>
                    <a:pt x="9" y="9"/>
                    <a:pt x="12" y="9"/>
                    <a:pt x="14" y="9"/>
                  </a:cubicBezTo>
                  <a:cubicBezTo>
                    <a:pt x="16" y="9"/>
                    <a:pt x="17" y="7"/>
                    <a:pt x="15" y="6"/>
                  </a:cubicBezTo>
                  <a:cubicBezTo>
                    <a:pt x="19" y="6"/>
                    <a:pt x="23" y="6"/>
                    <a:pt x="26" y="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3" name="îṣľíďê">
              <a:extLst>
                <a:ext uri="{FF2B5EF4-FFF2-40B4-BE49-F238E27FC236}">
                  <a16:creationId xmlns:a16="http://schemas.microsoft.com/office/drawing/2014/main" id="{1D461A33-986E-4C63-8697-E3F300B27401}"/>
                </a:ext>
              </a:extLst>
            </p:cNvPr>
            <p:cNvSpPr/>
            <p:nvPr/>
          </p:nvSpPr>
          <p:spPr bwMode="auto">
            <a:xfrm>
              <a:off x="3362325" y="3443334"/>
              <a:ext cx="159847" cy="168727"/>
            </a:xfrm>
            <a:custGeom>
              <a:avLst/>
              <a:gdLst>
                <a:gd name="T0" fmla="*/ 36 w 52"/>
                <a:gd name="T1" fmla="*/ 4 h 55"/>
                <a:gd name="T2" fmla="*/ 14 w 52"/>
                <a:gd name="T3" fmla="*/ 8 h 55"/>
                <a:gd name="T4" fmla="*/ 11 w 52"/>
                <a:gd name="T5" fmla="*/ 12 h 55"/>
                <a:gd name="T6" fmla="*/ 9 w 52"/>
                <a:gd name="T7" fmla="*/ 17 h 55"/>
                <a:gd name="T8" fmla="*/ 9 w 52"/>
                <a:gd name="T9" fmla="*/ 18 h 55"/>
                <a:gd name="T10" fmla="*/ 1 w 52"/>
                <a:gd name="T11" fmla="*/ 30 h 55"/>
                <a:gd name="T12" fmla="*/ 2 w 52"/>
                <a:gd name="T13" fmla="*/ 44 h 55"/>
                <a:gd name="T14" fmla="*/ 12 w 52"/>
                <a:gd name="T15" fmla="*/ 53 h 55"/>
                <a:gd name="T16" fmla="*/ 31 w 52"/>
                <a:gd name="T17" fmla="*/ 54 h 55"/>
                <a:gd name="T18" fmla="*/ 44 w 52"/>
                <a:gd name="T19" fmla="*/ 47 h 55"/>
                <a:gd name="T20" fmla="*/ 50 w 52"/>
                <a:gd name="T21" fmla="*/ 24 h 55"/>
                <a:gd name="T22" fmla="*/ 36 w 52"/>
                <a:gd name="T23" fmla="*/ 4 h 55"/>
                <a:gd name="T24" fmla="*/ 46 w 52"/>
                <a:gd name="T25" fmla="*/ 34 h 55"/>
                <a:gd name="T26" fmla="*/ 46 w 52"/>
                <a:gd name="T27" fmla="*/ 34 h 55"/>
                <a:gd name="T28" fmla="*/ 46 w 52"/>
                <a:gd name="T29" fmla="*/ 35 h 55"/>
                <a:gd name="T30" fmla="*/ 45 w 52"/>
                <a:gd name="T31" fmla="*/ 36 h 55"/>
                <a:gd name="T32" fmla="*/ 45 w 52"/>
                <a:gd name="T33" fmla="*/ 37 h 55"/>
                <a:gd name="T34" fmla="*/ 44 w 52"/>
                <a:gd name="T35" fmla="*/ 39 h 55"/>
                <a:gd name="T36" fmla="*/ 41 w 52"/>
                <a:gd name="T37" fmla="*/ 43 h 55"/>
                <a:gd name="T38" fmla="*/ 29 w 52"/>
                <a:gd name="T39" fmla="*/ 49 h 55"/>
                <a:gd name="T40" fmla="*/ 13 w 52"/>
                <a:gd name="T41" fmla="*/ 48 h 55"/>
                <a:gd name="T42" fmla="*/ 5 w 52"/>
                <a:gd name="T43" fmla="*/ 30 h 55"/>
                <a:gd name="T44" fmla="*/ 24 w 52"/>
                <a:gd name="T45" fmla="*/ 15 h 55"/>
                <a:gd name="T46" fmla="*/ 24 w 52"/>
                <a:gd name="T47" fmla="*/ 12 h 55"/>
                <a:gd name="T48" fmla="*/ 15 w 52"/>
                <a:gd name="T49" fmla="*/ 14 h 55"/>
                <a:gd name="T50" fmla="*/ 17 w 52"/>
                <a:gd name="T51" fmla="*/ 13 h 55"/>
                <a:gd name="T52" fmla="*/ 22 w 52"/>
                <a:gd name="T53" fmla="*/ 9 h 55"/>
                <a:gd name="T54" fmla="*/ 24 w 52"/>
                <a:gd name="T55" fmla="*/ 8 h 55"/>
                <a:gd name="T56" fmla="*/ 25 w 52"/>
                <a:gd name="T57" fmla="*/ 7 h 55"/>
                <a:gd name="T58" fmla="*/ 26 w 52"/>
                <a:gd name="T59" fmla="*/ 7 h 55"/>
                <a:gd name="T60" fmla="*/ 26 w 52"/>
                <a:gd name="T61" fmla="*/ 7 h 55"/>
                <a:gd name="T62" fmla="*/ 29 w 52"/>
                <a:gd name="T63" fmla="*/ 7 h 55"/>
                <a:gd name="T64" fmla="*/ 29 w 52"/>
                <a:gd name="T65" fmla="*/ 7 h 55"/>
                <a:gd name="T66" fmla="*/ 30 w 52"/>
                <a:gd name="T67" fmla="*/ 7 h 55"/>
                <a:gd name="T68" fmla="*/ 31 w 52"/>
                <a:gd name="T69" fmla="*/ 8 h 55"/>
                <a:gd name="T70" fmla="*/ 32 w 52"/>
                <a:gd name="T71" fmla="*/ 8 h 55"/>
                <a:gd name="T72" fmla="*/ 33 w 52"/>
                <a:gd name="T73" fmla="*/ 8 h 55"/>
                <a:gd name="T74" fmla="*/ 33 w 52"/>
                <a:gd name="T75" fmla="*/ 8 h 55"/>
                <a:gd name="T76" fmla="*/ 35 w 52"/>
                <a:gd name="T77" fmla="*/ 10 h 55"/>
                <a:gd name="T78" fmla="*/ 39 w 52"/>
                <a:gd name="T79" fmla="*/ 14 h 55"/>
                <a:gd name="T80" fmla="*/ 42 w 52"/>
                <a:gd name="T81" fmla="*/ 18 h 55"/>
                <a:gd name="T82" fmla="*/ 43 w 52"/>
                <a:gd name="T83" fmla="*/ 21 h 55"/>
                <a:gd name="T84" fmla="*/ 44 w 52"/>
                <a:gd name="T85" fmla="*/ 23 h 55"/>
                <a:gd name="T86" fmla="*/ 46 w 52"/>
                <a:gd name="T87" fmla="*/ 3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2" h="55">
                  <a:moveTo>
                    <a:pt x="36" y="4"/>
                  </a:moveTo>
                  <a:cubicBezTo>
                    <a:pt x="29" y="0"/>
                    <a:pt x="20" y="2"/>
                    <a:pt x="14" y="8"/>
                  </a:cubicBezTo>
                  <a:cubicBezTo>
                    <a:pt x="13" y="10"/>
                    <a:pt x="12" y="11"/>
                    <a:pt x="11" y="12"/>
                  </a:cubicBezTo>
                  <a:cubicBezTo>
                    <a:pt x="10" y="14"/>
                    <a:pt x="9" y="15"/>
                    <a:pt x="9" y="17"/>
                  </a:cubicBezTo>
                  <a:cubicBezTo>
                    <a:pt x="9" y="17"/>
                    <a:pt x="9" y="18"/>
                    <a:pt x="9" y="18"/>
                  </a:cubicBezTo>
                  <a:cubicBezTo>
                    <a:pt x="5" y="21"/>
                    <a:pt x="2" y="25"/>
                    <a:pt x="1" y="30"/>
                  </a:cubicBezTo>
                  <a:cubicBezTo>
                    <a:pt x="0" y="34"/>
                    <a:pt x="0" y="39"/>
                    <a:pt x="2" y="44"/>
                  </a:cubicBezTo>
                  <a:cubicBezTo>
                    <a:pt x="4" y="48"/>
                    <a:pt x="8" y="51"/>
                    <a:pt x="12" y="53"/>
                  </a:cubicBezTo>
                  <a:cubicBezTo>
                    <a:pt x="18" y="55"/>
                    <a:pt x="25" y="55"/>
                    <a:pt x="31" y="54"/>
                  </a:cubicBezTo>
                  <a:cubicBezTo>
                    <a:pt x="36" y="53"/>
                    <a:pt x="40" y="51"/>
                    <a:pt x="44" y="47"/>
                  </a:cubicBezTo>
                  <a:cubicBezTo>
                    <a:pt x="51" y="42"/>
                    <a:pt x="52" y="32"/>
                    <a:pt x="50" y="24"/>
                  </a:cubicBezTo>
                  <a:cubicBezTo>
                    <a:pt x="48" y="16"/>
                    <a:pt x="43" y="8"/>
                    <a:pt x="36" y="4"/>
                  </a:cubicBezTo>
                  <a:close/>
                  <a:moveTo>
                    <a:pt x="46" y="34"/>
                  </a:moveTo>
                  <a:cubicBezTo>
                    <a:pt x="46" y="34"/>
                    <a:pt x="46" y="34"/>
                    <a:pt x="46" y="34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5" y="36"/>
                    <a:pt x="45" y="36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8"/>
                    <a:pt x="45" y="38"/>
                    <a:pt x="44" y="39"/>
                  </a:cubicBezTo>
                  <a:cubicBezTo>
                    <a:pt x="44" y="41"/>
                    <a:pt x="43" y="42"/>
                    <a:pt x="41" y="43"/>
                  </a:cubicBezTo>
                  <a:cubicBezTo>
                    <a:pt x="38" y="47"/>
                    <a:pt x="34" y="48"/>
                    <a:pt x="29" y="49"/>
                  </a:cubicBezTo>
                  <a:cubicBezTo>
                    <a:pt x="24" y="50"/>
                    <a:pt x="18" y="50"/>
                    <a:pt x="13" y="48"/>
                  </a:cubicBezTo>
                  <a:cubicBezTo>
                    <a:pt x="6" y="44"/>
                    <a:pt x="4" y="37"/>
                    <a:pt x="5" y="30"/>
                  </a:cubicBezTo>
                  <a:cubicBezTo>
                    <a:pt x="8" y="21"/>
                    <a:pt x="16" y="16"/>
                    <a:pt x="24" y="15"/>
                  </a:cubicBezTo>
                  <a:cubicBezTo>
                    <a:pt x="26" y="15"/>
                    <a:pt x="25" y="12"/>
                    <a:pt x="24" y="12"/>
                  </a:cubicBezTo>
                  <a:cubicBezTo>
                    <a:pt x="21" y="13"/>
                    <a:pt x="18" y="13"/>
                    <a:pt x="15" y="14"/>
                  </a:cubicBezTo>
                  <a:cubicBezTo>
                    <a:pt x="16" y="14"/>
                    <a:pt x="16" y="13"/>
                    <a:pt x="17" y="13"/>
                  </a:cubicBezTo>
                  <a:cubicBezTo>
                    <a:pt x="19" y="11"/>
                    <a:pt x="20" y="10"/>
                    <a:pt x="22" y="9"/>
                  </a:cubicBezTo>
                  <a:cubicBezTo>
                    <a:pt x="23" y="8"/>
                    <a:pt x="23" y="8"/>
                    <a:pt x="24" y="8"/>
                  </a:cubicBezTo>
                  <a:cubicBezTo>
                    <a:pt x="24" y="8"/>
                    <a:pt x="25" y="8"/>
                    <a:pt x="25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7" y="7"/>
                    <a:pt x="28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30" y="7"/>
                  </a:cubicBezTo>
                  <a:cubicBezTo>
                    <a:pt x="30" y="8"/>
                    <a:pt x="31" y="8"/>
                    <a:pt x="31" y="8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2" y="8"/>
                    <a:pt x="32" y="8"/>
                    <a:pt x="33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9"/>
                    <a:pt x="34" y="10"/>
                    <a:pt x="35" y="10"/>
                  </a:cubicBezTo>
                  <a:cubicBezTo>
                    <a:pt x="36" y="11"/>
                    <a:pt x="37" y="12"/>
                    <a:pt x="39" y="14"/>
                  </a:cubicBezTo>
                  <a:cubicBezTo>
                    <a:pt x="40" y="15"/>
                    <a:pt x="41" y="16"/>
                    <a:pt x="42" y="18"/>
                  </a:cubicBezTo>
                  <a:cubicBezTo>
                    <a:pt x="43" y="19"/>
                    <a:pt x="43" y="20"/>
                    <a:pt x="43" y="21"/>
                  </a:cubicBezTo>
                  <a:cubicBezTo>
                    <a:pt x="44" y="22"/>
                    <a:pt x="44" y="22"/>
                    <a:pt x="44" y="23"/>
                  </a:cubicBezTo>
                  <a:cubicBezTo>
                    <a:pt x="46" y="27"/>
                    <a:pt x="46" y="30"/>
                    <a:pt x="46" y="3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4" name="îşḷîḓe">
              <a:extLst>
                <a:ext uri="{FF2B5EF4-FFF2-40B4-BE49-F238E27FC236}">
                  <a16:creationId xmlns:a16="http://schemas.microsoft.com/office/drawing/2014/main" id="{56360634-3053-4B26-950D-0E3BD73850AD}"/>
                </a:ext>
              </a:extLst>
            </p:cNvPr>
            <p:cNvSpPr/>
            <p:nvPr/>
          </p:nvSpPr>
          <p:spPr bwMode="auto">
            <a:xfrm>
              <a:off x="3618376" y="3480336"/>
              <a:ext cx="57723" cy="51803"/>
            </a:xfrm>
            <a:custGeom>
              <a:avLst/>
              <a:gdLst>
                <a:gd name="T0" fmla="*/ 2 w 19"/>
                <a:gd name="T1" fmla="*/ 5 h 17"/>
                <a:gd name="T2" fmla="*/ 2 w 19"/>
                <a:gd name="T3" fmla="*/ 5 h 17"/>
                <a:gd name="T4" fmla="*/ 1 w 19"/>
                <a:gd name="T5" fmla="*/ 7 h 17"/>
                <a:gd name="T6" fmla="*/ 1 w 19"/>
                <a:gd name="T7" fmla="*/ 12 h 17"/>
                <a:gd name="T8" fmla="*/ 15 w 19"/>
                <a:gd name="T9" fmla="*/ 16 h 17"/>
                <a:gd name="T10" fmla="*/ 17 w 19"/>
                <a:gd name="T11" fmla="*/ 14 h 17"/>
                <a:gd name="T12" fmla="*/ 19 w 19"/>
                <a:gd name="T13" fmla="*/ 6 h 17"/>
                <a:gd name="T14" fmla="*/ 19 w 19"/>
                <a:gd name="T15" fmla="*/ 4 h 17"/>
                <a:gd name="T16" fmla="*/ 13 w 19"/>
                <a:gd name="T17" fmla="*/ 1 h 17"/>
                <a:gd name="T18" fmla="*/ 7 w 19"/>
                <a:gd name="T19" fmla="*/ 0 h 17"/>
                <a:gd name="T20" fmla="*/ 6 w 19"/>
                <a:gd name="T21" fmla="*/ 2 h 17"/>
                <a:gd name="T22" fmla="*/ 14 w 19"/>
                <a:gd name="T23" fmla="*/ 7 h 17"/>
                <a:gd name="T24" fmla="*/ 13 w 19"/>
                <a:gd name="T25" fmla="*/ 12 h 17"/>
                <a:gd name="T26" fmla="*/ 6 w 19"/>
                <a:gd name="T27" fmla="*/ 11 h 17"/>
                <a:gd name="T28" fmla="*/ 5 w 19"/>
                <a:gd name="T29" fmla="*/ 11 h 17"/>
                <a:gd name="T30" fmla="*/ 4 w 19"/>
                <a:gd name="T31" fmla="*/ 11 h 17"/>
                <a:gd name="T32" fmla="*/ 4 w 19"/>
                <a:gd name="T33" fmla="*/ 11 h 17"/>
                <a:gd name="T34" fmla="*/ 4 w 19"/>
                <a:gd name="T35" fmla="*/ 11 h 17"/>
                <a:gd name="T36" fmla="*/ 4 w 19"/>
                <a:gd name="T37" fmla="*/ 10 h 17"/>
                <a:gd name="T38" fmla="*/ 4 w 19"/>
                <a:gd name="T39" fmla="*/ 9 h 17"/>
                <a:gd name="T40" fmla="*/ 5 w 19"/>
                <a:gd name="T41" fmla="*/ 7 h 17"/>
                <a:gd name="T42" fmla="*/ 5 w 19"/>
                <a:gd name="T43" fmla="*/ 3 h 17"/>
                <a:gd name="T44" fmla="*/ 2 w 19"/>
                <a:gd name="T45" fmla="*/ 4 h 17"/>
                <a:gd name="T46" fmla="*/ 2 w 19"/>
                <a:gd name="T47" fmla="*/ 5 h 17"/>
                <a:gd name="T48" fmla="*/ 2 w 19"/>
                <a:gd name="T49" fmla="*/ 5 h 17"/>
                <a:gd name="T50" fmla="*/ 2 w 19"/>
                <a:gd name="T5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" h="17"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1" y="7"/>
                    <a:pt x="1" y="7"/>
                  </a:cubicBezTo>
                  <a:cubicBezTo>
                    <a:pt x="1" y="9"/>
                    <a:pt x="0" y="10"/>
                    <a:pt x="1" y="12"/>
                  </a:cubicBezTo>
                  <a:cubicBezTo>
                    <a:pt x="2" y="17"/>
                    <a:pt x="11" y="16"/>
                    <a:pt x="15" y="16"/>
                  </a:cubicBezTo>
                  <a:cubicBezTo>
                    <a:pt x="16" y="16"/>
                    <a:pt x="17" y="15"/>
                    <a:pt x="17" y="14"/>
                  </a:cubicBezTo>
                  <a:cubicBezTo>
                    <a:pt x="17" y="11"/>
                    <a:pt x="18" y="8"/>
                    <a:pt x="19" y="6"/>
                  </a:cubicBezTo>
                  <a:cubicBezTo>
                    <a:pt x="19" y="5"/>
                    <a:pt x="19" y="5"/>
                    <a:pt x="19" y="4"/>
                  </a:cubicBezTo>
                  <a:cubicBezTo>
                    <a:pt x="17" y="3"/>
                    <a:pt x="15" y="2"/>
                    <a:pt x="13" y="1"/>
                  </a:cubicBezTo>
                  <a:cubicBezTo>
                    <a:pt x="11" y="1"/>
                    <a:pt x="9" y="0"/>
                    <a:pt x="7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6" y="6"/>
                    <a:pt x="11" y="5"/>
                    <a:pt x="14" y="7"/>
                  </a:cubicBezTo>
                  <a:cubicBezTo>
                    <a:pt x="14" y="8"/>
                    <a:pt x="13" y="10"/>
                    <a:pt x="13" y="12"/>
                  </a:cubicBezTo>
                  <a:cubicBezTo>
                    <a:pt x="11" y="12"/>
                    <a:pt x="8" y="12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8"/>
                    <a:pt x="5" y="8"/>
                    <a:pt x="5" y="7"/>
                  </a:cubicBezTo>
                  <a:cubicBezTo>
                    <a:pt x="5" y="6"/>
                    <a:pt x="5" y="4"/>
                    <a:pt x="5" y="3"/>
                  </a:cubicBezTo>
                  <a:cubicBezTo>
                    <a:pt x="4" y="1"/>
                    <a:pt x="1" y="2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5" name="iṣ1iḓê">
              <a:extLst>
                <a:ext uri="{FF2B5EF4-FFF2-40B4-BE49-F238E27FC236}">
                  <a16:creationId xmlns:a16="http://schemas.microsoft.com/office/drawing/2014/main" id="{8775DA71-78FA-403A-B9C9-41C41E712DD9}"/>
                </a:ext>
              </a:extLst>
            </p:cNvPr>
            <p:cNvSpPr/>
            <p:nvPr/>
          </p:nvSpPr>
          <p:spPr bwMode="auto">
            <a:xfrm>
              <a:off x="5632741" y="1341646"/>
              <a:ext cx="150966" cy="100644"/>
            </a:xfrm>
            <a:custGeom>
              <a:avLst/>
              <a:gdLst>
                <a:gd name="T0" fmla="*/ 1 w 49"/>
                <a:gd name="T1" fmla="*/ 3 h 33"/>
                <a:gd name="T2" fmla="*/ 12 w 49"/>
                <a:gd name="T3" fmla="*/ 10 h 33"/>
                <a:gd name="T4" fmla="*/ 24 w 49"/>
                <a:gd name="T5" fmla="*/ 16 h 33"/>
                <a:gd name="T6" fmla="*/ 36 w 49"/>
                <a:gd name="T7" fmla="*/ 23 h 33"/>
                <a:gd name="T8" fmla="*/ 41 w 49"/>
                <a:gd name="T9" fmla="*/ 28 h 33"/>
                <a:gd name="T10" fmla="*/ 44 w 49"/>
                <a:gd name="T11" fmla="*/ 30 h 33"/>
                <a:gd name="T12" fmla="*/ 47 w 49"/>
                <a:gd name="T13" fmla="*/ 33 h 33"/>
                <a:gd name="T14" fmla="*/ 49 w 49"/>
                <a:gd name="T15" fmla="*/ 31 h 33"/>
                <a:gd name="T16" fmla="*/ 48 w 49"/>
                <a:gd name="T17" fmla="*/ 27 h 33"/>
                <a:gd name="T18" fmla="*/ 45 w 49"/>
                <a:gd name="T19" fmla="*/ 24 h 33"/>
                <a:gd name="T20" fmla="*/ 40 w 49"/>
                <a:gd name="T21" fmla="*/ 19 h 33"/>
                <a:gd name="T22" fmla="*/ 28 w 49"/>
                <a:gd name="T23" fmla="*/ 12 h 33"/>
                <a:gd name="T24" fmla="*/ 15 w 49"/>
                <a:gd name="T25" fmla="*/ 7 h 33"/>
                <a:gd name="T26" fmla="*/ 3 w 49"/>
                <a:gd name="T27" fmla="*/ 1 h 33"/>
                <a:gd name="T28" fmla="*/ 1 w 49"/>
                <a:gd name="T29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" h="33">
                  <a:moveTo>
                    <a:pt x="1" y="3"/>
                  </a:moveTo>
                  <a:cubicBezTo>
                    <a:pt x="5" y="6"/>
                    <a:pt x="9" y="9"/>
                    <a:pt x="12" y="10"/>
                  </a:cubicBezTo>
                  <a:cubicBezTo>
                    <a:pt x="16" y="12"/>
                    <a:pt x="20" y="14"/>
                    <a:pt x="24" y="16"/>
                  </a:cubicBezTo>
                  <a:cubicBezTo>
                    <a:pt x="29" y="18"/>
                    <a:pt x="33" y="20"/>
                    <a:pt x="36" y="23"/>
                  </a:cubicBezTo>
                  <a:cubicBezTo>
                    <a:pt x="38" y="25"/>
                    <a:pt x="39" y="26"/>
                    <a:pt x="41" y="28"/>
                  </a:cubicBezTo>
                  <a:cubicBezTo>
                    <a:pt x="42" y="29"/>
                    <a:pt x="43" y="30"/>
                    <a:pt x="44" y="30"/>
                  </a:cubicBezTo>
                  <a:cubicBezTo>
                    <a:pt x="45" y="32"/>
                    <a:pt x="46" y="32"/>
                    <a:pt x="47" y="33"/>
                  </a:cubicBezTo>
                  <a:cubicBezTo>
                    <a:pt x="48" y="33"/>
                    <a:pt x="49" y="32"/>
                    <a:pt x="49" y="31"/>
                  </a:cubicBezTo>
                  <a:cubicBezTo>
                    <a:pt x="49" y="30"/>
                    <a:pt x="49" y="29"/>
                    <a:pt x="48" y="27"/>
                  </a:cubicBezTo>
                  <a:cubicBezTo>
                    <a:pt x="47" y="26"/>
                    <a:pt x="47" y="25"/>
                    <a:pt x="45" y="24"/>
                  </a:cubicBezTo>
                  <a:cubicBezTo>
                    <a:pt x="44" y="22"/>
                    <a:pt x="42" y="21"/>
                    <a:pt x="40" y="19"/>
                  </a:cubicBezTo>
                  <a:cubicBezTo>
                    <a:pt x="36" y="16"/>
                    <a:pt x="32" y="14"/>
                    <a:pt x="28" y="12"/>
                  </a:cubicBezTo>
                  <a:cubicBezTo>
                    <a:pt x="24" y="10"/>
                    <a:pt x="19" y="8"/>
                    <a:pt x="15" y="7"/>
                  </a:cubicBezTo>
                  <a:cubicBezTo>
                    <a:pt x="11" y="5"/>
                    <a:pt x="7" y="3"/>
                    <a:pt x="3" y="1"/>
                  </a:cubicBezTo>
                  <a:cubicBezTo>
                    <a:pt x="1" y="0"/>
                    <a:pt x="0" y="2"/>
                    <a:pt x="1" y="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6" name="îṡḻíďè">
              <a:extLst>
                <a:ext uri="{FF2B5EF4-FFF2-40B4-BE49-F238E27FC236}">
                  <a16:creationId xmlns:a16="http://schemas.microsoft.com/office/drawing/2014/main" id="{AAA2EF75-DCE4-4750-9C80-39567E9932C1}"/>
                </a:ext>
              </a:extLst>
            </p:cNvPr>
            <p:cNvSpPr/>
            <p:nvPr/>
          </p:nvSpPr>
          <p:spPr bwMode="auto">
            <a:xfrm>
              <a:off x="5795547" y="1461531"/>
              <a:ext cx="16281" cy="23681"/>
            </a:xfrm>
            <a:custGeom>
              <a:avLst/>
              <a:gdLst>
                <a:gd name="T0" fmla="*/ 3 w 5"/>
                <a:gd name="T1" fmla="*/ 8 h 8"/>
                <a:gd name="T2" fmla="*/ 5 w 5"/>
                <a:gd name="T3" fmla="*/ 7 h 8"/>
                <a:gd name="T4" fmla="*/ 5 w 5"/>
                <a:gd name="T5" fmla="*/ 5 h 8"/>
                <a:gd name="T6" fmla="*/ 5 w 5"/>
                <a:gd name="T7" fmla="*/ 2 h 8"/>
                <a:gd name="T8" fmla="*/ 2 w 5"/>
                <a:gd name="T9" fmla="*/ 0 h 8"/>
                <a:gd name="T10" fmla="*/ 0 w 5"/>
                <a:gd name="T11" fmla="*/ 2 h 8"/>
                <a:gd name="T12" fmla="*/ 0 w 5"/>
                <a:gd name="T13" fmla="*/ 5 h 8"/>
                <a:gd name="T14" fmla="*/ 3 w 5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8"/>
                    <a:pt x="4" y="8"/>
                    <a:pt x="5" y="7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6"/>
                    <a:pt x="1" y="8"/>
                    <a:pt x="3" y="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7" name="ïsḻíde">
              <a:extLst>
                <a:ext uri="{FF2B5EF4-FFF2-40B4-BE49-F238E27FC236}">
                  <a16:creationId xmlns:a16="http://schemas.microsoft.com/office/drawing/2014/main" id="{631FFE60-E394-41FD-891E-7D8821481657}"/>
                </a:ext>
              </a:extLst>
            </p:cNvPr>
            <p:cNvSpPr/>
            <p:nvPr/>
          </p:nvSpPr>
          <p:spPr bwMode="auto">
            <a:xfrm>
              <a:off x="5295286" y="1227682"/>
              <a:ext cx="113965" cy="79923"/>
            </a:xfrm>
            <a:custGeom>
              <a:avLst/>
              <a:gdLst>
                <a:gd name="T0" fmla="*/ 29 w 37"/>
                <a:gd name="T1" fmla="*/ 18 h 26"/>
                <a:gd name="T2" fmla="*/ 33 w 37"/>
                <a:gd name="T3" fmla="*/ 25 h 26"/>
                <a:gd name="T4" fmla="*/ 35 w 37"/>
                <a:gd name="T5" fmla="*/ 25 h 26"/>
                <a:gd name="T6" fmla="*/ 33 w 37"/>
                <a:gd name="T7" fmla="*/ 15 h 26"/>
                <a:gd name="T8" fmla="*/ 24 w 37"/>
                <a:gd name="T9" fmla="*/ 7 h 26"/>
                <a:gd name="T10" fmla="*/ 13 w 37"/>
                <a:gd name="T11" fmla="*/ 2 h 26"/>
                <a:gd name="T12" fmla="*/ 2 w 37"/>
                <a:gd name="T13" fmla="*/ 1 h 26"/>
                <a:gd name="T14" fmla="*/ 2 w 37"/>
                <a:gd name="T15" fmla="*/ 3 h 26"/>
                <a:gd name="T16" fmla="*/ 11 w 37"/>
                <a:gd name="T17" fmla="*/ 6 h 26"/>
                <a:gd name="T18" fmla="*/ 21 w 37"/>
                <a:gd name="T19" fmla="*/ 10 h 26"/>
                <a:gd name="T20" fmla="*/ 29 w 37"/>
                <a:gd name="T21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26">
                  <a:moveTo>
                    <a:pt x="29" y="18"/>
                  </a:moveTo>
                  <a:cubicBezTo>
                    <a:pt x="30" y="20"/>
                    <a:pt x="31" y="23"/>
                    <a:pt x="33" y="25"/>
                  </a:cubicBezTo>
                  <a:cubicBezTo>
                    <a:pt x="34" y="26"/>
                    <a:pt x="35" y="26"/>
                    <a:pt x="35" y="25"/>
                  </a:cubicBezTo>
                  <a:cubicBezTo>
                    <a:pt x="37" y="22"/>
                    <a:pt x="35" y="18"/>
                    <a:pt x="33" y="15"/>
                  </a:cubicBezTo>
                  <a:cubicBezTo>
                    <a:pt x="31" y="11"/>
                    <a:pt x="27" y="9"/>
                    <a:pt x="24" y="7"/>
                  </a:cubicBezTo>
                  <a:cubicBezTo>
                    <a:pt x="21" y="4"/>
                    <a:pt x="17" y="3"/>
                    <a:pt x="13" y="2"/>
                  </a:cubicBezTo>
                  <a:cubicBezTo>
                    <a:pt x="9" y="1"/>
                    <a:pt x="5" y="0"/>
                    <a:pt x="2" y="1"/>
                  </a:cubicBezTo>
                  <a:cubicBezTo>
                    <a:pt x="0" y="1"/>
                    <a:pt x="0" y="3"/>
                    <a:pt x="2" y="3"/>
                  </a:cubicBezTo>
                  <a:cubicBezTo>
                    <a:pt x="5" y="4"/>
                    <a:pt x="8" y="5"/>
                    <a:pt x="11" y="6"/>
                  </a:cubicBezTo>
                  <a:cubicBezTo>
                    <a:pt x="14" y="7"/>
                    <a:pt x="18" y="8"/>
                    <a:pt x="21" y="10"/>
                  </a:cubicBezTo>
                  <a:cubicBezTo>
                    <a:pt x="24" y="13"/>
                    <a:pt x="26" y="15"/>
                    <a:pt x="29" y="1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8" name="íṩlïďê">
              <a:extLst>
                <a:ext uri="{FF2B5EF4-FFF2-40B4-BE49-F238E27FC236}">
                  <a16:creationId xmlns:a16="http://schemas.microsoft.com/office/drawing/2014/main" id="{5A44419B-293B-4AB0-A684-D781DB78E5C1}"/>
                </a:ext>
              </a:extLst>
            </p:cNvPr>
            <p:cNvSpPr/>
            <p:nvPr/>
          </p:nvSpPr>
          <p:spPr bwMode="auto">
            <a:xfrm>
              <a:off x="5404811" y="1310565"/>
              <a:ext cx="19241" cy="25162"/>
            </a:xfrm>
            <a:custGeom>
              <a:avLst/>
              <a:gdLst>
                <a:gd name="T0" fmla="*/ 2 w 6"/>
                <a:gd name="T1" fmla="*/ 6 h 8"/>
                <a:gd name="T2" fmla="*/ 5 w 6"/>
                <a:gd name="T3" fmla="*/ 4 h 8"/>
                <a:gd name="T4" fmla="*/ 5 w 6"/>
                <a:gd name="T5" fmla="*/ 4 h 8"/>
                <a:gd name="T6" fmla="*/ 4 w 6"/>
                <a:gd name="T7" fmla="*/ 3 h 8"/>
                <a:gd name="T8" fmla="*/ 4 w 6"/>
                <a:gd name="T9" fmla="*/ 3 h 8"/>
                <a:gd name="T10" fmla="*/ 4 w 6"/>
                <a:gd name="T11" fmla="*/ 2 h 8"/>
                <a:gd name="T12" fmla="*/ 4 w 6"/>
                <a:gd name="T13" fmla="*/ 2 h 8"/>
                <a:gd name="T14" fmla="*/ 2 w 6"/>
                <a:gd name="T15" fmla="*/ 0 h 8"/>
                <a:gd name="T16" fmla="*/ 0 w 6"/>
                <a:gd name="T17" fmla="*/ 2 h 8"/>
                <a:gd name="T18" fmla="*/ 2 w 6"/>
                <a:gd name="T1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8">
                  <a:moveTo>
                    <a:pt x="2" y="6"/>
                  </a:moveTo>
                  <a:cubicBezTo>
                    <a:pt x="3" y="8"/>
                    <a:pt x="6" y="6"/>
                    <a:pt x="5" y="4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5"/>
                    <a:pt x="2" y="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9" name="ïṩļiḑê">
              <a:extLst>
                <a:ext uri="{FF2B5EF4-FFF2-40B4-BE49-F238E27FC236}">
                  <a16:creationId xmlns:a16="http://schemas.microsoft.com/office/drawing/2014/main" id="{1FA1BB44-9109-4568-B1E8-A972DD23BDDA}"/>
                </a:ext>
              </a:extLst>
            </p:cNvPr>
            <p:cNvSpPr/>
            <p:nvPr/>
          </p:nvSpPr>
          <p:spPr bwMode="auto">
            <a:xfrm>
              <a:off x="5398891" y="1615458"/>
              <a:ext cx="93244" cy="48843"/>
            </a:xfrm>
            <a:custGeom>
              <a:avLst/>
              <a:gdLst>
                <a:gd name="T0" fmla="*/ 2 w 30"/>
                <a:gd name="T1" fmla="*/ 4 h 16"/>
                <a:gd name="T2" fmla="*/ 16 w 30"/>
                <a:gd name="T3" fmla="*/ 7 h 16"/>
                <a:gd name="T4" fmla="*/ 23 w 30"/>
                <a:gd name="T5" fmla="*/ 10 h 16"/>
                <a:gd name="T6" fmla="*/ 28 w 30"/>
                <a:gd name="T7" fmla="*/ 15 h 16"/>
                <a:gd name="T8" fmla="*/ 30 w 30"/>
                <a:gd name="T9" fmla="*/ 14 h 16"/>
                <a:gd name="T10" fmla="*/ 19 w 30"/>
                <a:gd name="T11" fmla="*/ 2 h 16"/>
                <a:gd name="T12" fmla="*/ 3 w 30"/>
                <a:gd name="T13" fmla="*/ 0 h 16"/>
                <a:gd name="T14" fmla="*/ 2 w 30"/>
                <a:gd name="T15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16">
                  <a:moveTo>
                    <a:pt x="2" y="4"/>
                  </a:moveTo>
                  <a:cubicBezTo>
                    <a:pt x="7" y="5"/>
                    <a:pt x="12" y="5"/>
                    <a:pt x="16" y="7"/>
                  </a:cubicBezTo>
                  <a:cubicBezTo>
                    <a:pt x="18" y="8"/>
                    <a:pt x="21" y="9"/>
                    <a:pt x="23" y="10"/>
                  </a:cubicBezTo>
                  <a:cubicBezTo>
                    <a:pt x="25" y="12"/>
                    <a:pt x="26" y="14"/>
                    <a:pt x="28" y="15"/>
                  </a:cubicBezTo>
                  <a:cubicBezTo>
                    <a:pt x="29" y="16"/>
                    <a:pt x="30" y="15"/>
                    <a:pt x="30" y="14"/>
                  </a:cubicBezTo>
                  <a:cubicBezTo>
                    <a:pt x="30" y="7"/>
                    <a:pt x="24" y="4"/>
                    <a:pt x="19" y="2"/>
                  </a:cubicBezTo>
                  <a:cubicBezTo>
                    <a:pt x="14" y="0"/>
                    <a:pt x="8" y="0"/>
                    <a:pt x="3" y="0"/>
                  </a:cubicBezTo>
                  <a:cubicBezTo>
                    <a:pt x="1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0" name="ísļïḍé">
              <a:extLst>
                <a:ext uri="{FF2B5EF4-FFF2-40B4-BE49-F238E27FC236}">
                  <a16:creationId xmlns:a16="http://schemas.microsoft.com/office/drawing/2014/main" id="{695327D5-A350-4727-9078-4DB95E76ABFE}"/>
                </a:ext>
              </a:extLst>
            </p:cNvPr>
            <p:cNvSpPr/>
            <p:nvPr/>
          </p:nvSpPr>
          <p:spPr bwMode="auto">
            <a:xfrm>
              <a:off x="5101399" y="1907030"/>
              <a:ext cx="119886" cy="57723"/>
            </a:xfrm>
            <a:custGeom>
              <a:avLst/>
              <a:gdLst>
                <a:gd name="T0" fmla="*/ 2 w 39"/>
                <a:gd name="T1" fmla="*/ 3 h 19"/>
                <a:gd name="T2" fmla="*/ 21 w 39"/>
                <a:gd name="T3" fmla="*/ 8 h 19"/>
                <a:gd name="T4" fmla="*/ 29 w 39"/>
                <a:gd name="T5" fmla="*/ 13 h 19"/>
                <a:gd name="T6" fmla="*/ 33 w 39"/>
                <a:gd name="T7" fmla="*/ 16 h 19"/>
                <a:gd name="T8" fmla="*/ 37 w 39"/>
                <a:gd name="T9" fmla="*/ 18 h 19"/>
                <a:gd name="T10" fmla="*/ 39 w 39"/>
                <a:gd name="T11" fmla="*/ 17 h 19"/>
                <a:gd name="T12" fmla="*/ 36 w 39"/>
                <a:gd name="T13" fmla="*/ 12 h 19"/>
                <a:gd name="T14" fmla="*/ 32 w 39"/>
                <a:gd name="T15" fmla="*/ 8 h 19"/>
                <a:gd name="T16" fmla="*/ 23 w 39"/>
                <a:gd name="T17" fmla="*/ 3 h 19"/>
                <a:gd name="T18" fmla="*/ 2 w 39"/>
                <a:gd name="T19" fmla="*/ 0 h 19"/>
                <a:gd name="T20" fmla="*/ 2 w 39"/>
                <a:gd name="T2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19">
                  <a:moveTo>
                    <a:pt x="2" y="3"/>
                  </a:moveTo>
                  <a:cubicBezTo>
                    <a:pt x="8" y="5"/>
                    <a:pt x="14" y="6"/>
                    <a:pt x="21" y="8"/>
                  </a:cubicBezTo>
                  <a:cubicBezTo>
                    <a:pt x="24" y="10"/>
                    <a:pt x="26" y="11"/>
                    <a:pt x="29" y="13"/>
                  </a:cubicBezTo>
                  <a:cubicBezTo>
                    <a:pt x="30" y="13"/>
                    <a:pt x="32" y="15"/>
                    <a:pt x="33" y="16"/>
                  </a:cubicBezTo>
                  <a:cubicBezTo>
                    <a:pt x="34" y="17"/>
                    <a:pt x="36" y="18"/>
                    <a:pt x="37" y="18"/>
                  </a:cubicBezTo>
                  <a:cubicBezTo>
                    <a:pt x="38" y="19"/>
                    <a:pt x="39" y="18"/>
                    <a:pt x="39" y="17"/>
                  </a:cubicBezTo>
                  <a:cubicBezTo>
                    <a:pt x="39" y="15"/>
                    <a:pt x="38" y="13"/>
                    <a:pt x="36" y="12"/>
                  </a:cubicBezTo>
                  <a:cubicBezTo>
                    <a:pt x="35" y="11"/>
                    <a:pt x="34" y="9"/>
                    <a:pt x="32" y="8"/>
                  </a:cubicBezTo>
                  <a:cubicBezTo>
                    <a:pt x="30" y="6"/>
                    <a:pt x="26" y="4"/>
                    <a:pt x="23" y="3"/>
                  </a:cubicBezTo>
                  <a:cubicBezTo>
                    <a:pt x="16" y="1"/>
                    <a:pt x="9" y="0"/>
                    <a:pt x="2" y="0"/>
                  </a:cubicBezTo>
                  <a:cubicBezTo>
                    <a:pt x="0" y="0"/>
                    <a:pt x="0" y="3"/>
                    <a:pt x="2" y="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1" name="ïsḷíḋê">
              <a:extLst>
                <a:ext uri="{FF2B5EF4-FFF2-40B4-BE49-F238E27FC236}">
                  <a16:creationId xmlns:a16="http://schemas.microsoft.com/office/drawing/2014/main" id="{459172FA-F873-4FE4-9699-D4B657146DD0}"/>
                </a:ext>
              </a:extLst>
            </p:cNvPr>
            <p:cNvSpPr/>
            <p:nvPr/>
          </p:nvSpPr>
          <p:spPr bwMode="auto">
            <a:xfrm>
              <a:off x="5227203" y="1981033"/>
              <a:ext cx="25162" cy="26641"/>
            </a:xfrm>
            <a:custGeom>
              <a:avLst/>
              <a:gdLst>
                <a:gd name="T0" fmla="*/ 6 w 8"/>
                <a:gd name="T1" fmla="*/ 9 h 9"/>
                <a:gd name="T2" fmla="*/ 7 w 8"/>
                <a:gd name="T3" fmla="*/ 8 h 9"/>
                <a:gd name="T4" fmla="*/ 8 w 8"/>
                <a:gd name="T5" fmla="*/ 7 h 9"/>
                <a:gd name="T6" fmla="*/ 8 w 8"/>
                <a:gd name="T7" fmla="*/ 6 h 9"/>
                <a:gd name="T8" fmla="*/ 7 w 8"/>
                <a:gd name="T9" fmla="*/ 4 h 9"/>
                <a:gd name="T10" fmla="*/ 5 w 8"/>
                <a:gd name="T11" fmla="*/ 2 h 9"/>
                <a:gd name="T12" fmla="*/ 2 w 8"/>
                <a:gd name="T13" fmla="*/ 1 h 9"/>
                <a:gd name="T14" fmla="*/ 1 w 8"/>
                <a:gd name="T15" fmla="*/ 4 h 9"/>
                <a:gd name="T16" fmla="*/ 6 w 8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6" y="9"/>
                  </a:moveTo>
                  <a:cubicBezTo>
                    <a:pt x="7" y="9"/>
                    <a:pt x="7" y="9"/>
                    <a:pt x="7" y="8"/>
                  </a:cubicBezTo>
                  <a:cubicBezTo>
                    <a:pt x="8" y="8"/>
                    <a:pt x="8" y="8"/>
                    <a:pt x="8" y="7"/>
                  </a:cubicBezTo>
                  <a:cubicBezTo>
                    <a:pt x="8" y="7"/>
                    <a:pt x="8" y="7"/>
                    <a:pt x="8" y="6"/>
                  </a:cubicBezTo>
                  <a:cubicBezTo>
                    <a:pt x="8" y="5"/>
                    <a:pt x="7" y="5"/>
                    <a:pt x="7" y="4"/>
                  </a:cubicBezTo>
                  <a:cubicBezTo>
                    <a:pt x="6" y="3"/>
                    <a:pt x="6" y="2"/>
                    <a:pt x="5" y="2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ubicBezTo>
                    <a:pt x="2" y="6"/>
                    <a:pt x="4" y="9"/>
                    <a:pt x="6" y="9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2" name="ísḷïḑê">
              <a:extLst>
                <a:ext uri="{FF2B5EF4-FFF2-40B4-BE49-F238E27FC236}">
                  <a16:creationId xmlns:a16="http://schemas.microsoft.com/office/drawing/2014/main" id="{70A5B9C1-0DFC-480E-B2FA-FDD77D1DF8FC}"/>
                </a:ext>
              </a:extLst>
            </p:cNvPr>
            <p:cNvSpPr/>
            <p:nvPr/>
          </p:nvSpPr>
          <p:spPr bwMode="auto">
            <a:xfrm>
              <a:off x="4857188" y="2112759"/>
              <a:ext cx="96205" cy="76963"/>
            </a:xfrm>
            <a:custGeom>
              <a:avLst/>
              <a:gdLst>
                <a:gd name="T0" fmla="*/ 2 w 31"/>
                <a:gd name="T1" fmla="*/ 4 h 25"/>
                <a:gd name="T2" fmla="*/ 11 w 31"/>
                <a:gd name="T3" fmla="*/ 6 h 25"/>
                <a:gd name="T4" fmla="*/ 17 w 31"/>
                <a:gd name="T5" fmla="*/ 10 h 25"/>
                <a:gd name="T6" fmla="*/ 23 w 31"/>
                <a:gd name="T7" fmla="*/ 15 h 25"/>
                <a:gd name="T8" fmla="*/ 29 w 31"/>
                <a:gd name="T9" fmla="*/ 24 h 25"/>
                <a:gd name="T10" fmla="*/ 31 w 31"/>
                <a:gd name="T11" fmla="*/ 23 h 25"/>
                <a:gd name="T12" fmla="*/ 27 w 31"/>
                <a:gd name="T13" fmla="*/ 13 h 25"/>
                <a:gd name="T14" fmla="*/ 20 w 31"/>
                <a:gd name="T15" fmla="*/ 6 h 25"/>
                <a:gd name="T16" fmla="*/ 2 w 31"/>
                <a:gd name="T17" fmla="*/ 1 h 25"/>
                <a:gd name="T18" fmla="*/ 2 w 31"/>
                <a:gd name="T19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25">
                  <a:moveTo>
                    <a:pt x="2" y="4"/>
                  </a:moveTo>
                  <a:cubicBezTo>
                    <a:pt x="5" y="5"/>
                    <a:pt x="8" y="6"/>
                    <a:pt x="11" y="6"/>
                  </a:cubicBezTo>
                  <a:cubicBezTo>
                    <a:pt x="13" y="7"/>
                    <a:pt x="16" y="8"/>
                    <a:pt x="17" y="10"/>
                  </a:cubicBezTo>
                  <a:cubicBezTo>
                    <a:pt x="19" y="11"/>
                    <a:pt x="21" y="13"/>
                    <a:pt x="23" y="15"/>
                  </a:cubicBezTo>
                  <a:cubicBezTo>
                    <a:pt x="25" y="18"/>
                    <a:pt x="26" y="21"/>
                    <a:pt x="29" y="24"/>
                  </a:cubicBezTo>
                  <a:cubicBezTo>
                    <a:pt x="30" y="25"/>
                    <a:pt x="31" y="24"/>
                    <a:pt x="31" y="23"/>
                  </a:cubicBezTo>
                  <a:cubicBezTo>
                    <a:pt x="31" y="19"/>
                    <a:pt x="29" y="16"/>
                    <a:pt x="27" y="13"/>
                  </a:cubicBezTo>
                  <a:cubicBezTo>
                    <a:pt x="25" y="10"/>
                    <a:pt x="23" y="8"/>
                    <a:pt x="20" y="6"/>
                  </a:cubicBezTo>
                  <a:cubicBezTo>
                    <a:pt x="16" y="2"/>
                    <a:pt x="8" y="0"/>
                    <a:pt x="2" y="1"/>
                  </a:cubicBezTo>
                  <a:cubicBezTo>
                    <a:pt x="1" y="1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3" name="iśḻíḋè">
              <a:extLst>
                <a:ext uri="{FF2B5EF4-FFF2-40B4-BE49-F238E27FC236}">
                  <a16:creationId xmlns:a16="http://schemas.microsoft.com/office/drawing/2014/main" id="{60F630D8-4708-4C9A-A52D-B7D01AAB36D2}"/>
                </a:ext>
              </a:extLst>
            </p:cNvPr>
            <p:cNvSpPr/>
            <p:nvPr/>
          </p:nvSpPr>
          <p:spPr bwMode="auto">
            <a:xfrm>
              <a:off x="4744703" y="2020995"/>
              <a:ext cx="60683" cy="42922"/>
            </a:xfrm>
            <a:custGeom>
              <a:avLst/>
              <a:gdLst>
                <a:gd name="T0" fmla="*/ 2 w 20"/>
                <a:gd name="T1" fmla="*/ 5 h 14"/>
                <a:gd name="T2" fmla="*/ 4 w 20"/>
                <a:gd name="T3" fmla="*/ 6 h 14"/>
                <a:gd name="T4" fmla="*/ 9 w 20"/>
                <a:gd name="T5" fmla="*/ 8 h 14"/>
                <a:gd name="T6" fmla="*/ 14 w 20"/>
                <a:gd name="T7" fmla="*/ 11 h 14"/>
                <a:gd name="T8" fmla="*/ 18 w 20"/>
                <a:gd name="T9" fmla="*/ 14 h 14"/>
                <a:gd name="T10" fmla="*/ 19 w 20"/>
                <a:gd name="T11" fmla="*/ 13 h 14"/>
                <a:gd name="T12" fmla="*/ 17 w 20"/>
                <a:gd name="T13" fmla="*/ 8 h 14"/>
                <a:gd name="T14" fmla="*/ 11 w 20"/>
                <a:gd name="T15" fmla="*/ 4 h 14"/>
                <a:gd name="T16" fmla="*/ 1 w 20"/>
                <a:gd name="T17" fmla="*/ 3 h 14"/>
                <a:gd name="T18" fmla="*/ 2 w 20"/>
                <a:gd name="T1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4">
                  <a:moveTo>
                    <a:pt x="2" y="5"/>
                  </a:moveTo>
                  <a:cubicBezTo>
                    <a:pt x="3" y="5"/>
                    <a:pt x="3" y="5"/>
                    <a:pt x="4" y="6"/>
                  </a:cubicBezTo>
                  <a:cubicBezTo>
                    <a:pt x="6" y="6"/>
                    <a:pt x="8" y="7"/>
                    <a:pt x="9" y="8"/>
                  </a:cubicBezTo>
                  <a:cubicBezTo>
                    <a:pt x="11" y="9"/>
                    <a:pt x="12" y="10"/>
                    <a:pt x="14" y="11"/>
                  </a:cubicBezTo>
                  <a:cubicBezTo>
                    <a:pt x="15" y="12"/>
                    <a:pt x="16" y="13"/>
                    <a:pt x="18" y="14"/>
                  </a:cubicBezTo>
                  <a:cubicBezTo>
                    <a:pt x="18" y="14"/>
                    <a:pt x="19" y="13"/>
                    <a:pt x="19" y="13"/>
                  </a:cubicBezTo>
                  <a:cubicBezTo>
                    <a:pt x="20" y="11"/>
                    <a:pt x="18" y="9"/>
                    <a:pt x="17" y="8"/>
                  </a:cubicBezTo>
                  <a:cubicBezTo>
                    <a:pt x="15" y="6"/>
                    <a:pt x="13" y="5"/>
                    <a:pt x="11" y="4"/>
                  </a:cubicBezTo>
                  <a:cubicBezTo>
                    <a:pt x="9" y="2"/>
                    <a:pt x="3" y="0"/>
                    <a:pt x="1" y="3"/>
                  </a:cubicBezTo>
                  <a:cubicBezTo>
                    <a:pt x="0" y="3"/>
                    <a:pt x="1" y="5"/>
                    <a:pt x="2" y="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4" name="î$ḷíḍe">
              <a:extLst>
                <a:ext uri="{FF2B5EF4-FFF2-40B4-BE49-F238E27FC236}">
                  <a16:creationId xmlns:a16="http://schemas.microsoft.com/office/drawing/2014/main" id="{57A56419-D269-40DA-B540-5EC2E92EA902}"/>
                </a:ext>
              </a:extLst>
            </p:cNvPr>
            <p:cNvSpPr/>
            <p:nvPr/>
          </p:nvSpPr>
          <p:spPr bwMode="auto">
            <a:xfrm>
              <a:off x="5532096" y="1804906"/>
              <a:ext cx="134686" cy="65123"/>
            </a:xfrm>
            <a:custGeom>
              <a:avLst/>
              <a:gdLst>
                <a:gd name="T0" fmla="*/ 2 w 44"/>
                <a:gd name="T1" fmla="*/ 4 h 21"/>
                <a:gd name="T2" fmla="*/ 23 w 44"/>
                <a:gd name="T3" fmla="*/ 10 h 21"/>
                <a:gd name="T4" fmla="*/ 33 w 44"/>
                <a:gd name="T5" fmla="*/ 16 h 21"/>
                <a:gd name="T6" fmla="*/ 38 w 44"/>
                <a:gd name="T7" fmla="*/ 19 h 21"/>
                <a:gd name="T8" fmla="*/ 43 w 44"/>
                <a:gd name="T9" fmla="*/ 21 h 21"/>
                <a:gd name="T10" fmla="*/ 44 w 44"/>
                <a:gd name="T11" fmla="*/ 20 h 21"/>
                <a:gd name="T12" fmla="*/ 42 w 44"/>
                <a:gd name="T13" fmla="*/ 15 h 21"/>
                <a:gd name="T14" fmla="*/ 37 w 44"/>
                <a:gd name="T15" fmla="*/ 12 h 21"/>
                <a:gd name="T16" fmla="*/ 26 w 44"/>
                <a:gd name="T17" fmla="*/ 5 h 21"/>
                <a:gd name="T18" fmla="*/ 3 w 44"/>
                <a:gd name="T19" fmla="*/ 0 h 21"/>
                <a:gd name="T20" fmla="*/ 2 w 44"/>
                <a:gd name="T21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21">
                  <a:moveTo>
                    <a:pt x="2" y="4"/>
                  </a:moveTo>
                  <a:cubicBezTo>
                    <a:pt x="9" y="5"/>
                    <a:pt x="17" y="8"/>
                    <a:pt x="23" y="10"/>
                  </a:cubicBezTo>
                  <a:cubicBezTo>
                    <a:pt x="27" y="12"/>
                    <a:pt x="30" y="14"/>
                    <a:pt x="33" y="16"/>
                  </a:cubicBezTo>
                  <a:cubicBezTo>
                    <a:pt x="35" y="17"/>
                    <a:pt x="37" y="18"/>
                    <a:pt x="38" y="19"/>
                  </a:cubicBezTo>
                  <a:cubicBezTo>
                    <a:pt x="39" y="20"/>
                    <a:pt x="41" y="21"/>
                    <a:pt x="43" y="21"/>
                  </a:cubicBezTo>
                  <a:cubicBezTo>
                    <a:pt x="43" y="21"/>
                    <a:pt x="44" y="21"/>
                    <a:pt x="44" y="20"/>
                  </a:cubicBezTo>
                  <a:cubicBezTo>
                    <a:pt x="44" y="18"/>
                    <a:pt x="43" y="16"/>
                    <a:pt x="42" y="15"/>
                  </a:cubicBezTo>
                  <a:cubicBezTo>
                    <a:pt x="41" y="14"/>
                    <a:pt x="39" y="13"/>
                    <a:pt x="37" y="12"/>
                  </a:cubicBezTo>
                  <a:cubicBezTo>
                    <a:pt x="34" y="9"/>
                    <a:pt x="30" y="7"/>
                    <a:pt x="26" y="5"/>
                  </a:cubicBezTo>
                  <a:cubicBezTo>
                    <a:pt x="19" y="2"/>
                    <a:pt x="11" y="0"/>
                    <a:pt x="3" y="0"/>
                  </a:cubicBezTo>
                  <a:cubicBezTo>
                    <a:pt x="0" y="0"/>
                    <a:pt x="0" y="4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5" name="íṣḻiďé">
              <a:extLst>
                <a:ext uri="{FF2B5EF4-FFF2-40B4-BE49-F238E27FC236}">
                  <a16:creationId xmlns:a16="http://schemas.microsoft.com/office/drawing/2014/main" id="{A46E3DCD-6238-44AF-AE57-0E95465636CF}"/>
                </a:ext>
              </a:extLst>
            </p:cNvPr>
            <p:cNvSpPr/>
            <p:nvPr/>
          </p:nvSpPr>
          <p:spPr bwMode="auto">
            <a:xfrm>
              <a:off x="5678623" y="1878909"/>
              <a:ext cx="16281" cy="31082"/>
            </a:xfrm>
            <a:custGeom>
              <a:avLst/>
              <a:gdLst>
                <a:gd name="T0" fmla="*/ 3 w 5"/>
                <a:gd name="T1" fmla="*/ 10 h 10"/>
                <a:gd name="T2" fmla="*/ 5 w 5"/>
                <a:gd name="T3" fmla="*/ 9 h 10"/>
                <a:gd name="T4" fmla="*/ 5 w 5"/>
                <a:gd name="T5" fmla="*/ 7 h 10"/>
                <a:gd name="T6" fmla="*/ 5 w 5"/>
                <a:gd name="T7" fmla="*/ 3 h 10"/>
                <a:gd name="T8" fmla="*/ 2 w 5"/>
                <a:gd name="T9" fmla="*/ 0 h 10"/>
                <a:gd name="T10" fmla="*/ 0 w 5"/>
                <a:gd name="T11" fmla="*/ 3 h 10"/>
                <a:gd name="T12" fmla="*/ 3 w 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0">
                  <a:moveTo>
                    <a:pt x="3" y="10"/>
                  </a:moveTo>
                  <a:cubicBezTo>
                    <a:pt x="4" y="10"/>
                    <a:pt x="5" y="9"/>
                    <a:pt x="5" y="9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0" y="9"/>
                    <a:pt x="3" y="1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6" name="ïšļíḑê">
              <a:extLst>
                <a:ext uri="{FF2B5EF4-FFF2-40B4-BE49-F238E27FC236}">
                  <a16:creationId xmlns:a16="http://schemas.microsoft.com/office/drawing/2014/main" id="{E9B8740A-0F4F-4B0F-8A71-7DC65535E72B}"/>
                </a:ext>
              </a:extLst>
            </p:cNvPr>
            <p:cNvSpPr/>
            <p:nvPr/>
          </p:nvSpPr>
          <p:spPr bwMode="auto">
            <a:xfrm>
              <a:off x="5912473" y="1267643"/>
              <a:ext cx="105085" cy="68083"/>
            </a:xfrm>
            <a:custGeom>
              <a:avLst/>
              <a:gdLst>
                <a:gd name="T0" fmla="*/ 2 w 34"/>
                <a:gd name="T1" fmla="*/ 4 h 22"/>
                <a:gd name="T2" fmla="*/ 19 w 34"/>
                <a:gd name="T3" fmla="*/ 9 h 22"/>
                <a:gd name="T4" fmla="*/ 26 w 34"/>
                <a:gd name="T5" fmla="*/ 14 h 22"/>
                <a:gd name="T6" fmla="*/ 29 w 34"/>
                <a:gd name="T7" fmla="*/ 17 h 22"/>
                <a:gd name="T8" fmla="*/ 30 w 34"/>
                <a:gd name="T9" fmla="*/ 19 h 22"/>
                <a:gd name="T10" fmla="*/ 31 w 34"/>
                <a:gd name="T11" fmla="*/ 21 h 22"/>
                <a:gd name="T12" fmla="*/ 33 w 34"/>
                <a:gd name="T13" fmla="*/ 21 h 22"/>
                <a:gd name="T14" fmla="*/ 34 w 34"/>
                <a:gd name="T15" fmla="*/ 16 h 22"/>
                <a:gd name="T16" fmla="*/ 31 w 34"/>
                <a:gd name="T17" fmla="*/ 11 h 22"/>
                <a:gd name="T18" fmla="*/ 22 w 34"/>
                <a:gd name="T19" fmla="*/ 5 h 22"/>
                <a:gd name="T20" fmla="*/ 2 w 34"/>
                <a:gd name="T21" fmla="*/ 0 h 22"/>
                <a:gd name="T22" fmla="*/ 2 w 34"/>
                <a:gd name="T23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22">
                  <a:moveTo>
                    <a:pt x="2" y="4"/>
                  </a:moveTo>
                  <a:cubicBezTo>
                    <a:pt x="7" y="5"/>
                    <a:pt x="14" y="6"/>
                    <a:pt x="19" y="9"/>
                  </a:cubicBezTo>
                  <a:cubicBezTo>
                    <a:pt x="21" y="10"/>
                    <a:pt x="24" y="12"/>
                    <a:pt x="26" y="14"/>
                  </a:cubicBezTo>
                  <a:cubicBezTo>
                    <a:pt x="27" y="15"/>
                    <a:pt x="28" y="16"/>
                    <a:pt x="29" y="17"/>
                  </a:cubicBezTo>
                  <a:cubicBezTo>
                    <a:pt x="29" y="18"/>
                    <a:pt x="29" y="19"/>
                    <a:pt x="30" y="19"/>
                  </a:cubicBezTo>
                  <a:cubicBezTo>
                    <a:pt x="30" y="20"/>
                    <a:pt x="31" y="21"/>
                    <a:pt x="31" y="21"/>
                  </a:cubicBezTo>
                  <a:cubicBezTo>
                    <a:pt x="32" y="22"/>
                    <a:pt x="33" y="22"/>
                    <a:pt x="33" y="21"/>
                  </a:cubicBezTo>
                  <a:cubicBezTo>
                    <a:pt x="34" y="19"/>
                    <a:pt x="34" y="18"/>
                    <a:pt x="34" y="16"/>
                  </a:cubicBezTo>
                  <a:cubicBezTo>
                    <a:pt x="33" y="14"/>
                    <a:pt x="32" y="13"/>
                    <a:pt x="31" y="11"/>
                  </a:cubicBezTo>
                  <a:cubicBezTo>
                    <a:pt x="28" y="8"/>
                    <a:pt x="25" y="6"/>
                    <a:pt x="22" y="5"/>
                  </a:cubicBezTo>
                  <a:cubicBezTo>
                    <a:pt x="16" y="2"/>
                    <a:pt x="9" y="1"/>
                    <a:pt x="2" y="0"/>
                  </a:cubicBezTo>
                  <a:cubicBezTo>
                    <a:pt x="0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7" name="íş1íḑé">
              <a:extLst>
                <a:ext uri="{FF2B5EF4-FFF2-40B4-BE49-F238E27FC236}">
                  <a16:creationId xmlns:a16="http://schemas.microsoft.com/office/drawing/2014/main" id="{DD59F652-87A9-4165-8D7A-12E40DB583B9}"/>
                </a:ext>
              </a:extLst>
            </p:cNvPr>
            <p:cNvSpPr/>
            <p:nvPr/>
          </p:nvSpPr>
          <p:spPr bwMode="auto">
            <a:xfrm>
              <a:off x="6116721" y="1369768"/>
              <a:ext cx="116925" cy="140606"/>
            </a:xfrm>
            <a:custGeom>
              <a:avLst/>
              <a:gdLst>
                <a:gd name="T0" fmla="*/ 2 w 38"/>
                <a:gd name="T1" fmla="*/ 4 h 46"/>
                <a:gd name="T2" fmla="*/ 23 w 38"/>
                <a:gd name="T3" fmla="*/ 19 h 46"/>
                <a:gd name="T4" fmla="*/ 29 w 38"/>
                <a:gd name="T5" fmla="*/ 32 h 46"/>
                <a:gd name="T6" fmla="*/ 34 w 38"/>
                <a:gd name="T7" fmla="*/ 45 h 46"/>
                <a:gd name="T8" fmla="*/ 37 w 38"/>
                <a:gd name="T9" fmla="*/ 45 h 46"/>
                <a:gd name="T10" fmla="*/ 34 w 38"/>
                <a:gd name="T11" fmla="*/ 30 h 46"/>
                <a:gd name="T12" fmla="*/ 27 w 38"/>
                <a:gd name="T13" fmla="*/ 16 h 46"/>
                <a:gd name="T14" fmla="*/ 3 w 38"/>
                <a:gd name="T15" fmla="*/ 0 h 46"/>
                <a:gd name="T16" fmla="*/ 2 w 38"/>
                <a:gd name="T17" fmla="*/ 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6">
                  <a:moveTo>
                    <a:pt x="2" y="4"/>
                  </a:moveTo>
                  <a:cubicBezTo>
                    <a:pt x="11" y="6"/>
                    <a:pt x="18" y="12"/>
                    <a:pt x="23" y="19"/>
                  </a:cubicBezTo>
                  <a:cubicBezTo>
                    <a:pt x="26" y="23"/>
                    <a:pt x="27" y="28"/>
                    <a:pt x="29" y="32"/>
                  </a:cubicBezTo>
                  <a:cubicBezTo>
                    <a:pt x="30" y="37"/>
                    <a:pt x="31" y="42"/>
                    <a:pt x="34" y="45"/>
                  </a:cubicBezTo>
                  <a:cubicBezTo>
                    <a:pt x="35" y="46"/>
                    <a:pt x="37" y="46"/>
                    <a:pt x="37" y="45"/>
                  </a:cubicBezTo>
                  <a:cubicBezTo>
                    <a:pt x="38" y="40"/>
                    <a:pt x="36" y="35"/>
                    <a:pt x="34" y="30"/>
                  </a:cubicBezTo>
                  <a:cubicBezTo>
                    <a:pt x="32" y="25"/>
                    <a:pt x="30" y="21"/>
                    <a:pt x="27" y="16"/>
                  </a:cubicBezTo>
                  <a:cubicBezTo>
                    <a:pt x="22" y="8"/>
                    <a:pt x="13" y="2"/>
                    <a:pt x="3" y="0"/>
                  </a:cubicBezTo>
                  <a:cubicBezTo>
                    <a:pt x="1" y="0"/>
                    <a:pt x="0" y="3"/>
                    <a:pt x="2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8" name="išḻïde">
              <a:extLst>
                <a:ext uri="{FF2B5EF4-FFF2-40B4-BE49-F238E27FC236}">
                  <a16:creationId xmlns:a16="http://schemas.microsoft.com/office/drawing/2014/main" id="{B77BEAB6-6AA6-4097-AA5E-EF2B97419B66}"/>
                </a:ext>
              </a:extLst>
            </p:cNvPr>
            <p:cNvSpPr/>
            <p:nvPr/>
          </p:nvSpPr>
          <p:spPr bwMode="auto">
            <a:xfrm>
              <a:off x="6516338" y="1587336"/>
              <a:ext cx="42922" cy="54763"/>
            </a:xfrm>
            <a:custGeom>
              <a:avLst/>
              <a:gdLst>
                <a:gd name="T0" fmla="*/ 1 w 14"/>
                <a:gd name="T1" fmla="*/ 5 h 18"/>
                <a:gd name="T2" fmla="*/ 7 w 14"/>
                <a:gd name="T3" fmla="*/ 11 h 18"/>
                <a:gd name="T4" fmla="*/ 11 w 14"/>
                <a:gd name="T5" fmla="*/ 18 h 18"/>
                <a:gd name="T6" fmla="*/ 12 w 14"/>
                <a:gd name="T7" fmla="*/ 18 h 18"/>
                <a:gd name="T8" fmla="*/ 11 w 14"/>
                <a:gd name="T9" fmla="*/ 9 h 18"/>
                <a:gd name="T10" fmla="*/ 3 w 14"/>
                <a:gd name="T11" fmla="*/ 1 h 18"/>
                <a:gd name="T12" fmla="*/ 1 w 14"/>
                <a:gd name="T1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1" y="5"/>
                  </a:moveTo>
                  <a:cubicBezTo>
                    <a:pt x="4" y="6"/>
                    <a:pt x="6" y="9"/>
                    <a:pt x="7" y="11"/>
                  </a:cubicBezTo>
                  <a:cubicBezTo>
                    <a:pt x="8" y="13"/>
                    <a:pt x="9" y="17"/>
                    <a:pt x="11" y="18"/>
                  </a:cubicBezTo>
                  <a:cubicBezTo>
                    <a:pt x="11" y="18"/>
                    <a:pt x="12" y="18"/>
                    <a:pt x="12" y="18"/>
                  </a:cubicBezTo>
                  <a:cubicBezTo>
                    <a:pt x="14" y="15"/>
                    <a:pt x="12" y="11"/>
                    <a:pt x="11" y="9"/>
                  </a:cubicBezTo>
                  <a:cubicBezTo>
                    <a:pt x="9" y="6"/>
                    <a:pt x="6" y="3"/>
                    <a:pt x="3" y="1"/>
                  </a:cubicBezTo>
                  <a:cubicBezTo>
                    <a:pt x="1" y="0"/>
                    <a:pt x="0" y="3"/>
                    <a:pt x="1" y="5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9" name="ïşḻiḋe">
              <a:extLst>
                <a:ext uri="{FF2B5EF4-FFF2-40B4-BE49-F238E27FC236}">
                  <a16:creationId xmlns:a16="http://schemas.microsoft.com/office/drawing/2014/main" id="{35025DE9-2F76-45F1-AFA1-72694290F02F}"/>
                </a:ext>
              </a:extLst>
            </p:cNvPr>
            <p:cNvSpPr/>
            <p:nvPr/>
          </p:nvSpPr>
          <p:spPr bwMode="auto">
            <a:xfrm>
              <a:off x="6756108" y="1390488"/>
              <a:ext cx="108045" cy="122846"/>
            </a:xfrm>
            <a:custGeom>
              <a:avLst/>
              <a:gdLst>
                <a:gd name="T0" fmla="*/ 4 w 35"/>
                <a:gd name="T1" fmla="*/ 8 h 40"/>
                <a:gd name="T2" fmla="*/ 11 w 35"/>
                <a:gd name="T3" fmla="*/ 10 h 40"/>
                <a:gd name="T4" fmla="*/ 19 w 35"/>
                <a:gd name="T5" fmla="*/ 17 h 40"/>
                <a:gd name="T6" fmla="*/ 26 w 35"/>
                <a:gd name="T7" fmla="*/ 27 h 40"/>
                <a:gd name="T8" fmla="*/ 28 w 35"/>
                <a:gd name="T9" fmla="*/ 32 h 40"/>
                <a:gd name="T10" fmla="*/ 30 w 35"/>
                <a:gd name="T11" fmla="*/ 37 h 40"/>
                <a:gd name="T12" fmla="*/ 30 w 35"/>
                <a:gd name="T13" fmla="*/ 37 h 40"/>
                <a:gd name="T14" fmla="*/ 31 w 35"/>
                <a:gd name="T15" fmla="*/ 39 h 40"/>
                <a:gd name="T16" fmla="*/ 32 w 35"/>
                <a:gd name="T17" fmla="*/ 39 h 40"/>
                <a:gd name="T18" fmla="*/ 32 w 35"/>
                <a:gd name="T19" fmla="*/ 39 h 40"/>
                <a:gd name="T20" fmla="*/ 34 w 35"/>
                <a:gd name="T21" fmla="*/ 39 h 40"/>
                <a:gd name="T22" fmla="*/ 35 w 35"/>
                <a:gd name="T23" fmla="*/ 38 h 40"/>
                <a:gd name="T24" fmla="*/ 35 w 35"/>
                <a:gd name="T25" fmla="*/ 36 h 40"/>
                <a:gd name="T26" fmla="*/ 35 w 35"/>
                <a:gd name="T27" fmla="*/ 36 h 40"/>
                <a:gd name="T28" fmla="*/ 35 w 35"/>
                <a:gd name="T29" fmla="*/ 36 h 40"/>
                <a:gd name="T30" fmla="*/ 35 w 35"/>
                <a:gd name="T31" fmla="*/ 35 h 40"/>
                <a:gd name="T32" fmla="*/ 35 w 35"/>
                <a:gd name="T33" fmla="*/ 34 h 40"/>
                <a:gd name="T34" fmla="*/ 33 w 35"/>
                <a:gd name="T35" fmla="*/ 27 h 40"/>
                <a:gd name="T36" fmla="*/ 24 w 35"/>
                <a:gd name="T37" fmla="*/ 14 h 40"/>
                <a:gd name="T38" fmla="*/ 2 w 35"/>
                <a:gd name="T39" fmla="*/ 5 h 40"/>
                <a:gd name="T40" fmla="*/ 4 w 35"/>
                <a:gd name="T4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4" y="8"/>
                  </a:moveTo>
                  <a:cubicBezTo>
                    <a:pt x="6" y="8"/>
                    <a:pt x="9" y="8"/>
                    <a:pt x="11" y="10"/>
                  </a:cubicBezTo>
                  <a:cubicBezTo>
                    <a:pt x="15" y="12"/>
                    <a:pt x="17" y="14"/>
                    <a:pt x="19" y="17"/>
                  </a:cubicBezTo>
                  <a:cubicBezTo>
                    <a:pt x="22" y="20"/>
                    <a:pt x="24" y="24"/>
                    <a:pt x="26" y="27"/>
                  </a:cubicBezTo>
                  <a:cubicBezTo>
                    <a:pt x="27" y="29"/>
                    <a:pt x="28" y="31"/>
                    <a:pt x="28" y="32"/>
                  </a:cubicBezTo>
                  <a:cubicBezTo>
                    <a:pt x="29" y="34"/>
                    <a:pt x="29" y="35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1" y="38"/>
                    <a:pt x="31" y="38"/>
                    <a:pt x="31" y="39"/>
                  </a:cubicBezTo>
                  <a:cubicBezTo>
                    <a:pt x="31" y="39"/>
                    <a:pt x="31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39"/>
                    <a:pt x="33" y="40"/>
                    <a:pt x="34" y="39"/>
                  </a:cubicBezTo>
                  <a:cubicBezTo>
                    <a:pt x="35" y="38"/>
                    <a:pt x="34" y="39"/>
                    <a:pt x="35" y="38"/>
                  </a:cubicBezTo>
                  <a:cubicBezTo>
                    <a:pt x="35" y="38"/>
                    <a:pt x="35" y="37"/>
                    <a:pt x="35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35"/>
                    <a:pt x="35" y="33"/>
                    <a:pt x="35" y="34"/>
                  </a:cubicBezTo>
                  <a:cubicBezTo>
                    <a:pt x="35" y="31"/>
                    <a:pt x="34" y="29"/>
                    <a:pt x="33" y="27"/>
                  </a:cubicBezTo>
                  <a:cubicBezTo>
                    <a:pt x="31" y="22"/>
                    <a:pt x="28" y="18"/>
                    <a:pt x="24" y="14"/>
                  </a:cubicBezTo>
                  <a:cubicBezTo>
                    <a:pt x="19" y="8"/>
                    <a:pt x="10" y="0"/>
                    <a:pt x="2" y="5"/>
                  </a:cubicBezTo>
                  <a:cubicBezTo>
                    <a:pt x="0" y="6"/>
                    <a:pt x="1" y="9"/>
                    <a:pt x="4" y="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0" name="ïṥḷîdé">
              <a:extLst>
                <a:ext uri="{FF2B5EF4-FFF2-40B4-BE49-F238E27FC236}">
                  <a16:creationId xmlns:a16="http://schemas.microsoft.com/office/drawing/2014/main" id="{3514532B-DA27-4159-973B-C07698B8E54F}"/>
                </a:ext>
              </a:extLst>
            </p:cNvPr>
            <p:cNvSpPr/>
            <p:nvPr/>
          </p:nvSpPr>
          <p:spPr bwMode="auto">
            <a:xfrm>
              <a:off x="6867112" y="1541455"/>
              <a:ext cx="17761" cy="37002"/>
            </a:xfrm>
            <a:custGeom>
              <a:avLst/>
              <a:gdLst>
                <a:gd name="T0" fmla="*/ 6 w 6"/>
                <a:gd name="T1" fmla="*/ 9 h 12"/>
                <a:gd name="T2" fmla="*/ 6 w 6"/>
                <a:gd name="T3" fmla="*/ 4 h 12"/>
                <a:gd name="T4" fmla="*/ 0 w 6"/>
                <a:gd name="T5" fmla="*/ 4 h 12"/>
                <a:gd name="T6" fmla="*/ 2 w 6"/>
                <a:gd name="T7" fmla="*/ 10 h 12"/>
                <a:gd name="T8" fmla="*/ 6 w 6"/>
                <a:gd name="T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9"/>
                  </a:moveTo>
                  <a:cubicBezTo>
                    <a:pt x="6" y="8"/>
                    <a:pt x="6" y="6"/>
                    <a:pt x="6" y="4"/>
                  </a:cubicBezTo>
                  <a:cubicBezTo>
                    <a:pt x="6" y="0"/>
                    <a:pt x="0" y="0"/>
                    <a:pt x="0" y="4"/>
                  </a:cubicBezTo>
                  <a:cubicBezTo>
                    <a:pt x="0" y="6"/>
                    <a:pt x="0" y="9"/>
                    <a:pt x="2" y="10"/>
                  </a:cubicBezTo>
                  <a:cubicBezTo>
                    <a:pt x="3" y="12"/>
                    <a:pt x="5" y="11"/>
                    <a:pt x="6" y="9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1" name="i$lidé">
              <a:extLst>
                <a:ext uri="{FF2B5EF4-FFF2-40B4-BE49-F238E27FC236}">
                  <a16:creationId xmlns:a16="http://schemas.microsoft.com/office/drawing/2014/main" id="{6157362B-525B-43A8-8DC1-D7A2E4F08662}"/>
                </a:ext>
              </a:extLst>
            </p:cNvPr>
            <p:cNvSpPr/>
            <p:nvPr/>
          </p:nvSpPr>
          <p:spPr bwMode="auto">
            <a:xfrm>
              <a:off x="7460618" y="2084637"/>
              <a:ext cx="19241" cy="19241"/>
            </a:xfrm>
            <a:custGeom>
              <a:avLst/>
              <a:gdLst>
                <a:gd name="T0" fmla="*/ 3 w 6"/>
                <a:gd name="T1" fmla="*/ 0 h 6"/>
                <a:gd name="T2" fmla="*/ 1 w 6"/>
                <a:gd name="T3" fmla="*/ 1 h 6"/>
                <a:gd name="T4" fmla="*/ 0 w 6"/>
                <a:gd name="T5" fmla="*/ 3 h 6"/>
                <a:gd name="T6" fmla="*/ 1 w 6"/>
                <a:gd name="T7" fmla="*/ 4 h 6"/>
                <a:gd name="T8" fmla="*/ 4 w 6"/>
                <a:gd name="T9" fmla="*/ 5 h 6"/>
                <a:gd name="T10" fmla="*/ 5 w 6"/>
                <a:gd name="T11" fmla="*/ 4 h 6"/>
                <a:gd name="T12" fmla="*/ 5 w 6"/>
                <a:gd name="T13" fmla="*/ 4 h 6"/>
                <a:gd name="T14" fmla="*/ 3 w 6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0" y="5"/>
                    <a:pt x="3" y="6"/>
                    <a:pt x="4" y="5"/>
                  </a:cubicBezTo>
                  <a:cubicBezTo>
                    <a:pt x="4" y="5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2"/>
                    <a:pt x="5" y="0"/>
                    <a:pt x="3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2" name="iŝḷidè">
              <a:extLst>
                <a:ext uri="{FF2B5EF4-FFF2-40B4-BE49-F238E27FC236}">
                  <a16:creationId xmlns:a16="http://schemas.microsoft.com/office/drawing/2014/main" id="{23BEADBF-E1EB-4BAA-A207-5B460B1BECA7}"/>
                </a:ext>
              </a:extLst>
            </p:cNvPr>
            <p:cNvSpPr/>
            <p:nvPr/>
          </p:nvSpPr>
          <p:spPr bwMode="auto">
            <a:xfrm>
              <a:off x="7639705" y="2158640"/>
              <a:ext cx="42922" cy="165767"/>
            </a:xfrm>
            <a:custGeom>
              <a:avLst/>
              <a:gdLst>
                <a:gd name="T0" fmla="*/ 4 w 14"/>
                <a:gd name="T1" fmla="*/ 40 h 54"/>
                <a:gd name="T2" fmla="*/ 2 w 14"/>
                <a:gd name="T3" fmla="*/ 45 h 54"/>
                <a:gd name="T4" fmla="*/ 0 w 14"/>
                <a:gd name="T5" fmla="*/ 51 h 54"/>
                <a:gd name="T6" fmla="*/ 2 w 14"/>
                <a:gd name="T7" fmla="*/ 53 h 54"/>
                <a:gd name="T8" fmla="*/ 7 w 14"/>
                <a:gd name="T9" fmla="*/ 48 h 54"/>
                <a:gd name="T10" fmla="*/ 9 w 14"/>
                <a:gd name="T11" fmla="*/ 42 h 54"/>
                <a:gd name="T12" fmla="*/ 13 w 14"/>
                <a:gd name="T13" fmla="*/ 28 h 54"/>
                <a:gd name="T14" fmla="*/ 4 w 14"/>
                <a:gd name="T15" fmla="*/ 2 h 54"/>
                <a:gd name="T16" fmla="*/ 2 w 14"/>
                <a:gd name="T17" fmla="*/ 4 h 54"/>
                <a:gd name="T18" fmla="*/ 7 w 14"/>
                <a:gd name="T19" fmla="*/ 28 h 54"/>
                <a:gd name="T20" fmla="*/ 4 w 14"/>
                <a:gd name="T21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54">
                  <a:moveTo>
                    <a:pt x="4" y="40"/>
                  </a:moveTo>
                  <a:cubicBezTo>
                    <a:pt x="3" y="42"/>
                    <a:pt x="3" y="44"/>
                    <a:pt x="2" y="45"/>
                  </a:cubicBezTo>
                  <a:cubicBezTo>
                    <a:pt x="1" y="47"/>
                    <a:pt x="0" y="49"/>
                    <a:pt x="0" y="51"/>
                  </a:cubicBezTo>
                  <a:cubicBezTo>
                    <a:pt x="0" y="52"/>
                    <a:pt x="1" y="54"/>
                    <a:pt x="2" y="53"/>
                  </a:cubicBezTo>
                  <a:cubicBezTo>
                    <a:pt x="4" y="52"/>
                    <a:pt x="5" y="50"/>
                    <a:pt x="7" y="48"/>
                  </a:cubicBezTo>
                  <a:cubicBezTo>
                    <a:pt x="8" y="46"/>
                    <a:pt x="9" y="44"/>
                    <a:pt x="9" y="42"/>
                  </a:cubicBezTo>
                  <a:cubicBezTo>
                    <a:pt x="11" y="37"/>
                    <a:pt x="12" y="33"/>
                    <a:pt x="13" y="28"/>
                  </a:cubicBezTo>
                  <a:cubicBezTo>
                    <a:pt x="14" y="18"/>
                    <a:pt x="11" y="8"/>
                    <a:pt x="4" y="2"/>
                  </a:cubicBezTo>
                  <a:cubicBezTo>
                    <a:pt x="3" y="0"/>
                    <a:pt x="0" y="3"/>
                    <a:pt x="2" y="4"/>
                  </a:cubicBezTo>
                  <a:cubicBezTo>
                    <a:pt x="8" y="10"/>
                    <a:pt x="8" y="19"/>
                    <a:pt x="7" y="28"/>
                  </a:cubicBezTo>
                  <a:cubicBezTo>
                    <a:pt x="7" y="32"/>
                    <a:pt x="6" y="36"/>
                    <a:pt x="4" y="4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3" name="íśļiḋé">
              <a:extLst>
                <a:ext uri="{FF2B5EF4-FFF2-40B4-BE49-F238E27FC236}">
                  <a16:creationId xmlns:a16="http://schemas.microsoft.com/office/drawing/2014/main" id="{AB524751-FE32-4F9E-B7BC-8BFE9F3C0B67}"/>
                </a:ext>
              </a:extLst>
            </p:cNvPr>
            <p:cNvSpPr/>
            <p:nvPr/>
          </p:nvSpPr>
          <p:spPr bwMode="auto">
            <a:xfrm>
              <a:off x="7629345" y="2355489"/>
              <a:ext cx="22201" cy="28122"/>
            </a:xfrm>
            <a:custGeom>
              <a:avLst/>
              <a:gdLst>
                <a:gd name="T0" fmla="*/ 0 w 7"/>
                <a:gd name="T1" fmla="*/ 8 h 9"/>
                <a:gd name="T2" fmla="*/ 1 w 7"/>
                <a:gd name="T3" fmla="*/ 9 h 9"/>
                <a:gd name="T4" fmla="*/ 3 w 7"/>
                <a:gd name="T5" fmla="*/ 9 h 9"/>
                <a:gd name="T6" fmla="*/ 3 w 7"/>
                <a:gd name="T7" fmla="*/ 8 h 9"/>
                <a:gd name="T8" fmla="*/ 4 w 7"/>
                <a:gd name="T9" fmla="*/ 8 h 9"/>
                <a:gd name="T10" fmla="*/ 6 w 7"/>
                <a:gd name="T11" fmla="*/ 5 h 9"/>
                <a:gd name="T12" fmla="*/ 5 w 7"/>
                <a:gd name="T13" fmla="*/ 1 h 9"/>
                <a:gd name="T14" fmla="*/ 2 w 7"/>
                <a:gd name="T15" fmla="*/ 2 h 9"/>
                <a:gd name="T16" fmla="*/ 0 w 7"/>
                <a:gd name="T17" fmla="*/ 5 h 9"/>
                <a:gd name="T18" fmla="*/ 0 w 7"/>
                <a:gd name="T1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9">
                  <a:moveTo>
                    <a:pt x="0" y="8"/>
                  </a:moveTo>
                  <a:cubicBezTo>
                    <a:pt x="0" y="8"/>
                    <a:pt x="1" y="9"/>
                    <a:pt x="1" y="9"/>
                  </a:cubicBezTo>
                  <a:cubicBezTo>
                    <a:pt x="1" y="9"/>
                    <a:pt x="2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3"/>
                    <a:pt x="7" y="2"/>
                    <a:pt x="5" y="1"/>
                  </a:cubicBezTo>
                  <a:cubicBezTo>
                    <a:pt x="4" y="0"/>
                    <a:pt x="2" y="1"/>
                    <a:pt x="2" y="2"/>
                  </a:cubicBezTo>
                  <a:cubicBezTo>
                    <a:pt x="1" y="3"/>
                    <a:pt x="1" y="4"/>
                    <a:pt x="0" y="5"/>
                  </a:cubicBezTo>
                  <a:cubicBezTo>
                    <a:pt x="0" y="6"/>
                    <a:pt x="0" y="7"/>
                    <a:pt x="0" y="8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4" name="íṥľîḋê">
              <a:extLst>
                <a:ext uri="{FF2B5EF4-FFF2-40B4-BE49-F238E27FC236}">
                  <a16:creationId xmlns:a16="http://schemas.microsoft.com/office/drawing/2014/main" id="{F8C6557D-FFF7-43E5-8B49-79C1451E45B2}"/>
                </a:ext>
              </a:extLst>
            </p:cNvPr>
            <p:cNvSpPr/>
            <p:nvPr/>
          </p:nvSpPr>
          <p:spPr bwMode="auto">
            <a:xfrm>
              <a:off x="7303731" y="2423572"/>
              <a:ext cx="150966" cy="88804"/>
            </a:xfrm>
            <a:custGeom>
              <a:avLst/>
              <a:gdLst>
                <a:gd name="T0" fmla="*/ 37 w 49"/>
                <a:gd name="T1" fmla="*/ 17 h 29"/>
                <a:gd name="T2" fmla="*/ 41 w 49"/>
                <a:gd name="T3" fmla="*/ 22 h 29"/>
                <a:gd name="T4" fmla="*/ 42 w 49"/>
                <a:gd name="T5" fmla="*/ 25 h 29"/>
                <a:gd name="T6" fmla="*/ 44 w 49"/>
                <a:gd name="T7" fmla="*/ 28 h 29"/>
                <a:gd name="T8" fmla="*/ 46 w 49"/>
                <a:gd name="T9" fmla="*/ 27 h 29"/>
                <a:gd name="T10" fmla="*/ 42 w 49"/>
                <a:gd name="T11" fmla="*/ 13 h 29"/>
                <a:gd name="T12" fmla="*/ 30 w 49"/>
                <a:gd name="T13" fmla="*/ 5 h 29"/>
                <a:gd name="T14" fmla="*/ 2 w 49"/>
                <a:gd name="T15" fmla="*/ 2 h 29"/>
                <a:gd name="T16" fmla="*/ 3 w 49"/>
                <a:gd name="T17" fmla="*/ 7 h 29"/>
                <a:gd name="T18" fmla="*/ 28 w 49"/>
                <a:gd name="T19" fmla="*/ 10 h 29"/>
                <a:gd name="T20" fmla="*/ 37 w 49"/>
                <a:gd name="T21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29">
                  <a:moveTo>
                    <a:pt x="37" y="17"/>
                  </a:moveTo>
                  <a:cubicBezTo>
                    <a:pt x="39" y="18"/>
                    <a:pt x="40" y="20"/>
                    <a:pt x="41" y="22"/>
                  </a:cubicBezTo>
                  <a:cubicBezTo>
                    <a:pt x="41" y="23"/>
                    <a:pt x="41" y="24"/>
                    <a:pt x="42" y="25"/>
                  </a:cubicBezTo>
                  <a:cubicBezTo>
                    <a:pt x="42" y="26"/>
                    <a:pt x="43" y="27"/>
                    <a:pt x="44" y="28"/>
                  </a:cubicBezTo>
                  <a:cubicBezTo>
                    <a:pt x="44" y="29"/>
                    <a:pt x="46" y="29"/>
                    <a:pt x="46" y="27"/>
                  </a:cubicBezTo>
                  <a:cubicBezTo>
                    <a:pt x="49" y="23"/>
                    <a:pt x="45" y="17"/>
                    <a:pt x="42" y="13"/>
                  </a:cubicBezTo>
                  <a:cubicBezTo>
                    <a:pt x="39" y="9"/>
                    <a:pt x="35" y="7"/>
                    <a:pt x="30" y="5"/>
                  </a:cubicBezTo>
                  <a:cubicBezTo>
                    <a:pt x="21" y="1"/>
                    <a:pt x="11" y="0"/>
                    <a:pt x="2" y="2"/>
                  </a:cubicBezTo>
                  <a:cubicBezTo>
                    <a:pt x="0" y="3"/>
                    <a:pt x="0" y="7"/>
                    <a:pt x="3" y="7"/>
                  </a:cubicBezTo>
                  <a:cubicBezTo>
                    <a:pt x="11" y="6"/>
                    <a:pt x="20" y="7"/>
                    <a:pt x="28" y="10"/>
                  </a:cubicBezTo>
                  <a:cubicBezTo>
                    <a:pt x="32" y="12"/>
                    <a:pt x="35" y="14"/>
                    <a:pt x="37" y="1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5" name="ïṧḷíḑê">
              <a:extLst>
                <a:ext uri="{FF2B5EF4-FFF2-40B4-BE49-F238E27FC236}">
                  <a16:creationId xmlns:a16="http://schemas.microsoft.com/office/drawing/2014/main" id="{5FDEE252-95B0-408B-BCF5-687ECA7EEE80}"/>
                </a:ext>
              </a:extLst>
            </p:cNvPr>
            <p:cNvSpPr/>
            <p:nvPr/>
          </p:nvSpPr>
          <p:spPr bwMode="auto">
            <a:xfrm>
              <a:off x="7565702" y="2558257"/>
              <a:ext cx="97684" cy="153926"/>
            </a:xfrm>
            <a:custGeom>
              <a:avLst/>
              <a:gdLst>
                <a:gd name="T0" fmla="*/ 2 w 32"/>
                <a:gd name="T1" fmla="*/ 2 h 50"/>
                <a:gd name="T2" fmla="*/ 2 w 32"/>
                <a:gd name="T3" fmla="*/ 5 h 50"/>
                <a:gd name="T4" fmla="*/ 9 w 32"/>
                <a:gd name="T5" fmla="*/ 6 h 50"/>
                <a:gd name="T6" fmla="*/ 15 w 32"/>
                <a:gd name="T7" fmla="*/ 9 h 50"/>
                <a:gd name="T8" fmla="*/ 22 w 32"/>
                <a:gd name="T9" fmla="*/ 20 h 50"/>
                <a:gd name="T10" fmla="*/ 26 w 32"/>
                <a:gd name="T11" fmla="*/ 34 h 50"/>
                <a:gd name="T12" fmla="*/ 26 w 32"/>
                <a:gd name="T13" fmla="*/ 42 h 50"/>
                <a:gd name="T14" fmla="*/ 27 w 32"/>
                <a:gd name="T15" fmla="*/ 49 h 50"/>
                <a:gd name="T16" fmla="*/ 29 w 32"/>
                <a:gd name="T17" fmla="*/ 49 h 50"/>
                <a:gd name="T18" fmla="*/ 32 w 32"/>
                <a:gd name="T19" fmla="*/ 34 h 50"/>
                <a:gd name="T20" fmla="*/ 27 w 32"/>
                <a:gd name="T21" fmla="*/ 17 h 50"/>
                <a:gd name="T22" fmla="*/ 18 w 32"/>
                <a:gd name="T23" fmla="*/ 4 h 50"/>
                <a:gd name="T24" fmla="*/ 2 w 32"/>
                <a:gd name="T2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0">
                  <a:moveTo>
                    <a:pt x="2" y="2"/>
                  </a:moveTo>
                  <a:cubicBezTo>
                    <a:pt x="0" y="2"/>
                    <a:pt x="0" y="5"/>
                    <a:pt x="2" y="5"/>
                  </a:cubicBezTo>
                  <a:cubicBezTo>
                    <a:pt x="4" y="6"/>
                    <a:pt x="7" y="6"/>
                    <a:pt x="9" y="6"/>
                  </a:cubicBezTo>
                  <a:cubicBezTo>
                    <a:pt x="11" y="7"/>
                    <a:pt x="13" y="8"/>
                    <a:pt x="15" y="9"/>
                  </a:cubicBezTo>
                  <a:cubicBezTo>
                    <a:pt x="19" y="11"/>
                    <a:pt x="21" y="16"/>
                    <a:pt x="22" y="20"/>
                  </a:cubicBezTo>
                  <a:cubicBezTo>
                    <a:pt x="24" y="25"/>
                    <a:pt x="25" y="30"/>
                    <a:pt x="26" y="34"/>
                  </a:cubicBezTo>
                  <a:cubicBezTo>
                    <a:pt x="26" y="37"/>
                    <a:pt x="26" y="39"/>
                    <a:pt x="26" y="42"/>
                  </a:cubicBezTo>
                  <a:cubicBezTo>
                    <a:pt x="26" y="44"/>
                    <a:pt x="26" y="46"/>
                    <a:pt x="27" y="49"/>
                  </a:cubicBezTo>
                  <a:cubicBezTo>
                    <a:pt x="27" y="50"/>
                    <a:pt x="29" y="50"/>
                    <a:pt x="29" y="49"/>
                  </a:cubicBezTo>
                  <a:cubicBezTo>
                    <a:pt x="32" y="45"/>
                    <a:pt x="32" y="39"/>
                    <a:pt x="32" y="34"/>
                  </a:cubicBezTo>
                  <a:cubicBezTo>
                    <a:pt x="31" y="28"/>
                    <a:pt x="30" y="22"/>
                    <a:pt x="27" y="17"/>
                  </a:cubicBezTo>
                  <a:cubicBezTo>
                    <a:pt x="25" y="12"/>
                    <a:pt x="22" y="7"/>
                    <a:pt x="18" y="4"/>
                  </a:cubicBezTo>
                  <a:cubicBezTo>
                    <a:pt x="14" y="1"/>
                    <a:pt x="7" y="0"/>
                    <a:pt x="2" y="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6" name="işḻíḋè">
              <a:extLst>
                <a:ext uri="{FF2B5EF4-FFF2-40B4-BE49-F238E27FC236}">
                  <a16:creationId xmlns:a16="http://schemas.microsoft.com/office/drawing/2014/main" id="{42E6EA84-E5A9-423E-A8A0-8515410C7FED}"/>
                </a:ext>
              </a:extLst>
            </p:cNvPr>
            <p:cNvSpPr/>
            <p:nvPr/>
          </p:nvSpPr>
          <p:spPr bwMode="auto">
            <a:xfrm>
              <a:off x="7648585" y="2729944"/>
              <a:ext cx="17761" cy="19241"/>
            </a:xfrm>
            <a:custGeom>
              <a:avLst/>
              <a:gdLst>
                <a:gd name="T0" fmla="*/ 3 w 6"/>
                <a:gd name="T1" fmla="*/ 0 h 6"/>
                <a:gd name="T2" fmla="*/ 1 w 6"/>
                <a:gd name="T3" fmla="*/ 2 h 6"/>
                <a:gd name="T4" fmla="*/ 1 w 6"/>
                <a:gd name="T5" fmla="*/ 4 h 6"/>
                <a:gd name="T6" fmla="*/ 1 w 6"/>
                <a:gd name="T7" fmla="*/ 4 h 6"/>
                <a:gd name="T8" fmla="*/ 1 w 6"/>
                <a:gd name="T9" fmla="*/ 5 h 6"/>
                <a:gd name="T10" fmla="*/ 2 w 6"/>
                <a:gd name="T11" fmla="*/ 5 h 6"/>
                <a:gd name="T12" fmla="*/ 3 w 6"/>
                <a:gd name="T13" fmla="*/ 5 h 6"/>
                <a:gd name="T14" fmla="*/ 3 w 6"/>
                <a:gd name="T15" fmla="*/ 5 h 6"/>
                <a:gd name="T16" fmla="*/ 4 w 6"/>
                <a:gd name="T17" fmla="*/ 5 h 6"/>
                <a:gd name="T18" fmla="*/ 5 w 6"/>
                <a:gd name="T19" fmla="*/ 4 h 6"/>
                <a:gd name="T20" fmla="*/ 6 w 6"/>
                <a:gd name="T21" fmla="*/ 3 h 6"/>
                <a:gd name="T22" fmla="*/ 5 w 6"/>
                <a:gd name="T23" fmla="*/ 1 h 6"/>
                <a:gd name="T24" fmla="*/ 3 w 6"/>
                <a:gd name="T2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1" y="2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3" y="6"/>
                    <a:pt x="3" y="6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5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7" name="ísḷíḑè">
              <a:extLst>
                <a:ext uri="{FF2B5EF4-FFF2-40B4-BE49-F238E27FC236}">
                  <a16:creationId xmlns:a16="http://schemas.microsoft.com/office/drawing/2014/main" id="{D3416C04-28CE-47F1-ADCF-D27812206525}"/>
                </a:ext>
              </a:extLst>
            </p:cNvPr>
            <p:cNvSpPr/>
            <p:nvPr/>
          </p:nvSpPr>
          <p:spPr bwMode="auto">
            <a:xfrm>
              <a:off x="7023999" y="2515336"/>
              <a:ext cx="137646" cy="145046"/>
            </a:xfrm>
            <a:custGeom>
              <a:avLst/>
              <a:gdLst>
                <a:gd name="T0" fmla="*/ 44 w 45"/>
                <a:gd name="T1" fmla="*/ 46 h 47"/>
                <a:gd name="T2" fmla="*/ 45 w 45"/>
                <a:gd name="T3" fmla="*/ 42 h 47"/>
                <a:gd name="T4" fmla="*/ 44 w 45"/>
                <a:gd name="T5" fmla="*/ 37 h 47"/>
                <a:gd name="T6" fmla="*/ 42 w 45"/>
                <a:gd name="T7" fmla="*/ 29 h 47"/>
                <a:gd name="T8" fmla="*/ 33 w 45"/>
                <a:gd name="T9" fmla="*/ 14 h 47"/>
                <a:gd name="T10" fmla="*/ 2 w 45"/>
                <a:gd name="T11" fmla="*/ 4 h 47"/>
                <a:gd name="T12" fmla="*/ 2 w 45"/>
                <a:gd name="T13" fmla="*/ 7 h 47"/>
                <a:gd name="T14" fmla="*/ 17 w 45"/>
                <a:gd name="T15" fmla="*/ 9 h 47"/>
                <a:gd name="T16" fmla="*/ 29 w 45"/>
                <a:gd name="T17" fmla="*/ 18 h 47"/>
                <a:gd name="T18" fmla="*/ 37 w 45"/>
                <a:gd name="T19" fmla="*/ 31 h 47"/>
                <a:gd name="T20" fmla="*/ 39 w 45"/>
                <a:gd name="T21" fmla="*/ 38 h 47"/>
                <a:gd name="T22" fmla="*/ 41 w 45"/>
                <a:gd name="T23" fmla="*/ 46 h 47"/>
                <a:gd name="T24" fmla="*/ 44 w 45"/>
                <a:gd name="T25" fmla="*/ 4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47">
                  <a:moveTo>
                    <a:pt x="44" y="46"/>
                  </a:moveTo>
                  <a:cubicBezTo>
                    <a:pt x="44" y="44"/>
                    <a:pt x="45" y="43"/>
                    <a:pt x="45" y="42"/>
                  </a:cubicBezTo>
                  <a:cubicBezTo>
                    <a:pt x="45" y="40"/>
                    <a:pt x="45" y="39"/>
                    <a:pt x="44" y="37"/>
                  </a:cubicBezTo>
                  <a:cubicBezTo>
                    <a:pt x="44" y="35"/>
                    <a:pt x="43" y="32"/>
                    <a:pt x="42" y="29"/>
                  </a:cubicBezTo>
                  <a:cubicBezTo>
                    <a:pt x="40" y="23"/>
                    <a:pt x="37" y="18"/>
                    <a:pt x="33" y="14"/>
                  </a:cubicBezTo>
                  <a:cubicBezTo>
                    <a:pt x="25" y="5"/>
                    <a:pt x="13" y="0"/>
                    <a:pt x="2" y="4"/>
                  </a:cubicBezTo>
                  <a:cubicBezTo>
                    <a:pt x="0" y="4"/>
                    <a:pt x="0" y="8"/>
                    <a:pt x="2" y="7"/>
                  </a:cubicBezTo>
                  <a:cubicBezTo>
                    <a:pt x="7" y="7"/>
                    <a:pt x="12" y="7"/>
                    <a:pt x="17" y="9"/>
                  </a:cubicBezTo>
                  <a:cubicBezTo>
                    <a:pt x="22" y="11"/>
                    <a:pt x="26" y="14"/>
                    <a:pt x="29" y="18"/>
                  </a:cubicBezTo>
                  <a:cubicBezTo>
                    <a:pt x="32" y="21"/>
                    <a:pt x="35" y="26"/>
                    <a:pt x="37" y="31"/>
                  </a:cubicBezTo>
                  <a:cubicBezTo>
                    <a:pt x="38" y="33"/>
                    <a:pt x="38" y="36"/>
                    <a:pt x="39" y="38"/>
                  </a:cubicBezTo>
                  <a:cubicBezTo>
                    <a:pt x="39" y="41"/>
                    <a:pt x="40" y="44"/>
                    <a:pt x="41" y="46"/>
                  </a:cubicBezTo>
                  <a:cubicBezTo>
                    <a:pt x="42" y="47"/>
                    <a:pt x="43" y="47"/>
                    <a:pt x="44" y="46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8" name="íṧḻîďê">
              <a:extLst>
                <a:ext uri="{FF2B5EF4-FFF2-40B4-BE49-F238E27FC236}">
                  <a16:creationId xmlns:a16="http://schemas.microsoft.com/office/drawing/2014/main" id="{3D377C62-41D7-4944-9388-8A913AF2076F}"/>
                </a:ext>
              </a:extLst>
            </p:cNvPr>
            <p:cNvSpPr/>
            <p:nvPr/>
          </p:nvSpPr>
          <p:spPr bwMode="auto">
            <a:xfrm>
              <a:off x="7149805" y="2675182"/>
              <a:ext cx="19241" cy="34042"/>
            </a:xfrm>
            <a:custGeom>
              <a:avLst/>
              <a:gdLst>
                <a:gd name="T0" fmla="*/ 1 w 6"/>
                <a:gd name="T1" fmla="*/ 4 h 11"/>
                <a:gd name="T2" fmla="*/ 3 w 6"/>
                <a:gd name="T3" fmla="*/ 11 h 11"/>
                <a:gd name="T4" fmla="*/ 5 w 6"/>
                <a:gd name="T5" fmla="*/ 10 h 11"/>
                <a:gd name="T6" fmla="*/ 5 w 6"/>
                <a:gd name="T7" fmla="*/ 7 h 11"/>
                <a:gd name="T8" fmla="*/ 5 w 6"/>
                <a:gd name="T9" fmla="*/ 3 h 11"/>
                <a:gd name="T10" fmla="*/ 1 w 6"/>
                <a:gd name="T1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1" y="4"/>
                  </a:moveTo>
                  <a:cubicBezTo>
                    <a:pt x="1" y="6"/>
                    <a:pt x="1" y="9"/>
                    <a:pt x="3" y="11"/>
                  </a:cubicBezTo>
                  <a:cubicBezTo>
                    <a:pt x="4" y="11"/>
                    <a:pt x="5" y="11"/>
                    <a:pt x="5" y="10"/>
                  </a:cubicBezTo>
                  <a:cubicBezTo>
                    <a:pt x="5" y="9"/>
                    <a:pt x="6" y="8"/>
                    <a:pt x="5" y="7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4" y="0"/>
                    <a:pt x="0" y="2"/>
                    <a:pt x="1" y="4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9" name="îŝľiḋè">
              <a:extLst>
                <a:ext uri="{FF2B5EF4-FFF2-40B4-BE49-F238E27FC236}">
                  <a16:creationId xmlns:a16="http://schemas.microsoft.com/office/drawing/2014/main" id="{1D143912-78E3-42DF-A74D-804083EB4A08}"/>
                </a:ext>
              </a:extLst>
            </p:cNvPr>
            <p:cNvSpPr/>
            <p:nvPr/>
          </p:nvSpPr>
          <p:spPr bwMode="auto">
            <a:xfrm>
              <a:off x="6599222" y="2629300"/>
              <a:ext cx="74003" cy="134686"/>
            </a:xfrm>
            <a:custGeom>
              <a:avLst/>
              <a:gdLst>
                <a:gd name="T0" fmla="*/ 18 w 24"/>
                <a:gd name="T1" fmla="*/ 37 h 44"/>
                <a:gd name="T2" fmla="*/ 21 w 24"/>
                <a:gd name="T3" fmla="*/ 43 h 44"/>
                <a:gd name="T4" fmla="*/ 23 w 24"/>
                <a:gd name="T5" fmla="*/ 43 h 44"/>
                <a:gd name="T6" fmla="*/ 24 w 24"/>
                <a:gd name="T7" fmla="*/ 37 h 44"/>
                <a:gd name="T8" fmla="*/ 23 w 24"/>
                <a:gd name="T9" fmla="*/ 30 h 44"/>
                <a:gd name="T10" fmla="*/ 20 w 24"/>
                <a:gd name="T11" fmla="*/ 18 h 44"/>
                <a:gd name="T12" fmla="*/ 14 w 24"/>
                <a:gd name="T13" fmla="*/ 7 h 44"/>
                <a:gd name="T14" fmla="*/ 3 w 24"/>
                <a:gd name="T15" fmla="*/ 0 h 44"/>
                <a:gd name="T16" fmla="*/ 2 w 24"/>
                <a:gd name="T17" fmla="*/ 3 h 44"/>
                <a:gd name="T18" fmla="*/ 16 w 24"/>
                <a:gd name="T19" fmla="*/ 20 h 44"/>
                <a:gd name="T20" fmla="*/ 18 w 24"/>
                <a:gd name="T21" fmla="*/ 32 h 44"/>
                <a:gd name="T22" fmla="*/ 18 w 24"/>
                <a:gd name="T23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44">
                  <a:moveTo>
                    <a:pt x="18" y="37"/>
                  </a:moveTo>
                  <a:cubicBezTo>
                    <a:pt x="19" y="39"/>
                    <a:pt x="19" y="42"/>
                    <a:pt x="21" y="43"/>
                  </a:cubicBezTo>
                  <a:cubicBezTo>
                    <a:pt x="21" y="44"/>
                    <a:pt x="23" y="44"/>
                    <a:pt x="23" y="43"/>
                  </a:cubicBezTo>
                  <a:cubicBezTo>
                    <a:pt x="24" y="41"/>
                    <a:pt x="24" y="39"/>
                    <a:pt x="24" y="37"/>
                  </a:cubicBezTo>
                  <a:cubicBezTo>
                    <a:pt x="24" y="35"/>
                    <a:pt x="23" y="32"/>
                    <a:pt x="23" y="30"/>
                  </a:cubicBezTo>
                  <a:cubicBezTo>
                    <a:pt x="22" y="26"/>
                    <a:pt x="21" y="22"/>
                    <a:pt x="20" y="18"/>
                  </a:cubicBezTo>
                  <a:cubicBezTo>
                    <a:pt x="19" y="14"/>
                    <a:pt x="17" y="10"/>
                    <a:pt x="14" y="7"/>
                  </a:cubicBezTo>
                  <a:cubicBezTo>
                    <a:pt x="11" y="4"/>
                    <a:pt x="7" y="2"/>
                    <a:pt x="3" y="0"/>
                  </a:cubicBezTo>
                  <a:cubicBezTo>
                    <a:pt x="2" y="0"/>
                    <a:pt x="0" y="2"/>
                    <a:pt x="2" y="3"/>
                  </a:cubicBezTo>
                  <a:cubicBezTo>
                    <a:pt x="9" y="7"/>
                    <a:pt x="14" y="13"/>
                    <a:pt x="16" y="20"/>
                  </a:cubicBezTo>
                  <a:cubicBezTo>
                    <a:pt x="17" y="24"/>
                    <a:pt x="17" y="28"/>
                    <a:pt x="18" y="32"/>
                  </a:cubicBezTo>
                  <a:cubicBezTo>
                    <a:pt x="18" y="34"/>
                    <a:pt x="18" y="36"/>
                    <a:pt x="18" y="3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0" name="iṡḻídè">
              <a:extLst>
                <a:ext uri="{FF2B5EF4-FFF2-40B4-BE49-F238E27FC236}">
                  <a16:creationId xmlns:a16="http://schemas.microsoft.com/office/drawing/2014/main" id="{C60E09F4-8630-415C-8759-C821BF465016}"/>
                </a:ext>
              </a:extLst>
            </p:cNvPr>
            <p:cNvSpPr/>
            <p:nvPr/>
          </p:nvSpPr>
          <p:spPr bwMode="auto">
            <a:xfrm>
              <a:off x="6658424" y="2769906"/>
              <a:ext cx="11840" cy="25162"/>
            </a:xfrm>
            <a:custGeom>
              <a:avLst/>
              <a:gdLst>
                <a:gd name="T0" fmla="*/ 0 w 4"/>
                <a:gd name="T1" fmla="*/ 2 h 8"/>
                <a:gd name="T2" fmla="*/ 2 w 4"/>
                <a:gd name="T3" fmla="*/ 7 h 8"/>
                <a:gd name="T4" fmla="*/ 3 w 4"/>
                <a:gd name="T5" fmla="*/ 7 h 8"/>
                <a:gd name="T6" fmla="*/ 4 w 4"/>
                <a:gd name="T7" fmla="*/ 2 h 8"/>
                <a:gd name="T8" fmla="*/ 0 w 4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0" y="2"/>
                  </a:moveTo>
                  <a:cubicBezTo>
                    <a:pt x="0" y="4"/>
                    <a:pt x="0" y="6"/>
                    <a:pt x="2" y="7"/>
                  </a:cubicBezTo>
                  <a:cubicBezTo>
                    <a:pt x="2" y="8"/>
                    <a:pt x="3" y="8"/>
                    <a:pt x="3" y="7"/>
                  </a:cubicBezTo>
                  <a:cubicBezTo>
                    <a:pt x="4" y="6"/>
                    <a:pt x="4" y="4"/>
                    <a:pt x="4" y="2"/>
                  </a:cubicBezTo>
                  <a:cubicBezTo>
                    <a:pt x="4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1" name="ïṧ1ïďe">
              <a:extLst>
                <a:ext uri="{FF2B5EF4-FFF2-40B4-BE49-F238E27FC236}">
                  <a16:creationId xmlns:a16="http://schemas.microsoft.com/office/drawing/2014/main" id="{2F7D4544-96EE-4104-8049-27A66B2BC463}"/>
                </a:ext>
              </a:extLst>
            </p:cNvPr>
            <p:cNvSpPr/>
            <p:nvPr/>
          </p:nvSpPr>
          <p:spPr bwMode="auto">
            <a:xfrm>
              <a:off x="4744703" y="3077759"/>
              <a:ext cx="85844" cy="68083"/>
            </a:xfrm>
            <a:custGeom>
              <a:avLst/>
              <a:gdLst>
                <a:gd name="T0" fmla="*/ 18 w 28"/>
                <a:gd name="T1" fmla="*/ 9 h 22"/>
                <a:gd name="T2" fmla="*/ 3 w 28"/>
                <a:gd name="T3" fmla="*/ 1 h 22"/>
                <a:gd name="T4" fmla="*/ 2 w 28"/>
                <a:gd name="T5" fmla="*/ 4 h 22"/>
                <a:gd name="T6" fmla="*/ 15 w 28"/>
                <a:gd name="T7" fmla="*/ 12 h 22"/>
                <a:gd name="T8" fmla="*/ 20 w 28"/>
                <a:gd name="T9" fmla="*/ 18 h 22"/>
                <a:gd name="T10" fmla="*/ 26 w 28"/>
                <a:gd name="T11" fmla="*/ 22 h 22"/>
                <a:gd name="T12" fmla="*/ 28 w 28"/>
                <a:gd name="T13" fmla="*/ 21 h 22"/>
                <a:gd name="T14" fmla="*/ 24 w 28"/>
                <a:gd name="T15" fmla="*/ 15 h 22"/>
                <a:gd name="T16" fmla="*/ 18 w 28"/>
                <a:gd name="T1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2">
                  <a:moveTo>
                    <a:pt x="18" y="9"/>
                  </a:moveTo>
                  <a:cubicBezTo>
                    <a:pt x="13" y="5"/>
                    <a:pt x="8" y="2"/>
                    <a:pt x="3" y="1"/>
                  </a:cubicBezTo>
                  <a:cubicBezTo>
                    <a:pt x="1" y="0"/>
                    <a:pt x="0" y="3"/>
                    <a:pt x="2" y="4"/>
                  </a:cubicBezTo>
                  <a:cubicBezTo>
                    <a:pt x="7" y="6"/>
                    <a:pt x="11" y="9"/>
                    <a:pt x="15" y="12"/>
                  </a:cubicBezTo>
                  <a:cubicBezTo>
                    <a:pt x="17" y="14"/>
                    <a:pt x="18" y="16"/>
                    <a:pt x="20" y="18"/>
                  </a:cubicBezTo>
                  <a:cubicBezTo>
                    <a:pt x="22" y="19"/>
                    <a:pt x="24" y="22"/>
                    <a:pt x="26" y="22"/>
                  </a:cubicBezTo>
                  <a:cubicBezTo>
                    <a:pt x="27" y="22"/>
                    <a:pt x="28" y="22"/>
                    <a:pt x="28" y="21"/>
                  </a:cubicBezTo>
                  <a:cubicBezTo>
                    <a:pt x="28" y="18"/>
                    <a:pt x="26" y="16"/>
                    <a:pt x="24" y="15"/>
                  </a:cubicBezTo>
                  <a:cubicBezTo>
                    <a:pt x="22" y="12"/>
                    <a:pt x="20" y="10"/>
                    <a:pt x="18" y="9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2" name="íš1iḓe">
              <a:extLst>
                <a:ext uri="{FF2B5EF4-FFF2-40B4-BE49-F238E27FC236}">
                  <a16:creationId xmlns:a16="http://schemas.microsoft.com/office/drawing/2014/main" id="{5D245190-0F2A-4F75-9758-131C37C90D51}"/>
                </a:ext>
              </a:extLst>
            </p:cNvPr>
            <p:cNvSpPr/>
            <p:nvPr/>
          </p:nvSpPr>
          <p:spPr bwMode="auto">
            <a:xfrm>
              <a:off x="7663386" y="2438372"/>
              <a:ext cx="7401" cy="8880"/>
            </a:xfrm>
            <a:custGeom>
              <a:avLst/>
              <a:gdLst>
                <a:gd name="T0" fmla="*/ 0 w 2"/>
                <a:gd name="T1" fmla="*/ 3 h 3"/>
                <a:gd name="T2" fmla="*/ 2 w 2"/>
                <a:gd name="T3" fmla="*/ 0 h 3"/>
                <a:gd name="T4" fmla="*/ 0 w 2"/>
                <a:gd name="T5" fmla="*/ 0 h 3"/>
                <a:gd name="T6" fmla="*/ 0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1" y="2"/>
                    <a:pt x="2" y="1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3" name="îSḻiḋè">
              <a:extLst>
                <a:ext uri="{FF2B5EF4-FFF2-40B4-BE49-F238E27FC236}">
                  <a16:creationId xmlns:a16="http://schemas.microsoft.com/office/drawing/2014/main" id="{A20481D8-60EA-491E-BBBE-2096AF153595}"/>
                </a:ext>
              </a:extLst>
            </p:cNvPr>
            <p:cNvSpPr/>
            <p:nvPr/>
          </p:nvSpPr>
          <p:spPr bwMode="auto">
            <a:xfrm>
              <a:off x="7697428" y="2457613"/>
              <a:ext cx="79923" cy="72524"/>
            </a:xfrm>
            <a:custGeom>
              <a:avLst/>
              <a:gdLst>
                <a:gd name="T0" fmla="*/ 10 w 26"/>
                <a:gd name="T1" fmla="*/ 2 h 24"/>
                <a:gd name="T2" fmla="*/ 8 w 26"/>
                <a:gd name="T3" fmla="*/ 1 h 24"/>
                <a:gd name="T4" fmla="*/ 1 w 26"/>
                <a:gd name="T5" fmla="*/ 14 h 24"/>
                <a:gd name="T6" fmla="*/ 15 w 26"/>
                <a:gd name="T7" fmla="*/ 23 h 24"/>
                <a:gd name="T8" fmla="*/ 19 w 26"/>
                <a:gd name="T9" fmla="*/ 3 h 24"/>
                <a:gd name="T10" fmla="*/ 12 w 26"/>
                <a:gd name="T11" fmla="*/ 2 h 24"/>
                <a:gd name="T12" fmla="*/ 10 w 26"/>
                <a:gd name="T13" fmla="*/ 2 h 24"/>
                <a:gd name="T14" fmla="*/ 15 w 26"/>
                <a:gd name="T15" fmla="*/ 7 h 24"/>
                <a:gd name="T16" fmla="*/ 15 w 26"/>
                <a:gd name="T17" fmla="*/ 7 h 24"/>
                <a:gd name="T18" fmla="*/ 15 w 26"/>
                <a:gd name="T19" fmla="*/ 7 h 24"/>
                <a:gd name="T20" fmla="*/ 15 w 26"/>
                <a:gd name="T21" fmla="*/ 7 h 24"/>
                <a:gd name="T22" fmla="*/ 16 w 26"/>
                <a:gd name="T23" fmla="*/ 7 h 24"/>
                <a:gd name="T24" fmla="*/ 16 w 26"/>
                <a:gd name="T25" fmla="*/ 8 h 24"/>
                <a:gd name="T26" fmla="*/ 17 w 26"/>
                <a:gd name="T27" fmla="*/ 8 h 24"/>
                <a:gd name="T28" fmla="*/ 17 w 26"/>
                <a:gd name="T29" fmla="*/ 9 h 24"/>
                <a:gd name="T30" fmla="*/ 17 w 26"/>
                <a:gd name="T31" fmla="*/ 9 h 24"/>
                <a:gd name="T32" fmla="*/ 18 w 26"/>
                <a:gd name="T33" fmla="*/ 9 h 24"/>
                <a:gd name="T34" fmla="*/ 18 w 26"/>
                <a:gd name="T35" fmla="*/ 10 h 24"/>
                <a:gd name="T36" fmla="*/ 18 w 26"/>
                <a:gd name="T37" fmla="*/ 11 h 24"/>
                <a:gd name="T38" fmla="*/ 18 w 26"/>
                <a:gd name="T39" fmla="*/ 12 h 24"/>
                <a:gd name="T40" fmla="*/ 18 w 26"/>
                <a:gd name="T41" fmla="*/ 13 h 24"/>
                <a:gd name="T42" fmla="*/ 17 w 26"/>
                <a:gd name="T43" fmla="*/ 14 h 24"/>
                <a:gd name="T44" fmla="*/ 17 w 26"/>
                <a:gd name="T45" fmla="*/ 14 h 24"/>
                <a:gd name="T46" fmla="*/ 17 w 26"/>
                <a:gd name="T47" fmla="*/ 14 h 24"/>
                <a:gd name="T48" fmla="*/ 17 w 26"/>
                <a:gd name="T49" fmla="*/ 15 h 24"/>
                <a:gd name="T50" fmla="*/ 17 w 26"/>
                <a:gd name="T51" fmla="*/ 15 h 24"/>
                <a:gd name="T52" fmla="*/ 16 w 26"/>
                <a:gd name="T53" fmla="*/ 16 h 24"/>
                <a:gd name="T54" fmla="*/ 16 w 26"/>
                <a:gd name="T55" fmla="*/ 16 h 24"/>
                <a:gd name="T56" fmla="*/ 16 w 26"/>
                <a:gd name="T57" fmla="*/ 16 h 24"/>
                <a:gd name="T58" fmla="*/ 16 w 26"/>
                <a:gd name="T59" fmla="*/ 16 h 24"/>
                <a:gd name="T60" fmla="*/ 15 w 26"/>
                <a:gd name="T61" fmla="*/ 17 h 24"/>
                <a:gd name="T62" fmla="*/ 13 w 26"/>
                <a:gd name="T63" fmla="*/ 17 h 24"/>
                <a:gd name="T64" fmla="*/ 9 w 26"/>
                <a:gd name="T65" fmla="*/ 16 h 24"/>
                <a:gd name="T66" fmla="*/ 6 w 26"/>
                <a:gd name="T67" fmla="*/ 14 h 24"/>
                <a:gd name="T68" fmla="*/ 5 w 26"/>
                <a:gd name="T69" fmla="*/ 11 h 24"/>
                <a:gd name="T70" fmla="*/ 5 w 26"/>
                <a:gd name="T71" fmla="*/ 9 h 24"/>
                <a:gd name="T72" fmla="*/ 10 w 26"/>
                <a:gd name="T73" fmla="*/ 8 h 24"/>
                <a:gd name="T74" fmla="*/ 13 w 26"/>
                <a:gd name="T75" fmla="*/ 7 h 24"/>
                <a:gd name="T76" fmla="*/ 13 w 26"/>
                <a:gd name="T77" fmla="*/ 7 h 24"/>
                <a:gd name="T78" fmla="*/ 14 w 26"/>
                <a:gd name="T79" fmla="*/ 7 h 24"/>
                <a:gd name="T80" fmla="*/ 14 w 26"/>
                <a:gd name="T81" fmla="*/ 7 h 24"/>
                <a:gd name="T82" fmla="*/ 15 w 26"/>
                <a:gd name="T83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" h="24">
                  <a:moveTo>
                    <a:pt x="10" y="2"/>
                  </a:moveTo>
                  <a:cubicBezTo>
                    <a:pt x="10" y="1"/>
                    <a:pt x="9" y="0"/>
                    <a:pt x="8" y="1"/>
                  </a:cubicBezTo>
                  <a:cubicBezTo>
                    <a:pt x="4" y="3"/>
                    <a:pt x="0" y="8"/>
                    <a:pt x="1" y="14"/>
                  </a:cubicBezTo>
                  <a:cubicBezTo>
                    <a:pt x="2" y="21"/>
                    <a:pt x="9" y="24"/>
                    <a:pt x="15" y="23"/>
                  </a:cubicBezTo>
                  <a:cubicBezTo>
                    <a:pt x="24" y="21"/>
                    <a:pt x="26" y="8"/>
                    <a:pt x="19" y="3"/>
                  </a:cubicBezTo>
                  <a:cubicBezTo>
                    <a:pt x="17" y="1"/>
                    <a:pt x="15" y="1"/>
                    <a:pt x="12" y="2"/>
                  </a:cubicBezTo>
                  <a:cubicBezTo>
                    <a:pt x="11" y="2"/>
                    <a:pt x="11" y="2"/>
                    <a:pt x="10" y="2"/>
                  </a:cubicBezTo>
                  <a:close/>
                  <a:moveTo>
                    <a:pt x="15" y="7"/>
                  </a:move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6" y="7"/>
                    <a:pt x="16" y="7"/>
                  </a:cubicBezTo>
                  <a:cubicBezTo>
                    <a:pt x="16" y="7"/>
                    <a:pt x="16" y="8"/>
                    <a:pt x="16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8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3"/>
                    <a:pt x="18" y="13"/>
                  </a:cubicBezTo>
                  <a:cubicBezTo>
                    <a:pt x="18" y="13"/>
                    <a:pt x="18" y="13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6" y="15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4" y="17"/>
                    <a:pt x="15" y="17"/>
                  </a:cubicBezTo>
                  <a:cubicBezTo>
                    <a:pt x="14" y="18"/>
                    <a:pt x="14" y="17"/>
                    <a:pt x="13" y="17"/>
                  </a:cubicBezTo>
                  <a:cubicBezTo>
                    <a:pt x="11" y="18"/>
                    <a:pt x="10" y="17"/>
                    <a:pt x="9" y="16"/>
                  </a:cubicBezTo>
                  <a:cubicBezTo>
                    <a:pt x="8" y="16"/>
                    <a:pt x="7" y="15"/>
                    <a:pt x="6" y="14"/>
                  </a:cubicBezTo>
                  <a:cubicBezTo>
                    <a:pt x="5" y="13"/>
                    <a:pt x="5" y="12"/>
                    <a:pt x="5" y="11"/>
                  </a:cubicBezTo>
                  <a:cubicBezTo>
                    <a:pt x="5" y="11"/>
                    <a:pt x="5" y="10"/>
                    <a:pt x="5" y="9"/>
                  </a:cubicBezTo>
                  <a:cubicBezTo>
                    <a:pt x="7" y="9"/>
                    <a:pt x="8" y="9"/>
                    <a:pt x="10" y="8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4" name="ïśḻïḓê">
              <a:extLst>
                <a:ext uri="{FF2B5EF4-FFF2-40B4-BE49-F238E27FC236}">
                  <a16:creationId xmlns:a16="http://schemas.microsoft.com/office/drawing/2014/main" id="{6761BF98-D6E4-4BDD-BB0F-F8F23E28924D}"/>
                </a:ext>
              </a:extLst>
            </p:cNvPr>
            <p:cNvSpPr/>
            <p:nvPr/>
          </p:nvSpPr>
          <p:spPr bwMode="auto">
            <a:xfrm>
              <a:off x="7971239" y="2580458"/>
              <a:ext cx="37002" cy="29601"/>
            </a:xfrm>
            <a:custGeom>
              <a:avLst/>
              <a:gdLst>
                <a:gd name="T0" fmla="*/ 9 w 12"/>
                <a:gd name="T1" fmla="*/ 0 h 10"/>
                <a:gd name="T2" fmla="*/ 9 w 12"/>
                <a:gd name="T3" fmla="*/ 0 h 10"/>
                <a:gd name="T4" fmla="*/ 9 w 12"/>
                <a:gd name="T5" fmla="*/ 0 h 10"/>
                <a:gd name="T6" fmla="*/ 9 w 12"/>
                <a:gd name="T7" fmla="*/ 0 h 10"/>
                <a:gd name="T8" fmla="*/ 10 w 12"/>
                <a:gd name="T9" fmla="*/ 0 h 10"/>
                <a:gd name="T10" fmla="*/ 11 w 12"/>
                <a:gd name="T11" fmla="*/ 1 h 10"/>
                <a:gd name="T12" fmla="*/ 11 w 12"/>
                <a:gd name="T13" fmla="*/ 1 h 10"/>
                <a:gd name="T14" fmla="*/ 12 w 12"/>
                <a:gd name="T15" fmla="*/ 2 h 10"/>
                <a:gd name="T16" fmla="*/ 12 w 12"/>
                <a:gd name="T17" fmla="*/ 2 h 10"/>
                <a:gd name="T18" fmla="*/ 12 w 12"/>
                <a:gd name="T19" fmla="*/ 2 h 10"/>
                <a:gd name="T20" fmla="*/ 12 w 12"/>
                <a:gd name="T21" fmla="*/ 3 h 10"/>
                <a:gd name="T22" fmla="*/ 12 w 12"/>
                <a:gd name="T23" fmla="*/ 4 h 10"/>
                <a:gd name="T24" fmla="*/ 12 w 12"/>
                <a:gd name="T25" fmla="*/ 5 h 10"/>
                <a:gd name="T26" fmla="*/ 12 w 12"/>
                <a:gd name="T27" fmla="*/ 6 h 10"/>
                <a:gd name="T28" fmla="*/ 12 w 12"/>
                <a:gd name="T29" fmla="*/ 7 h 10"/>
                <a:gd name="T30" fmla="*/ 12 w 12"/>
                <a:gd name="T31" fmla="*/ 7 h 10"/>
                <a:gd name="T32" fmla="*/ 12 w 12"/>
                <a:gd name="T33" fmla="*/ 7 h 10"/>
                <a:gd name="T34" fmla="*/ 11 w 12"/>
                <a:gd name="T35" fmla="*/ 8 h 10"/>
                <a:gd name="T36" fmla="*/ 11 w 12"/>
                <a:gd name="T37" fmla="*/ 8 h 10"/>
                <a:gd name="T38" fmla="*/ 11 w 12"/>
                <a:gd name="T39" fmla="*/ 8 h 10"/>
                <a:gd name="T40" fmla="*/ 10 w 12"/>
                <a:gd name="T41" fmla="*/ 9 h 10"/>
                <a:gd name="T42" fmla="*/ 10 w 12"/>
                <a:gd name="T43" fmla="*/ 9 h 10"/>
                <a:gd name="T44" fmla="*/ 10 w 12"/>
                <a:gd name="T45" fmla="*/ 9 h 10"/>
                <a:gd name="T46" fmla="*/ 9 w 12"/>
                <a:gd name="T47" fmla="*/ 10 h 10"/>
                <a:gd name="T48" fmla="*/ 7 w 12"/>
                <a:gd name="T49" fmla="*/ 10 h 10"/>
                <a:gd name="T50" fmla="*/ 3 w 12"/>
                <a:gd name="T51" fmla="*/ 10 h 10"/>
                <a:gd name="T52" fmla="*/ 0 w 12"/>
                <a:gd name="T53" fmla="*/ 7 h 10"/>
                <a:gd name="T54" fmla="*/ 0 w 12"/>
                <a:gd name="T55" fmla="*/ 4 h 10"/>
                <a:gd name="T56" fmla="*/ 0 w 12"/>
                <a:gd name="T57" fmla="*/ 2 h 10"/>
                <a:gd name="T58" fmla="*/ 4 w 12"/>
                <a:gd name="T59" fmla="*/ 1 h 10"/>
                <a:gd name="T60" fmla="*/ 8 w 12"/>
                <a:gd name="T61" fmla="*/ 0 h 10"/>
                <a:gd name="T62" fmla="*/ 8 w 12"/>
                <a:gd name="T63" fmla="*/ 0 h 10"/>
                <a:gd name="T64" fmla="*/ 8 w 12"/>
                <a:gd name="T65" fmla="*/ 0 h 10"/>
                <a:gd name="T66" fmla="*/ 9 w 12"/>
                <a:gd name="T67" fmla="*/ 0 h 10"/>
                <a:gd name="T68" fmla="*/ 9 w 12"/>
                <a:gd name="T6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0"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6"/>
                    <a:pt x="12" y="6"/>
                  </a:cubicBezTo>
                  <a:cubicBezTo>
                    <a:pt x="12" y="6"/>
                    <a:pt x="12" y="6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9" y="10"/>
                    <a:pt x="9" y="10"/>
                  </a:cubicBezTo>
                  <a:cubicBezTo>
                    <a:pt x="8" y="10"/>
                    <a:pt x="8" y="10"/>
                    <a:pt x="7" y="10"/>
                  </a:cubicBezTo>
                  <a:cubicBezTo>
                    <a:pt x="6" y="10"/>
                    <a:pt x="5" y="10"/>
                    <a:pt x="3" y="10"/>
                  </a:cubicBezTo>
                  <a:cubicBezTo>
                    <a:pt x="2" y="9"/>
                    <a:pt x="1" y="8"/>
                    <a:pt x="0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2"/>
                    <a:pt x="3" y="2"/>
                    <a:pt x="4" y="1"/>
                  </a:cubicBezTo>
                  <a:cubicBezTo>
                    <a:pt x="5" y="0"/>
                    <a:pt x="6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924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5" name="îşḷíḋê">
              <a:extLst>
                <a:ext uri="{FF2B5EF4-FFF2-40B4-BE49-F238E27FC236}">
                  <a16:creationId xmlns:a16="http://schemas.microsoft.com/office/drawing/2014/main" id="{BA205981-3292-40C1-B77C-73257C798418}"/>
                </a:ext>
              </a:extLst>
            </p:cNvPr>
            <p:cNvSpPr/>
            <p:nvPr/>
          </p:nvSpPr>
          <p:spPr bwMode="auto">
            <a:xfrm>
              <a:off x="7950518" y="2558257"/>
              <a:ext cx="82883" cy="71043"/>
            </a:xfrm>
            <a:custGeom>
              <a:avLst/>
              <a:gdLst>
                <a:gd name="T0" fmla="*/ 12 w 27"/>
                <a:gd name="T1" fmla="*/ 2 h 23"/>
                <a:gd name="T2" fmla="*/ 10 w 27"/>
                <a:gd name="T3" fmla="*/ 1 h 23"/>
                <a:gd name="T4" fmla="*/ 2 w 27"/>
                <a:gd name="T5" fmla="*/ 14 h 23"/>
                <a:gd name="T6" fmla="*/ 16 w 27"/>
                <a:gd name="T7" fmla="*/ 23 h 23"/>
                <a:gd name="T8" fmla="*/ 21 w 27"/>
                <a:gd name="T9" fmla="*/ 3 h 23"/>
                <a:gd name="T10" fmla="*/ 13 w 27"/>
                <a:gd name="T11" fmla="*/ 1 h 23"/>
                <a:gd name="T12" fmla="*/ 12 w 27"/>
                <a:gd name="T1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23">
                  <a:moveTo>
                    <a:pt x="12" y="2"/>
                  </a:moveTo>
                  <a:cubicBezTo>
                    <a:pt x="12" y="1"/>
                    <a:pt x="11" y="0"/>
                    <a:pt x="10" y="1"/>
                  </a:cubicBezTo>
                  <a:cubicBezTo>
                    <a:pt x="4" y="3"/>
                    <a:pt x="0" y="8"/>
                    <a:pt x="2" y="14"/>
                  </a:cubicBezTo>
                  <a:cubicBezTo>
                    <a:pt x="3" y="21"/>
                    <a:pt x="11" y="23"/>
                    <a:pt x="16" y="23"/>
                  </a:cubicBezTo>
                  <a:cubicBezTo>
                    <a:pt x="25" y="21"/>
                    <a:pt x="27" y="8"/>
                    <a:pt x="21" y="3"/>
                  </a:cubicBezTo>
                  <a:cubicBezTo>
                    <a:pt x="19" y="1"/>
                    <a:pt x="16" y="1"/>
                    <a:pt x="13" y="1"/>
                  </a:cubicBezTo>
                  <a:cubicBezTo>
                    <a:pt x="13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F93D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6" name="îSḻîḋê">
              <a:extLst>
                <a:ext uri="{FF2B5EF4-FFF2-40B4-BE49-F238E27FC236}">
                  <a16:creationId xmlns:a16="http://schemas.microsoft.com/office/drawing/2014/main" id="{3DC96509-F038-44CE-B1F9-38B3588BCC98}"/>
                </a:ext>
              </a:extLst>
            </p:cNvPr>
            <p:cNvSpPr/>
            <p:nvPr/>
          </p:nvSpPr>
          <p:spPr bwMode="auto">
            <a:xfrm>
              <a:off x="7950518" y="2558257"/>
              <a:ext cx="82883" cy="71043"/>
            </a:xfrm>
            <a:custGeom>
              <a:avLst/>
              <a:gdLst>
                <a:gd name="T0" fmla="*/ 12 w 27"/>
                <a:gd name="T1" fmla="*/ 2 h 23"/>
                <a:gd name="T2" fmla="*/ 10 w 27"/>
                <a:gd name="T3" fmla="*/ 1 h 23"/>
                <a:gd name="T4" fmla="*/ 2 w 27"/>
                <a:gd name="T5" fmla="*/ 14 h 23"/>
                <a:gd name="T6" fmla="*/ 16 w 27"/>
                <a:gd name="T7" fmla="*/ 23 h 23"/>
                <a:gd name="T8" fmla="*/ 21 w 27"/>
                <a:gd name="T9" fmla="*/ 3 h 23"/>
                <a:gd name="T10" fmla="*/ 13 w 27"/>
                <a:gd name="T11" fmla="*/ 1 h 23"/>
                <a:gd name="T12" fmla="*/ 12 w 27"/>
                <a:gd name="T13" fmla="*/ 2 h 23"/>
                <a:gd name="T14" fmla="*/ 16 w 27"/>
                <a:gd name="T15" fmla="*/ 7 h 23"/>
                <a:gd name="T16" fmla="*/ 16 w 27"/>
                <a:gd name="T17" fmla="*/ 7 h 23"/>
                <a:gd name="T18" fmla="*/ 16 w 27"/>
                <a:gd name="T19" fmla="*/ 7 h 23"/>
                <a:gd name="T20" fmla="*/ 16 w 27"/>
                <a:gd name="T21" fmla="*/ 7 h 23"/>
                <a:gd name="T22" fmla="*/ 17 w 27"/>
                <a:gd name="T23" fmla="*/ 7 h 23"/>
                <a:gd name="T24" fmla="*/ 18 w 27"/>
                <a:gd name="T25" fmla="*/ 8 h 23"/>
                <a:gd name="T26" fmla="*/ 18 w 27"/>
                <a:gd name="T27" fmla="*/ 8 h 23"/>
                <a:gd name="T28" fmla="*/ 19 w 27"/>
                <a:gd name="T29" fmla="*/ 9 h 23"/>
                <a:gd name="T30" fmla="*/ 19 w 27"/>
                <a:gd name="T31" fmla="*/ 9 h 23"/>
                <a:gd name="T32" fmla="*/ 19 w 27"/>
                <a:gd name="T33" fmla="*/ 9 h 23"/>
                <a:gd name="T34" fmla="*/ 19 w 27"/>
                <a:gd name="T35" fmla="*/ 10 h 23"/>
                <a:gd name="T36" fmla="*/ 19 w 27"/>
                <a:gd name="T37" fmla="*/ 11 h 23"/>
                <a:gd name="T38" fmla="*/ 19 w 27"/>
                <a:gd name="T39" fmla="*/ 12 h 23"/>
                <a:gd name="T40" fmla="*/ 19 w 27"/>
                <a:gd name="T41" fmla="*/ 13 h 23"/>
                <a:gd name="T42" fmla="*/ 19 w 27"/>
                <a:gd name="T43" fmla="*/ 14 h 23"/>
                <a:gd name="T44" fmla="*/ 19 w 27"/>
                <a:gd name="T45" fmla="*/ 14 h 23"/>
                <a:gd name="T46" fmla="*/ 19 w 27"/>
                <a:gd name="T47" fmla="*/ 14 h 23"/>
                <a:gd name="T48" fmla="*/ 18 w 27"/>
                <a:gd name="T49" fmla="*/ 15 h 23"/>
                <a:gd name="T50" fmla="*/ 18 w 27"/>
                <a:gd name="T51" fmla="*/ 15 h 23"/>
                <a:gd name="T52" fmla="*/ 18 w 27"/>
                <a:gd name="T53" fmla="*/ 15 h 23"/>
                <a:gd name="T54" fmla="*/ 17 w 27"/>
                <a:gd name="T55" fmla="*/ 16 h 23"/>
                <a:gd name="T56" fmla="*/ 17 w 27"/>
                <a:gd name="T57" fmla="*/ 16 h 23"/>
                <a:gd name="T58" fmla="*/ 17 w 27"/>
                <a:gd name="T59" fmla="*/ 16 h 23"/>
                <a:gd name="T60" fmla="*/ 16 w 27"/>
                <a:gd name="T61" fmla="*/ 17 h 23"/>
                <a:gd name="T62" fmla="*/ 14 w 27"/>
                <a:gd name="T63" fmla="*/ 17 h 23"/>
                <a:gd name="T64" fmla="*/ 10 w 27"/>
                <a:gd name="T65" fmla="*/ 17 h 23"/>
                <a:gd name="T66" fmla="*/ 7 w 27"/>
                <a:gd name="T67" fmla="*/ 14 h 23"/>
                <a:gd name="T68" fmla="*/ 7 w 27"/>
                <a:gd name="T69" fmla="*/ 11 h 23"/>
                <a:gd name="T70" fmla="*/ 7 w 27"/>
                <a:gd name="T71" fmla="*/ 9 h 23"/>
                <a:gd name="T72" fmla="*/ 11 w 27"/>
                <a:gd name="T73" fmla="*/ 8 h 23"/>
                <a:gd name="T74" fmla="*/ 15 w 27"/>
                <a:gd name="T75" fmla="*/ 7 h 23"/>
                <a:gd name="T76" fmla="*/ 15 w 27"/>
                <a:gd name="T77" fmla="*/ 7 h 23"/>
                <a:gd name="T78" fmla="*/ 15 w 27"/>
                <a:gd name="T79" fmla="*/ 7 h 23"/>
                <a:gd name="T80" fmla="*/ 16 w 27"/>
                <a:gd name="T81" fmla="*/ 7 h 23"/>
                <a:gd name="T82" fmla="*/ 16 w 27"/>
                <a:gd name="T83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" h="23">
                  <a:moveTo>
                    <a:pt x="12" y="2"/>
                  </a:moveTo>
                  <a:cubicBezTo>
                    <a:pt x="12" y="1"/>
                    <a:pt x="11" y="0"/>
                    <a:pt x="10" y="1"/>
                  </a:cubicBezTo>
                  <a:cubicBezTo>
                    <a:pt x="4" y="3"/>
                    <a:pt x="0" y="8"/>
                    <a:pt x="2" y="14"/>
                  </a:cubicBezTo>
                  <a:cubicBezTo>
                    <a:pt x="3" y="21"/>
                    <a:pt x="11" y="23"/>
                    <a:pt x="16" y="23"/>
                  </a:cubicBezTo>
                  <a:cubicBezTo>
                    <a:pt x="25" y="21"/>
                    <a:pt x="27" y="8"/>
                    <a:pt x="21" y="3"/>
                  </a:cubicBezTo>
                  <a:cubicBezTo>
                    <a:pt x="19" y="1"/>
                    <a:pt x="16" y="1"/>
                    <a:pt x="13" y="1"/>
                  </a:cubicBezTo>
                  <a:cubicBezTo>
                    <a:pt x="13" y="2"/>
                    <a:pt x="12" y="2"/>
                    <a:pt x="12" y="2"/>
                  </a:cubicBezTo>
                  <a:close/>
                  <a:moveTo>
                    <a:pt x="16" y="7"/>
                  </a:move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7" y="7"/>
                    <a:pt x="17" y="7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7"/>
                    <a:pt x="16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3" y="17"/>
                    <a:pt x="12" y="17"/>
                    <a:pt x="10" y="17"/>
                  </a:cubicBezTo>
                  <a:cubicBezTo>
                    <a:pt x="9" y="16"/>
                    <a:pt x="8" y="15"/>
                    <a:pt x="7" y="14"/>
                  </a:cubicBezTo>
                  <a:cubicBezTo>
                    <a:pt x="7" y="13"/>
                    <a:pt x="7" y="12"/>
                    <a:pt x="7" y="11"/>
                  </a:cubicBezTo>
                  <a:cubicBezTo>
                    <a:pt x="7" y="11"/>
                    <a:pt x="7" y="10"/>
                    <a:pt x="7" y="9"/>
                  </a:cubicBezTo>
                  <a:cubicBezTo>
                    <a:pt x="8" y="9"/>
                    <a:pt x="10" y="9"/>
                    <a:pt x="11" y="8"/>
                  </a:cubicBezTo>
                  <a:cubicBezTo>
                    <a:pt x="12" y="7"/>
                    <a:pt x="13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7" name="íŝḻïḋê">
              <a:extLst>
                <a:ext uri="{FF2B5EF4-FFF2-40B4-BE49-F238E27FC236}">
                  <a16:creationId xmlns:a16="http://schemas.microsoft.com/office/drawing/2014/main" id="{FA66CDEC-867A-4BA4-909D-7F07B83A1A18}"/>
                </a:ext>
              </a:extLst>
            </p:cNvPr>
            <p:cNvSpPr/>
            <p:nvPr/>
          </p:nvSpPr>
          <p:spPr bwMode="auto">
            <a:xfrm>
              <a:off x="4445731" y="4322491"/>
              <a:ext cx="251611" cy="291573"/>
            </a:xfrm>
            <a:custGeom>
              <a:avLst/>
              <a:gdLst>
                <a:gd name="T0" fmla="*/ 78 w 82"/>
                <a:gd name="T1" fmla="*/ 43 h 95"/>
                <a:gd name="T2" fmla="*/ 39 w 82"/>
                <a:gd name="T3" fmla="*/ 13 h 95"/>
                <a:gd name="T4" fmla="*/ 78 w 82"/>
                <a:gd name="T5" fmla="*/ 4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2" h="95">
                  <a:moveTo>
                    <a:pt x="78" y="43"/>
                  </a:moveTo>
                  <a:cubicBezTo>
                    <a:pt x="60" y="95"/>
                    <a:pt x="0" y="39"/>
                    <a:pt x="39" y="13"/>
                  </a:cubicBezTo>
                  <a:cubicBezTo>
                    <a:pt x="58" y="0"/>
                    <a:pt x="82" y="16"/>
                    <a:pt x="78" y="43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8" name="ïṥ1iḍe">
              <a:extLst>
                <a:ext uri="{FF2B5EF4-FFF2-40B4-BE49-F238E27FC236}">
                  <a16:creationId xmlns:a16="http://schemas.microsoft.com/office/drawing/2014/main" id="{B164E635-9413-45D2-8E96-97F004AF14D3}"/>
                </a:ext>
              </a:extLst>
            </p:cNvPr>
            <p:cNvSpPr/>
            <p:nvPr/>
          </p:nvSpPr>
          <p:spPr bwMode="auto">
            <a:xfrm>
              <a:off x="7562742" y="3117721"/>
              <a:ext cx="251611" cy="288613"/>
            </a:xfrm>
            <a:custGeom>
              <a:avLst/>
              <a:gdLst>
                <a:gd name="T0" fmla="*/ 78 w 82"/>
                <a:gd name="T1" fmla="*/ 42 h 94"/>
                <a:gd name="T2" fmla="*/ 39 w 82"/>
                <a:gd name="T3" fmla="*/ 12 h 94"/>
                <a:gd name="T4" fmla="*/ 78 w 82"/>
                <a:gd name="T5" fmla="*/ 4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2" h="94">
                  <a:moveTo>
                    <a:pt x="78" y="42"/>
                  </a:moveTo>
                  <a:cubicBezTo>
                    <a:pt x="60" y="94"/>
                    <a:pt x="0" y="38"/>
                    <a:pt x="39" y="12"/>
                  </a:cubicBezTo>
                  <a:cubicBezTo>
                    <a:pt x="58" y="0"/>
                    <a:pt x="82" y="15"/>
                    <a:pt x="78" y="42"/>
                  </a:cubicBez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9" name="îslíḍê">
              <a:extLst>
                <a:ext uri="{FF2B5EF4-FFF2-40B4-BE49-F238E27FC236}">
                  <a16:creationId xmlns:a16="http://schemas.microsoft.com/office/drawing/2014/main" id="{A4F6E0F1-D87E-47C2-A78D-E7920FF2B01C}"/>
                </a:ext>
              </a:extLst>
            </p:cNvPr>
            <p:cNvSpPr/>
            <p:nvPr/>
          </p:nvSpPr>
          <p:spPr bwMode="auto">
            <a:xfrm>
              <a:off x="4747663" y="3943595"/>
              <a:ext cx="430699" cy="439579"/>
            </a:xfrm>
            <a:custGeom>
              <a:avLst/>
              <a:gdLst>
                <a:gd name="T0" fmla="*/ 140 w 140"/>
                <a:gd name="T1" fmla="*/ 93 h 143"/>
                <a:gd name="T2" fmla="*/ 117 w 140"/>
                <a:gd name="T3" fmla="*/ 120 h 143"/>
                <a:gd name="T4" fmla="*/ 26 w 140"/>
                <a:gd name="T5" fmla="*/ 111 h 143"/>
                <a:gd name="T6" fmla="*/ 35 w 140"/>
                <a:gd name="T7" fmla="*/ 15 h 143"/>
                <a:gd name="T8" fmla="*/ 62 w 140"/>
                <a:gd name="T9" fmla="*/ 0 h 143"/>
                <a:gd name="T10" fmla="*/ 67 w 140"/>
                <a:gd name="T11" fmla="*/ 13 h 143"/>
                <a:gd name="T12" fmla="*/ 44 w 140"/>
                <a:gd name="T13" fmla="*/ 26 h 143"/>
                <a:gd name="T14" fmla="*/ 40 w 140"/>
                <a:gd name="T15" fmla="*/ 99 h 143"/>
                <a:gd name="T16" fmla="*/ 111 w 140"/>
                <a:gd name="T17" fmla="*/ 107 h 143"/>
                <a:gd name="T18" fmla="*/ 129 w 140"/>
                <a:gd name="T19" fmla="*/ 85 h 143"/>
                <a:gd name="T20" fmla="*/ 140 w 140"/>
                <a:gd name="T21" fmla="*/ 9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143">
                  <a:moveTo>
                    <a:pt x="140" y="93"/>
                  </a:moveTo>
                  <a:cubicBezTo>
                    <a:pt x="137" y="100"/>
                    <a:pt x="130" y="110"/>
                    <a:pt x="117" y="120"/>
                  </a:cubicBezTo>
                  <a:cubicBezTo>
                    <a:pt x="89" y="143"/>
                    <a:pt x="54" y="143"/>
                    <a:pt x="26" y="111"/>
                  </a:cubicBezTo>
                  <a:cubicBezTo>
                    <a:pt x="0" y="80"/>
                    <a:pt x="4" y="41"/>
                    <a:pt x="35" y="15"/>
                  </a:cubicBezTo>
                  <a:cubicBezTo>
                    <a:pt x="47" y="5"/>
                    <a:pt x="57" y="1"/>
                    <a:pt x="62" y="0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1" y="15"/>
                    <a:pt x="52" y="19"/>
                    <a:pt x="44" y="26"/>
                  </a:cubicBezTo>
                  <a:cubicBezTo>
                    <a:pt x="21" y="45"/>
                    <a:pt x="18" y="73"/>
                    <a:pt x="40" y="99"/>
                  </a:cubicBezTo>
                  <a:cubicBezTo>
                    <a:pt x="60" y="123"/>
                    <a:pt x="87" y="127"/>
                    <a:pt x="111" y="107"/>
                  </a:cubicBezTo>
                  <a:cubicBezTo>
                    <a:pt x="119" y="101"/>
                    <a:pt x="125" y="92"/>
                    <a:pt x="129" y="85"/>
                  </a:cubicBezTo>
                  <a:lnTo>
                    <a:pt x="140" y="93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0" name="í$1íḋe">
              <a:extLst>
                <a:ext uri="{FF2B5EF4-FFF2-40B4-BE49-F238E27FC236}">
                  <a16:creationId xmlns:a16="http://schemas.microsoft.com/office/drawing/2014/main" id="{66E3FB25-011E-4811-B2DF-603C476E2222}"/>
                </a:ext>
              </a:extLst>
            </p:cNvPr>
            <p:cNvSpPr/>
            <p:nvPr/>
          </p:nvSpPr>
          <p:spPr bwMode="auto">
            <a:xfrm>
              <a:off x="5141360" y="3748227"/>
              <a:ext cx="387776" cy="438098"/>
            </a:xfrm>
            <a:custGeom>
              <a:avLst/>
              <a:gdLst>
                <a:gd name="T0" fmla="*/ 39 w 126"/>
                <a:gd name="T1" fmla="*/ 92 h 143"/>
                <a:gd name="T2" fmla="*/ 51 w 126"/>
                <a:gd name="T3" fmla="*/ 133 h 143"/>
                <a:gd name="T4" fmla="*/ 36 w 126"/>
                <a:gd name="T5" fmla="*/ 143 h 143"/>
                <a:gd name="T6" fmla="*/ 0 w 126"/>
                <a:gd name="T7" fmla="*/ 12 h 143"/>
                <a:gd name="T8" fmla="*/ 16 w 126"/>
                <a:gd name="T9" fmla="*/ 0 h 143"/>
                <a:gd name="T10" fmla="*/ 126 w 126"/>
                <a:gd name="T11" fmla="*/ 82 h 143"/>
                <a:gd name="T12" fmla="*/ 111 w 126"/>
                <a:gd name="T13" fmla="*/ 92 h 143"/>
                <a:gd name="T14" fmla="*/ 77 w 126"/>
                <a:gd name="T15" fmla="*/ 66 h 143"/>
                <a:gd name="T16" fmla="*/ 39 w 126"/>
                <a:gd name="T17" fmla="*/ 92 h 143"/>
                <a:gd name="T18" fmla="*/ 66 w 126"/>
                <a:gd name="T19" fmla="*/ 58 h 143"/>
                <a:gd name="T20" fmla="*/ 35 w 126"/>
                <a:gd name="T21" fmla="*/ 34 h 143"/>
                <a:gd name="T22" fmla="*/ 16 w 126"/>
                <a:gd name="T23" fmla="*/ 18 h 143"/>
                <a:gd name="T24" fmla="*/ 16 w 126"/>
                <a:gd name="T25" fmla="*/ 18 h 143"/>
                <a:gd name="T26" fmla="*/ 24 w 126"/>
                <a:gd name="T27" fmla="*/ 42 h 143"/>
                <a:gd name="T28" fmla="*/ 34 w 126"/>
                <a:gd name="T29" fmla="*/ 80 h 143"/>
                <a:gd name="T30" fmla="*/ 66 w 126"/>
                <a:gd name="T31" fmla="*/ 5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6" h="143">
                  <a:moveTo>
                    <a:pt x="39" y="92"/>
                  </a:moveTo>
                  <a:cubicBezTo>
                    <a:pt x="51" y="133"/>
                    <a:pt x="51" y="133"/>
                    <a:pt x="51" y="133"/>
                  </a:cubicBezTo>
                  <a:cubicBezTo>
                    <a:pt x="36" y="143"/>
                    <a:pt x="36" y="143"/>
                    <a:pt x="36" y="14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26" y="82"/>
                    <a:pt x="126" y="82"/>
                    <a:pt x="126" y="82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77" y="66"/>
                    <a:pt x="77" y="66"/>
                    <a:pt x="77" y="66"/>
                  </a:cubicBezTo>
                  <a:lnTo>
                    <a:pt x="39" y="92"/>
                  </a:lnTo>
                  <a:close/>
                  <a:moveTo>
                    <a:pt x="66" y="58"/>
                  </a:moveTo>
                  <a:cubicBezTo>
                    <a:pt x="35" y="34"/>
                    <a:pt x="35" y="34"/>
                    <a:pt x="35" y="34"/>
                  </a:cubicBezTo>
                  <a:cubicBezTo>
                    <a:pt x="28" y="29"/>
                    <a:pt x="22" y="23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8" y="26"/>
                    <a:pt x="21" y="34"/>
                    <a:pt x="24" y="42"/>
                  </a:cubicBezTo>
                  <a:cubicBezTo>
                    <a:pt x="34" y="80"/>
                    <a:pt x="34" y="80"/>
                    <a:pt x="34" y="80"/>
                  </a:cubicBezTo>
                  <a:lnTo>
                    <a:pt x="66" y="58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1" name="íšḷiḑé">
              <a:extLst>
                <a:ext uri="{FF2B5EF4-FFF2-40B4-BE49-F238E27FC236}">
                  <a16:creationId xmlns:a16="http://schemas.microsoft.com/office/drawing/2014/main" id="{9C01182F-C1E4-4B1B-A9FA-7EBBFF69B45D}"/>
                </a:ext>
              </a:extLst>
            </p:cNvPr>
            <p:cNvSpPr/>
            <p:nvPr/>
          </p:nvSpPr>
          <p:spPr bwMode="auto">
            <a:xfrm>
              <a:off x="5441813" y="3514377"/>
              <a:ext cx="409978" cy="432178"/>
            </a:xfrm>
            <a:custGeom>
              <a:avLst/>
              <a:gdLst>
                <a:gd name="T0" fmla="*/ 0 w 133"/>
                <a:gd name="T1" fmla="*/ 27 h 141"/>
                <a:gd name="T2" fmla="*/ 27 w 133"/>
                <a:gd name="T3" fmla="*/ 10 h 141"/>
                <a:gd name="T4" fmla="*/ 65 w 133"/>
                <a:gd name="T5" fmla="*/ 3 h 141"/>
                <a:gd name="T6" fmla="*/ 86 w 133"/>
                <a:gd name="T7" fmla="*/ 20 h 141"/>
                <a:gd name="T8" fmla="*/ 79 w 133"/>
                <a:gd name="T9" fmla="*/ 61 h 141"/>
                <a:gd name="T10" fmla="*/ 79 w 133"/>
                <a:gd name="T11" fmla="*/ 61 h 141"/>
                <a:gd name="T12" fmla="*/ 108 w 133"/>
                <a:gd name="T13" fmla="*/ 76 h 141"/>
                <a:gd name="T14" fmla="*/ 133 w 133"/>
                <a:gd name="T15" fmla="*/ 103 h 141"/>
                <a:gd name="T16" fmla="*/ 117 w 133"/>
                <a:gd name="T17" fmla="*/ 111 h 141"/>
                <a:gd name="T18" fmla="*/ 96 w 133"/>
                <a:gd name="T19" fmla="*/ 87 h 141"/>
                <a:gd name="T20" fmla="*/ 61 w 133"/>
                <a:gd name="T21" fmla="*/ 77 h 141"/>
                <a:gd name="T22" fmla="*/ 47 w 133"/>
                <a:gd name="T23" fmla="*/ 84 h 141"/>
                <a:gd name="T24" fmla="*/ 72 w 133"/>
                <a:gd name="T25" fmla="*/ 134 h 141"/>
                <a:gd name="T26" fmla="*/ 57 w 133"/>
                <a:gd name="T27" fmla="*/ 141 h 141"/>
                <a:gd name="T28" fmla="*/ 0 w 133"/>
                <a:gd name="T29" fmla="*/ 27 h 141"/>
                <a:gd name="T30" fmla="*/ 41 w 133"/>
                <a:gd name="T31" fmla="*/ 72 h 141"/>
                <a:gd name="T32" fmla="*/ 57 w 133"/>
                <a:gd name="T33" fmla="*/ 65 h 141"/>
                <a:gd name="T34" fmla="*/ 72 w 133"/>
                <a:gd name="T35" fmla="*/ 30 h 141"/>
                <a:gd name="T36" fmla="*/ 34 w 133"/>
                <a:gd name="T37" fmla="*/ 21 h 141"/>
                <a:gd name="T38" fmla="*/ 20 w 133"/>
                <a:gd name="T39" fmla="*/ 30 h 141"/>
                <a:gd name="T40" fmla="*/ 41 w 133"/>
                <a:gd name="T41" fmla="*/ 72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3" h="141">
                  <a:moveTo>
                    <a:pt x="0" y="27"/>
                  </a:moveTo>
                  <a:cubicBezTo>
                    <a:pt x="7" y="22"/>
                    <a:pt x="17" y="16"/>
                    <a:pt x="27" y="10"/>
                  </a:cubicBezTo>
                  <a:cubicBezTo>
                    <a:pt x="43" y="2"/>
                    <a:pt x="55" y="0"/>
                    <a:pt x="65" y="3"/>
                  </a:cubicBezTo>
                  <a:cubicBezTo>
                    <a:pt x="74" y="5"/>
                    <a:pt x="81" y="11"/>
                    <a:pt x="86" y="20"/>
                  </a:cubicBezTo>
                  <a:cubicBezTo>
                    <a:pt x="93" y="36"/>
                    <a:pt x="89" y="50"/>
                    <a:pt x="79" y="61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89" y="60"/>
                    <a:pt x="99" y="65"/>
                    <a:pt x="108" y="76"/>
                  </a:cubicBezTo>
                  <a:cubicBezTo>
                    <a:pt x="120" y="90"/>
                    <a:pt x="128" y="100"/>
                    <a:pt x="133" y="103"/>
                  </a:cubicBezTo>
                  <a:cubicBezTo>
                    <a:pt x="117" y="111"/>
                    <a:pt x="117" y="111"/>
                    <a:pt x="117" y="111"/>
                  </a:cubicBezTo>
                  <a:cubicBezTo>
                    <a:pt x="114" y="109"/>
                    <a:pt x="106" y="100"/>
                    <a:pt x="96" y="87"/>
                  </a:cubicBezTo>
                  <a:cubicBezTo>
                    <a:pt x="84" y="73"/>
                    <a:pt x="75" y="70"/>
                    <a:pt x="61" y="77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72" y="134"/>
                    <a:pt x="72" y="134"/>
                    <a:pt x="72" y="134"/>
                  </a:cubicBezTo>
                  <a:cubicBezTo>
                    <a:pt x="57" y="141"/>
                    <a:pt x="57" y="141"/>
                    <a:pt x="57" y="141"/>
                  </a:cubicBezTo>
                  <a:lnTo>
                    <a:pt x="0" y="27"/>
                  </a:lnTo>
                  <a:close/>
                  <a:moveTo>
                    <a:pt x="41" y="72"/>
                  </a:moveTo>
                  <a:cubicBezTo>
                    <a:pt x="57" y="65"/>
                    <a:pt x="57" y="65"/>
                    <a:pt x="57" y="65"/>
                  </a:cubicBezTo>
                  <a:cubicBezTo>
                    <a:pt x="72" y="57"/>
                    <a:pt x="78" y="43"/>
                    <a:pt x="72" y="30"/>
                  </a:cubicBezTo>
                  <a:cubicBezTo>
                    <a:pt x="64" y="15"/>
                    <a:pt x="50" y="14"/>
                    <a:pt x="34" y="21"/>
                  </a:cubicBezTo>
                  <a:cubicBezTo>
                    <a:pt x="27" y="25"/>
                    <a:pt x="22" y="28"/>
                    <a:pt x="20" y="30"/>
                  </a:cubicBezTo>
                  <a:lnTo>
                    <a:pt x="41" y="72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2" name="isḷiḓè">
              <a:extLst>
                <a:ext uri="{FF2B5EF4-FFF2-40B4-BE49-F238E27FC236}">
                  <a16:creationId xmlns:a16="http://schemas.microsoft.com/office/drawing/2014/main" id="{A7F1D1D1-2631-40FC-B35E-567BCE8FE80E}"/>
                </a:ext>
              </a:extLst>
            </p:cNvPr>
            <p:cNvSpPr/>
            <p:nvPr/>
          </p:nvSpPr>
          <p:spPr bwMode="auto">
            <a:xfrm>
              <a:off x="5829589" y="3329370"/>
              <a:ext cx="401097" cy="467700"/>
            </a:xfrm>
            <a:custGeom>
              <a:avLst/>
              <a:gdLst>
                <a:gd name="T0" fmla="*/ 37 w 130"/>
                <a:gd name="T1" fmla="*/ 152 h 152"/>
                <a:gd name="T2" fmla="*/ 0 w 130"/>
                <a:gd name="T3" fmla="*/ 28 h 152"/>
                <a:gd name="T4" fmla="*/ 17 w 130"/>
                <a:gd name="T5" fmla="*/ 23 h 152"/>
                <a:gd name="T6" fmla="*/ 76 w 130"/>
                <a:gd name="T7" fmla="*/ 74 h 152"/>
                <a:gd name="T8" fmla="*/ 110 w 130"/>
                <a:gd name="T9" fmla="*/ 107 h 152"/>
                <a:gd name="T10" fmla="*/ 111 w 130"/>
                <a:gd name="T11" fmla="*/ 107 h 152"/>
                <a:gd name="T12" fmla="*/ 94 w 130"/>
                <a:gd name="T13" fmla="*/ 56 h 152"/>
                <a:gd name="T14" fmla="*/ 78 w 130"/>
                <a:gd name="T15" fmla="*/ 5 h 152"/>
                <a:gd name="T16" fmla="*/ 93 w 130"/>
                <a:gd name="T17" fmla="*/ 0 h 152"/>
                <a:gd name="T18" fmla="*/ 130 w 130"/>
                <a:gd name="T19" fmla="*/ 124 h 152"/>
                <a:gd name="T20" fmla="*/ 114 w 130"/>
                <a:gd name="T21" fmla="*/ 129 h 152"/>
                <a:gd name="T22" fmla="*/ 56 w 130"/>
                <a:gd name="T23" fmla="*/ 78 h 152"/>
                <a:gd name="T24" fmla="*/ 20 w 130"/>
                <a:gd name="T25" fmla="*/ 43 h 152"/>
                <a:gd name="T26" fmla="*/ 20 w 130"/>
                <a:gd name="T27" fmla="*/ 44 h 152"/>
                <a:gd name="T28" fmla="*/ 36 w 130"/>
                <a:gd name="T29" fmla="*/ 94 h 152"/>
                <a:gd name="T30" fmla="*/ 52 w 130"/>
                <a:gd name="T31" fmla="*/ 147 h 152"/>
                <a:gd name="T32" fmla="*/ 37 w 130"/>
                <a:gd name="T33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0" h="152">
                  <a:moveTo>
                    <a:pt x="37" y="15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90" y="85"/>
                    <a:pt x="101" y="96"/>
                    <a:pt x="110" y="107"/>
                  </a:cubicBezTo>
                  <a:cubicBezTo>
                    <a:pt x="111" y="107"/>
                    <a:pt x="111" y="107"/>
                    <a:pt x="111" y="107"/>
                  </a:cubicBezTo>
                  <a:cubicBezTo>
                    <a:pt x="104" y="91"/>
                    <a:pt x="99" y="76"/>
                    <a:pt x="94" y="56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30" y="124"/>
                    <a:pt x="130" y="124"/>
                    <a:pt x="130" y="124"/>
                  </a:cubicBezTo>
                  <a:cubicBezTo>
                    <a:pt x="114" y="129"/>
                    <a:pt x="114" y="129"/>
                    <a:pt x="114" y="129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43" y="67"/>
                    <a:pt x="31" y="55"/>
                    <a:pt x="20" y="43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5" y="59"/>
                    <a:pt x="30" y="74"/>
                    <a:pt x="36" y="94"/>
                  </a:cubicBezTo>
                  <a:cubicBezTo>
                    <a:pt x="52" y="147"/>
                    <a:pt x="52" y="147"/>
                    <a:pt x="52" y="147"/>
                  </a:cubicBezTo>
                  <a:lnTo>
                    <a:pt x="37" y="152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3" name="îs1ïďe">
              <a:extLst>
                <a:ext uri="{FF2B5EF4-FFF2-40B4-BE49-F238E27FC236}">
                  <a16:creationId xmlns:a16="http://schemas.microsoft.com/office/drawing/2014/main" id="{AD602BC5-DCCC-4A2A-8879-0C8EB5961813}"/>
                </a:ext>
              </a:extLst>
            </p:cNvPr>
            <p:cNvSpPr/>
            <p:nvPr/>
          </p:nvSpPr>
          <p:spPr bwMode="auto">
            <a:xfrm>
              <a:off x="6279528" y="3277567"/>
              <a:ext cx="140606" cy="399617"/>
            </a:xfrm>
            <a:custGeom>
              <a:avLst/>
              <a:gdLst>
                <a:gd name="T0" fmla="*/ 33 w 95"/>
                <a:gd name="T1" fmla="*/ 0 h 270"/>
                <a:gd name="T2" fmla="*/ 95 w 95"/>
                <a:gd name="T3" fmla="*/ 261 h 270"/>
                <a:gd name="T4" fmla="*/ 62 w 95"/>
                <a:gd name="T5" fmla="*/ 270 h 270"/>
                <a:gd name="T6" fmla="*/ 0 w 95"/>
                <a:gd name="T7" fmla="*/ 8 h 270"/>
                <a:gd name="T8" fmla="*/ 33 w 95"/>
                <a:gd name="T9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270">
                  <a:moveTo>
                    <a:pt x="33" y="0"/>
                  </a:moveTo>
                  <a:lnTo>
                    <a:pt x="95" y="261"/>
                  </a:lnTo>
                  <a:lnTo>
                    <a:pt x="62" y="270"/>
                  </a:lnTo>
                  <a:lnTo>
                    <a:pt x="0" y="8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4" name="îṡľîďe">
              <a:extLst>
                <a:ext uri="{FF2B5EF4-FFF2-40B4-BE49-F238E27FC236}">
                  <a16:creationId xmlns:a16="http://schemas.microsoft.com/office/drawing/2014/main" id="{CFA6F2C8-BD21-423E-B580-91EE91175A2F}"/>
                </a:ext>
              </a:extLst>
            </p:cNvPr>
            <p:cNvSpPr/>
            <p:nvPr/>
          </p:nvSpPr>
          <p:spPr bwMode="auto">
            <a:xfrm>
              <a:off x="6445295" y="3191724"/>
              <a:ext cx="322654" cy="426258"/>
            </a:xfrm>
            <a:custGeom>
              <a:avLst/>
              <a:gdLst>
                <a:gd name="T0" fmla="*/ 65 w 105"/>
                <a:gd name="T1" fmla="*/ 139 h 139"/>
                <a:gd name="T2" fmla="*/ 0 w 105"/>
                <a:gd name="T3" fmla="*/ 19 h 139"/>
                <a:gd name="T4" fmla="*/ 18 w 105"/>
                <a:gd name="T5" fmla="*/ 16 h 139"/>
                <a:gd name="T6" fmla="*/ 49 w 105"/>
                <a:gd name="T7" fmla="*/ 75 h 139"/>
                <a:gd name="T8" fmla="*/ 72 w 105"/>
                <a:gd name="T9" fmla="*/ 120 h 139"/>
                <a:gd name="T10" fmla="*/ 72 w 105"/>
                <a:gd name="T11" fmla="*/ 120 h 139"/>
                <a:gd name="T12" fmla="*/ 78 w 105"/>
                <a:gd name="T13" fmla="*/ 70 h 139"/>
                <a:gd name="T14" fmla="*/ 88 w 105"/>
                <a:gd name="T15" fmla="*/ 3 h 139"/>
                <a:gd name="T16" fmla="*/ 105 w 105"/>
                <a:gd name="T17" fmla="*/ 0 h 139"/>
                <a:gd name="T18" fmla="*/ 83 w 105"/>
                <a:gd name="T19" fmla="*/ 135 h 139"/>
                <a:gd name="T20" fmla="*/ 65 w 105"/>
                <a:gd name="T2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" h="139">
                  <a:moveTo>
                    <a:pt x="65" y="13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58" y="91"/>
                    <a:pt x="66" y="106"/>
                    <a:pt x="72" y="120"/>
                  </a:cubicBezTo>
                  <a:cubicBezTo>
                    <a:pt x="72" y="120"/>
                    <a:pt x="72" y="120"/>
                    <a:pt x="72" y="120"/>
                  </a:cubicBezTo>
                  <a:cubicBezTo>
                    <a:pt x="73" y="104"/>
                    <a:pt x="75" y="87"/>
                    <a:pt x="78" y="70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83" y="135"/>
                    <a:pt x="83" y="135"/>
                    <a:pt x="83" y="135"/>
                  </a:cubicBezTo>
                  <a:lnTo>
                    <a:pt x="65" y="139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5" name="îSḷiḋe">
              <a:extLst>
                <a:ext uri="{FF2B5EF4-FFF2-40B4-BE49-F238E27FC236}">
                  <a16:creationId xmlns:a16="http://schemas.microsoft.com/office/drawing/2014/main" id="{5CB2BBF9-710F-4C4B-8373-E9D9D824F8F3}"/>
                </a:ext>
              </a:extLst>
            </p:cNvPr>
            <p:cNvSpPr/>
            <p:nvPr/>
          </p:nvSpPr>
          <p:spPr bwMode="auto">
            <a:xfrm>
              <a:off x="6875993" y="3157683"/>
              <a:ext cx="330054" cy="417378"/>
            </a:xfrm>
            <a:custGeom>
              <a:avLst/>
              <a:gdLst>
                <a:gd name="T0" fmla="*/ 25 w 107"/>
                <a:gd name="T1" fmla="*/ 92 h 136"/>
                <a:gd name="T2" fmla="*/ 17 w 107"/>
                <a:gd name="T3" fmla="*/ 134 h 136"/>
                <a:gd name="T4" fmla="*/ 0 w 107"/>
                <a:gd name="T5" fmla="*/ 136 h 136"/>
                <a:gd name="T6" fmla="*/ 27 w 107"/>
                <a:gd name="T7" fmla="*/ 2 h 136"/>
                <a:gd name="T8" fmla="*/ 47 w 107"/>
                <a:gd name="T9" fmla="*/ 0 h 136"/>
                <a:gd name="T10" fmla="*/ 107 w 107"/>
                <a:gd name="T11" fmla="*/ 123 h 136"/>
                <a:gd name="T12" fmla="*/ 89 w 107"/>
                <a:gd name="T13" fmla="*/ 125 h 136"/>
                <a:gd name="T14" fmla="*/ 71 w 107"/>
                <a:gd name="T15" fmla="*/ 86 h 136"/>
                <a:gd name="T16" fmla="*/ 25 w 107"/>
                <a:gd name="T17" fmla="*/ 92 h 136"/>
                <a:gd name="T18" fmla="*/ 65 w 107"/>
                <a:gd name="T19" fmla="*/ 74 h 136"/>
                <a:gd name="T20" fmla="*/ 48 w 107"/>
                <a:gd name="T21" fmla="*/ 39 h 136"/>
                <a:gd name="T22" fmla="*/ 39 w 107"/>
                <a:gd name="T23" fmla="*/ 16 h 136"/>
                <a:gd name="T24" fmla="*/ 38 w 107"/>
                <a:gd name="T25" fmla="*/ 16 h 136"/>
                <a:gd name="T26" fmla="*/ 35 w 107"/>
                <a:gd name="T27" fmla="*/ 40 h 136"/>
                <a:gd name="T28" fmla="*/ 27 w 107"/>
                <a:gd name="T29" fmla="*/ 79 h 136"/>
                <a:gd name="T30" fmla="*/ 65 w 107"/>
                <a:gd name="T31" fmla="*/ 7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36">
                  <a:moveTo>
                    <a:pt x="25" y="92"/>
                  </a:moveTo>
                  <a:cubicBezTo>
                    <a:pt x="17" y="134"/>
                    <a:pt x="17" y="134"/>
                    <a:pt x="17" y="134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07" y="123"/>
                    <a:pt x="107" y="123"/>
                    <a:pt x="107" y="123"/>
                  </a:cubicBezTo>
                  <a:cubicBezTo>
                    <a:pt x="89" y="125"/>
                    <a:pt x="89" y="125"/>
                    <a:pt x="89" y="125"/>
                  </a:cubicBezTo>
                  <a:cubicBezTo>
                    <a:pt x="71" y="86"/>
                    <a:pt x="71" y="86"/>
                    <a:pt x="71" y="86"/>
                  </a:cubicBezTo>
                  <a:lnTo>
                    <a:pt x="25" y="92"/>
                  </a:lnTo>
                  <a:close/>
                  <a:moveTo>
                    <a:pt x="65" y="74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4" y="31"/>
                    <a:pt x="42" y="23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7" y="24"/>
                    <a:pt x="36" y="32"/>
                    <a:pt x="35" y="40"/>
                  </a:cubicBezTo>
                  <a:cubicBezTo>
                    <a:pt x="27" y="79"/>
                    <a:pt x="27" y="79"/>
                    <a:pt x="27" y="79"/>
                  </a:cubicBezTo>
                  <a:lnTo>
                    <a:pt x="65" y="74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6" name="ïşľïḑè">
              <a:extLst>
                <a:ext uri="{FF2B5EF4-FFF2-40B4-BE49-F238E27FC236}">
                  <a16:creationId xmlns:a16="http://schemas.microsoft.com/office/drawing/2014/main" id="{642819FD-BBA4-434C-8AA8-0F45DA588F76}"/>
                </a:ext>
              </a:extLst>
            </p:cNvPr>
            <p:cNvSpPr/>
            <p:nvPr/>
          </p:nvSpPr>
          <p:spPr bwMode="auto">
            <a:xfrm>
              <a:off x="7291891" y="3126601"/>
              <a:ext cx="245690" cy="399617"/>
            </a:xfrm>
            <a:custGeom>
              <a:avLst/>
              <a:gdLst>
                <a:gd name="T0" fmla="*/ 0 w 166"/>
                <a:gd name="T1" fmla="*/ 2 h 270"/>
                <a:gd name="T2" fmla="*/ 35 w 166"/>
                <a:gd name="T3" fmla="*/ 0 h 270"/>
                <a:gd name="T4" fmla="*/ 50 w 166"/>
                <a:gd name="T5" fmla="*/ 239 h 270"/>
                <a:gd name="T6" fmla="*/ 164 w 166"/>
                <a:gd name="T7" fmla="*/ 233 h 270"/>
                <a:gd name="T8" fmla="*/ 166 w 166"/>
                <a:gd name="T9" fmla="*/ 262 h 270"/>
                <a:gd name="T10" fmla="*/ 16 w 166"/>
                <a:gd name="T11" fmla="*/ 270 h 270"/>
                <a:gd name="T12" fmla="*/ 0 w 166"/>
                <a:gd name="T13" fmla="*/ 2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270">
                  <a:moveTo>
                    <a:pt x="0" y="2"/>
                  </a:moveTo>
                  <a:lnTo>
                    <a:pt x="35" y="0"/>
                  </a:lnTo>
                  <a:lnTo>
                    <a:pt x="50" y="239"/>
                  </a:lnTo>
                  <a:lnTo>
                    <a:pt x="164" y="233"/>
                  </a:lnTo>
                  <a:lnTo>
                    <a:pt x="166" y="262"/>
                  </a:lnTo>
                  <a:lnTo>
                    <a:pt x="16" y="27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5325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5" name="文本框 4">
            <a:extLst>
              <a:ext uri="{FF2B5EF4-FFF2-40B4-BE49-F238E27FC236}">
                <a16:creationId xmlns:a16="http://schemas.microsoft.com/office/drawing/2014/main" id="{B7E4A669-B48A-4297-8894-F412328CC205}"/>
              </a:ext>
            </a:extLst>
          </p:cNvPr>
          <p:cNvSpPr txBox="1"/>
          <p:nvPr/>
        </p:nvSpPr>
        <p:spPr>
          <a:xfrm>
            <a:off x="2995127" y="1296955"/>
            <a:ext cx="6213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/>
              <a:t>让你的代码更加简洁</a:t>
            </a:r>
          </a:p>
        </p:txBody>
      </p:sp>
    </p:spTree>
    <p:extLst>
      <p:ext uri="{BB962C8B-B14F-4D97-AF65-F5344CB8AC3E}">
        <p14:creationId xmlns:p14="http://schemas.microsoft.com/office/powerpoint/2010/main" val="345188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b7304fe2-7357-4c99-a87b-09b8c7a3746a"/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4a6d8bff-9583-43ab-a21f-27c453e1898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54707205-7a60-4a29-a60a-6bae9ca0ee4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c1fe35dc-98d7-43d6-84a4-797cea14b02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f58f329-0b8f-42c6-8d02-594949b0590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8e2329d0-d781-4c67-b683-34b3d487b4a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0c27bdb5-b449-4b5e-8caa-69010f80733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a2856a5-2ed6-473a-9f9c-a0dc1bc809fb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9b016494-0568-4d4f-b84b-3840ac95727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5C6E"/>
      </a:accent1>
      <a:accent2>
        <a:srgbClr val="38D4BA"/>
      </a:accent2>
      <a:accent3>
        <a:srgbClr val="01ACE1"/>
      </a:accent3>
      <a:accent4>
        <a:srgbClr val="F4BB15"/>
      </a:accent4>
      <a:accent5>
        <a:srgbClr val="F55D74"/>
      </a:accent5>
      <a:accent6>
        <a:srgbClr val="B2B2B2"/>
      </a:accent6>
      <a:hlink>
        <a:srgbClr val="4472C4"/>
      </a:hlink>
      <a:folHlink>
        <a:srgbClr val="BFBFBF"/>
      </a:folHlink>
    </a:clrScheme>
    <a:fontScheme name="spkyg5zx">
      <a:majorFont>
        <a:latin typeface=""/>
        <a:ea typeface="微软雅黑"/>
        <a:cs typeface=""/>
      </a:majorFont>
      <a:minorFont>
        <a:latin typeface="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774</TotalTime>
  <Words>342</Words>
  <Application>Microsoft Office PowerPoint</Application>
  <PresentationFormat>宽屏</PresentationFormat>
  <Paragraphs>73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6" baseType="lpstr">
      <vt:lpstr>Fira Sans</vt:lpstr>
      <vt:lpstr>等线</vt:lpstr>
      <vt:lpstr>Arial</vt:lpstr>
      <vt:lpstr>Calibri</vt:lpstr>
      <vt:lpstr>主题5</vt:lpstr>
      <vt:lpstr>think-cell Slide</vt:lpstr>
      <vt:lpstr>跟我学Rust  第四节——Struct/Trait</vt:lpstr>
      <vt:lpstr>PowerPoint 演示文稿</vt:lpstr>
      <vt:lpstr>struct</vt:lpstr>
      <vt:lpstr>trait 概述</vt:lpstr>
      <vt:lpstr>Self</vt:lpstr>
      <vt:lpstr>静态方法</vt:lpstr>
      <vt:lpstr>扩展方法</vt:lpstr>
      <vt:lpstr>trait的约束与继承</vt:lpstr>
      <vt:lpstr>trait alias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q</cp:lastModifiedBy>
  <cp:revision>153</cp:revision>
  <cp:lastPrinted>2019-04-29T16:00:00Z</cp:lastPrinted>
  <dcterms:created xsi:type="dcterms:W3CDTF">2019-04-29T16:00:00Z</dcterms:created>
  <dcterms:modified xsi:type="dcterms:W3CDTF">2020-01-04T03:5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